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0.xml" ContentType="application/vnd.openxmlformats-officedocument.presentationml.tags+xml"/>
  <Override PartName="/ppt/notesSlides/notesSlide1.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2.xml" ContentType="application/vnd.openxmlformats-officedocument.presentationml.notesSlide+xml"/>
  <Override PartName="/ppt/tags/tag44.xml" ContentType="application/vnd.openxmlformats-officedocument.presentationml.tags+xml"/>
  <Override PartName="/ppt/notesSlides/notesSlide3.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notesSlides/notesSlide4.xml" ContentType="application/vnd.openxmlformats-officedocument.presentationml.notesSlid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notesSlides/notesSlide5.xml" ContentType="application/vnd.openxmlformats-officedocument.presentationml.notesSlide+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notesSlides/notesSlide6.xml" ContentType="application/vnd.openxmlformats-officedocument.presentationml.notesSlide+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notesSlides/notesSlide7.xml" ContentType="application/vnd.openxmlformats-officedocument.presentationml.notesSlide+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media/image54.jpg" ContentType="image/jpg"/>
  <Override PartName="/ppt/media/image55.jpg" ContentType="image/jpg"/>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autoCompressPictures="0">
  <p:sldMasterIdLst>
    <p:sldMasterId id="2147483667" r:id="rId1"/>
    <p:sldMasterId id="2147483671" r:id="rId2"/>
  </p:sldMasterIdLst>
  <p:notesMasterIdLst>
    <p:notesMasterId r:id="rId33"/>
  </p:notesMasterIdLst>
  <p:handoutMasterIdLst>
    <p:handoutMasterId r:id="rId34"/>
  </p:handoutMasterIdLst>
  <p:sldIdLst>
    <p:sldId id="358" r:id="rId3"/>
    <p:sldId id="606" r:id="rId4"/>
    <p:sldId id="623" r:id="rId5"/>
    <p:sldId id="624" r:id="rId6"/>
    <p:sldId id="625" r:id="rId7"/>
    <p:sldId id="630" r:id="rId8"/>
    <p:sldId id="631" r:id="rId9"/>
    <p:sldId id="632" r:id="rId10"/>
    <p:sldId id="626" r:id="rId11"/>
    <p:sldId id="627" r:id="rId12"/>
    <p:sldId id="628" r:id="rId13"/>
    <p:sldId id="629" r:id="rId14"/>
    <p:sldId id="635" r:id="rId15"/>
    <p:sldId id="604" r:id="rId16"/>
    <p:sldId id="646" r:id="rId17"/>
    <p:sldId id="617" r:id="rId18"/>
    <p:sldId id="618" r:id="rId19"/>
    <p:sldId id="619" r:id="rId20"/>
    <p:sldId id="620" r:id="rId21"/>
    <p:sldId id="621" r:id="rId22"/>
    <p:sldId id="636" r:id="rId23"/>
    <p:sldId id="637" r:id="rId24"/>
    <p:sldId id="638" r:id="rId25"/>
    <p:sldId id="639" r:id="rId26"/>
    <p:sldId id="640" r:id="rId27"/>
    <p:sldId id="641" r:id="rId28"/>
    <p:sldId id="642" r:id="rId29"/>
    <p:sldId id="643" r:id="rId30"/>
    <p:sldId id="644" r:id="rId31"/>
    <p:sldId id="645" r:id="rId32"/>
  </p:sldIdLst>
  <p:sldSz cx="8961438" cy="6721475"/>
  <p:notesSz cx="7315200" cy="9601200"/>
  <p:custDataLst>
    <p:tags r:id="rId35"/>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61" userDrawn="1">
          <p15:clr>
            <a:srgbClr val="A4A3A4"/>
          </p15:clr>
        </p15:guide>
        <p15:guide id="2" pos="63" userDrawn="1">
          <p15:clr>
            <a:srgbClr val="A4A3A4"/>
          </p15:clr>
        </p15:guide>
        <p15:guide id="3" orient="horz" pos="341" userDrawn="1">
          <p15:clr>
            <a:srgbClr val="A4A3A4"/>
          </p15:clr>
        </p15:guide>
      </p15:sldGuideLst>
    </p:ext>
    <p:ext uri="{2D200454-40CA-4A62-9FC3-DE9A4176ACB9}">
      <p15:notesGuideLst xmlns:p15="http://schemas.microsoft.com/office/powerpoint/2012/main">
        <p15:guide id="1" orient="horz" pos="4524" userDrawn="1">
          <p15:clr>
            <a:srgbClr val="A4A3A4"/>
          </p15:clr>
        </p15:guide>
        <p15:guide id="2" pos="3152" userDrawn="1">
          <p15:clr>
            <a:srgbClr val="A4A3A4"/>
          </p15:clr>
        </p15:guide>
        <p15:guide id="3" orient="horz" pos="3024" userDrawn="1">
          <p15:clr>
            <a:srgbClr val="A4A3A4"/>
          </p15:clr>
        </p15:guide>
        <p15:guide id="4"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10A2ED"/>
    <a:srgbClr val="001739"/>
    <a:srgbClr val="0065BD"/>
    <a:srgbClr val="0563BB"/>
    <a:srgbClr val="0354B0"/>
    <a:srgbClr val="0049A6"/>
    <a:srgbClr val="0457B5"/>
    <a:srgbClr val="087CE3"/>
    <a:srgbClr val="055CB9"/>
    <a:srgbClr val="035C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24671" autoAdjust="0"/>
    <p:restoredTop sz="96187" autoAdjust="0"/>
  </p:normalViewPr>
  <p:slideViewPr>
    <p:cSldViewPr snapToGrid="0" snapToObjects="1">
      <p:cViewPr varScale="1">
        <p:scale>
          <a:sx n="131" d="100"/>
          <a:sy n="131" d="100"/>
        </p:scale>
        <p:origin x="1120" y="176"/>
      </p:cViewPr>
      <p:guideLst>
        <p:guide orient="horz" pos="4061"/>
        <p:guide pos="63"/>
        <p:guide orient="horz" pos="341"/>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85" d="100"/>
          <a:sy n="85" d="100"/>
        </p:scale>
        <p:origin x="2862" y="102"/>
      </p:cViewPr>
      <p:guideLst>
        <p:guide orient="horz" pos="4524"/>
        <p:guide pos="3152"/>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heme" Target="theme/theme1.xml"/><Relationship Id="rId21" Type="http://schemas.openxmlformats.org/officeDocument/2006/relationships/slide" Target="slides/slide19.xml"/><Relationship Id="rId34"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ags" Target="tags/tag1.xml"/><Relationship Id="rId8" Type="http://schemas.openxmlformats.org/officeDocument/2006/relationships/slide" Target="slides/slide6.xml"/><Relationship Id="rId3"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846138" y="601663"/>
            <a:ext cx="5630862" cy="4224337"/>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92380" y="5159108"/>
            <a:ext cx="6233763"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127" name="Rectangle 7"/>
          <p:cNvSpPr>
            <a:spLocks noGrp="1" noChangeArrowheads="1"/>
          </p:cNvSpPr>
          <p:nvPr>
            <p:ph type="sldNum" sz="quarter" idx="5"/>
          </p:nvPr>
        </p:nvSpPr>
        <p:spPr bwMode="auto">
          <a:xfrm>
            <a:off x="6528234" y="9227281"/>
            <a:ext cx="5803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zh-CN" dirty="0"/>
          </a:p>
        </p:txBody>
      </p:sp>
      <p:sp>
        <p:nvSpPr>
          <p:cNvPr id="5128" name="doc id"/>
          <p:cNvSpPr>
            <a:spLocks noGrp="1" noChangeArrowheads="1"/>
          </p:cNvSpPr>
          <p:nvPr>
            <p:ph type="ftr" sz="quarter" idx="4"/>
          </p:nvPr>
        </p:nvSpPr>
        <p:spPr bwMode="auto">
          <a:xfrm>
            <a:off x="7108494" y="103074"/>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hdr="0" ftr="0" dt="0"/>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2380" y="5159108"/>
            <a:ext cx="6233763" cy="246221"/>
          </a:xfrm>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a:t>
            </a:fld>
            <a:endParaRPr lang="en-US" dirty="0"/>
          </a:p>
        </p:txBody>
      </p:sp>
    </p:spTree>
    <p:extLst>
      <p:ext uri="{BB962C8B-B14F-4D97-AF65-F5344CB8AC3E}">
        <p14:creationId xmlns:p14="http://schemas.microsoft.com/office/powerpoint/2010/main" val="23436092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2379" y="5159107"/>
            <a:ext cx="6233763" cy="246221"/>
          </a:xfrm>
        </p:spPr>
        <p:txBody>
          <a:bodyPr/>
          <a:lstStyle/>
          <a:p>
            <a:endParaRPr lang="de-CH" dirty="0"/>
          </a:p>
        </p:txBody>
      </p:sp>
      <p:sp>
        <p:nvSpPr>
          <p:cNvPr id="5" name="Slide Number Placeholder 4"/>
          <p:cNvSpPr>
            <a:spLocks noGrp="1"/>
          </p:cNvSpPr>
          <p:nvPr>
            <p:ph type="sldNum" sz="quarter" idx="10"/>
          </p:nvPr>
        </p:nvSpPr>
        <p:spPr/>
        <p:txBody>
          <a:bodyPr/>
          <a:lstStyle/>
          <a:p>
            <a:pPr>
              <a:defRPr/>
            </a:pPr>
            <a:fld id="{3C3A632B-FBDE-46D4-BF6F-6D14421E6342}" type="slidenum">
              <a:rPr lang="en-US" smtClean="0"/>
              <a:pPr>
                <a:defRPr/>
              </a:pPr>
              <a:t>3</a:t>
            </a:fld>
            <a:endParaRPr lang="zh-CN" dirty="0"/>
          </a:p>
        </p:txBody>
      </p:sp>
    </p:spTree>
    <p:extLst>
      <p:ext uri="{BB962C8B-B14F-4D97-AF65-F5344CB8AC3E}">
        <p14:creationId xmlns:p14="http://schemas.microsoft.com/office/powerpoint/2010/main" val="35810503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endParaRPr lang="en-US" dirty="0">
              <a:solidFill>
                <a:srgbClr val="000000"/>
              </a:solidFill>
            </a:endParaRPr>
          </a:p>
        </p:txBody>
      </p:sp>
    </p:spTree>
    <p:extLst>
      <p:ext uri="{BB962C8B-B14F-4D97-AF65-F5344CB8AC3E}">
        <p14:creationId xmlns:p14="http://schemas.microsoft.com/office/powerpoint/2010/main" val="33557537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470" y="5334832"/>
            <a:ext cx="5792746" cy="247607"/>
          </a:xfrm>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4</a:t>
            </a:fld>
            <a:endParaRPr lang="en-US" dirty="0"/>
          </a:p>
        </p:txBody>
      </p:sp>
    </p:spTree>
    <p:extLst>
      <p:ext uri="{BB962C8B-B14F-4D97-AF65-F5344CB8AC3E}">
        <p14:creationId xmlns:p14="http://schemas.microsoft.com/office/powerpoint/2010/main" val="9931815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5995727" y="9738266"/>
            <a:ext cx="532656" cy="184666"/>
          </a:xfrm>
          <a:ln/>
        </p:spPr>
        <p:txBody>
          <a:bodyPr/>
          <a:lstStyle/>
          <a:p>
            <a:pPr>
              <a:buClr>
                <a:srgbClr val="1F497D"/>
              </a:buClr>
            </a:pPr>
            <a:fld id="{8C7E92E9-7E7D-4339-A29B-1A66CE9CE517}" type="slidenum">
              <a:rPr lang="en-US">
                <a:solidFill>
                  <a:prstClr val="black"/>
                </a:solidFill>
              </a:rPr>
              <a:pPr>
                <a:buClr>
                  <a:srgbClr val="1F497D"/>
                </a:buClr>
              </a:pPr>
              <a:t>16</a:t>
            </a:fld>
            <a:endParaRPr lang="zh-CN" dirty="0">
              <a:solidFill>
                <a:prstClr val="black"/>
              </a:solidFill>
            </a:endParaRPr>
          </a:p>
        </p:txBody>
      </p:sp>
      <p:sp>
        <p:nvSpPr>
          <p:cNvPr id="5" name="doc id"/>
          <p:cNvSpPr>
            <a:spLocks noGrp="1" noChangeArrowheads="1"/>
          </p:cNvSpPr>
          <p:nvPr>
            <p:ph type="ftr" sz="quarter" idx="4"/>
          </p:nvPr>
        </p:nvSpPr>
        <p:spPr>
          <a:xfrm>
            <a:off x="5363000" y="114972"/>
            <a:ext cx="1165384" cy="123111"/>
          </a:xfrm>
          <a:ln/>
        </p:spPr>
        <p:txBody>
          <a:bodyPr/>
          <a:lstStyle/>
          <a:p>
            <a:pPr>
              <a:buClr>
                <a:srgbClr val="1F497D"/>
              </a:buClr>
            </a:pPr>
            <a:r>
              <a:rPr lang="zh-CN" dirty="0">
                <a:solidFill>
                  <a:prstClr val="black"/>
                </a:solidFill>
                <a:latin typeface="SimSun"/>
                <a:cs typeface="SimSun"/>
              </a:rPr>
              <a:t>NYO-AAA123-20090123-</a:t>
            </a:r>
          </a:p>
        </p:txBody>
      </p:sp>
      <p:sp>
        <p:nvSpPr>
          <p:cNvPr id="607234" name="Rectangle 2"/>
          <p:cNvSpPr>
            <a:spLocks noGrp="1" noRot="1" noChangeAspect="1" noChangeArrowheads="1" noTextEdit="1"/>
          </p:cNvSpPr>
          <p:nvPr>
            <p:ph type="sldImg"/>
          </p:nvPr>
        </p:nvSpPr>
        <p:spPr>
          <a:xfrm>
            <a:off x="-2425700" y="1304925"/>
            <a:ext cx="11528425" cy="8647113"/>
          </a:xfrm>
          <a:ln/>
        </p:spPr>
      </p:sp>
      <p:sp>
        <p:nvSpPr>
          <p:cNvPr id="607235" name="Rectangle 3"/>
          <p:cNvSpPr>
            <a:spLocks noGrp="1" noChangeArrowheads="1"/>
          </p:cNvSpPr>
          <p:nvPr>
            <p:ph type="body" idx="1"/>
          </p:nvPr>
        </p:nvSpPr>
        <p:spPr>
          <a:xfrm>
            <a:off x="539300" y="364974"/>
            <a:ext cx="5979729" cy="246221"/>
          </a:xfrm>
        </p:spPr>
        <p:txBody>
          <a:bodyPr/>
          <a:lstStyle/>
          <a:p>
            <a:endParaRPr lang="en-US" dirty="0"/>
          </a:p>
        </p:txBody>
      </p:sp>
    </p:spTree>
    <p:extLst>
      <p:ext uri="{BB962C8B-B14F-4D97-AF65-F5344CB8AC3E}">
        <p14:creationId xmlns:p14="http://schemas.microsoft.com/office/powerpoint/2010/main" val="27362293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5995727" y="9738266"/>
            <a:ext cx="532656" cy="184666"/>
          </a:xfrm>
          <a:ln/>
        </p:spPr>
        <p:txBody>
          <a:bodyPr/>
          <a:lstStyle/>
          <a:p>
            <a:pPr>
              <a:buClr>
                <a:srgbClr val="1F497D"/>
              </a:buClr>
            </a:pPr>
            <a:fld id="{8C7E92E9-7E7D-4339-A29B-1A66CE9CE517}" type="slidenum">
              <a:rPr lang="en-US">
                <a:solidFill>
                  <a:prstClr val="black"/>
                </a:solidFill>
              </a:rPr>
              <a:pPr>
                <a:buClr>
                  <a:srgbClr val="1F497D"/>
                </a:buClr>
              </a:pPr>
              <a:t>17</a:t>
            </a:fld>
            <a:endParaRPr lang="zh-CN" dirty="0">
              <a:solidFill>
                <a:prstClr val="black"/>
              </a:solidFill>
            </a:endParaRPr>
          </a:p>
        </p:txBody>
      </p:sp>
      <p:sp>
        <p:nvSpPr>
          <p:cNvPr id="5" name="doc id"/>
          <p:cNvSpPr>
            <a:spLocks noGrp="1" noChangeArrowheads="1"/>
          </p:cNvSpPr>
          <p:nvPr>
            <p:ph type="ftr" sz="quarter" idx="4"/>
          </p:nvPr>
        </p:nvSpPr>
        <p:spPr>
          <a:xfrm>
            <a:off x="5363000" y="114972"/>
            <a:ext cx="1165384" cy="123111"/>
          </a:xfrm>
          <a:ln/>
        </p:spPr>
        <p:txBody>
          <a:bodyPr/>
          <a:lstStyle/>
          <a:p>
            <a:pPr>
              <a:buClr>
                <a:srgbClr val="1F497D"/>
              </a:buClr>
            </a:pPr>
            <a:r>
              <a:rPr lang="zh-CN" dirty="0">
                <a:solidFill>
                  <a:prstClr val="black"/>
                </a:solidFill>
                <a:latin typeface="SimSun"/>
                <a:cs typeface="SimSun"/>
              </a:rPr>
              <a:t>NYO-AAA123-20090123-</a:t>
            </a:r>
          </a:p>
        </p:txBody>
      </p:sp>
      <p:sp>
        <p:nvSpPr>
          <p:cNvPr id="607234" name="Rectangle 2"/>
          <p:cNvSpPr>
            <a:spLocks noGrp="1" noRot="1" noChangeAspect="1" noChangeArrowheads="1" noTextEdit="1"/>
          </p:cNvSpPr>
          <p:nvPr>
            <p:ph type="sldImg"/>
          </p:nvPr>
        </p:nvSpPr>
        <p:spPr>
          <a:xfrm>
            <a:off x="-2425700" y="1304925"/>
            <a:ext cx="11528425" cy="8647113"/>
          </a:xfrm>
          <a:ln/>
        </p:spPr>
      </p:sp>
      <p:sp>
        <p:nvSpPr>
          <p:cNvPr id="607235" name="Rectangle 3"/>
          <p:cNvSpPr>
            <a:spLocks noGrp="1" noChangeArrowheads="1"/>
          </p:cNvSpPr>
          <p:nvPr>
            <p:ph type="body" idx="1"/>
          </p:nvPr>
        </p:nvSpPr>
        <p:spPr>
          <a:xfrm>
            <a:off x="539300" y="364974"/>
            <a:ext cx="5979729" cy="246221"/>
          </a:xfrm>
        </p:spPr>
        <p:txBody>
          <a:bodyPr/>
          <a:lstStyle/>
          <a:p>
            <a:endParaRPr lang="en-US" dirty="0"/>
          </a:p>
        </p:txBody>
      </p:sp>
    </p:spTree>
    <p:extLst>
      <p:ext uri="{BB962C8B-B14F-4D97-AF65-F5344CB8AC3E}">
        <p14:creationId xmlns:p14="http://schemas.microsoft.com/office/powerpoint/2010/main" val="37651751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9</a:t>
            </a:fld>
            <a:endParaRPr lang="zh-CN" dirty="0"/>
          </a:p>
        </p:txBody>
      </p:sp>
    </p:spTree>
    <p:extLst>
      <p:ext uri="{BB962C8B-B14F-4D97-AF65-F5344CB8AC3E}">
        <p14:creationId xmlns:p14="http://schemas.microsoft.com/office/powerpoint/2010/main" val="25481262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background"/>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98"/>
            <a:ext cx="8961438" cy="6721079"/>
          </a:xfrm>
          <a:prstGeom prst="rect">
            <a:avLst/>
          </a:prstGeom>
        </p:spPr>
      </p:pic>
      <p:pic>
        <p:nvPicPr>
          <p:cNvPr id="9" name="CustomTitle"/>
          <p:cNvPicPr>
            <a:picLocks noChangeAspect="1"/>
          </p:cNvPicPr>
          <p:nvPr userDrawn="1"/>
        </p:nvPicPr>
        <p:blipFill>
          <a:blip r:embed="rId3" cstate="hqprint">
            <a:extLst>
              <a:ext uri="{28A0092B-C50C-407E-A947-70E740481C1C}">
                <a14:useLocalDpi xmlns:a14="http://schemas.microsoft.com/office/drawing/2010/main"/>
              </a:ext>
            </a:extLst>
          </a:blip>
          <a:srcRect/>
          <a:stretch>
            <a:fillRect/>
          </a:stretch>
        </p:blipFill>
        <p:spPr>
          <a:xfrm>
            <a:off x="0" y="0"/>
            <a:ext cx="8961439" cy="6721478"/>
          </a:xfrm>
          <a:prstGeom prst="rect">
            <a:avLst/>
          </a:prstGeom>
        </p:spPr>
      </p:pic>
      <p:sp>
        <p:nvSpPr>
          <p:cNvPr id="28" name="TitleRectangle"/>
          <p:cNvSpPr txBox="1">
            <a:spLocks/>
          </p:cNvSpPr>
          <p:nvPr userDrawn="1"/>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defRPr/>
            </a:pPr>
            <a:r>
              <a:rPr lang="en-US" baseline="0" dirty="0">
                <a:solidFill>
                  <a:srgbClr val="00ADEF"/>
                </a:solidFill>
                <a:latin typeface="SimSun"/>
                <a:cs typeface="SimSun"/>
              </a:rPr>
              <a:t>
</a:t>
            </a:r>
            <a:br/>
            <a:r>
              <a:rPr lang="zh-CN" baseline="0" dirty="0">
                <a:solidFill>
                  <a:srgbClr val="00ADEF"/>
                </a:solidFill>
                <a:latin typeface="SimSun"/>
                <a:cs typeface="SimSun"/>
              </a:rPr>
              <a:t>              </a:t>
            </a:r>
            <a:br/>
            <a:endParaRPr lang="zh-CN" baseline="0" dirty="0">
              <a:solidFill>
                <a:srgbClr val="00ADEF"/>
              </a:solidFill>
              <a:latin typeface="SimSun"/>
            </a:endParaRPr>
          </a:p>
        </p:txBody>
      </p:sp>
      <p:sp>
        <p:nvSpPr>
          <p:cNvPr id="4" name="Working Draft Text" hidden="1"/>
          <p:cNvSpPr txBox="1">
            <a:spLocks noChangeArrowheads="1"/>
          </p:cNvSpPr>
          <p:nvPr userDrawn="1"/>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userDrawn="1"/>
        </p:nvSpPr>
        <p:spPr bwMode="black">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7/1/2021 1:14 PM China Standard Time</a:t>
            </a:r>
            <a:endParaRPr lang="en-US" sz="800" baseline="0" dirty="0">
              <a:solidFill>
                <a:srgbClr val="FFFFFF"/>
              </a:solidFill>
              <a:latin typeface="+mn-lt"/>
            </a:endParaRPr>
          </a:p>
        </p:txBody>
      </p:sp>
      <p:sp>
        <p:nvSpPr>
          <p:cNvPr id="7" name="Printed" hidden="1"/>
          <p:cNvSpPr txBox="1">
            <a:spLocks noChangeArrowheads="1"/>
          </p:cNvSpPr>
          <p:nvPr userDrawn="1"/>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Printed 4/17/2017 8:54 PM China Standard Time</a:t>
            </a:r>
            <a:endParaRPr lang="en-US" sz="800" baseline="0" dirty="0">
              <a:solidFill>
                <a:srgbClr val="FFFFFF"/>
              </a:solidFill>
              <a:latin typeface="+mn-lt"/>
            </a:endParaRPr>
          </a:p>
        </p:txBody>
      </p:sp>
      <p:sp>
        <p:nvSpPr>
          <p:cNvPr id="13314" name="Title"/>
          <p:cNvSpPr>
            <a:spLocks noGrp="1" noChangeArrowheads="1"/>
          </p:cNvSpPr>
          <p:nvPr userDrawn="1">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a:xfrm>
            <a:off x="2268266" y="2819401"/>
            <a:ext cx="6231663" cy="215444"/>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
        <p:nvSpPr>
          <p:cNvPr id="5" name="doc id" hidden="1"/>
          <p:cNvSpPr txBox="1">
            <a:spLocks noChangeArrowheads="1"/>
          </p:cNvSpPr>
          <p:nvPr userDrawn="1"/>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43" name="LogoImage"/>
          <p:cNvSpPr>
            <a:spLocks noEditPoints="1"/>
          </p:cNvSpPr>
          <p:nvPr userDrawn="1"/>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English (United States)" hidden="1"/>
          <p:cNvSpPr>
            <a:spLocks noChangeArrowheads="1"/>
          </p:cNvSpPr>
          <p:nvPr userDrawn="1"/>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pic>
        <p:nvPicPr>
          <p:cNvPr id="200753" name="Picture 107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88105659"/>
      </p:ext>
    </p:extLst>
  </p:cSld>
  <p:clrMapOvr>
    <a:masterClrMapping/>
  </p:clrMapOvr>
  <p:extLst>
    <p:ext uri="{DCECCB84-F9BA-43D5-87BE-67443E8EF086}">
      <p15:sldGuideLst xmlns:p15="http://schemas.microsoft.com/office/powerpoint/2012/main">
        <p15:guide id="1" orient="horz" pos="2117" userDrawn="1">
          <p15:clr>
            <a:srgbClr val="FBAE40"/>
          </p15:clr>
        </p15:guide>
        <p15:guide id="2" pos="1416"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userDrawn="1"/>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zh-CN" sz="800" baseline="0" dirty="0">
              <a:solidFill>
                <a:srgbClr val="808080"/>
              </a:solidFill>
              <a:latin typeface="SimSun"/>
            </a:endParaRPr>
          </a:p>
        </p:txBody>
      </p:sp>
      <p:sp>
        <p:nvSpPr>
          <p:cNvPr id="9" name="SlideLogoText"/>
          <p:cNvSpPr>
            <a:spLocks noChangeArrowheads="1"/>
          </p:cNvSpPr>
          <p:nvPr userDrawn="1">
            <p:custDataLst>
              <p:tags r:id="rId1"/>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zh-CN" sz="800" baseline="0" dirty="0">
                <a:solidFill>
                  <a:srgbClr val="808080"/>
                </a:solidFill>
                <a:latin typeface="+mn-lt"/>
                <a:cs typeface="SimSun"/>
              </a:rPr>
              <a:t>McKinsey &amp; Company</a:t>
            </a:r>
          </a:p>
        </p:txBody>
      </p:sp>
      <p:sp>
        <p:nvSpPr>
          <p:cNvPr id="5" name="doc id" hidden="1"/>
          <p:cNvSpPr txBox="1">
            <a:spLocks noChangeArrowheads="1"/>
          </p:cNvSpPr>
          <p:nvPr userDrawn="1"/>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pic>
        <p:nvPicPr>
          <p:cNvPr id="133817" name="Picture 69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17782944"/>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userDrawn="1"/>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zh-CN" sz="800" baseline="0" dirty="0">
              <a:solidFill>
                <a:srgbClr val="FFFFFF"/>
              </a:solidFill>
              <a:latin typeface="SimSun"/>
            </a:endParaRPr>
          </a:p>
        </p:txBody>
      </p:sp>
      <p:sp>
        <p:nvSpPr>
          <p:cNvPr id="16" name="SlideLogoText"/>
          <p:cNvSpPr>
            <a:spLocks noChangeArrowheads="1"/>
          </p:cNvSpPr>
          <p:nvPr userDrawn="1">
            <p:custDataLst>
              <p:tags r:id="rId1"/>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zh-CN" sz="800" baseline="0" dirty="0">
                <a:solidFill>
                  <a:srgbClr val="FFFFFF"/>
                </a:solidFill>
                <a:latin typeface="SimSun"/>
                <a:cs typeface="SimSun"/>
              </a:rPr>
              <a:t>McKinsey &amp; Company</a:t>
            </a:r>
          </a:p>
        </p:txBody>
      </p:sp>
      <p:sp>
        <p:nvSpPr>
          <p:cNvPr id="5" name="doc id" hidden="1"/>
          <p:cNvSpPr txBox="1">
            <a:spLocks noChangeArrowheads="1"/>
          </p:cNvSpPr>
          <p:nvPr userDrawn="1"/>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pic>
        <p:nvPicPr>
          <p:cNvPr id="201744" name="Picture 1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44242574"/>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999" b="0" i="0">
                <a:solidFill>
                  <a:schemeClr val="bg1"/>
                </a:solidFill>
                <a:latin typeface="Arial"/>
                <a:cs typeface="Arial"/>
              </a:defRPr>
            </a:lvl1pPr>
          </a:lstStyle>
          <a:p>
            <a:endParaRPr/>
          </a:p>
        </p:txBody>
      </p:sp>
      <p:sp>
        <p:nvSpPr>
          <p:cNvPr id="3" name="Holder 3"/>
          <p:cNvSpPr>
            <a:spLocks noGrp="1"/>
          </p:cNvSpPr>
          <p:nvPr>
            <p:ph type="body" idx="1"/>
          </p:nvPr>
        </p:nvSpPr>
        <p:spPr>
          <a:xfrm>
            <a:off x="1452564" y="1951380"/>
            <a:ext cx="4302125" cy="246093"/>
          </a:xfrm>
        </p:spPr>
        <p:txBody>
          <a:bodyPr lIns="0" tIns="0" rIns="0" bIns="0"/>
          <a:lstStyle>
            <a:lvl1pPr>
              <a:defRPr sz="1599" b="1" i="0">
                <a:solidFill>
                  <a:srgbClr val="F17E00"/>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21</a:t>
            </a:fld>
            <a:endParaRPr lang="en-US"/>
          </a:p>
        </p:txBody>
      </p:sp>
      <p:sp>
        <p:nvSpPr>
          <p:cNvPr id="6" name="Holder 6"/>
          <p:cNvSpPr>
            <a:spLocks noGrp="1"/>
          </p:cNvSpPr>
          <p:nvPr>
            <p:ph type="sldNum" sz="quarter" idx="7"/>
          </p:nvPr>
        </p:nvSpPr>
        <p:spPr/>
        <p:txBody>
          <a:bodyPr lIns="0" tIns="0" rIns="0" bIns="0"/>
          <a:lstStyle>
            <a:lvl1pPr>
              <a:defRPr sz="800" b="0" i="0">
                <a:solidFill>
                  <a:srgbClr val="808080"/>
                </a:solidFill>
                <a:latin typeface="Arial"/>
                <a:cs typeface="Arial"/>
              </a:defRPr>
            </a:lvl1pPr>
          </a:lstStyle>
          <a:p>
            <a:pPr marL="12694">
              <a:spcBef>
                <a:spcPts val="25"/>
              </a:spcBef>
            </a:pPr>
            <a:r>
              <a:rPr lang="en-US"/>
              <a:t>McKinsey &amp; Company</a:t>
            </a:r>
            <a:r>
              <a:rPr lang="en-US" spc="35"/>
              <a:t> </a:t>
            </a:r>
            <a:fld id="{81D60167-4931-47E6-BA6A-407CBD079E47}" type="slidenum">
              <a:rPr smtClean="0"/>
              <a:pPr marL="12694">
                <a:spcBef>
                  <a:spcPts val="25"/>
                </a:spcBef>
              </a:pPr>
              <a:t>‹#›</a:t>
            </a:fld>
            <a:endParaRPr dirty="0"/>
          </a:p>
        </p:txBody>
      </p:sp>
    </p:spTree>
    <p:extLst>
      <p:ext uri="{BB962C8B-B14F-4D97-AF65-F5344CB8AC3E}">
        <p14:creationId xmlns:p14="http://schemas.microsoft.com/office/powerpoint/2010/main" val="34746984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background"/>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4010" y="-5879"/>
            <a:ext cx="9028623" cy="6771468"/>
          </a:xfrm>
          <a:prstGeom prst="rect">
            <a:avLst/>
          </a:prstGeom>
        </p:spPr>
      </p:pic>
      <p:sp>
        <p:nvSpPr>
          <p:cNvPr id="2" name="TitleRectangle"/>
          <p:cNvSpPr>
            <a:spLocks/>
          </p:cNvSpPr>
          <p:nvPr userDrawn="1"/>
        </p:nvSpPr>
        <p:spPr bwMode="white">
          <a:xfrm>
            <a:off x="2087564" y="-5879"/>
            <a:ext cx="6877050" cy="3967880"/>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4" name="Working Draft Text" hidden="1"/>
          <p:cNvSpPr txBox="1">
            <a:spLocks noChangeArrowheads="1"/>
          </p:cNvSpPr>
          <p:nvPr userDrawn="1"/>
        </p:nvSpPr>
        <p:spPr bwMode="black">
          <a:xfrm>
            <a:off x="5992719" y="6287539"/>
            <a:ext cx="279000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1" dirty="0">
                <a:solidFill>
                  <a:srgbClr val="FFFFFF"/>
                </a:solidFill>
                <a:latin typeface="Arial"/>
              </a:rPr>
              <a:t>WORKING DRAFT</a:t>
            </a:r>
          </a:p>
        </p:txBody>
      </p:sp>
      <p:sp>
        <p:nvSpPr>
          <p:cNvPr id="6" name="Working Draft" hidden="1"/>
          <p:cNvSpPr txBox="1">
            <a:spLocks noChangeArrowheads="1"/>
          </p:cNvSpPr>
          <p:nvPr userDrawn="1"/>
        </p:nvSpPr>
        <p:spPr bwMode="black">
          <a:xfrm>
            <a:off x="5992719" y="6410649"/>
            <a:ext cx="296871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FFFFFF"/>
                </a:solidFill>
                <a:latin typeface="Arial"/>
              </a:rPr>
              <a:t>Last Modified 7/1/2021 1:14 PM China Standard Time</a:t>
            </a:r>
            <a:endParaRPr lang="en-US" sz="600" dirty="0">
              <a:solidFill>
                <a:srgbClr val="FFFFFF"/>
              </a:solidFill>
              <a:latin typeface="Arial"/>
            </a:endParaRPr>
          </a:p>
        </p:txBody>
      </p:sp>
      <p:sp>
        <p:nvSpPr>
          <p:cNvPr id="7" name="Printed" hidden="1"/>
          <p:cNvSpPr txBox="1">
            <a:spLocks noChangeArrowheads="1"/>
          </p:cNvSpPr>
          <p:nvPr userDrawn="1"/>
        </p:nvSpPr>
        <p:spPr bwMode="black">
          <a:xfrm>
            <a:off x="5992719" y="6533761"/>
            <a:ext cx="279000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FFFFFF"/>
                </a:solidFill>
                <a:latin typeface="Arial"/>
              </a:rPr>
              <a:t>Printed 4/17/2017 8:54 PM China Standard Time</a:t>
            </a:r>
            <a:endParaRPr lang="en-US" sz="600" dirty="0">
              <a:solidFill>
                <a:srgbClr val="FFFFFF"/>
              </a:solidFill>
              <a:latin typeface="Arial"/>
            </a:endParaRPr>
          </a:p>
        </p:txBody>
      </p:sp>
      <p:sp>
        <p:nvSpPr>
          <p:cNvPr id="13314" name="Title"/>
          <p:cNvSpPr>
            <a:spLocks noGrp="1" noChangeArrowheads="1"/>
          </p:cNvSpPr>
          <p:nvPr userDrawn="1">
            <p:ph type="ctrTitle"/>
          </p:nvPr>
        </p:nvSpPr>
        <p:spPr>
          <a:xfrm>
            <a:off x="2268266" y="1434419"/>
            <a:ext cx="6231663" cy="369332"/>
          </a:xfrm>
          <a:prstGeom prst="rect">
            <a:avLst/>
          </a:prstGeom>
        </p:spPr>
        <p:txBody>
          <a:bodyPr vert="horz">
            <a:spAutoFit/>
          </a:bodyPr>
          <a:lstStyle>
            <a:lvl1pPr>
              <a:defRPr sz="24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a:xfrm>
            <a:off x="2268267" y="3119080"/>
            <a:ext cx="6231663" cy="161583"/>
          </a:xfrm>
          <a:prstGeom prst="rect">
            <a:avLst/>
          </a:prstGeom>
        </p:spPr>
        <p:txBody>
          <a:bodyPr wrap="square">
            <a:spAutoFit/>
          </a:bodyPr>
          <a:lstStyle>
            <a:lvl1pPr>
              <a:defRPr sz="1050"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 name="doc id" hidden="1"/>
          <p:cNvSpPr txBox="1">
            <a:spLocks noChangeArrowheads="1"/>
          </p:cNvSpPr>
          <p:nvPr userDrawn="1"/>
        </p:nvSpPr>
        <p:spPr bwMode="white">
          <a:xfrm>
            <a:off x="8443914"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600" dirty="0">
              <a:solidFill>
                <a:srgbClr val="FFFFFF"/>
              </a:solidFill>
              <a:latin typeface="Arial"/>
            </a:endParaRPr>
          </a:p>
        </p:txBody>
      </p:sp>
      <p:sp>
        <p:nvSpPr>
          <p:cNvPr id="28" name="LogoImage"/>
          <p:cNvSpPr>
            <a:spLocks noEditPoints="1"/>
          </p:cNvSpPr>
          <p:nvPr userDrawn="1"/>
        </p:nvSpPr>
        <p:spPr bwMode="auto">
          <a:xfrm>
            <a:off x="2268266" y="123497"/>
            <a:ext cx="2176978" cy="347234"/>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6" tIns="34287" rIns="68576" bIns="34287"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200" dirty="0">
              <a:solidFill>
                <a:srgbClr val="000000"/>
              </a:solidFill>
              <a:latin typeface="Arial"/>
            </a:endParaRPr>
          </a:p>
        </p:txBody>
      </p:sp>
      <p:grpSp>
        <p:nvGrpSpPr>
          <p:cNvPr id="9" name="Group 8"/>
          <p:cNvGrpSpPr/>
          <p:nvPr userDrawn="1"/>
        </p:nvGrpSpPr>
        <p:grpSpPr>
          <a:xfrm>
            <a:off x="2268267" y="3636080"/>
            <a:ext cx="6231663" cy="3020790"/>
            <a:chOff x="2314476" y="2782452"/>
            <a:chExt cx="6358614" cy="2311611"/>
          </a:xfrm>
        </p:grpSpPr>
        <p:sp>
          <p:nvSpPr>
            <p:cNvPr id="57" name="Document type" hidden="1"/>
            <p:cNvSpPr txBox="1">
              <a:spLocks noChangeArrowheads="1"/>
            </p:cNvSpPr>
            <p:nvPr userDrawn="1"/>
          </p:nvSpPr>
          <p:spPr bwMode="gray">
            <a:xfrm>
              <a:off x="2314476" y="2782452"/>
              <a:ext cx="6358614" cy="1236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050" dirty="0">
                  <a:solidFill>
                    <a:srgbClr val="808080"/>
                  </a:solidFill>
                  <a:latin typeface="Arial"/>
                </a:rPr>
                <a:t>Document type | Date</a:t>
              </a:r>
            </a:p>
          </p:txBody>
        </p:sp>
        <p:sp>
          <p:nvSpPr>
            <p:cNvPr id="26" name="Disclaimer-English (United States)" hidden="1"/>
            <p:cNvSpPr>
              <a:spLocks noChangeArrowheads="1"/>
            </p:cNvSpPr>
            <p:nvPr userDrawn="1"/>
          </p:nvSpPr>
          <p:spPr bwMode="black">
            <a:xfrm>
              <a:off x="2314476" y="4952750"/>
              <a:ext cx="3616660" cy="14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603563" eaLnBrk="0" hangingPunct="0"/>
              <a:r>
                <a:rPr lang="en-US" sz="600" dirty="0">
                  <a:solidFill>
                    <a:srgbClr val="FFFFFF"/>
                  </a:solidFill>
                  <a:latin typeface="Arial"/>
                </a:rPr>
                <a:t>CONFIDENTIAL AND PROPRIETARY</a:t>
              </a:r>
            </a:p>
            <a:p>
              <a:pPr defTabSz="603563" eaLnBrk="0" hangingPunct="0"/>
              <a:r>
                <a:rPr lang="en-US" sz="600" dirty="0">
                  <a:solidFill>
                    <a:srgbClr val="FFFFFF"/>
                  </a:solidFill>
                  <a:latin typeface="Arial"/>
                </a:rPr>
                <a:t>Any use of this material without specific permission of McKinsey &amp; Company is strictly prohibited</a:t>
              </a:r>
            </a:p>
          </p:txBody>
        </p:sp>
      </p:grpSp>
      <p:pic>
        <p:nvPicPr>
          <p:cNvPr id="120715" name="Picture 90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749981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userDrawn="1"/>
        </p:nvSpPr>
        <p:spPr bwMode="auto">
          <a:xfrm>
            <a:off x="8564563" y="6523663"/>
            <a:ext cx="94578" cy="92333"/>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600" smtClean="0">
                <a:solidFill>
                  <a:srgbClr val="808080"/>
                </a:solidFill>
              </a:rPr>
              <a:pPr/>
              <a:t>‹#›</a:t>
            </a:fld>
            <a:endParaRPr lang="zh-CN" sz="600" dirty="0">
              <a:solidFill>
                <a:srgbClr val="808080"/>
              </a:solidFill>
            </a:endParaRPr>
          </a:p>
        </p:txBody>
      </p:sp>
      <p:sp>
        <p:nvSpPr>
          <p:cNvPr id="9" name="SlideLogoText"/>
          <p:cNvSpPr>
            <a:spLocks noChangeArrowheads="1"/>
          </p:cNvSpPr>
          <p:nvPr userDrawn="1">
            <p:custDataLst>
              <p:tags r:id="rId1"/>
            </p:custDataLst>
          </p:nvPr>
        </p:nvSpPr>
        <p:spPr bwMode="auto">
          <a:xfrm>
            <a:off x="7704093" y="6523663"/>
            <a:ext cx="75982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671420"/>
            <a:r>
              <a:rPr lang="zh-CN" sz="600" dirty="0">
                <a:solidFill>
                  <a:srgbClr val="808080"/>
                </a:solidFill>
                <a:latin typeface="SimSun"/>
                <a:cs typeface="SimSun"/>
              </a:rPr>
              <a:t>McKinsey &amp; Company</a:t>
            </a:r>
          </a:p>
        </p:txBody>
      </p:sp>
      <p:sp>
        <p:nvSpPr>
          <p:cNvPr id="5" name="doc id" hidden="1"/>
          <p:cNvSpPr>
            <a:spLocks noChangeArrowheads="1"/>
          </p:cNvSpPr>
          <p:nvPr userDrawn="1"/>
        </p:nvSpPr>
        <p:spPr bwMode="auto">
          <a:xfrm>
            <a:off x="8081964" y="50802"/>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71420"/>
            <a:endParaRPr lang="en-US" sz="600" dirty="0">
              <a:solidFill>
                <a:srgbClr val="808080"/>
              </a:solidFill>
              <a:latin typeface="Arial"/>
            </a:endParaRPr>
          </a:p>
        </p:txBody>
      </p:sp>
    </p:spTree>
    <p:extLst>
      <p:ext uri="{BB962C8B-B14F-4D97-AF65-F5344CB8AC3E}">
        <p14:creationId xmlns:p14="http://schemas.microsoft.com/office/powerpoint/2010/main" val="3293865410"/>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userDrawn="1"/>
        </p:nvSpPr>
        <p:spPr>
          <a:xfrm>
            <a:off x="8564563" y="6523663"/>
            <a:ext cx="94578" cy="92333"/>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600" smtClean="0">
                <a:solidFill>
                  <a:srgbClr val="FFFFFF"/>
                </a:solidFill>
              </a:rPr>
              <a:pPr/>
              <a:t>‹#›</a:t>
            </a:fld>
            <a:endParaRPr lang="zh-CN" sz="600" dirty="0">
              <a:solidFill>
                <a:srgbClr val="FFFFFF"/>
              </a:solidFill>
            </a:endParaRPr>
          </a:p>
        </p:txBody>
      </p:sp>
      <p:sp>
        <p:nvSpPr>
          <p:cNvPr id="16" name="SlideLogoText"/>
          <p:cNvSpPr>
            <a:spLocks noChangeArrowheads="1"/>
          </p:cNvSpPr>
          <p:nvPr userDrawn="1">
            <p:custDataLst>
              <p:tags r:id="rId1"/>
            </p:custDataLst>
          </p:nvPr>
        </p:nvSpPr>
        <p:spPr bwMode="auto">
          <a:xfrm>
            <a:off x="7704093" y="6523663"/>
            <a:ext cx="75982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671420"/>
            <a:r>
              <a:rPr lang="zh-CN" sz="600" dirty="0">
                <a:solidFill>
                  <a:srgbClr val="FFFFFF"/>
                </a:solidFill>
                <a:latin typeface="SimSun"/>
                <a:cs typeface="SimSun"/>
              </a:rPr>
              <a:t>McKinsey &amp; Company</a:t>
            </a:r>
          </a:p>
        </p:txBody>
      </p:sp>
      <p:sp>
        <p:nvSpPr>
          <p:cNvPr id="5" name="doc id" hidden="1"/>
          <p:cNvSpPr>
            <a:spLocks noChangeArrowheads="1"/>
          </p:cNvSpPr>
          <p:nvPr userDrawn="1"/>
        </p:nvSpPr>
        <p:spPr bwMode="auto">
          <a:xfrm>
            <a:off x="8081964" y="50802"/>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71420"/>
            <a:endParaRPr lang="en-US" sz="600" dirty="0">
              <a:solidFill>
                <a:srgbClr val="808080"/>
              </a:solidFill>
              <a:latin typeface="Arial"/>
            </a:endParaRPr>
          </a:p>
        </p:txBody>
      </p:sp>
    </p:spTree>
    <p:extLst>
      <p:ext uri="{BB962C8B-B14F-4D97-AF65-F5344CB8AC3E}">
        <p14:creationId xmlns:p14="http://schemas.microsoft.com/office/powerpoint/2010/main" val="3663599391"/>
      </p:ext>
    </p:extLst>
  </p:cSld>
  <p:clrMapOvr>
    <a:masterClrMapping/>
  </p:clrMapOvr>
  <p:extLst>
    <p:ext uri="{DCECCB84-F9BA-43D5-87BE-67443E8EF086}">
      <p15:sldGuideLst xmlns:p15="http://schemas.microsoft.com/office/powerpoint/2012/main">
        <p15:guide id="1" pos="4059">
          <p15:clr>
            <a:srgbClr val="000000"/>
          </p15:clr>
        </p15:guide>
        <p15:guide id="2" orient="horz" pos="436">
          <p15:clr>
            <a:srgbClr val="000000"/>
          </p15:clr>
        </p15:guide>
        <p15:guide id="3" orient="horz" pos="2994">
          <p15:clr>
            <a:srgbClr val="000000"/>
          </p15:clr>
        </p15:guide>
        <p15:guide id="4" pos="73">
          <p15:clr>
            <a:srgbClr val="00000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45082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3.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24" Type="http://schemas.openxmlformats.org/officeDocument/2006/relationships/oleObject" Target="../embeddings/oleObject1.bin"/><Relationship Id="rId5"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tags" Target="../tags/tag18.xml"/><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3" Type="http://schemas.openxmlformats.org/officeDocument/2006/relationships/slideLayout" Target="../slideLayouts/slideLayout7.xml"/><Relationship Id="rId21" Type="http://schemas.openxmlformats.org/officeDocument/2006/relationships/tags" Target="../tags/tag35.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image" Target="../media/image1.emf"/><Relationship Id="rId2" Type="http://schemas.openxmlformats.org/officeDocument/2006/relationships/slideLayout" Target="../slideLayouts/slideLayout6.xml"/><Relationship Id="rId16" Type="http://schemas.openxmlformats.org/officeDocument/2006/relationships/tags" Target="../tags/tag30.xml"/><Relationship Id="rId20" Type="http://schemas.openxmlformats.org/officeDocument/2006/relationships/tags" Target="../tags/tag34.xml"/><Relationship Id="rId1" Type="http://schemas.openxmlformats.org/officeDocument/2006/relationships/slideLayout" Target="../slideLayouts/slideLayout5.xml"/><Relationship Id="rId6" Type="http://schemas.openxmlformats.org/officeDocument/2006/relationships/vmlDrawing" Target="../drawings/vmlDrawing2.vml"/><Relationship Id="rId11" Type="http://schemas.openxmlformats.org/officeDocument/2006/relationships/tags" Target="../tags/tag25.xml"/><Relationship Id="rId24" Type="http://schemas.openxmlformats.org/officeDocument/2006/relationships/oleObject" Target="../embeddings/oleObject2.bin"/><Relationship Id="rId5" Type="http://schemas.openxmlformats.org/officeDocument/2006/relationships/theme" Target="../theme/theme2.xml"/><Relationship Id="rId15" Type="http://schemas.openxmlformats.org/officeDocument/2006/relationships/tags" Target="../tags/tag29.xml"/><Relationship Id="rId23" Type="http://schemas.openxmlformats.org/officeDocument/2006/relationships/tags" Target="../tags/tag37.xml"/><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slideLayout" Target="../slideLayouts/slideLayout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78436353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7783" name="think-cell 幻灯片" r:id="rId24" imgW="270" imgH="270" progId="TCLayout.ActiveDocument.1">
                  <p:embed/>
                </p:oleObj>
              </mc:Choice>
              <mc:Fallback>
                <p:oleObj name="think-cell 幻灯片"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70663" y="1940591"/>
            <a:ext cx="1841851"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7/1/2021 1:14 PM Chin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056424" y="4114417"/>
            <a:ext cx="167032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Printed 4/17/2017 8:54 PM China Standard Time</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userDrawn="1"/>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userDrawn="1"/>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txBox="1">
            <a:spLocks noChangeArrowheads="1"/>
          </p:cNvSpPr>
          <p:nvPr userDrawn="1"/>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chemeClr val="accent1"/>
              </a:solidFill>
              <a:latin typeface="+mn-lt"/>
              <a:ea typeface="+mn-ea"/>
            </a:endParaRPr>
          </a:p>
        </p:txBody>
      </p:sp>
      <p:grpSp>
        <p:nvGrpSpPr>
          <p:cNvPr id="26" name="LegendBoxes" hidden="1"/>
          <p:cNvGrpSpPr/>
          <p:nvPr userDrawn="1"/>
        </p:nvGrpSpPr>
        <p:grpSpPr bwMode="gray">
          <a:xfrm>
            <a:off x="7909039" y="279400"/>
            <a:ext cx="763755" cy="99746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5" name="LegendLines" hidden="1"/>
          <p:cNvGrpSpPr/>
          <p:nvPr userDrawn="1"/>
        </p:nvGrpSpPr>
        <p:grpSpPr bwMode="gray">
          <a:xfrm>
            <a:off x="7601231" y="279400"/>
            <a:ext cx="1071563" cy="730251"/>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42" name="LegendMoons" hidden="1"/>
          <p:cNvGrpSpPr/>
          <p:nvPr userDrawn="1"/>
        </p:nvGrpSpPr>
        <p:grpSpPr bwMode="gray">
          <a:xfrm>
            <a:off x="7842364" y="250825"/>
            <a:ext cx="830430" cy="1306516"/>
            <a:chOff x="7769225" y="250825"/>
            <a:chExt cx="830430" cy="1306516"/>
          </a:xfrm>
        </p:grpSpPr>
        <p:grpSp>
          <p:nvGrpSpPr>
            <p:cNvPr id="43" name="MoonLegend1"/>
            <p:cNvGrpSpPr>
              <a:grpSpLocks noChangeAspect="1"/>
            </p:cNvGrpSpPr>
            <p:nvPr>
              <p:custDataLst>
                <p:tags r:id="rId9"/>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62"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2"/>
            <p:cNvGrpSpPr>
              <a:grpSpLocks noChangeAspect="1"/>
            </p:cNvGrpSpPr>
            <p:nvPr>
              <p:custDataLst>
                <p:tags r:id="rId10"/>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60"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5"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8"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6"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6"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7" name="MoonLegend3"/>
            <p:cNvGrpSpPr>
              <a:grpSpLocks noChangeAspect="1"/>
            </p:cNvGrpSpPr>
            <p:nvPr>
              <p:custDataLst>
                <p:tags r:id="rId13"/>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4"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Tree>
    <p:extLst>
      <p:ext uri="{BB962C8B-B14F-4D97-AF65-F5344CB8AC3E}">
        <p14:creationId xmlns:p14="http://schemas.microsoft.com/office/powerpoint/2010/main" val="4257587288"/>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6" r:id="rId4"/>
  </p:sldLayoutIdLst>
  <p:hf hdr="0" ftr="0" dt="0"/>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51365736"/>
              </p:ext>
            </p:extLst>
          </p:nvPr>
        </p:nvGraphicFramePr>
        <p:xfrm>
          <a:off x="0" y="1"/>
          <a:ext cx="158750" cy="158750"/>
        </p:xfrm>
        <a:graphic>
          <a:graphicData uri="http://schemas.openxmlformats.org/presentationml/2006/ole">
            <mc:AlternateContent xmlns:mc="http://schemas.openxmlformats.org/markup-compatibility/2006">
              <mc:Choice xmlns:v="urn:schemas-microsoft-com:vml" Requires="v">
                <p:oleObj spid="_x0000_s119727" name="think-cell 幻灯片" r:id="rId24" imgW="270" imgH="270" progId="TCLayout.ActiveDocument.1">
                  <p:embed/>
                </p:oleObj>
              </mc:Choice>
              <mc:Fallback>
                <p:oleObj name="think-cell 幻灯片" r:id="rId24" imgW="270" imgH="270" progId="TCLayout.ActiveDocument.1">
                  <p:embed/>
                  <p:pic>
                    <p:nvPicPr>
                      <p:cNvPr id="0" name=""/>
                      <p:cNvPicPr/>
                      <p:nvPr/>
                    </p:nvPicPr>
                    <p:blipFill>
                      <a:blip r:embed="rId25"/>
                      <a:stretch>
                        <a:fillRect/>
                      </a:stretch>
                    </p:blipFill>
                    <p:spPr>
                      <a:xfrm>
                        <a:off x="0" y="1"/>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1"/>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200"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8203901" y="1952132"/>
            <a:ext cx="1375377"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0">
                <a:solidFill>
                  <a:srgbClr val="808080"/>
                </a:solidFill>
                <a:latin typeface="Arial"/>
              </a:rPr>
              <a:t>Last Modified 7/1/2021 1:14 PM China Standard Time</a:t>
            </a:r>
            <a:endParaRPr lang="en-US" sz="1200" dirty="0">
              <a:solidFill>
                <a:srgbClr val="808080"/>
              </a:solidFill>
              <a:latin typeface="Arial"/>
            </a:endParaRPr>
          </a:p>
        </p:txBody>
      </p:sp>
      <p:sp>
        <p:nvSpPr>
          <p:cNvPr id="1035" name="Printed" hidden="1"/>
          <p:cNvSpPr txBox="1">
            <a:spLocks noChangeArrowheads="1"/>
          </p:cNvSpPr>
          <p:nvPr/>
        </p:nvSpPr>
        <p:spPr bwMode="gray">
          <a:xfrm rot="5400000">
            <a:off x="8268019" y="4125957"/>
            <a:ext cx="1247136"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0">
                <a:solidFill>
                  <a:srgbClr val="808080"/>
                </a:solidFill>
                <a:latin typeface="Arial"/>
              </a:rPr>
              <a:t>Printed 4/17/2017 8:54 PM China Standard Time</a:t>
            </a:r>
            <a:endParaRPr lang="en-US" sz="1200" dirty="0">
              <a:solidFill>
                <a:srgbClr val="808080"/>
              </a:solidFill>
              <a:latin typeface="Arial"/>
            </a:endParaRPr>
          </a:p>
        </p:txBody>
      </p:sp>
      <p:sp>
        <p:nvSpPr>
          <p:cNvPr id="19" name="Title Placeholder 2"/>
          <p:cNvSpPr>
            <a:spLocks noGrp="1" noChangeArrowheads="1"/>
          </p:cNvSpPr>
          <p:nvPr>
            <p:ph type="title"/>
          </p:nvPr>
        </p:nvSpPr>
        <p:spPr bwMode="gray">
          <a:xfrm>
            <a:off x="119064" y="230189"/>
            <a:ext cx="8618537" cy="2307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4" y="75765"/>
            <a:ext cx="368691"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600" cap="all" dirty="0">
                <a:solidFill>
                  <a:srgbClr val="808080"/>
                </a:solidFill>
                <a:latin typeface="Arial"/>
              </a:rPr>
              <a:t>Tracker</a:t>
            </a:r>
          </a:p>
        </p:txBody>
      </p:sp>
      <p:sp>
        <p:nvSpPr>
          <p:cNvPr id="11" name="3. Unit of measure" hidden="1"/>
          <p:cNvSpPr txBox="1">
            <a:spLocks noChangeArrowheads="1"/>
          </p:cNvSpPr>
          <p:nvPr/>
        </p:nvSpPr>
        <p:spPr bwMode="gray">
          <a:xfrm>
            <a:off x="119064" y="554866"/>
            <a:ext cx="861853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200" dirty="0">
                <a:solidFill>
                  <a:srgbClr val="808080"/>
                </a:solidFill>
                <a:latin typeface="Arial"/>
              </a:rPr>
              <a:t>Unit of measure</a:t>
            </a:r>
          </a:p>
        </p:txBody>
      </p:sp>
      <p:grpSp>
        <p:nvGrpSpPr>
          <p:cNvPr id="4" name="Slide Elements" hidden="1"/>
          <p:cNvGrpSpPr/>
          <p:nvPr userDrawn="1"/>
        </p:nvGrpSpPr>
        <p:grpSpPr bwMode="gray">
          <a:xfrm>
            <a:off x="119064" y="6337437"/>
            <a:ext cx="8618537" cy="293946"/>
            <a:chOff x="119063" y="6337437"/>
            <a:chExt cx="8618537" cy="293946"/>
          </a:xfrm>
        </p:grpSpPr>
        <p:sp>
          <p:nvSpPr>
            <p:cNvPr id="13" name="4. Footnote"/>
            <p:cNvSpPr txBox="1">
              <a:spLocks noChangeArrowheads="1"/>
            </p:cNvSpPr>
            <p:nvPr/>
          </p:nvSpPr>
          <p:spPr bwMode="gray">
            <a:xfrm>
              <a:off x="119063" y="6337437"/>
              <a:ext cx="861853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600" dirty="0">
                  <a:solidFill>
                    <a:srgbClr val="808080"/>
                  </a:solidFill>
                  <a:latin typeface="Arial"/>
                </a:rPr>
                <a:t>1 Footnote</a:t>
              </a:r>
            </a:p>
          </p:txBody>
        </p:sp>
        <p:sp>
          <p:nvSpPr>
            <p:cNvPr id="14" name="5. Source"/>
            <p:cNvSpPr>
              <a:spLocks noChangeArrowheads="1"/>
            </p:cNvSpPr>
            <p:nvPr/>
          </p:nvSpPr>
          <p:spPr bwMode="gray">
            <a:xfrm>
              <a:off x="119063" y="6539050"/>
              <a:ext cx="720000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57137" indent="-457137" defTabSz="671420">
                <a:tabLst>
                  <a:tab pos="472613" algn="l"/>
                </a:tabLst>
              </a:pPr>
              <a:r>
                <a:rPr lang="en-US" sz="600" dirty="0">
                  <a:solidFill>
                    <a:srgbClr val="808080"/>
                  </a:solidFill>
                  <a:latin typeface="Arial"/>
                </a:rPr>
                <a:t>SOURCE: Source</a:t>
              </a:r>
            </a:p>
          </p:txBody>
        </p:sp>
      </p:grpSp>
      <p:sp>
        <p:nvSpPr>
          <p:cNvPr id="3" name="Text Placeholder 2"/>
          <p:cNvSpPr>
            <a:spLocks noGrp="1"/>
          </p:cNvSpPr>
          <p:nvPr>
            <p:ph type="body" idx="1"/>
          </p:nvPr>
        </p:nvSpPr>
        <p:spPr bwMode="gray">
          <a:xfrm>
            <a:off x="1452565" y="1951380"/>
            <a:ext cx="4302125" cy="807913"/>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52564" y="1378405"/>
            <a:ext cx="4264025" cy="387351"/>
            <a:chOff x="915" y="786"/>
            <a:chExt cx="2686" cy="244"/>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86"/>
              <a:ext cx="2686" cy="2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200" b="1" dirty="0">
                  <a:solidFill>
                    <a:srgbClr val="000000"/>
                  </a:solidFill>
                  <a:latin typeface="Arial"/>
                </a:rPr>
                <a:t>Title</a:t>
              </a:r>
            </a:p>
            <a:p>
              <a:r>
                <a:rPr lang="en-US" sz="1200" dirty="0">
                  <a:solidFill>
                    <a:srgbClr val="808080"/>
                  </a:solidFill>
                  <a:latin typeface="Arial"/>
                </a:rPr>
                <a:t>Unit of measure</a:t>
              </a:r>
            </a:p>
          </p:txBody>
        </p:sp>
      </p:grpSp>
      <p:grpSp>
        <p:nvGrpSpPr>
          <p:cNvPr id="17" name="McKSticker" hidden="1"/>
          <p:cNvGrpSpPr/>
          <p:nvPr/>
        </p:nvGrpSpPr>
        <p:grpSpPr bwMode="gray">
          <a:xfrm>
            <a:off x="8376479" y="285752"/>
            <a:ext cx="361125" cy="120033"/>
            <a:chOff x="8379651" y="285750"/>
            <a:chExt cx="361125" cy="120032"/>
          </a:xfrm>
        </p:grpSpPr>
        <p:sp>
          <p:nvSpPr>
            <p:cNvPr id="20" name="StickerRectangle"/>
            <p:cNvSpPr>
              <a:spLocks noChangeArrowheads="1"/>
            </p:cNvSpPr>
            <p:nvPr/>
          </p:nvSpPr>
          <p:spPr bwMode="gray">
            <a:xfrm>
              <a:off x="8379651" y="285750"/>
              <a:ext cx="361125" cy="12003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1420">
                <a:buClr>
                  <a:srgbClr val="002960"/>
                </a:buClr>
              </a:pPr>
              <a:r>
                <a:rPr lang="en-US" sz="600" dirty="0">
                  <a:solidFill>
                    <a:srgbClr val="808080"/>
                  </a:solidFill>
                  <a:latin typeface="Arial"/>
                </a:rPr>
                <a:t>STICKER</a:t>
              </a:r>
            </a:p>
          </p:txBody>
        </p:sp>
        <p:cxnSp>
          <p:nvCxnSpPr>
            <p:cNvPr id="21" name="AutoShape 31"/>
            <p:cNvCxnSpPr>
              <a:cxnSpLocks noChangeShapeType="1"/>
              <a:stCxn id="20" idx="2"/>
              <a:endCxn id="20" idx="4"/>
            </p:cNvCxnSpPr>
            <p:nvPr/>
          </p:nvCxnSpPr>
          <p:spPr bwMode="gray">
            <a:xfrm>
              <a:off x="8379651" y="285750"/>
              <a:ext cx="0" cy="120032"/>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9651" y="405782"/>
              <a:ext cx="36112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8509001" y="632734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23" name="doc id" hidden="1"/>
          <p:cNvSpPr>
            <a:spLocks noChangeArrowheads="1"/>
          </p:cNvSpPr>
          <p:nvPr userDrawn="1"/>
        </p:nvSpPr>
        <p:spPr bwMode="auto">
          <a:xfrm>
            <a:off x="8081964" y="50802"/>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71420"/>
            <a:endParaRPr lang="en-US" sz="600" dirty="0">
              <a:solidFill>
                <a:srgbClr val="808080"/>
              </a:solidFill>
              <a:latin typeface="Arial"/>
            </a:endParaRPr>
          </a:p>
        </p:txBody>
      </p:sp>
      <p:grpSp>
        <p:nvGrpSpPr>
          <p:cNvPr id="26" name="LegendBoxes" hidden="1"/>
          <p:cNvGrpSpPr/>
          <p:nvPr userDrawn="1"/>
        </p:nvGrpSpPr>
        <p:grpSpPr bwMode="gray">
          <a:xfrm>
            <a:off x="7915097" y="279402"/>
            <a:ext cx="638721" cy="984250"/>
            <a:chOff x="7835905" y="279400"/>
            <a:chExt cx="638721" cy="984251"/>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31" name="Legend1"/>
            <p:cNvSpPr>
              <a:spLocks noChangeArrowheads="1"/>
            </p:cNvSpPr>
            <p:nvPr/>
          </p:nvSpPr>
          <p:spPr bwMode="gray">
            <a:xfrm>
              <a:off x="8089905" y="279400"/>
              <a:ext cx="38472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20">
                <a:buClr>
                  <a:srgbClr val="002960"/>
                </a:buClr>
              </a:pPr>
              <a:r>
                <a:rPr lang="en-US" sz="900" dirty="0">
                  <a:solidFill>
                    <a:srgbClr val="000000"/>
                  </a:solidFill>
                  <a:latin typeface="Arial"/>
                </a:rPr>
                <a:t>Legend</a:t>
              </a:r>
            </a:p>
          </p:txBody>
        </p:sp>
        <p:sp>
          <p:nvSpPr>
            <p:cNvPr id="32" name="Legend2"/>
            <p:cNvSpPr>
              <a:spLocks noChangeArrowheads="1"/>
            </p:cNvSpPr>
            <p:nvPr/>
          </p:nvSpPr>
          <p:spPr bwMode="gray">
            <a:xfrm>
              <a:off x="8089905" y="549274"/>
              <a:ext cx="38472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20">
                <a:buClr>
                  <a:srgbClr val="002960"/>
                </a:buClr>
              </a:pPr>
              <a:r>
                <a:rPr lang="en-US" sz="900" dirty="0">
                  <a:solidFill>
                    <a:srgbClr val="000000"/>
                  </a:solidFill>
                  <a:latin typeface="Arial"/>
                </a:rPr>
                <a:t>Legend</a:t>
              </a:r>
            </a:p>
          </p:txBody>
        </p:sp>
        <p:sp>
          <p:nvSpPr>
            <p:cNvPr id="33" name="Legend3"/>
            <p:cNvSpPr>
              <a:spLocks noChangeArrowheads="1"/>
            </p:cNvSpPr>
            <p:nvPr/>
          </p:nvSpPr>
          <p:spPr bwMode="gray">
            <a:xfrm>
              <a:off x="8089905" y="820738"/>
              <a:ext cx="38472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20">
                <a:buClr>
                  <a:srgbClr val="002960"/>
                </a:buClr>
              </a:pPr>
              <a:r>
                <a:rPr lang="en-US" sz="900" dirty="0">
                  <a:solidFill>
                    <a:srgbClr val="000000"/>
                  </a:solidFill>
                  <a:latin typeface="Arial"/>
                </a:rPr>
                <a:t>Legend</a:t>
              </a:r>
            </a:p>
          </p:txBody>
        </p:sp>
        <p:sp>
          <p:nvSpPr>
            <p:cNvPr id="34" name="Legend4"/>
            <p:cNvSpPr>
              <a:spLocks noChangeArrowheads="1"/>
            </p:cNvSpPr>
            <p:nvPr/>
          </p:nvSpPr>
          <p:spPr bwMode="gray">
            <a:xfrm>
              <a:off x="8089905" y="1092201"/>
              <a:ext cx="38472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20">
                <a:buClr>
                  <a:srgbClr val="002960"/>
                </a:buClr>
              </a:pPr>
              <a:r>
                <a:rPr lang="en-US" sz="900" dirty="0">
                  <a:solidFill>
                    <a:srgbClr val="000000"/>
                  </a:solidFill>
                  <a:latin typeface="Arial"/>
                </a:rPr>
                <a:t>Legend</a:t>
              </a:r>
            </a:p>
          </p:txBody>
        </p:sp>
      </p:grpSp>
      <p:grpSp>
        <p:nvGrpSpPr>
          <p:cNvPr id="35" name="LegendLines" hidden="1"/>
          <p:cNvGrpSpPr/>
          <p:nvPr userDrawn="1"/>
        </p:nvGrpSpPr>
        <p:grpSpPr bwMode="gray">
          <a:xfrm>
            <a:off x="7607287" y="279400"/>
            <a:ext cx="946696" cy="684600"/>
            <a:chOff x="7540629" y="279400"/>
            <a:chExt cx="946696" cy="684600"/>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39" name="Legend1"/>
            <p:cNvSpPr>
              <a:spLocks noChangeArrowheads="1"/>
            </p:cNvSpPr>
            <p:nvPr/>
          </p:nvSpPr>
          <p:spPr bwMode="gray">
            <a:xfrm>
              <a:off x="8102604" y="279400"/>
              <a:ext cx="38472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20">
                <a:buClr>
                  <a:srgbClr val="002960"/>
                </a:buClr>
              </a:pPr>
              <a:r>
                <a:rPr lang="en-US" sz="900" dirty="0">
                  <a:solidFill>
                    <a:srgbClr val="000000"/>
                  </a:solidFill>
                  <a:latin typeface="Arial"/>
                </a:rPr>
                <a:t>Legend</a:t>
              </a:r>
            </a:p>
          </p:txBody>
        </p:sp>
        <p:sp>
          <p:nvSpPr>
            <p:cNvPr id="40" name="Legend2"/>
            <p:cNvSpPr>
              <a:spLocks noChangeArrowheads="1"/>
            </p:cNvSpPr>
            <p:nvPr/>
          </p:nvSpPr>
          <p:spPr bwMode="gray">
            <a:xfrm>
              <a:off x="8102604" y="546100"/>
              <a:ext cx="38472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20">
                <a:buClr>
                  <a:srgbClr val="002960"/>
                </a:buClr>
              </a:pPr>
              <a:r>
                <a:rPr lang="en-US" sz="900" dirty="0">
                  <a:solidFill>
                    <a:srgbClr val="000000"/>
                  </a:solidFill>
                  <a:latin typeface="Arial"/>
                </a:rPr>
                <a:t>Legend</a:t>
              </a:r>
            </a:p>
          </p:txBody>
        </p:sp>
        <p:sp>
          <p:nvSpPr>
            <p:cNvPr id="41" name="Legend3"/>
            <p:cNvSpPr>
              <a:spLocks noChangeArrowheads="1"/>
            </p:cNvSpPr>
            <p:nvPr/>
          </p:nvSpPr>
          <p:spPr bwMode="gray">
            <a:xfrm>
              <a:off x="8102604" y="825501"/>
              <a:ext cx="38472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20">
                <a:buClr>
                  <a:srgbClr val="002960"/>
                </a:buClr>
              </a:pPr>
              <a:r>
                <a:rPr lang="en-US" sz="900" dirty="0">
                  <a:solidFill>
                    <a:srgbClr val="000000"/>
                  </a:solidFill>
                  <a:latin typeface="Arial"/>
                </a:rPr>
                <a:t>Legend</a:t>
              </a:r>
            </a:p>
          </p:txBody>
        </p:sp>
      </p:grpSp>
      <p:grpSp>
        <p:nvGrpSpPr>
          <p:cNvPr id="42" name="LegendMoons" hidden="1"/>
          <p:cNvGrpSpPr/>
          <p:nvPr userDrawn="1"/>
        </p:nvGrpSpPr>
        <p:grpSpPr bwMode="gray">
          <a:xfrm>
            <a:off x="7848422" y="250825"/>
            <a:ext cx="705396" cy="1306516"/>
            <a:chOff x="7769225" y="250825"/>
            <a:chExt cx="705396" cy="1306516"/>
          </a:xfrm>
        </p:grpSpPr>
        <p:grpSp>
          <p:nvGrpSpPr>
            <p:cNvPr id="43" name="MoonLegend1"/>
            <p:cNvGrpSpPr>
              <a:grpSpLocks noChangeAspect="1"/>
            </p:cNvGrpSpPr>
            <p:nvPr>
              <p:custDataLst>
                <p:tags r:id="rId9"/>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2"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44" name="MoonLegend2"/>
            <p:cNvGrpSpPr>
              <a:grpSpLocks noChangeAspect="1"/>
            </p:cNvGrpSpPr>
            <p:nvPr>
              <p:custDataLst>
                <p:tags r:id="rId10"/>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0"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45"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58"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46"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56"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47" name="MoonLegend3"/>
            <p:cNvGrpSpPr>
              <a:grpSpLocks noChangeAspect="1"/>
            </p:cNvGrpSpPr>
            <p:nvPr>
              <p:custDataLst>
                <p:tags r:id="rId13"/>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54"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sp>
          <p:nvSpPr>
            <p:cNvPr id="48" name="Legend1"/>
            <p:cNvSpPr>
              <a:spLocks noChangeArrowheads="1"/>
            </p:cNvSpPr>
            <p:nvPr/>
          </p:nvSpPr>
          <p:spPr bwMode="gray">
            <a:xfrm>
              <a:off x="8089900" y="263524"/>
              <a:ext cx="38472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20">
                <a:buClr>
                  <a:srgbClr val="002960"/>
                </a:buClr>
              </a:pPr>
              <a:r>
                <a:rPr lang="en-US" sz="900" dirty="0">
                  <a:solidFill>
                    <a:srgbClr val="000000"/>
                  </a:solidFill>
                  <a:latin typeface="Arial"/>
                </a:rPr>
                <a:t>Legend</a:t>
              </a:r>
            </a:p>
          </p:txBody>
        </p:sp>
        <p:sp>
          <p:nvSpPr>
            <p:cNvPr id="49" name="Legend2"/>
            <p:cNvSpPr>
              <a:spLocks noChangeArrowheads="1"/>
            </p:cNvSpPr>
            <p:nvPr/>
          </p:nvSpPr>
          <p:spPr bwMode="gray">
            <a:xfrm>
              <a:off x="8089900" y="538163"/>
              <a:ext cx="38472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20">
                <a:buClr>
                  <a:srgbClr val="002960"/>
                </a:buClr>
              </a:pPr>
              <a:r>
                <a:rPr lang="en-US" sz="900" dirty="0">
                  <a:solidFill>
                    <a:srgbClr val="000000"/>
                  </a:solidFill>
                  <a:latin typeface="Arial"/>
                </a:rPr>
                <a:t>Legend</a:t>
              </a:r>
            </a:p>
          </p:txBody>
        </p:sp>
        <p:sp>
          <p:nvSpPr>
            <p:cNvPr id="50" name="Legend3"/>
            <p:cNvSpPr>
              <a:spLocks noChangeArrowheads="1"/>
            </p:cNvSpPr>
            <p:nvPr/>
          </p:nvSpPr>
          <p:spPr bwMode="gray">
            <a:xfrm>
              <a:off x="8089900" y="812802"/>
              <a:ext cx="38472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20">
                <a:buClr>
                  <a:srgbClr val="002960"/>
                </a:buClr>
              </a:pPr>
              <a:r>
                <a:rPr lang="en-US" sz="900" dirty="0">
                  <a:solidFill>
                    <a:srgbClr val="000000"/>
                  </a:solidFill>
                  <a:latin typeface="Arial"/>
                </a:rPr>
                <a:t>Legend</a:t>
              </a:r>
            </a:p>
          </p:txBody>
        </p:sp>
        <p:sp>
          <p:nvSpPr>
            <p:cNvPr id="51" name="Legend4"/>
            <p:cNvSpPr>
              <a:spLocks noChangeArrowheads="1"/>
            </p:cNvSpPr>
            <p:nvPr/>
          </p:nvSpPr>
          <p:spPr bwMode="gray">
            <a:xfrm>
              <a:off x="8089900" y="1084265"/>
              <a:ext cx="38472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20">
                <a:buClr>
                  <a:srgbClr val="002960"/>
                </a:buClr>
              </a:pPr>
              <a:r>
                <a:rPr lang="en-US" sz="900" dirty="0">
                  <a:solidFill>
                    <a:srgbClr val="000000"/>
                  </a:solidFill>
                  <a:latin typeface="Arial"/>
                </a:rPr>
                <a:t>Legend</a:t>
              </a:r>
            </a:p>
          </p:txBody>
        </p:sp>
        <p:sp>
          <p:nvSpPr>
            <p:cNvPr id="52" name="Legend5"/>
            <p:cNvSpPr>
              <a:spLocks noChangeArrowheads="1"/>
            </p:cNvSpPr>
            <p:nvPr/>
          </p:nvSpPr>
          <p:spPr bwMode="gray">
            <a:xfrm>
              <a:off x="8089900" y="1360490"/>
              <a:ext cx="38472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20">
                <a:buClr>
                  <a:srgbClr val="002960"/>
                </a:buClr>
              </a:pPr>
              <a:r>
                <a:rPr lang="en-US" sz="900" dirty="0">
                  <a:solidFill>
                    <a:srgbClr val="000000"/>
                  </a:solidFill>
                  <a:latin typeface="Arial"/>
                </a:rPr>
                <a:t>Legend</a:t>
              </a:r>
            </a:p>
          </p:txBody>
        </p:sp>
      </p:grpSp>
    </p:spTree>
    <p:extLst>
      <p:ext uri="{BB962C8B-B14F-4D97-AF65-F5344CB8AC3E}">
        <p14:creationId xmlns:p14="http://schemas.microsoft.com/office/powerpoint/2010/main" val="600766983"/>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Lst>
  <p:hf hdr="0" ftr="0" dt="0"/>
  <p:txStyles>
    <p:titleStyle>
      <a:lvl1pPr algn="l" defTabSz="671420" rtl="0" eaLnBrk="1" fontAlgn="base" hangingPunct="1">
        <a:spcBef>
          <a:spcPct val="0"/>
        </a:spcBef>
        <a:spcAft>
          <a:spcPct val="0"/>
        </a:spcAft>
        <a:tabLst>
          <a:tab pos="202378" algn="l"/>
        </a:tabLst>
        <a:defRPr sz="1499" b="0" baseline="0">
          <a:solidFill>
            <a:schemeClr val="tx2"/>
          </a:solidFill>
          <a:latin typeface="+mj-lt"/>
          <a:ea typeface="+mj-ea"/>
          <a:cs typeface="+mj-cs"/>
        </a:defRPr>
      </a:lvl1pPr>
      <a:lvl2pPr algn="l" defTabSz="671420" rtl="0" eaLnBrk="1" fontAlgn="base" hangingPunct="1">
        <a:spcBef>
          <a:spcPct val="0"/>
        </a:spcBef>
        <a:spcAft>
          <a:spcPct val="0"/>
        </a:spcAft>
        <a:defRPr sz="1425" b="1">
          <a:solidFill>
            <a:schemeClr val="tx2"/>
          </a:solidFill>
          <a:latin typeface="Arial" charset="0"/>
        </a:defRPr>
      </a:lvl2pPr>
      <a:lvl3pPr algn="l" defTabSz="671420" rtl="0" eaLnBrk="1" fontAlgn="base" hangingPunct="1">
        <a:spcBef>
          <a:spcPct val="0"/>
        </a:spcBef>
        <a:spcAft>
          <a:spcPct val="0"/>
        </a:spcAft>
        <a:defRPr sz="1425" b="1">
          <a:solidFill>
            <a:schemeClr val="tx2"/>
          </a:solidFill>
          <a:latin typeface="Arial" charset="0"/>
        </a:defRPr>
      </a:lvl3pPr>
      <a:lvl4pPr algn="l" defTabSz="671420" rtl="0" eaLnBrk="1" fontAlgn="base" hangingPunct="1">
        <a:spcBef>
          <a:spcPct val="0"/>
        </a:spcBef>
        <a:spcAft>
          <a:spcPct val="0"/>
        </a:spcAft>
        <a:defRPr sz="1425" b="1">
          <a:solidFill>
            <a:schemeClr val="tx2"/>
          </a:solidFill>
          <a:latin typeface="Arial" charset="0"/>
        </a:defRPr>
      </a:lvl4pPr>
      <a:lvl5pPr algn="l" defTabSz="671420" rtl="0" eaLnBrk="1" fontAlgn="base" hangingPunct="1">
        <a:spcBef>
          <a:spcPct val="0"/>
        </a:spcBef>
        <a:spcAft>
          <a:spcPct val="0"/>
        </a:spcAft>
        <a:defRPr sz="1425" b="1">
          <a:solidFill>
            <a:schemeClr val="tx2"/>
          </a:solidFill>
          <a:latin typeface="Arial" charset="0"/>
        </a:defRPr>
      </a:lvl5pPr>
      <a:lvl6pPr marL="342852" algn="l" defTabSz="671420" rtl="0" eaLnBrk="1" fontAlgn="base" hangingPunct="1">
        <a:spcBef>
          <a:spcPct val="0"/>
        </a:spcBef>
        <a:spcAft>
          <a:spcPct val="0"/>
        </a:spcAft>
        <a:defRPr sz="1425" b="1">
          <a:solidFill>
            <a:schemeClr val="tx2"/>
          </a:solidFill>
          <a:latin typeface="Arial" charset="0"/>
        </a:defRPr>
      </a:lvl6pPr>
      <a:lvl7pPr marL="685705" algn="l" defTabSz="671420" rtl="0" eaLnBrk="1" fontAlgn="base" hangingPunct="1">
        <a:spcBef>
          <a:spcPct val="0"/>
        </a:spcBef>
        <a:spcAft>
          <a:spcPct val="0"/>
        </a:spcAft>
        <a:defRPr sz="1425" b="1">
          <a:solidFill>
            <a:schemeClr val="tx2"/>
          </a:solidFill>
          <a:latin typeface="Arial" charset="0"/>
        </a:defRPr>
      </a:lvl7pPr>
      <a:lvl8pPr marL="1028557" algn="l" defTabSz="671420" rtl="0" eaLnBrk="1" fontAlgn="base" hangingPunct="1">
        <a:spcBef>
          <a:spcPct val="0"/>
        </a:spcBef>
        <a:spcAft>
          <a:spcPct val="0"/>
        </a:spcAft>
        <a:defRPr sz="1425" b="1">
          <a:solidFill>
            <a:schemeClr val="tx2"/>
          </a:solidFill>
          <a:latin typeface="Arial" charset="0"/>
        </a:defRPr>
      </a:lvl8pPr>
      <a:lvl9pPr marL="1371410" algn="l" defTabSz="671420" rtl="0" eaLnBrk="1" fontAlgn="base" hangingPunct="1">
        <a:spcBef>
          <a:spcPct val="0"/>
        </a:spcBef>
        <a:spcAft>
          <a:spcPct val="0"/>
        </a:spcAft>
        <a:defRPr sz="1425" b="1">
          <a:solidFill>
            <a:schemeClr val="tx2"/>
          </a:solidFill>
          <a:latin typeface="Arial" charset="0"/>
        </a:defRPr>
      </a:lvl9pPr>
    </p:titleStyle>
    <p:bodyStyle>
      <a:lvl1pPr marL="0" indent="0" algn="l" defTabSz="671420" rtl="0" eaLnBrk="1" fontAlgn="base" hangingPunct="1">
        <a:spcBef>
          <a:spcPct val="0"/>
        </a:spcBef>
        <a:spcAft>
          <a:spcPct val="0"/>
        </a:spcAft>
        <a:buClr>
          <a:schemeClr val="tx2"/>
        </a:buClr>
        <a:buSzPct val="100000"/>
        <a:defRPr sz="1050" baseline="0">
          <a:solidFill>
            <a:schemeClr val="tx1"/>
          </a:solidFill>
          <a:latin typeface="+mn-lt"/>
          <a:ea typeface="+mn-ea"/>
          <a:cs typeface="+mn-cs"/>
        </a:defRPr>
      </a:lvl1pPr>
      <a:lvl2pPr marL="145236" indent="-144046" algn="l" defTabSz="671420" rtl="0" eaLnBrk="1" fontAlgn="base" hangingPunct="1">
        <a:spcBef>
          <a:spcPct val="0"/>
        </a:spcBef>
        <a:spcAft>
          <a:spcPct val="0"/>
        </a:spcAft>
        <a:buClr>
          <a:schemeClr val="tx2"/>
        </a:buClr>
        <a:buSzPct val="125000"/>
        <a:buFont typeface="Arial" charset="0"/>
        <a:buChar char="▪"/>
        <a:defRPr sz="1050" baseline="0">
          <a:solidFill>
            <a:schemeClr val="tx1"/>
          </a:solidFill>
          <a:latin typeface="+mn-lt"/>
        </a:defRPr>
      </a:lvl2pPr>
      <a:lvl3pPr marL="342852" indent="-196426" algn="l" defTabSz="671420" rtl="0" eaLnBrk="1" fontAlgn="base" hangingPunct="1">
        <a:spcBef>
          <a:spcPct val="0"/>
        </a:spcBef>
        <a:spcAft>
          <a:spcPct val="0"/>
        </a:spcAft>
        <a:buClr>
          <a:schemeClr val="tx2"/>
        </a:buClr>
        <a:buSzPct val="120000"/>
        <a:buFont typeface="Arial" charset="0"/>
        <a:buChar char="–"/>
        <a:defRPr sz="1050" baseline="0">
          <a:solidFill>
            <a:schemeClr val="tx1"/>
          </a:solidFill>
          <a:latin typeface="+mn-lt"/>
        </a:defRPr>
      </a:lvl3pPr>
      <a:lvl4pPr marL="460709" indent="-116665" algn="l" defTabSz="671420" rtl="0" eaLnBrk="1" fontAlgn="base" hangingPunct="1">
        <a:spcBef>
          <a:spcPct val="0"/>
        </a:spcBef>
        <a:spcAft>
          <a:spcPct val="0"/>
        </a:spcAft>
        <a:buClr>
          <a:schemeClr val="tx2"/>
        </a:buClr>
        <a:buSzPct val="120000"/>
        <a:buFont typeface="Arial" charset="0"/>
        <a:buChar char="▫"/>
        <a:defRPr sz="1050" baseline="0">
          <a:solidFill>
            <a:schemeClr val="tx1"/>
          </a:solidFill>
          <a:latin typeface="+mn-lt"/>
        </a:defRPr>
      </a:lvl4pPr>
      <a:lvl5pPr marL="562278" indent="-97618" algn="l" defTabSz="671420" rtl="0" eaLnBrk="1" fontAlgn="base" hangingPunct="1">
        <a:spcBef>
          <a:spcPct val="0"/>
        </a:spcBef>
        <a:spcAft>
          <a:spcPct val="0"/>
        </a:spcAft>
        <a:buClr>
          <a:schemeClr val="tx2"/>
        </a:buClr>
        <a:buSzPct val="89000"/>
        <a:buFont typeface="Arial" charset="0"/>
        <a:buChar char="-"/>
        <a:defRPr sz="1050" baseline="0">
          <a:solidFill>
            <a:schemeClr val="tx1"/>
          </a:solidFill>
          <a:latin typeface="+mn-lt"/>
        </a:defRPr>
      </a:lvl5pPr>
      <a:lvl6pPr marL="562278" indent="-97618" algn="l" defTabSz="671420"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62278" indent="-97618" algn="l" defTabSz="671420"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62278" indent="-97618" algn="l" defTabSz="671420"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62278" indent="-97618" algn="l" defTabSz="671420"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85705" rtl="0" eaLnBrk="1" latinLnBrk="0" hangingPunct="1">
        <a:defRPr sz="1349" kern="1200">
          <a:solidFill>
            <a:schemeClr val="tx1"/>
          </a:solidFill>
          <a:latin typeface="+mn-lt"/>
          <a:ea typeface="+mn-ea"/>
          <a:cs typeface="+mn-cs"/>
        </a:defRPr>
      </a:lvl1pPr>
      <a:lvl2pPr marL="342852" algn="l" defTabSz="685705" rtl="0" eaLnBrk="1" latinLnBrk="0" hangingPunct="1">
        <a:defRPr sz="1349" kern="1200">
          <a:solidFill>
            <a:schemeClr val="tx1"/>
          </a:solidFill>
          <a:latin typeface="+mn-lt"/>
          <a:ea typeface="+mn-ea"/>
          <a:cs typeface="+mn-cs"/>
        </a:defRPr>
      </a:lvl2pPr>
      <a:lvl3pPr marL="685705" algn="l" defTabSz="685705" rtl="0" eaLnBrk="1" latinLnBrk="0" hangingPunct="1">
        <a:defRPr sz="1349" kern="1200">
          <a:solidFill>
            <a:schemeClr val="tx1"/>
          </a:solidFill>
          <a:latin typeface="+mn-lt"/>
          <a:ea typeface="+mn-ea"/>
          <a:cs typeface="+mn-cs"/>
        </a:defRPr>
      </a:lvl3pPr>
      <a:lvl4pPr marL="1028557" algn="l" defTabSz="685705" rtl="0" eaLnBrk="1" latinLnBrk="0" hangingPunct="1">
        <a:defRPr sz="1349" kern="1200">
          <a:solidFill>
            <a:schemeClr val="tx1"/>
          </a:solidFill>
          <a:latin typeface="+mn-lt"/>
          <a:ea typeface="+mn-ea"/>
          <a:cs typeface="+mn-cs"/>
        </a:defRPr>
      </a:lvl4pPr>
      <a:lvl5pPr marL="1371410" algn="l" defTabSz="685705" rtl="0" eaLnBrk="1" latinLnBrk="0" hangingPunct="1">
        <a:defRPr sz="1349" kern="1200">
          <a:solidFill>
            <a:schemeClr val="tx1"/>
          </a:solidFill>
          <a:latin typeface="+mn-lt"/>
          <a:ea typeface="+mn-ea"/>
          <a:cs typeface="+mn-cs"/>
        </a:defRPr>
      </a:lvl5pPr>
      <a:lvl6pPr marL="1714262" algn="l" defTabSz="685705" rtl="0" eaLnBrk="1" latinLnBrk="0" hangingPunct="1">
        <a:defRPr sz="1349" kern="1200">
          <a:solidFill>
            <a:schemeClr val="tx1"/>
          </a:solidFill>
          <a:latin typeface="+mn-lt"/>
          <a:ea typeface="+mn-ea"/>
          <a:cs typeface="+mn-cs"/>
        </a:defRPr>
      </a:lvl6pPr>
      <a:lvl7pPr marL="2057115" algn="l" defTabSz="685705" rtl="0" eaLnBrk="1" latinLnBrk="0" hangingPunct="1">
        <a:defRPr sz="1349" kern="1200">
          <a:solidFill>
            <a:schemeClr val="tx1"/>
          </a:solidFill>
          <a:latin typeface="+mn-lt"/>
          <a:ea typeface="+mn-ea"/>
          <a:cs typeface="+mn-cs"/>
        </a:defRPr>
      </a:lvl7pPr>
      <a:lvl8pPr marL="2399967" algn="l" defTabSz="685705" rtl="0" eaLnBrk="1" latinLnBrk="0" hangingPunct="1">
        <a:defRPr sz="1349" kern="1200">
          <a:solidFill>
            <a:schemeClr val="tx1"/>
          </a:solidFill>
          <a:latin typeface="+mn-lt"/>
          <a:ea typeface="+mn-ea"/>
          <a:cs typeface="+mn-cs"/>
        </a:defRPr>
      </a:lvl8pPr>
      <a:lvl9pPr marL="2742820" algn="l" defTabSz="685705"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0.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tags" Target="../tags/tag183.xml"/><Relationship Id="rId13" Type="http://schemas.openxmlformats.org/officeDocument/2006/relationships/image" Target="../media/image18.emf"/><Relationship Id="rId3" Type="http://schemas.openxmlformats.org/officeDocument/2006/relationships/tags" Target="../tags/tag178.xml"/><Relationship Id="rId7" Type="http://schemas.openxmlformats.org/officeDocument/2006/relationships/tags" Target="../tags/tag182.xml"/><Relationship Id="rId12" Type="http://schemas.openxmlformats.org/officeDocument/2006/relationships/slideLayout" Target="../slideLayouts/slideLayout2.xm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tags" Target="../tags/tag181.xml"/><Relationship Id="rId11" Type="http://schemas.openxmlformats.org/officeDocument/2006/relationships/tags" Target="../tags/tag186.xml"/><Relationship Id="rId5" Type="http://schemas.openxmlformats.org/officeDocument/2006/relationships/tags" Target="../tags/tag180.xml"/><Relationship Id="rId10" Type="http://schemas.openxmlformats.org/officeDocument/2006/relationships/tags" Target="../tags/tag185.xml"/><Relationship Id="rId4" Type="http://schemas.openxmlformats.org/officeDocument/2006/relationships/tags" Target="../tags/tag179.xml"/><Relationship Id="rId9" Type="http://schemas.openxmlformats.org/officeDocument/2006/relationships/tags" Target="../tags/tag184.xml"/></Relationships>
</file>

<file path=ppt/slides/_rels/slide11.xml.rels><?xml version="1.0" encoding="UTF-8" standalone="yes"?>
<Relationships xmlns="http://schemas.openxmlformats.org/package/2006/relationships"><Relationship Id="rId13" Type="http://schemas.openxmlformats.org/officeDocument/2006/relationships/tags" Target="../tags/tag199.xml"/><Relationship Id="rId18" Type="http://schemas.openxmlformats.org/officeDocument/2006/relationships/tags" Target="../tags/tag204.xml"/><Relationship Id="rId26" Type="http://schemas.openxmlformats.org/officeDocument/2006/relationships/tags" Target="../tags/tag212.xml"/><Relationship Id="rId39" Type="http://schemas.openxmlformats.org/officeDocument/2006/relationships/tags" Target="../tags/tag225.xml"/><Relationship Id="rId21" Type="http://schemas.openxmlformats.org/officeDocument/2006/relationships/tags" Target="../tags/tag207.xml"/><Relationship Id="rId34" Type="http://schemas.openxmlformats.org/officeDocument/2006/relationships/tags" Target="../tags/tag220.xml"/><Relationship Id="rId42" Type="http://schemas.openxmlformats.org/officeDocument/2006/relationships/slideLayout" Target="../slideLayouts/slideLayout2.xml"/><Relationship Id="rId7" Type="http://schemas.openxmlformats.org/officeDocument/2006/relationships/tags" Target="../tags/tag193.xml"/><Relationship Id="rId2" Type="http://schemas.openxmlformats.org/officeDocument/2006/relationships/tags" Target="../tags/tag188.xml"/><Relationship Id="rId16" Type="http://schemas.openxmlformats.org/officeDocument/2006/relationships/tags" Target="../tags/tag202.xml"/><Relationship Id="rId29" Type="http://schemas.openxmlformats.org/officeDocument/2006/relationships/tags" Target="../tags/tag215.xml"/><Relationship Id="rId1" Type="http://schemas.openxmlformats.org/officeDocument/2006/relationships/tags" Target="../tags/tag187.xml"/><Relationship Id="rId6" Type="http://schemas.openxmlformats.org/officeDocument/2006/relationships/tags" Target="../tags/tag192.xml"/><Relationship Id="rId11" Type="http://schemas.openxmlformats.org/officeDocument/2006/relationships/tags" Target="../tags/tag197.xml"/><Relationship Id="rId24" Type="http://schemas.openxmlformats.org/officeDocument/2006/relationships/tags" Target="../tags/tag210.xml"/><Relationship Id="rId32" Type="http://schemas.openxmlformats.org/officeDocument/2006/relationships/tags" Target="../tags/tag218.xml"/><Relationship Id="rId37" Type="http://schemas.openxmlformats.org/officeDocument/2006/relationships/tags" Target="../tags/tag223.xml"/><Relationship Id="rId40" Type="http://schemas.openxmlformats.org/officeDocument/2006/relationships/tags" Target="../tags/tag226.xml"/><Relationship Id="rId45" Type="http://schemas.openxmlformats.org/officeDocument/2006/relationships/image" Target="../media/image21.emf"/><Relationship Id="rId5" Type="http://schemas.openxmlformats.org/officeDocument/2006/relationships/tags" Target="../tags/tag191.xml"/><Relationship Id="rId15" Type="http://schemas.openxmlformats.org/officeDocument/2006/relationships/tags" Target="../tags/tag201.xml"/><Relationship Id="rId23" Type="http://schemas.openxmlformats.org/officeDocument/2006/relationships/tags" Target="../tags/tag209.xml"/><Relationship Id="rId28" Type="http://schemas.openxmlformats.org/officeDocument/2006/relationships/tags" Target="../tags/tag214.xml"/><Relationship Id="rId36" Type="http://schemas.openxmlformats.org/officeDocument/2006/relationships/tags" Target="../tags/tag222.xml"/><Relationship Id="rId10" Type="http://schemas.openxmlformats.org/officeDocument/2006/relationships/tags" Target="../tags/tag196.xml"/><Relationship Id="rId19" Type="http://schemas.openxmlformats.org/officeDocument/2006/relationships/tags" Target="../tags/tag205.xml"/><Relationship Id="rId31" Type="http://schemas.openxmlformats.org/officeDocument/2006/relationships/tags" Target="../tags/tag217.xml"/><Relationship Id="rId44" Type="http://schemas.openxmlformats.org/officeDocument/2006/relationships/image" Target="../media/image20.emf"/><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tags" Target="../tags/tag200.xml"/><Relationship Id="rId22" Type="http://schemas.openxmlformats.org/officeDocument/2006/relationships/tags" Target="../tags/tag208.xml"/><Relationship Id="rId27" Type="http://schemas.openxmlformats.org/officeDocument/2006/relationships/tags" Target="../tags/tag213.xml"/><Relationship Id="rId30" Type="http://schemas.openxmlformats.org/officeDocument/2006/relationships/tags" Target="../tags/tag216.xml"/><Relationship Id="rId35" Type="http://schemas.openxmlformats.org/officeDocument/2006/relationships/tags" Target="../tags/tag221.xml"/><Relationship Id="rId43" Type="http://schemas.openxmlformats.org/officeDocument/2006/relationships/image" Target="../media/image19.emf"/><Relationship Id="rId8" Type="http://schemas.openxmlformats.org/officeDocument/2006/relationships/tags" Target="../tags/tag194.xml"/><Relationship Id="rId3" Type="http://schemas.openxmlformats.org/officeDocument/2006/relationships/tags" Target="../tags/tag189.xml"/><Relationship Id="rId12" Type="http://schemas.openxmlformats.org/officeDocument/2006/relationships/tags" Target="../tags/tag198.xml"/><Relationship Id="rId17" Type="http://schemas.openxmlformats.org/officeDocument/2006/relationships/tags" Target="../tags/tag203.xml"/><Relationship Id="rId25" Type="http://schemas.openxmlformats.org/officeDocument/2006/relationships/tags" Target="../tags/tag211.xml"/><Relationship Id="rId33" Type="http://schemas.openxmlformats.org/officeDocument/2006/relationships/tags" Target="../tags/tag219.xml"/><Relationship Id="rId38" Type="http://schemas.openxmlformats.org/officeDocument/2006/relationships/tags" Target="../tags/tag224.xml"/><Relationship Id="rId20" Type="http://schemas.openxmlformats.org/officeDocument/2006/relationships/tags" Target="../tags/tag206.xml"/><Relationship Id="rId41" Type="http://schemas.openxmlformats.org/officeDocument/2006/relationships/tags" Target="../tags/tag227.xml"/></Relationships>
</file>

<file path=ppt/slides/_rels/slide12.xml.rels><?xml version="1.0" encoding="UTF-8" standalone="yes"?>
<Relationships xmlns="http://schemas.openxmlformats.org/package/2006/relationships"><Relationship Id="rId8" Type="http://schemas.openxmlformats.org/officeDocument/2006/relationships/tags" Target="../tags/tag235.xml"/><Relationship Id="rId13" Type="http://schemas.openxmlformats.org/officeDocument/2006/relationships/tags" Target="../tags/tag240.xml"/><Relationship Id="rId18" Type="http://schemas.openxmlformats.org/officeDocument/2006/relationships/tags" Target="../tags/tag245.xml"/><Relationship Id="rId26" Type="http://schemas.openxmlformats.org/officeDocument/2006/relationships/slideLayout" Target="../slideLayouts/slideLayout2.xml"/><Relationship Id="rId3" Type="http://schemas.openxmlformats.org/officeDocument/2006/relationships/tags" Target="../tags/tag230.xml"/><Relationship Id="rId21" Type="http://schemas.openxmlformats.org/officeDocument/2006/relationships/tags" Target="../tags/tag248.xml"/><Relationship Id="rId7" Type="http://schemas.openxmlformats.org/officeDocument/2006/relationships/tags" Target="../tags/tag234.xml"/><Relationship Id="rId12" Type="http://schemas.openxmlformats.org/officeDocument/2006/relationships/tags" Target="../tags/tag239.xml"/><Relationship Id="rId17" Type="http://schemas.openxmlformats.org/officeDocument/2006/relationships/tags" Target="../tags/tag244.xml"/><Relationship Id="rId25" Type="http://schemas.openxmlformats.org/officeDocument/2006/relationships/tags" Target="../tags/tag252.xml"/><Relationship Id="rId2" Type="http://schemas.openxmlformats.org/officeDocument/2006/relationships/tags" Target="../tags/tag229.xml"/><Relationship Id="rId16" Type="http://schemas.openxmlformats.org/officeDocument/2006/relationships/tags" Target="../tags/tag243.xml"/><Relationship Id="rId20" Type="http://schemas.openxmlformats.org/officeDocument/2006/relationships/tags" Target="../tags/tag247.xml"/><Relationship Id="rId1" Type="http://schemas.openxmlformats.org/officeDocument/2006/relationships/tags" Target="../tags/tag228.xml"/><Relationship Id="rId6" Type="http://schemas.openxmlformats.org/officeDocument/2006/relationships/tags" Target="../tags/tag233.xml"/><Relationship Id="rId11" Type="http://schemas.openxmlformats.org/officeDocument/2006/relationships/tags" Target="../tags/tag238.xml"/><Relationship Id="rId24" Type="http://schemas.openxmlformats.org/officeDocument/2006/relationships/tags" Target="../tags/tag251.xml"/><Relationship Id="rId5" Type="http://schemas.openxmlformats.org/officeDocument/2006/relationships/tags" Target="../tags/tag232.xml"/><Relationship Id="rId15" Type="http://schemas.openxmlformats.org/officeDocument/2006/relationships/tags" Target="../tags/tag242.xml"/><Relationship Id="rId23" Type="http://schemas.openxmlformats.org/officeDocument/2006/relationships/tags" Target="../tags/tag250.xml"/><Relationship Id="rId28" Type="http://schemas.openxmlformats.org/officeDocument/2006/relationships/image" Target="../media/image23.emf"/><Relationship Id="rId10" Type="http://schemas.openxmlformats.org/officeDocument/2006/relationships/tags" Target="../tags/tag237.xml"/><Relationship Id="rId19" Type="http://schemas.openxmlformats.org/officeDocument/2006/relationships/tags" Target="../tags/tag246.xml"/><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tags" Target="../tags/tag241.xml"/><Relationship Id="rId22" Type="http://schemas.openxmlformats.org/officeDocument/2006/relationships/tags" Target="../tags/tag249.xml"/><Relationship Id="rId27" Type="http://schemas.openxmlformats.org/officeDocument/2006/relationships/image" Target="../media/image22.emf"/></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53.xml"/></Relationships>
</file>

<file path=ppt/slides/_rels/slide14.xml.rels><?xml version="1.0" encoding="UTF-8" standalone="yes"?>
<Relationships xmlns="http://schemas.openxmlformats.org/package/2006/relationships"><Relationship Id="rId8" Type="http://schemas.openxmlformats.org/officeDocument/2006/relationships/tags" Target="../tags/tag260.xml"/><Relationship Id="rId13" Type="http://schemas.openxmlformats.org/officeDocument/2006/relationships/slideLayout" Target="../slideLayouts/slideLayout2.xml"/><Relationship Id="rId18" Type="http://schemas.openxmlformats.org/officeDocument/2006/relationships/image" Target="../media/image26.jpeg"/><Relationship Id="rId3" Type="http://schemas.openxmlformats.org/officeDocument/2006/relationships/tags" Target="../tags/tag255.xml"/><Relationship Id="rId7" Type="http://schemas.openxmlformats.org/officeDocument/2006/relationships/tags" Target="../tags/tag259.xml"/><Relationship Id="rId12" Type="http://schemas.openxmlformats.org/officeDocument/2006/relationships/tags" Target="../tags/tag264.xml"/><Relationship Id="rId17" Type="http://schemas.openxmlformats.org/officeDocument/2006/relationships/image" Target="../media/image25.jpeg"/><Relationship Id="rId2" Type="http://schemas.openxmlformats.org/officeDocument/2006/relationships/tags" Target="../tags/tag254.xml"/><Relationship Id="rId16" Type="http://schemas.openxmlformats.org/officeDocument/2006/relationships/image" Target="../media/image24.emf"/><Relationship Id="rId1" Type="http://schemas.openxmlformats.org/officeDocument/2006/relationships/vmlDrawing" Target="../drawings/vmlDrawing4.vml"/><Relationship Id="rId6" Type="http://schemas.openxmlformats.org/officeDocument/2006/relationships/tags" Target="../tags/tag258.xml"/><Relationship Id="rId11" Type="http://schemas.openxmlformats.org/officeDocument/2006/relationships/tags" Target="../tags/tag263.xml"/><Relationship Id="rId5" Type="http://schemas.openxmlformats.org/officeDocument/2006/relationships/tags" Target="../tags/tag257.xml"/><Relationship Id="rId15" Type="http://schemas.openxmlformats.org/officeDocument/2006/relationships/oleObject" Target="../embeddings/oleObject4.bin"/><Relationship Id="rId10" Type="http://schemas.openxmlformats.org/officeDocument/2006/relationships/tags" Target="../tags/tag262.xml"/><Relationship Id="rId19" Type="http://schemas.openxmlformats.org/officeDocument/2006/relationships/image" Target="../media/image27.gif"/><Relationship Id="rId4" Type="http://schemas.openxmlformats.org/officeDocument/2006/relationships/tags" Target="../tags/tag256.xml"/><Relationship Id="rId9" Type="http://schemas.openxmlformats.org/officeDocument/2006/relationships/tags" Target="../tags/tag261.xml"/><Relationship Id="rId14" Type="http://schemas.openxmlformats.org/officeDocument/2006/relationships/notesSlide" Target="../notesSlides/notesSlide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s/_rels/slide16.xml.rels><?xml version="1.0" encoding="UTF-8" standalone="yes"?>
<Relationships xmlns="http://schemas.openxmlformats.org/package/2006/relationships"><Relationship Id="rId8" Type="http://schemas.openxmlformats.org/officeDocument/2006/relationships/tags" Target="../tags/tag273.xml"/><Relationship Id="rId13" Type="http://schemas.openxmlformats.org/officeDocument/2006/relationships/image" Target="../media/image29.emf"/><Relationship Id="rId3" Type="http://schemas.openxmlformats.org/officeDocument/2006/relationships/tags" Target="../tags/tag268.xml"/><Relationship Id="rId7" Type="http://schemas.openxmlformats.org/officeDocument/2006/relationships/tags" Target="../tags/tag272.xml"/><Relationship Id="rId12" Type="http://schemas.openxmlformats.org/officeDocument/2006/relationships/image" Target="../media/image28.png"/><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tags" Target="../tags/tag271.xml"/><Relationship Id="rId11" Type="http://schemas.openxmlformats.org/officeDocument/2006/relationships/image" Target="../media/image9.png"/><Relationship Id="rId5" Type="http://schemas.openxmlformats.org/officeDocument/2006/relationships/tags" Target="../tags/tag270.xml"/><Relationship Id="rId10" Type="http://schemas.openxmlformats.org/officeDocument/2006/relationships/notesSlide" Target="../notesSlides/notesSlide5.xml"/><Relationship Id="rId4" Type="http://schemas.openxmlformats.org/officeDocument/2006/relationships/tags" Target="../tags/tag269.xml"/><Relationship Id="rId9"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276.xml"/><Relationship Id="rId7" Type="http://schemas.openxmlformats.org/officeDocument/2006/relationships/notesSlide" Target="../notesSlides/notesSlide6.xml"/><Relationship Id="rId2" Type="http://schemas.openxmlformats.org/officeDocument/2006/relationships/tags" Target="../tags/tag275.xml"/><Relationship Id="rId1" Type="http://schemas.openxmlformats.org/officeDocument/2006/relationships/tags" Target="../tags/tag274.xml"/><Relationship Id="rId6" Type="http://schemas.openxmlformats.org/officeDocument/2006/relationships/slideLayout" Target="../slideLayouts/slideLayout2.xml"/><Relationship Id="rId5" Type="http://schemas.openxmlformats.org/officeDocument/2006/relationships/tags" Target="../tags/tag278.xml"/><Relationship Id="rId10" Type="http://schemas.openxmlformats.org/officeDocument/2006/relationships/image" Target="../media/image32.jpeg"/><Relationship Id="rId4" Type="http://schemas.openxmlformats.org/officeDocument/2006/relationships/tags" Target="../tags/tag277.xml"/><Relationship Id="rId9" Type="http://schemas.openxmlformats.org/officeDocument/2006/relationships/image" Target="../media/image31.jpeg"/></Relationships>
</file>

<file path=ppt/slides/_rels/slide18.xml.rels><?xml version="1.0" encoding="UTF-8" standalone="yes"?>
<Relationships xmlns="http://schemas.openxmlformats.org/package/2006/relationships"><Relationship Id="rId8" Type="http://schemas.openxmlformats.org/officeDocument/2006/relationships/tags" Target="../tags/tag286.xml"/><Relationship Id="rId13" Type="http://schemas.openxmlformats.org/officeDocument/2006/relationships/tags" Target="../tags/tag291.xml"/><Relationship Id="rId18" Type="http://schemas.openxmlformats.org/officeDocument/2006/relationships/slideLayout" Target="../slideLayouts/slideLayout2.xml"/><Relationship Id="rId3" Type="http://schemas.openxmlformats.org/officeDocument/2006/relationships/tags" Target="../tags/tag281.xml"/><Relationship Id="rId21" Type="http://schemas.openxmlformats.org/officeDocument/2006/relationships/image" Target="../media/image35.jpeg"/><Relationship Id="rId7" Type="http://schemas.openxmlformats.org/officeDocument/2006/relationships/tags" Target="../tags/tag285.xml"/><Relationship Id="rId12" Type="http://schemas.openxmlformats.org/officeDocument/2006/relationships/tags" Target="../tags/tag290.xml"/><Relationship Id="rId17" Type="http://schemas.openxmlformats.org/officeDocument/2006/relationships/tags" Target="../tags/tag295.xml"/><Relationship Id="rId2" Type="http://schemas.openxmlformats.org/officeDocument/2006/relationships/tags" Target="../tags/tag280.xml"/><Relationship Id="rId16" Type="http://schemas.openxmlformats.org/officeDocument/2006/relationships/tags" Target="../tags/tag294.xml"/><Relationship Id="rId20" Type="http://schemas.openxmlformats.org/officeDocument/2006/relationships/image" Target="../media/image34.png"/><Relationship Id="rId1" Type="http://schemas.openxmlformats.org/officeDocument/2006/relationships/tags" Target="../tags/tag279.xml"/><Relationship Id="rId6" Type="http://schemas.openxmlformats.org/officeDocument/2006/relationships/tags" Target="../tags/tag284.xml"/><Relationship Id="rId11" Type="http://schemas.openxmlformats.org/officeDocument/2006/relationships/tags" Target="../tags/tag289.xml"/><Relationship Id="rId24" Type="http://schemas.openxmlformats.org/officeDocument/2006/relationships/image" Target="../media/image38.emf"/><Relationship Id="rId5" Type="http://schemas.openxmlformats.org/officeDocument/2006/relationships/tags" Target="../tags/tag283.xml"/><Relationship Id="rId15" Type="http://schemas.openxmlformats.org/officeDocument/2006/relationships/tags" Target="../tags/tag293.xml"/><Relationship Id="rId23" Type="http://schemas.openxmlformats.org/officeDocument/2006/relationships/image" Target="../media/image37.jpeg"/><Relationship Id="rId10" Type="http://schemas.openxmlformats.org/officeDocument/2006/relationships/tags" Target="../tags/tag288.xml"/><Relationship Id="rId19" Type="http://schemas.openxmlformats.org/officeDocument/2006/relationships/image" Target="../media/image33.png"/><Relationship Id="rId4" Type="http://schemas.openxmlformats.org/officeDocument/2006/relationships/tags" Target="../tags/tag282.xml"/><Relationship Id="rId9" Type="http://schemas.openxmlformats.org/officeDocument/2006/relationships/tags" Target="../tags/tag287.xml"/><Relationship Id="rId14" Type="http://schemas.openxmlformats.org/officeDocument/2006/relationships/tags" Target="../tags/tag292.xml"/><Relationship Id="rId22" Type="http://schemas.openxmlformats.org/officeDocument/2006/relationships/image" Target="../media/image36.png"/></Relationships>
</file>

<file path=ppt/slides/_rels/slide19.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slideLayout" Target="../slideLayouts/slideLayout2.xml"/><Relationship Id="rId7" Type="http://schemas.openxmlformats.org/officeDocument/2006/relationships/image" Target="../media/image41.png"/><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notesSlide" Target="../notesSlides/notesSlide7.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41.xml"/><Relationship Id="rId5" Type="http://schemas.openxmlformats.org/officeDocument/2006/relationships/image" Target="../media/image11.png"/><Relationship Id="rId4" Type="http://schemas.openxmlformats.org/officeDocument/2006/relationships/image" Target="../media/image10.jpeg"/></Relationships>
</file>

<file path=ppt/slides/_rels/slide20.xml.rels><?xml version="1.0" encoding="UTF-8" standalone="yes"?>
<Relationships xmlns="http://schemas.openxmlformats.org/package/2006/relationships"><Relationship Id="rId8" Type="http://schemas.openxmlformats.org/officeDocument/2006/relationships/tags" Target="../tags/tag305.xml"/><Relationship Id="rId13" Type="http://schemas.openxmlformats.org/officeDocument/2006/relationships/tags" Target="../tags/tag310.xml"/><Relationship Id="rId18" Type="http://schemas.openxmlformats.org/officeDocument/2006/relationships/image" Target="../media/image43.jpeg"/><Relationship Id="rId3" Type="http://schemas.openxmlformats.org/officeDocument/2006/relationships/tags" Target="../tags/tag300.xml"/><Relationship Id="rId21" Type="http://schemas.openxmlformats.org/officeDocument/2006/relationships/image" Target="../media/image42.emf"/><Relationship Id="rId7" Type="http://schemas.openxmlformats.org/officeDocument/2006/relationships/tags" Target="../tags/tag304.xml"/><Relationship Id="rId12" Type="http://schemas.openxmlformats.org/officeDocument/2006/relationships/tags" Target="../tags/tag309.xml"/><Relationship Id="rId17" Type="http://schemas.openxmlformats.org/officeDocument/2006/relationships/slideLayout" Target="../slideLayouts/slideLayout2.xml"/><Relationship Id="rId2" Type="http://schemas.openxmlformats.org/officeDocument/2006/relationships/tags" Target="../tags/tag299.xml"/><Relationship Id="rId16" Type="http://schemas.openxmlformats.org/officeDocument/2006/relationships/tags" Target="../tags/tag313.xml"/><Relationship Id="rId20" Type="http://schemas.openxmlformats.org/officeDocument/2006/relationships/image" Target="../media/image45.jpeg"/><Relationship Id="rId1" Type="http://schemas.openxmlformats.org/officeDocument/2006/relationships/tags" Target="../tags/tag298.xml"/><Relationship Id="rId6" Type="http://schemas.openxmlformats.org/officeDocument/2006/relationships/tags" Target="../tags/tag303.xml"/><Relationship Id="rId11" Type="http://schemas.openxmlformats.org/officeDocument/2006/relationships/tags" Target="../tags/tag308.xml"/><Relationship Id="rId5" Type="http://schemas.openxmlformats.org/officeDocument/2006/relationships/tags" Target="../tags/tag302.xml"/><Relationship Id="rId15" Type="http://schemas.openxmlformats.org/officeDocument/2006/relationships/tags" Target="../tags/tag312.xml"/><Relationship Id="rId10" Type="http://schemas.openxmlformats.org/officeDocument/2006/relationships/tags" Target="../tags/tag307.xml"/><Relationship Id="rId19" Type="http://schemas.openxmlformats.org/officeDocument/2006/relationships/image" Target="../media/image44.png"/><Relationship Id="rId4" Type="http://schemas.openxmlformats.org/officeDocument/2006/relationships/tags" Target="../tags/tag301.xml"/><Relationship Id="rId9" Type="http://schemas.openxmlformats.org/officeDocument/2006/relationships/tags" Target="../tags/tag306.xml"/><Relationship Id="rId14" Type="http://schemas.openxmlformats.org/officeDocument/2006/relationships/tags" Target="../tags/tag311.xml"/></Relationships>
</file>

<file path=ppt/slides/_rels/slide2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hyperlink" Target="http://mcaps.intranet.mckinsey.com/" TargetMode="External"/><Relationship Id="rId2" Type="http://schemas.openxmlformats.org/officeDocument/2006/relationships/image" Target="../media/image47.png"/><Relationship Id="rId1" Type="http://schemas.openxmlformats.org/officeDocument/2006/relationships/slideLayout" Target="../slideLayouts/slideLayout4.xml"/><Relationship Id="rId5" Type="http://schemas.openxmlformats.org/officeDocument/2006/relationships/image" Target="../media/image49.png"/><Relationship Id="rId4" Type="http://schemas.openxmlformats.org/officeDocument/2006/relationships/image" Target="../media/image48.png"/></Relationships>
</file>

<file path=ppt/slides/_rels/slide23.xml.rels><?xml version="1.0" encoding="UTF-8" standalone="yes"?>
<Relationships xmlns="http://schemas.openxmlformats.org/package/2006/relationships"><Relationship Id="rId3" Type="http://schemas.openxmlformats.org/officeDocument/2006/relationships/tags" Target="../tags/tag316.xml"/><Relationship Id="rId7" Type="http://schemas.openxmlformats.org/officeDocument/2006/relationships/slideLayout" Target="../slideLayouts/slideLayout2.xml"/><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tags" Target="../tags/tag319.xml"/><Relationship Id="rId5" Type="http://schemas.openxmlformats.org/officeDocument/2006/relationships/tags" Target="../tags/tag318.xml"/><Relationship Id="rId4" Type="http://schemas.openxmlformats.org/officeDocument/2006/relationships/tags" Target="../tags/tag317.xml"/></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4.xml"/><Relationship Id="rId5" Type="http://schemas.openxmlformats.org/officeDocument/2006/relationships/hyperlink" Target="http://mcaps.intranet.mckinsey.com/" TargetMode="External"/><Relationship Id="rId4" Type="http://schemas.openxmlformats.org/officeDocument/2006/relationships/image" Target="../media/image52.png"/></Relationships>
</file>

<file path=ppt/slides/_rels/slide25.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image" Target="../media/image53.png"/><Relationship Id="rId1" Type="http://schemas.openxmlformats.org/officeDocument/2006/relationships/slideLayout" Target="../slideLayouts/slideLayout4.xml"/><Relationship Id="rId4" Type="http://schemas.openxmlformats.org/officeDocument/2006/relationships/image" Target="../media/image55.jpg"/></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6.png"/><Relationship Id="rId1" Type="http://schemas.openxmlformats.org/officeDocument/2006/relationships/slideLayout" Target="../slideLayouts/slideLayout4.xml"/><Relationship Id="rId5" Type="http://schemas.openxmlformats.org/officeDocument/2006/relationships/image" Target="../media/image58.png"/><Relationship Id="rId4" Type="http://schemas.openxmlformats.org/officeDocument/2006/relationships/image" Target="../media/image57.png"/></Relationships>
</file>

<file path=ppt/slides/_rels/slide27.xml.rels><?xml version="1.0" encoding="UTF-8" standalone="yes"?>
<Relationships xmlns="http://schemas.openxmlformats.org/package/2006/relationships"><Relationship Id="rId3" Type="http://schemas.openxmlformats.org/officeDocument/2006/relationships/hyperlink" Target="http://mcaps.intranet.mckinsey.com/" TargetMode="External"/><Relationship Id="rId2" Type="http://schemas.openxmlformats.org/officeDocument/2006/relationships/image" Target="../media/image59.png"/><Relationship Id="rId1" Type="http://schemas.openxmlformats.org/officeDocument/2006/relationships/slideLayout" Target="../slideLayouts/slideLayout4.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28.xml.rels><?xml version="1.0" encoding="UTF-8" standalone="yes"?>
<Relationships xmlns="http://schemas.openxmlformats.org/package/2006/relationships"><Relationship Id="rId3" Type="http://schemas.openxmlformats.org/officeDocument/2006/relationships/hyperlink" Target="http://mcaps.intranet.mckinsey.com/" TargetMode="External"/><Relationship Id="rId2" Type="http://schemas.openxmlformats.org/officeDocument/2006/relationships/image" Target="../media/image63.png"/><Relationship Id="rId1" Type="http://schemas.openxmlformats.org/officeDocument/2006/relationships/slideLayout" Target="../slideLayouts/slideLayout4.xml"/><Relationship Id="rId5" Type="http://schemas.openxmlformats.org/officeDocument/2006/relationships/image" Target="../media/image65.png"/><Relationship Id="rId4" Type="http://schemas.openxmlformats.org/officeDocument/2006/relationships/image" Target="../media/image64.png"/></Relationships>
</file>

<file path=ppt/slides/_rels/slide2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4.xml"/><Relationship Id="rId4" Type="http://schemas.openxmlformats.org/officeDocument/2006/relationships/image" Target="../media/image68.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xml"/><Relationship Id="rId1" Type="http://schemas.openxmlformats.org/officeDocument/2006/relationships/tags" Target="../tags/tag42.xml"/><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4.xml"/><Relationship Id="rId4" Type="http://schemas.openxmlformats.org/officeDocument/2006/relationships/image" Target="../media/image68.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4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26" Type="http://schemas.openxmlformats.org/officeDocument/2006/relationships/tags" Target="../tags/tag70.xml"/><Relationship Id="rId21" Type="http://schemas.openxmlformats.org/officeDocument/2006/relationships/tags" Target="../tags/tag65.xml"/><Relationship Id="rId42" Type="http://schemas.openxmlformats.org/officeDocument/2006/relationships/tags" Target="../tags/tag86.xml"/><Relationship Id="rId47" Type="http://schemas.openxmlformats.org/officeDocument/2006/relationships/tags" Target="../tags/tag91.xml"/><Relationship Id="rId63" Type="http://schemas.openxmlformats.org/officeDocument/2006/relationships/tags" Target="../tags/tag107.xml"/><Relationship Id="rId68" Type="http://schemas.openxmlformats.org/officeDocument/2006/relationships/tags" Target="../tags/tag112.xml"/><Relationship Id="rId84" Type="http://schemas.openxmlformats.org/officeDocument/2006/relationships/slideLayout" Target="../slideLayouts/slideLayout2.xml"/><Relationship Id="rId16" Type="http://schemas.openxmlformats.org/officeDocument/2006/relationships/tags" Target="../tags/tag60.xml"/><Relationship Id="rId11" Type="http://schemas.openxmlformats.org/officeDocument/2006/relationships/tags" Target="../tags/tag55.xml"/><Relationship Id="rId32" Type="http://schemas.openxmlformats.org/officeDocument/2006/relationships/tags" Target="../tags/tag76.xml"/><Relationship Id="rId37" Type="http://schemas.openxmlformats.org/officeDocument/2006/relationships/tags" Target="../tags/tag81.xml"/><Relationship Id="rId53" Type="http://schemas.openxmlformats.org/officeDocument/2006/relationships/tags" Target="../tags/tag97.xml"/><Relationship Id="rId58" Type="http://schemas.openxmlformats.org/officeDocument/2006/relationships/tags" Target="../tags/tag102.xml"/><Relationship Id="rId74" Type="http://schemas.openxmlformats.org/officeDocument/2006/relationships/tags" Target="../tags/tag118.xml"/><Relationship Id="rId79" Type="http://schemas.openxmlformats.org/officeDocument/2006/relationships/tags" Target="../tags/tag123.xml"/><Relationship Id="rId5" Type="http://schemas.openxmlformats.org/officeDocument/2006/relationships/tags" Target="../tags/tag49.xml"/><Relationship Id="rId19" Type="http://schemas.openxmlformats.org/officeDocument/2006/relationships/tags" Target="../tags/tag63.xml"/><Relationship Id="rId14" Type="http://schemas.openxmlformats.org/officeDocument/2006/relationships/tags" Target="../tags/tag58.xml"/><Relationship Id="rId22" Type="http://schemas.openxmlformats.org/officeDocument/2006/relationships/tags" Target="../tags/tag66.xml"/><Relationship Id="rId27" Type="http://schemas.openxmlformats.org/officeDocument/2006/relationships/tags" Target="../tags/tag71.xml"/><Relationship Id="rId30" Type="http://schemas.openxmlformats.org/officeDocument/2006/relationships/tags" Target="../tags/tag74.xml"/><Relationship Id="rId35" Type="http://schemas.openxmlformats.org/officeDocument/2006/relationships/tags" Target="../tags/tag79.xml"/><Relationship Id="rId43" Type="http://schemas.openxmlformats.org/officeDocument/2006/relationships/tags" Target="../tags/tag87.xml"/><Relationship Id="rId48" Type="http://schemas.openxmlformats.org/officeDocument/2006/relationships/tags" Target="../tags/tag92.xml"/><Relationship Id="rId56" Type="http://schemas.openxmlformats.org/officeDocument/2006/relationships/tags" Target="../tags/tag100.xml"/><Relationship Id="rId64" Type="http://schemas.openxmlformats.org/officeDocument/2006/relationships/tags" Target="../tags/tag108.xml"/><Relationship Id="rId69" Type="http://schemas.openxmlformats.org/officeDocument/2006/relationships/tags" Target="../tags/tag113.xml"/><Relationship Id="rId77" Type="http://schemas.openxmlformats.org/officeDocument/2006/relationships/tags" Target="../tags/tag121.xml"/><Relationship Id="rId8" Type="http://schemas.openxmlformats.org/officeDocument/2006/relationships/tags" Target="../tags/tag52.xml"/><Relationship Id="rId51" Type="http://schemas.openxmlformats.org/officeDocument/2006/relationships/tags" Target="../tags/tag95.xml"/><Relationship Id="rId72" Type="http://schemas.openxmlformats.org/officeDocument/2006/relationships/tags" Target="../tags/tag116.xml"/><Relationship Id="rId80" Type="http://schemas.openxmlformats.org/officeDocument/2006/relationships/tags" Target="../tags/tag124.xml"/><Relationship Id="rId85" Type="http://schemas.openxmlformats.org/officeDocument/2006/relationships/hyperlink" Target="http://spectrum.ieee.org/automaton/robotics/artificial-intelligence/facebook-ai-director-yann-lecun-on-deep-learning" TargetMode="External"/><Relationship Id="rId3" Type="http://schemas.openxmlformats.org/officeDocument/2006/relationships/tags" Target="../tags/tag47.xml"/><Relationship Id="rId12" Type="http://schemas.openxmlformats.org/officeDocument/2006/relationships/tags" Target="../tags/tag56.xml"/><Relationship Id="rId17" Type="http://schemas.openxmlformats.org/officeDocument/2006/relationships/tags" Target="../tags/tag61.xml"/><Relationship Id="rId25" Type="http://schemas.openxmlformats.org/officeDocument/2006/relationships/tags" Target="../tags/tag69.xml"/><Relationship Id="rId33" Type="http://schemas.openxmlformats.org/officeDocument/2006/relationships/tags" Target="../tags/tag77.xml"/><Relationship Id="rId38" Type="http://schemas.openxmlformats.org/officeDocument/2006/relationships/tags" Target="../tags/tag82.xml"/><Relationship Id="rId46" Type="http://schemas.openxmlformats.org/officeDocument/2006/relationships/tags" Target="../tags/tag90.xml"/><Relationship Id="rId59" Type="http://schemas.openxmlformats.org/officeDocument/2006/relationships/tags" Target="../tags/tag103.xml"/><Relationship Id="rId67" Type="http://schemas.openxmlformats.org/officeDocument/2006/relationships/tags" Target="../tags/tag111.xml"/><Relationship Id="rId20" Type="http://schemas.openxmlformats.org/officeDocument/2006/relationships/tags" Target="../tags/tag64.xml"/><Relationship Id="rId41" Type="http://schemas.openxmlformats.org/officeDocument/2006/relationships/tags" Target="../tags/tag85.xml"/><Relationship Id="rId54" Type="http://schemas.openxmlformats.org/officeDocument/2006/relationships/tags" Target="../tags/tag98.xml"/><Relationship Id="rId62" Type="http://schemas.openxmlformats.org/officeDocument/2006/relationships/tags" Target="../tags/tag106.xml"/><Relationship Id="rId70" Type="http://schemas.openxmlformats.org/officeDocument/2006/relationships/tags" Target="../tags/tag114.xml"/><Relationship Id="rId75" Type="http://schemas.openxmlformats.org/officeDocument/2006/relationships/tags" Target="../tags/tag119.xml"/><Relationship Id="rId83" Type="http://schemas.openxmlformats.org/officeDocument/2006/relationships/tags" Target="../tags/tag127.xml"/><Relationship Id="rId1" Type="http://schemas.openxmlformats.org/officeDocument/2006/relationships/tags" Target="../tags/tag45.xml"/><Relationship Id="rId6" Type="http://schemas.openxmlformats.org/officeDocument/2006/relationships/tags" Target="../tags/tag50.xml"/><Relationship Id="rId15" Type="http://schemas.openxmlformats.org/officeDocument/2006/relationships/tags" Target="../tags/tag59.xml"/><Relationship Id="rId23" Type="http://schemas.openxmlformats.org/officeDocument/2006/relationships/tags" Target="../tags/tag67.xml"/><Relationship Id="rId28" Type="http://schemas.openxmlformats.org/officeDocument/2006/relationships/tags" Target="../tags/tag72.xml"/><Relationship Id="rId36" Type="http://schemas.openxmlformats.org/officeDocument/2006/relationships/tags" Target="../tags/tag80.xml"/><Relationship Id="rId49" Type="http://schemas.openxmlformats.org/officeDocument/2006/relationships/tags" Target="../tags/tag93.xml"/><Relationship Id="rId57" Type="http://schemas.openxmlformats.org/officeDocument/2006/relationships/tags" Target="../tags/tag101.xml"/><Relationship Id="rId10" Type="http://schemas.openxmlformats.org/officeDocument/2006/relationships/tags" Target="../tags/tag54.xml"/><Relationship Id="rId31" Type="http://schemas.openxmlformats.org/officeDocument/2006/relationships/tags" Target="../tags/tag75.xml"/><Relationship Id="rId44" Type="http://schemas.openxmlformats.org/officeDocument/2006/relationships/tags" Target="../tags/tag88.xml"/><Relationship Id="rId52" Type="http://schemas.openxmlformats.org/officeDocument/2006/relationships/tags" Target="../tags/tag96.xml"/><Relationship Id="rId60" Type="http://schemas.openxmlformats.org/officeDocument/2006/relationships/tags" Target="../tags/tag104.xml"/><Relationship Id="rId65" Type="http://schemas.openxmlformats.org/officeDocument/2006/relationships/tags" Target="../tags/tag109.xml"/><Relationship Id="rId73" Type="http://schemas.openxmlformats.org/officeDocument/2006/relationships/tags" Target="../tags/tag117.xml"/><Relationship Id="rId78" Type="http://schemas.openxmlformats.org/officeDocument/2006/relationships/tags" Target="../tags/tag122.xml"/><Relationship Id="rId81" Type="http://schemas.openxmlformats.org/officeDocument/2006/relationships/tags" Target="../tags/tag125.xml"/><Relationship Id="rId4" Type="http://schemas.openxmlformats.org/officeDocument/2006/relationships/tags" Target="../tags/tag48.xml"/><Relationship Id="rId9" Type="http://schemas.openxmlformats.org/officeDocument/2006/relationships/tags" Target="../tags/tag53.xml"/><Relationship Id="rId13" Type="http://schemas.openxmlformats.org/officeDocument/2006/relationships/tags" Target="../tags/tag57.xml"/><Relationship Id="rId18" Type="http://schemas.openxmlformats.org/officeDocument/2006/relationships/tags" Target="../tags/tag62.xml"/><Relationship Id="rId39" Type="http://schemas.openxmlformats.org/officeDocument/2006/relationships/tags" Target="../tags/tag83.xml"/><Relationship Id="rId34" Type="http://schemas.openxmlformats.org/officeDocument/2006/relationships/tags" Target="../tags/tag78.xml"/><Relationship Id="rId50" Type="http://schemas.openxmlformats.org/officeDocument/2006/relationships/tags" Target="../tags/tag94.xml"/><Relationship Id="rId55" Type="http://schemas.openxmlformats.org/officeDocument/2006/relationships/tags" Target="../tags/tag99.xml"/><Relationship Id="rId76" Type="http://schemas.openxmlformats.org/officeDocument/2006/relationships/tags" Target="../tags/tag120.xml"/><Relationship Id="rId7" Type="http://schemas.openxmlformats.org/officeDocument/2006/relationships/tags" Target="../tags/tag51.xml"/><Relationship Id="rId71" Type="http://schemas.openxmlformats.org/officeDocument/2006/relationships/tags" Target="../tags/tag115.xml"/><Relationship Id="rId2" Type="http://schemas.openxmlformats.org/officeDocument/2006/relationships/tags" Target="../tags/tag46.xml"/><Relationship Id="rId29" Type="http://schemas.openxmlformats.org/officeDocument/2006/relationships/tags" Target="../tags/tag73.xml"/><Relationship Id="rId24" Type="http://schemas.openxmlformats.org/officeDocument/2006/relationships/tags" Target="../tags/tag68.xml"/><Relationship Id="rId40" Type="http://schemas.openxmlformats.org/officeDocument/2006/relationships/tags" Target="../tags/tag84.xml"/><Relationship Id="rId45" Type="http://schemas.openxmlformats.org/officeDocument/2006/relationships/tags" Target="../tags/tag89.xml"/><Relationship Id="rId66" Type="http://schemas.openxmlformats.org/officeDocument/2006/relationships/tags" Target="../tags/tag110.xml"/><Relationship Id="rId61" Type="http://schemas.openxmlformats.org/officeDocument/2006/relationships/tags" Target="../tags/tag105.xml"/><Relationship Id="rId82" Type="http://schemas.openxmlformats.org/officeDocument/2006/relationships/tags" Target="../tags/tag126.xml"/></Relationships>
</file>

<file path=ppt/slides/_rels/slide6.xml.rels><?xml version="1.0" encoding="UTF-8" standalone="yes"?>
<Relationships xmlns="http://schemas.openxmlformats.org/package/2006/relationships"><Relationship Id="rId8" Type="http://schemas.openxmlformats.org/officeDocument/2006/relationships/tags" Target="../tags/tag135.xml"/><Relationship Id="rId13" Type="http://schemas.openxmlformats.org/officeDocument/2006/relationships/tags" Target="../tags/tag140.xml"/><Relationship Id="rId18" Type="http://schemas.openxmlformats.org/officeDocument/2006/relationships/tags" Target="../tags/tag145.xml"/><Relationship Id="rId26" Type="http://schemas.openxmlformats.org/officeDocument/2006/relationships/slideLayout" Target="../slideLayouts/slideLayout2.xml"/><Relationship Id="rId3" Type="http://schemas.openxmlformats.org/officeDocument/2006/relationships/tags" Target="../tags/tag130.xml"/><Relationship Id="rId21" Type="http://schemas.openxmlformats.org/officeDocument/2006/relationships/tags" Target="../tags/tag148.xml"/><Relationship Id="rId7" Type="http://schemas.openxmlformats.org/officeDocument/2006/relationships/tags" Target="../tags/tag134.xml"/><Relationship Id="rId12" Type="http://schemas.openxmlformats.org/officeDocument/2006/relationships/tags" Target="../tags/tag139.xml"/><Relationship Id="rId17" Type="http://schemas.openxmlformats.org/officeDocument/2006/relationships/tags" Target="../tags/tag144.xml"/><Relationship Id="rId25" Type="http://schemas.openxmlformats.org/officeDocument/2006/relationships/tags" Target="../tags/tag152.xml"/><Relationship Id="rId2" Type="http://schemas.openxmlformats.org/officeDocument/2006/relationships/tags" Target="../tags/tag129.xml"/><Relationship Id="rId16" Type="http://schemas.openxmlformats.org/officeDocument/2006/relationships/tags" Target="../tags/tag143.xml"/><Relationship Id="rId20" Type="http://schemas.openxmlformats.org/officeDocument/2006/relationships/tags" Target="../tags/tag147.xml"/><Relationship Id="rId1" Type="http://schemas.openxmlformats.org/officeDocument/2006/relationships/tags" Target="../tags/tag128.xml"/><Relationship Id="rId6" Type="http://schemas.openxmlformats.org/officeDocument/2006/relationships/tags" Target="../tags/tag133.xml"/><Relationship Id="rId11" Type="http://schemas.openxmlformats.org/officeDocument/2006/relationships/tags" Target="../tags/tag138.xml"/><Relationship Id="rId24" Type="http://schemas.openxmlformats.org/officeDocument/2006/relationships/tags" Target="../tags/tag151.xml"/><Relationship Id="rId5" Type="http://schemas.openxmlformats.org/officeDocument/2006/relationships/tags" Target="../tags/tag132.xml"/><Relationship Id="rId15" Type="http://schemas.openxmlformats.org/officeDocument/2006/relationships/tags" Target="../tags/tag142.xml"/><Relationship Id="rId23" Type="http://schemas.openxmlformats.org/officeDocument/2006/relationships/tags" Target="../tags/tag150.xml"/><Relationship Id="rId10" Type="http://schemas.openxmlformats.org/officeDocument/2006/relationships/tags" Target="../tags/tag137.xml"/><Relationship Id="rId19" Type="http://schemas.openxmlformats.org/officeDocument/2006/relationships/tags" Target="../tags/tag146.xml"/><Relationship Id="rId4" Type="http://schemas.openxmlformats.org/officeDocument/2006/relationships/tags" Target="../tags/tag131.xml"/><Relationship Id="rId9" Type="http://schemas.openxmlformats.org/officeDocument/2006/relationships/tags" Target="../tags/tag136.xml"/><Relationship Id="rId14" Type="http://schemas.openxmlformats.org/officeDocument/2006/relationships/tags" Target="../tags/tag141.xml"/><Relationship Id="rId22" Type="http://schemas.openxmlformats.org/officeDocument/2006/relationships/tags" Target="../tags/tag149.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53.xml"/></Relationships>
</file>

<file path=ppt/slides/_rels/slide8.xml.rels><?xml version="1.0" encoding="UTF-8" standalone="yes"?>
<Relationships xmlns="http://schemas.openxmlformats.org/package/2006/relationships"><Relationship Id="rId3" Type="http://schemas.openxmlformats.org/officeDocument/2006/relationships/tags" Target="../tags/tag156.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slideLayout" Target="../slideLayouts/slideLayout2.xml"/><Relationship Id="rId5" Type="http://schemas.openxmlformats.org/officeDocument/2006/relationships/tags" Target="../tags/tag158.xml"/><Relationship Id="rId4" Type="http://schemas.openxmlformats.org/officeDocument/2006/relationships/tags" Target="../tags/tag157.xml"/></Relationships>
</file>

<file path=ppt/slides/_rels/slide9.xml.rels><?xml version="1.0" encoding="UTF-8" standalone="yes"?>
<Relationships xmlns="http://schemas.openxmlformats.org/package/2006/relationships"><Relationship Id="rId8" Type="http://schemas.openxmlformats.org/officeDocument/2006/relationships/tags" Target="../tags/tag166.xml"/><Relationship Id="rId13" Type="http://schemas.openxmlformats.org/officeDocument/2006/relationships/tags" Target="../tags/tag171.xml"/><Relationship Id="rId18" Type="http://schemas.openxmlformats.org/officeDocument/2006/relationships/slideLayout" Target="../slideLayouts/slideLayout2.xml"/><Relationship Id="rId3" Type="http://schemas.openxmlformats.org/officeDocument/2006/relationships/tags" Target="../tags/tag161.xml"/><Relationship Id="rId21" Type="http://schemas.openxmlformats.org/officeDocument/2006/relationships/image" Target="../media/image17.png"/><Relationship Id="rId7" Type="http://schemas.openxmlformats.org/officeDocument/2006/relationships/tags" Target="../tags/tag165.xml"/><Relationship Id="rId12" Type="http://schemas.openxmlformats.org/officeDocument/2006/relationships/tags" Target="../tags/tag170.xml"/><Relationship Id="rId17" Type="http://schemas.openxmlformats.org/officeDocument/2006/relationships/tags" Target="../tags/tag175.xml"/><Relationship Id="rId2" Type="http://schemas.openxmlformats.org/officeDocument/2006/relationships/tags" Target="../tags/tag160.xml"/><Relationship Id="rId16" Type="http://schemas.openxmlformats.org/officeDocument/2006/relationships/tags" Target="../tags/tag174.xml"/><Relationship Id="rId20" Type="http://schemas.openxmlformats.org/officeDocument/2006/relationships/image" Target="../media/image16.png"/><Relationship Id="rId1" Type="http://schemas.openxmlformats.org/officeDocument/2006/relationships/tags" Target="../tags/tag159.xml"/><Relationship Id="rId6" Type="http://schemas.openxmlformats.org/officeDocument/2006/relationships/tags" Target="../tags/tag164.xml"/><Relationship Id="rId11" Type="http://schemas.openxmlformats.org/officeDocument/2006/relationships/tags" Target="../tags/tag169.xml"/><Relationship Id="rId5" Type="http://schemas.openxmlformats.org/officeDocument/2006/relationships/tags" Target="../tags/tag163.xml"/><Relationship Id="rId15" Type="http://schemas.openxmlformats.org/officeDocument/2006/relationships/tags" Target="../tags/tag173.xml"/><Relationship Id="rId10" Type="http://schemas.openxmlformats.org/officeDocument/2006/relationships/tags" Target="../tags/tag168.xml"/><Relationship Id="rId19" Type="http://schemas.openxmlformats.org/officeDocument/2006/relationships/image" Target="../media/image15.png"/><Relationship Id="rId4" Type="http://schemas.openxmlformats.org/officeDocument/2006/relationships/tags" Target="../tags/tag162.xml"/><Relationship Id="rId9" Type="http://schemas.openxmlformats.org/officeDocument/2006/relationships/tags" Target="../tags/tag167.xml"/><Relationship Id="rId14" Type="http://schemas.openxmlformats.org/officeDocument/2006/relationships/tags" Target="../tags/tag1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529300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62" name="think-cell 幻灯片" r:id="rId5" imgW="470" imgH="469" progId="TCLayout.ActiveDocument.1">
                  <p:embed/>
                </p:oleObj>
              </mc:Choice>
              <mc:Fallback>
                <p:oleObj name="think-cell 幻灯片" r:id="rId5" imgW="470" imgH="46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ocument type"/>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bg1"/>
                </a:solidFill>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endParaRPr lang="en-US" dirty="0"/>
          </a:p>
        </p:txBody>
      </p:sp>
      <p:sp>
        <p:nvSpPr>
          <p:cNvPr id="2" name="Title 1"/>
          <p:cNvSpPr>
            <a:spLocks noGrp="1"/>
          </p:cNvSpPr>
          <p:nvPr>
            <p:ph type="ctrTitle"/>
          </p:nvPr>
        </p:nvSpPr>
        <p:spPr bwMode="gray">
          <a:xfrm>
            <a:off x="2268266" y="1434419"/>
            <a:ext cx="6476062" cy="49244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r"/>
            <a:r>
              <a:rPr lang="zh-CN" altLang="en-US" dirty="0"/>
              <a:t>机器学习算法概述</a:t>
            </a:r>
            <a:endParaRPr lang="en-US" dirty="0"/>
          </a:p>
        </p:txBody>
      </p:sp>
      <p:sp>
        <p:nvSpPr>
          <p:cNvPr id="5" name="Disclaimer-English (United States)"/>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rgbClr val="FFFFFF"/>
                </a:solidFill>
                <a:latin typeface="+mn-lt"/>
              </a:rPr>
              <a:t>CONFIDENTIAL AND PROPRIETARY</a:t>
            </a:r>
          </a:p>
          <a:p>
            <a:pPr defTabSz="804863" eaLnBrk="0" hangingPunct="0"/>
            <a:r>
              <a:rPr lang="en-US" sz="80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24024691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1" name="Group 200"/>
          <p:cNvGrpSpPr>
            <a:grpSpLocks/>
          </p:cNvGrpSpPr>
          <p:nvPr/>
        </p:nvGrpSpPr>
        <p:grpSpPr>
          <a:xfrm>
            <a:off x="0" y="-1"/>
            <a:ext cx="8961438" cy="6721475"/>
            <a:chOff x="-12625388" y="-4110038"/>
            <a:chExt cx="11771313" cy="11769726"/>
          </a:xfrm>
        </p:grpSpPr>
        <p:sp>
          <p:nvSpPr>
            <p:cNvPr id="203" name="Freeform 305"/>
            <p:cNvSpPr>
              <a:spLocks noEditPoints="1"/>
            </p:cNvSpPr>
            <p:nvPr/>
          </p:nvSpPr>
          <p:spPr bwMode="auto">
            <a:xfrm>
              <a:off x="-12625388" y="-4110038"/>
              <a:ext cx="11771313" cy="11769725"/>
            </a:xfrm>
            <a:custGeom>
              <a:avLst/>
              <a:gdLst>
                <a:gd name="T0" fmla="*/ 15360 w 15446"/>
                <a:gd name="T1" fmla="*/ 14351 h 15446"/>
                <a:gd name="T2" fmla="*/ 11037 w 15446"/>
                <a:gd name="T3" fmla="*/ 13656 h 15446"/>
                <a:gd name="T4" fmla="*/ 5936 w 15446"/>
                <a:gd name="T5" fmla="*/ 12632 h 15446"/>
                <a:gd name="T6" fmla="*/ 13164 w 15446"/>
                <a:gd name="T7" fmla="*/ 15446 h 15446"/>
                <a:gd name="T8" fmla="*/ 7984 w 15446"/>
                <a:gd name="T9" fmla="*/ 14465 h 15446"/>
                <a:gd name="T10" fmla="*/ 4300 w 15446"/>
                <a:gd name="T11" fmla="*/ 15446 h 15446"/>
                <a:gd name="T12" fmla="*/ 750 w 15446"/>
                <a:gd name="T13" fmla="*/ 12746 h 15446"/>
                <a:gd name="T14" fmla="*/ 750 w 15446"/>
                <a:gd name="T15" fmla="*/ 12746 h 15446"/>
                <a:gd name="T16" fmla="*/ 750 w 15446"/>
                <a:gd name="T17" fmla="*/ 12746 h 15446"/>
                <a:gd name="T18" fmla="*/ 371 w 15446"/>
                <a:gd name="T19" fmla="*/ 15010 h 15446"/>
                <a:gd name="T20" fmla="*/ 14542 w 15446"/>
                <a:gd name="T21" fmla="*/ 0 h 15446"/>
                <a:gd name="T22" fmla="*/ 7468 w 15446"/>
                <a:gd name="T23" fmla="*/ 1574 h 15446"/>
                <a:gd name="T24" fmla="*/ 7468 w 15446"/>
                <a:gd name="T25" fmla="*/ 1574 h 15446"/>
                <a:gd name="T26" fmla="*/ 3502 w 15446"/>
                <a:gd name="T27" fmla="*/ 2789 h 15446"/>
                <a:gd name="T28" fmla="*/ 1065 w 15446"/>
                <a:gd name="T29" fmla="*/ 1273 h 15446"/>
                <a:gd name="T30" fmla="*/ 120 w 15446"/>
                <a:gd name="T31" fmla="*/ 3894 h 15446"/>
                <a:gd name="T32" fmla="*/ 1145 w 15446"/>
                <a:gd name="T33" fmla="*/ 6872 h 15446"/>
                <a:gd name="T34" fmla="*/ 0 w 15446"/>
                <a:gd name="T35" fmla="*/ 7970 h 15446"/>
                <a:gd name="T36" fmla="*/ 2324 w 15446"/>
                <a:gd name="T37" fmla="*/ 8914 h 15446"/>
                <a:gd name="T38" fmla="*/ 3502 w 15446"/>
                <a:gd name="T39" fmla="*/ 10955 h 15446"/>
                <a:gd name="T40" fmla="*/ 2324 w 15446"/>
                <a:gd name="T41" fmla="*/ 8914 h 15446"/>
                <a:gd name="T42" fmla="*/ 586 w 15446"/>
                <a:gd name="T43" fmla="*/ 11428 h 15446"/>
                <a:gd name="T44" fmla="*/ 3502 w 15446"/>
                <a:gd name="T45" fmla="*/ 10956 h 15446"/>
                <a:gd name="T46" fmla="*/ 4943 w 15446"/>
                <a:gd name="T47" fmla="*/ 15446 h 15446"/>
                <a:gd name="T48" fmla="*/ 901 w 15446"/>
                <a:gd name="T49" fmla="*/ 1246 h 15446"/>
                <a:gd name="T50" fmla="*/ 2324 w 15446"/>
                <a:gd name="T51" fmla="*/ 748 h 15446"/>
                <a:gd name="T52" fmla="*/ 45 w 15446"/>
                <a:gd name="T53" fmla="*/ 0 h 15446"/>
                <a:gd name="T54" fmla="*/ 3737 w 15446"/>
                <a:gd name="T55" fmla="*/ 15446 h 15446"/>
                <a:gd name="T56" fmla="*/ 11037 w 15446"/>
                <a:gd name="T57" fmla="*/ 13656 h 15446"/>
                <a:gd name="T58" fmla="*/ 8413 w 15446"/>
                <a:gd name="T59" fmla="*/ 8879 h 15446"/>
                <a:gd name="T60" fmla="*/ 10777 w 15446"/>
                <a:gd name="T61" fmla="*/ 9480 h 15446"/>
                <a:gd name="T62" fmla="*/ 14110 w 15446"/>
                <a:gd name="T63" fmla="*/ 8914 h 15446"/>
                <a:gd name="T64" fmla="*/ 12931 w 15446"/>
                <a:gd name="T65" fmla="*/ 10955 h 15446"/>
                <a:gd name="T66" fmla="*/ 14110 w 15446"/>
                <a:gd name="T67" fmla="*/ 12997 h 15446"/>
                <a:gd name="T68" fmla="*/ 2324 w 15446"/>
                <a:gd name="T69" fmla="*/ 12997 h 15446"/>
                <a:gd name="T70" fmla="*/ 5935 w 15446"/>
                <a:gd name="T71" fmla="*/ 12631 h 15446"/>
                <a:gd name="T72" fmla="*/ 5936 w 15446"/>
                <a:gd name="T73" fmla="*/ 12632 h 15446"/>
                <a:gd name="T74" fmla="*/ 12931 w 15446"/>
                <a:gd name="T75" fmla="*/ 6872 h 15446"/>
                <a:gd name="T76" fmla="*/ 12931 w 15446"/>
                <a:gd name="T77" fmla="*/ 6872 h 15446"/>
                <a:gd name="T78" fmla="*/ 5860 w 15446"/>
                <a:gd name="T79" fmla="*/ 6872 h 15446"/>
                <a:gd name="T80" fmla="*/ 7038 w 15446"/>
                <a:gd name="T81" fmla="*/ 8914 h 15446"/>
                <a:gd name="T82" fmla="*/ 15446 w 15446"/>
                <a:gd name="T83" fmla="*/ 8914 h 15446"/>
                <a:gd name="T84" fmla="*/ 8217 w 15446"/>
                <a:gd name="T85" fmla="*/ 6872 h 15446"/>
                <a:gd name="T86" fmla="*/ 4159 w 15446"/>
                <a:gd name="T87" fmla="*/ 4109 h 15446"/>
                <a:gd name="T88" fmla="*/ 4159 w 15446"/>
                <a:gd name="T89" fmla="*/ 4109 h 15446"/>
                <a:gd name="T90" fmla="*/ 2557 w 15446"/>
                <a:gd name="T91" fmla="*/ 7302 h 15446"/>
                <a:gd name="T92" fmla="*/ 5860 w 15446"/>
                <a:gd name="T93" fmla="*/ 6872 h 15446"/>
                <a:gd name="T94" fmla="*/ 15446 w 15446"/>
                <a:gd name="T95" fmla="*/ 7072 h 15446"/>
                <a:gd name="T96" fmla="*/ 10574 w 15446"/>
                <a:gd name="T97" fmla="*/ 6872 h 15446"/>
                <a:gd name="T98" fmla="*/ 10574 w 15446"/>
                <a:gd name="T99" fmla="*/ 6872 h 15446"/>
                <a:gd name="T100" fmla="*/ 9316 w 15446"/>
                <a:gd name="T101" fmla="*/ 6257 h 15446"/>
                <a:gd name="T102" fmla="*/ 12655 w 15446"/>
                <a:gd name="T103" fmla="*/ 5604 h 15446"/>
                <a:gd name="T104" fmla="*/ 9316 w 15446"/>
                <a:gd name="T105" fmla="*/ 6257 h 15446"/>
                <a:gd name="T106" fmla="*/ 12655 w 15446"/>
                <a:gd name="T107" fmla="*/ 5604 h 15446"/>
                <a:gd name="T108" fmla="*/ 8410 w 15446"/>
                <a:gd name="T109" fmla="*/ 2581 h 15446"/>
                <a:gd name="T110" fmla="*/ 7038 w 15446"/>
                <a:gd name="T111" fmla="*/ 4831 h 15446"/>
                <a:gd name="T112" fmla="*/ 14110 w 15446"/>
                <a:gd name="T113" fmla="*/ 4831 h 15446"/>
                <a:gd name="T114" fmla="*/ 14110 w 15446"/>
                <a:gd name="T115" fmla="*/ 4831 h 15446"/>
                <a:gd name="T116" fmla="*/ 4603 w 15446"/>
                <a:gd name="T117" fmla="*/ 3765 h 15446"/>
                <a:gd name="T118" fmla="*/ 9396 w 15446"/>
                <a:gd name="T119" fmla="*/ 748 h 15446"/>
                <a:gd name="T120" fmla="*/ 5859 w 15446"/>
                <a:gd name="T121" fmla="*/ 2790 h 15446"/>
                <a:gd name="T122" fmla="*/ 15446 w 15446"/>
                <a:gd name="T123" fmla="*/ 1876 h 15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46" h="15446">
                  <a:moveTo>
                    <a:pt x="14929" y="15446"/>
                  </a:moveTo>
                  <a:lnTo>
                    <a:pt x="14929" y="15446"/>
                  </a:lnTo>
                  <a:lnTo>
                    <a:pt x="15360" y="14351"/>
                  </a:lnTo>
                  <a:lnTo>
                    <a:pt x="13552" y="15446"/>
                  </a:lnTo>
                  <a:lnTo>
                    <a:pt x="15360" y="14351"/>
                  </a:lnTo>
                  <a:lnTo>
                    <a:pt x="14710" y="13647"/>
                  </a:lnTo>
                  <a:lnTo>
                    <a:pt x="15360" y="14351"/>
                  </a:lnTo>
                  <a:lnTo>
                    <a:pt x="15446" y="14344"/>
                  </a:lnTo>
                  <a:lnTo>
                    <a:pt x="15446" y="14344"/>
                  </a:lnTo>
                  <a:lnTo>
                    <a:pt x="15360" y="14351"/>
                  </a:lnTo>
                  <a:lnTo>
                    <a:pt x="14929" y="15446"/>
                  </a:lnTo>
                  <a:moveTo>
                    <a:pt x="13164" y="15446"/>
                  </a:moveTo>
                  <a:lnTo>
                    <a:pt x="13164" y="15446"/>
                  </a:lnTo>
                  <a:lnTo>
                    <a:pt x="11037" y="13656"/>
                  </a:lnTo>
                  <a:lnTo>
                    <a:pt x="11394" y="15446"/>
                  </a:lnTo>
                  <a:lnTo>
                    <a:pt x="11394" y="15446"/>
                  </a:lnTo>
                  <a:lnTo>
                    <a:pt x="11037" y="13656"/>
                  </a:lnTo>
                  <a:lnTo>
                    <a:pt x="9396" y="12997"/>
                  </a:lnTo>
                  <a:lnTo>
                    <a:pt x="9395" y="12997"/>
                  </a:lnTo>
                  <a:lnTo>
                    <a:pt x="9396" y="12997"/>
                  </a:lnTo>
                  <a:lnTo>
                    <a:pt x="5936" y="12632"/>
                  </a:lnTo>
                  <a:lnTo>
                    <a:pt x="9395" y="12997"/>
                  </a:lnTo>
                  <a:lnTo>
                    <a:pt x="9395" y="12997"/>
                  </a:lnTo>
                  <a:lnTo>
                    <a:pt x="11037" y="13656"/>
                  </a:lnTo>
                  <a:lnTo>
                    <a:pt x="11037" y="13656"/>
                  </a:lnTo>
                  <a:lnTo>
                    <a:pt x="11037" y="13656"/>
                  </a:lnTo>
                  <a:lnTo>
                    <a:pt x="11037" y="13656"/>
                  </a:lnTo>
                  <a:lnTo>
                    <a:pt x="13164" y="15446"/>
                  </a:lnTo>
                  <a:moveTo>
                    <a:pt x="8513" y="15446"/>
                  </a:moveTo>
                  <a:lnTo>
                    <a:pt x="6538" y="15446"/>
                  </a:lnTo>
                  <a:lnTo>
                    <a:pt x="7984" y="14465"/>
                  </a:lnTo>
                  <a:lnTo>
                    <a:pt x="6538" y="15446"/>
                  </a:lnTo>
                  <a:lnTo>
                    <a:pt x="7984" y="14465"/>
                  </a:lnTo>
                  <a:lnTo>
                    <a:pt x="7376" y="13922"/>
                  </a:lnTo>
                  <a:lnTo>
                    <a:pt x="7984" y="14465"/>
                  </a:lnTo>
                  <a:lnTo>
                    <a:pt x="8513" y="15446"/>
                  </a:lnTo>
                  <a:moveTo>
                    <a:pt x="4943" y="15446"/>
                  </a:moveTo>
                  <a:lnTo>
                    <a:pt x="4943" y="15446"/>
                  </a:lnTo>
                  <a:lnTo>
                    <a:pt x="3564" y="14028"/>
                  </a:lnTo>
                  <a:lnTo>
                    <a:pt x="3502" y="15039"/>
                  </a:lnTo>
                  <a:lnTo>
                    <a:pt x="4300" y="15446"/>
                  </a:lnTo>
                  <a:lnTo>
                    <a:pt x="4300" y="15446"/>
                  </a:lnTo>
                  <a:lnTo>
                    <a:pt x="3502" y="15039"/>
                  </a:lnTo>
                  <a:lnTo>
                    <a:pt x="3502" y="15039"/>
                  </a:lnTo>
                  <a:lnTo>
                    <a:pt x="3502" y="15039"/>
                  </a:lnTo>
                  <a:lnTo>
                    <a:pt x="3564" y="14028"/>
                  </a:lnTo>
                  <a:lnTo>
                    <a:pt x="2324" y="12997"/>
                  </a:lnTo>
                  <a:lnTo>
                    <a:pt x="2324" y="12997"/>
                  </a:lnTo>
                  <a:lnTo>
                    <a:pt x="750" y="12746"/>
                  </a:lnTo>
                  <a:lnTo>
                    <a:pt x="750" y="12746"/>
                  </a:lnTo>
                  <a:lnTo>
                    <a:pt x="750" y="12746"/>
                  </a:lnTo>
                  <a:lnTo>
                    <a:pt x="750" y="12746"/>
                  </a:lnTo>
                  <a:lnTo>
                    <a:pt x="586" y="11428"/>
                  </a:lnTo>
                  <a:lnTo>
                    <a:pt x="0" y="11274"/>
                  </a:lnTo>
                  <a:lnTo>
                    <a:pt x="0" y="12062"/>
                  </a:lnTo>
                  <a:lnTo>
                    <a:pt x="750" y="12746"/>
                  </a:lnTo>
                  <a:lnTo>
                    <a:pt x="750" y="12746"/>
                  </a:lnTo>
                  <a:lnTo>
                    <a:pt x="0" y="12062"/>
                  </a:lnTo>
                  <a:lnTo>
                    <a:pt x="750" y="12746"/>
                  </a:lnTo>
                  <a:lnTo>
                    <a:pt x="0" y="13667"/>
                  </a:lnTo>
                  <a:lnTo>
                    <a:pt x="0" y="15111"/>
                  </a:lnTo>
                  <a:lnTo>
                    <a:pt x="371" y="15010"/>
                  </a:lnTo>
                  <a:lnTo>
                    <a:pt x="750" y="12746"/>
                  </a:lnTo>
                  <a:lnTo>
                    <a:pt x="750" y="12746"/>
                  </a:lnTo>
                  <a:lnTo>
                    <a:pt x="372" y="15010"/>
                  </a:lnTo>
                  <a:lnTo>
                    <a:pt x="1152" y="14205"/>
                  </a:lnTo>
                  <a:lnTo>
                    <a:pt x="372" y="15010"/>
                  </a:lnTo>
                  <a:lnTo>
                    <a:pt x="482" y="15446"/>
                  </a:lnTo>
                  <a:lnTo>
                    <a:pt x="482" y="15446"/>
                  </a:lnTo>
                  <a:lnTo>
                    <a:pt x="371" y="15010"/>
                  </a:lnTo>
                  <a:lnTo>
                    <a:pt x="0" y="15111"/>
                  </a:lnTo>
                  <a:lnTo>
                    <a:pt x="0" y="15446"/>
                  </a:lnTo>
                  <a:lnTo>
                    <a:pt x="0" y="0"/>
                  </a:lnTo>
                  <a:lnTo>
                    <a:pt x="15446" y="0"/>
                  </a:lnTo>
                  <a:lnTo>
                    <a:pt x="14542" y="0"/>
                  </a:lnTo>
                  <a:lnTo>
                    <a:pt x="14110" y="748"/>
                  </a:lnTo>
                  <a:lnTo>
                    <a:pt x="14542" y="0"/>
                  </a:lnTo>
                  <a:lnTo>
                    <a:pt x="8964" y="0"/>
                  </a:lnTo>
                  <a:lnTo>
                    <a:pt x="9395" y="747"/>
                  </a:lnTo>
                  <a:lnTo>
                    <a:pt x="9395" y="747"/>
                  </a:lnTo>
                  <a:lnTo>
                    <a:pt x="8964" y="0"/>
                  </a:lnTo>
                  <a:lnTo>
                    <a:pt x="7879" y="0"/>
                  </a:lnTo>
                  <a:lnTo>
                    <a:pt x="7468" y="1574"/>
                  </a:lnTo>
                  <a:lnTo>
                    <a:pt x="7468" y="1574"/>
                  </a:lnTo>
                  <a:lnTo>
                    <a:pt x="7879" y="0"/>
                  </a:lnTo>
                  <a:lnTo>
                    <a:pt x="6111" y="0"/>
                  </a:lnTo>
                  <a:lnTo>
                    <a:pt x="7468" y="1574"/>
                  </a:lnTo>
                  <a:lnTo>
                    <a:pt x="6111" y="0"/>
                  </a:lnTo>
                  <a:lnTo>
                    <a:pt x="4249" y="0"/>
                  </a:lnTo>
                  <a:lnTo>
                    <a:pt x="4681" y="748"/>
                  </a:lnTo>
                  <a:lnTo>
                    <a:pt x="7468" y="1574"/>
                  </a:lnTo>
                  <a:lnTo>
                    <a:pt x="7468" y="1574"/>
                  </a:lnTo>
                  <a:lnTo>
                    <a:pt x="4681" y="748"/>
                  </a:lnTo>
                  <a:lnTo>
                    <a:pt x="5860" y="2789"/>
                  </a:lnTo>
                  <a:lnTo>
                    <a:pt x="5859" y="2789"/>
                  </a:lnTo>
                  <a:lnTo>
                    <a:pt x="4681" y="748"/>
                  </a:lnTo>
                  <a:lnTo>
                    <a:pt x="3502" y="2790"/>
                  </a:lnTo>
                  <a:lnTo>
                    <a:pt x="3502" y="2789"/>
                  </a:lnTo>
                  <a:lnTo>
                    <a:pt x="4681" y="748"/>
                  </a:lnTo>
                  <a:lnTo>
                    <a:pt x="2324" y="748"/>
                  </a:lnTo>
                  <a:lnTo>
                    <a:pt x="3502" y="2789"/>
                  </a:lnTo>
                  <a:lnTo>
                    <a:pt x="3502" y="2789"/>
                  </a:lnTo>
                  <a:lnTo>
                    <a:pt x="2324" y="748"/>
                  </a:lnTo>
                  <a:lnTo>
                    <a:pt x="1065" y="1273"/>
                  </a:lnTo>
                  <a:lnTo>
                    <a:pt x="1065" y="1273"/>
                  </a:lnTo>
                  <a:lnTo>
                    <a:pt x="1065" y="1273"/>
                  </a:lnTo>
                  <a:lnTo>
                    <a:pt x="1065" y="1273"/>
                  </a:lnTo>
                  <a:lnTo>
                    <a:pt x="120" y="3894"/>
                  </a:lnTo>
                  <a:lnTo>
                    <a:pt x="2324" y="4831"/>
                  </a:lnTo>
                  <a:lnTo>
                    <a:pt x="2324" y="4831"/>
                  </a:lnTo>
                  <a:lnTo>
                    <a:pt x="120" y="3894"/>
                  </a:lnTo>
                  <a:lnTo>
                    <a:pt x="120" y="3894"/>
                  </a:lnTo>
                  <a:lnTo>
                    <a:pt x="1065" y="1273"/>
                  </a:lnTo>
                  <a:lnTo>
                    <a:pt x="0" y="1982"/>
                  </a:lnTo>
                  <a:lnTo>
                    <a:pt x="0" y="3795"/>
                  </a:lnTo>
                  <a:lnTo>
                    <a:pt x="120" y="3894"/>
                  </a:lnTo>
                  <a:lnTo>
                    <a:pt x="120" y="3894"/>
                  </a:lnTo>
                  <a:lnTo>
                    <a:pt x="270" y="4331"/>
                  </a:lnTo>
                  <a:lnTo>
                    <a:pt x="1145" y="6872"/>
                  </a:lnTo>
                  <a:lnTo>
                    <a:pt x="270" y="4331"/>
                  </a:lnTo>
                  <a:lnTo>
                    <a:pt x="1145" y="6872"/>
                  </a:lnTo>
                  <a:lnTo>
                    <a:pt x="2088" y="5239"/>
                  </a:lnTo>
                  <a:lnTo>
                    <a:pt x="1145" y="6872"/>
                  </a:lnTo>
                  <a:lnTo>
                    <a:pt x="1145" y="6872"/>
                  </a:lnTo>
                  <a:lnTo>
                    <a:pt x="1109" y="6907"/>
                  </a:lnTo>
                  <a:lnTo>
                    <a:pt x="0" y="7970"/>
                  </a:lnTo>
                  <a:lnTo>
                    <a:pt x="1109" y="6907"/>
                  </a:lnTo>
                  <a:lnTo>
                    <a:pt x="0" y="7970"/>
                  </a:lnTo>
                  <a:lnTo>
                    <a:pt x="0" y="8978"/>
                  </a:lnTo>
                  <a:lnTo>
                    <a:pt x="2324" y="8914"/>
                  </a:lnTo>
                  <a:lnTo>
                    <a:pt x="1145" y="6872"/>
                  </a:lnTo>
                  <a:lnTo>
                    <a:pt x="2324" y="8914"/>
                  </a:lnTo>
                  <a:lnTo>
                    <a:pt x="2324" y="8914"/>
                  </a:lnTo>
                  <a:lnTo>
                    <a:pt x="4116" y="9609"/>
                  </a:lnTo>
                  <a:lnTo>
                    <a:pt x="3114" y="8126"/>
                  </a:lnTo>
                  <a:lnTo>
                    <a:pt x="4116" y="9609"/>
                  </a:lnTo>
                  <a:lnTo>
                    <a:pt x="5860" y="10955"/>
                  </a:lnTo>
                  <a:lnTo>
                    <a:pt x="5859" y="10955"/>
                  </a:lnTo>
                  <a:lnTo>
                    <a:pt x="4116" y="9609"/>
                  </a:lnTo>
                  <a:lnTo>
                    <a:pt x="3502" y="10955"/>
                  </a:lnTo>
                  <a:lnTo>
                    <a:pt x="3502" y="10955"/>
                  </a:lnTo>
                  <a:lnTo>
                    <a:pt x="3502" y="10955"/>
                  </a:lnTo>
                  <a:lnTo>
                    <a:pt x="3502" y="10955"/>
                  </a:lnTo>
                  <a:lnTo>
                    <a:pt x="4116" y="9609"/>
                  </a:lnTo>
                  <a:lnTo>
                    <a:pt x="2324" y="8914"/>
                  </a:lnTo>
                  <a:lnTo>
                    <a:pt x="2324" y="8914"/>
                  </a:lnTo>
                  <a:lnTo>
                    <a:pt x="2324" y="8914"/>
                  </a:lnTo>
                  <a:lnTo>
                    <a:pt x="2324" y="8914"/>
                  </a:lnTo>
                  <a:lnTo>
                    <a:pt x="2324" y="8914"/>
                  </a:lnTo>
                  <a:lnTo>
                    <a:pt x="0" y="8978"/>
                  </a:lnTo>
                  <a:lnTo>
                    <a:pt x="0" y="11274"/>
                  </a:lnTo>
                  <a:lnTo>
                    <a:pt x="586" y="11428"/>
                  </a:lnTo>
                  <a:lnTo>
                    <a:pt x="1542" y="10045"/>
                  </a:lnTo>
                  <a:lnTo>
                    <a:pt x="586" y="11428"/>
                  </a:lnTo>
                  <a:lnTo>
                    <a:pt x="3502" y="10955"/>
                  </a:lnTo>
                  <a:lnTo>
                    <a:pt x="586" y="11428"/>
                  </a:lnTo>
                  <a:lnTo>
                    <a:pt x="750" y="12746"/>
                  </a:lnTo>
                  <a:lnTo>
                    <a:pt x="2324" y="12997"/>
                  </a:lnTo>
                  <a:lnTo>
                    <a:pt x="2324" y="12997"/>
                  </a:lnTo>
                  <a:lnTo>
                    <a:pt x="3564" y="14028"/>
                  </a:lnTo>
                  <a:lnTo>
                    <a:pt x="3502" y="10956"/>
                  </a:lnTo>
                  <a:lnTo>
                    <a:pt x="3564" y="14028"/>
                  </a:lnTo>
                  <a:lnTo>
                    <a:pt x="5860" y="10956"/>
                  </a:lnTo>
                  <a:lnTo>
                    <a:pt x="5860" y="10956"/>
                  </a:lnTo>
                  <a:lnTo>
                    <a:pt x="3564" y="14028"/>
                  </a:lnTo>
                  <a:lnTo>
                    <a:pt x="3564" y="14028"/>
                  </a:lnTo>
                  <a:lnTo>
                    <a:pt x="3564" y="14028"/>
                  </a:lnTo>
                  <a:lnTo>
                    <a:pt x="4943" y="15446"/>
                  </a:lnTo>
                  <a:moveTo>
                    <a:pt x="0" y="3795"/>
                  </a:moveTo>
                  <a:lnTo>
                    <a:pt x="120" y="3894"/>
                  </a:lnTo>
                  <a:lnTo>
                    <a:pt x="0" y="3795"/>
                  </a:lnTo>
                  <a:moveTo>
                    <a:pt x="0" y="1099"/>
                  </a:moveTo>
                  <a:lnTo>
                    <a:pt x="0" y="1982"/>
                  </a:lnTo>
                  <a:lnTo>
                    <a:pt x="1065" y="1273"/>
                  </a:lnTo>
                  <a:lnTo>
                    <a:pt x="901" y="1246"/>
                  </a:lnTo>
                  <a:lnTo>
                    <a:pt x="1065" y="1273"/>
                  </a:lnTo>
                  <a:lnTo>
                    <a:pt x="2324" y="748"/>
                  </a:lnTo>
                  <a:lnTo>
                    <a:pt x="0" y="916"/>
                  </a:lnTo>
                  <a:lnTo>
                    <a:pt x="0" y="1099"/>
                  </a:lnTo>
                  <a:moveTo>
                    <a:pt x="0" y="52"/>
                  </a:moveTo>
                  <a:lnTo>
                    <a:pt x="0" y="916"/>
                  </a:lnTo>
                  <a:lnTo>
                    <a:pt x="2324" y="748"/>
                  </a:lnTo>
                  <a:lnTo>
                    <a:pt x="4681" y="748"/>
                  </a:lnTo>
                  <a:lnTo>
                    <a:pt x="4249" y="0"/>
                  </a:lnTo>
                  <a:lnTo>
                    <a:pt x="1892" y="0"/>
                  </a:lnTo>
                  <a:lnTo>
                    <a:pt x="2324" y="748"/>
                  </a:lnTo>
                  <a:lnTo>
                    <a:pt x="2324" y="748"/>
                  </a:lnTo>
                  <a:lnTo>
                    <a:pt x="1892" y="0"/>
                  </a:lnTo>
                  <a:lnTo>
                    <a:pt x="45" y="0"/>
                  </a:lnTo>
                  <a:lnTo>
                    <a:pt x="0" y="52"/>
                  </a:lnTo>
                  <a:moveTo>
                    <a:pt x="0" y="0"/>
                  </a:moveTo>
                  <a:lnTo>
                    <a:pt x="0" y="52"/>
                  </a:lnTo>
                  <a:lnTo>
                    <a:pt x="44" y="0"/>
                  </a:lnTo>
                  <a:lnTo>
                    <a:pt x="0" y="0"/>
                  </a:lnTo>
                  <a:moveTo>
                    <a:pt x="3737" y="15446"/>
                  </a:moveTo>
                  <a:lnTo>
                    <a:pt x="3737" y="15446"/>
                  </a:lnTo>
                  <a:lnTo>
                    <a:pt x="3502" y="15039"/>
                  </a:lnTo>
                  <a:lnTo>
                    <a:pt x="3737" y="15446"/>
                  </a:lnTo>
                  <a:moveTo>
                    <a:pt x="1074" y="15446"/>
                  </a:moveTo>
                  <a:lnTo>
                    <a:pt x="1074" y="15446"/>
                  </a:lnTo>
                  <a:lnTo>
                    <a:pt x="800" y="15275"/>
                  </a:lnTo>
                  <a:lnTo>
                    <a:pt x="1074" y="15446"/>
                  </a:lnTo>
                  <a:moveTo>
                    <a:pt x="11037" y="13656"/>
                  </a:moveTo>
                  <a:lnTo>
                    <a:pt x="12931" y="10955"/>
                  </a:lnTo>
                  <a:lnTo>
                    <a:pt x="10777" y="9480"/>
                  </a:lnTo>
                  <a:lnTo>
                    <a:pt x="10433" y="11715"/>
                  </a:lnTo>
                  <a:lnTo>
                    <a:pt x="10433" y="11715"/>
                  </a:lnTo>
                  <a:lnTo>
                    <a:pt x="10433" y="11715"/>
                  </a:lnTo>
                  <a:lnTo>
                    <a:pt x="10777" y="9480"/>
                  </a:lnTo>
                  <a:lnTo>
                    <a:pt x="8413" y="8879"/>
                  </a:lnTo>
                  <a:lnTo>
                    <a:pt x="8413" y="8879"/>
                  </a:lnTo>
                  <a:lnTo>
                    <a:pt x="8413" y="8879"/>
                  </a:lnTo>
                  <a:lnTo>
                    <a:pt x="8413" y="8879"/>
                  </a:lnTo>
                  <a:lnTo>
                    <a:pt x="7038" y="8914"/>
                  </a:lnTo>
                  <a:lnTo>
                    <a:pt x="7038" y="8914"/>
                  </a:lnTo>
                  <a:lnTo>
                    <a:pt x="8413" y="8879"/>
                  </a:lnTo>
                  <a:lnTo>
                    <a:pt x="10777" y="9480"/>
                  </a:lnTo>
                  <a:lnTo>
                    <a:pt x="10777" y="9480"/>
                  </a:lnTo>
                  <a:lnTo>
                    <a:pt x="10777" y="9480"/>
                  </a:lnTo>
                  <a:lnTo>
                    <a:pt x="10777" y="9480"/>
                  </a:lnTo>
                  <a:lnTo>
                    <a:pt x="12931" y="10955"/>
                  </a:lnTo>
                  <a:lnTo>
                    <a:pt x="13871" y="11844"/>
                  </a:lnTo>
                  <a:lnTo>
                    <a:pt x="14110" y="8914"/>
                  </a:lnTo>
                  <a:lnTo>
                    <a:pt x="14110" y="8914"/>
                  </a:lnTo>
                  <a:lnTo>
                    <a:pt x="13871" y="11844"/>
                  </a:lnTo>
                  <a:lnTo>
                    <a:pt x="15446" y="11473"/>
                  </a:lnTo>
                  <a:lnTo>
                    <a:pt x="15446" y="11473"/>
                  </a:lnTo>
                  <a:lnTo>
                    <a:pt x="13871" y="11844"/>
                  </a:lnTo>
                  <a:lnTo>
                    <a:pt x="14069" y="12799"/>
                  </a:lnTo>
                  <a:lnTo>
                    <a:pt x="13871" y="11844"/>
                  </a:lnTo>
                  <a:lnTo>
                    <a:pt x="12931" y="10955"/>
                  </a:lnTo>
                  <a:lnTo>
                    <a:pt x="14110" y="12997"/>
                  </a:lnTo>
                  <a:lnTo>
                    <a:pt x="14110" y="12997"/>
                  </a:lnTo>
                  <a:lnTo>
                    <a:pt x="14110" y="12997"/>
                  </a:lnTo>
                  <a:lnTo>
                    <a:pt x="12931" y="10955"/>
                  </a:lnTo>
                  <a:lnTo>
                    <a:pt x="11037" y="13656"/>
                  </a:lnTo>
                  <a:moveTo>
                    <a:pt x="15446" y="12997"/>
                  </a:moveTo>
                  <a:lnTo>
                    <a:pt x="14110" y="12997"/>
                  </a:lnTo>
                  <a:lnTo>
                    <a:pt x="14110" y="12997"/>
                  </a:lnTo>
                  <a:lnTo>
                    <a:pt x="15446" y="12997"/>
                  </a:lnTo>
                  <a:lnTo>
                    <a:pt x="15446" y="12997"/>
                  </a:lnTo>
                  <a:moveTo>
                    <a:pt x="2324" y="12997"/>
                  </a:moveTo>
                  <a:lnTo>
                    <a:pt x="586" y="11428"/>
                  </a:lnTo>
                  <a:lnTo>
                    <a:pt x="2324" y="12997"/>
                  </a:lnTo>
                  <a:lnTo>
                    <a:pt x="2324" y="12997"/>
                  </a:lnTo>
                  <a:moveTo>
                    <a:pt x="750" y="12746"/>
                  </a:moveTo>
                  <a:lnTo>
                    <a:pt x="750" y="12746"/>
                  </a:lnTo>
                  <a:lnTo>
                    <a:pt x="750" y="12746"/>
                  </a:lnTo>
                  <a:lnTo>
                    <a:pt x="750" y="12746"/>
                  </a:lnTo>
                  <a:lnTo>
                    <a:pt x="750" y="12746"/>
                  </a:lnTo>
                  <a:moveTo>
                    <a:pt x="5936" y="12632"/>
                  </a:moveTo>
                  <a:lnTo>
                    <a:pt x="5935" y="12631"/>
                  </a:lnTo>
                  <a:lnTo>
                    <a:pt x="7357" y="11428"/>
                  </a:lnTo>
                  <a:lnTo>
                    <a:pt x="5860" y="10955"/>
                  </a:lnTo>
                  <a:lnTo>
                    <a:pt x="5860" y="10955"/>
                  </a:lnTo>
                  <a:lnTo>
                    <a:pt x="7357" y="11428"/>
                  </a:lnTo>
                  <a:lnTo>
                    <a:pt x="7093" y="9346"/>
                  </a:lnTo>
                  <a:lnTo>
                    <a:pt x="7357" y="11428"/>
                  </a:lnTo>
                  <a:lnTo>
                    <a:pt x="5936" y="12632"/>
                  </a:lnTo>
                  <a:moveTo>
                    <a:pt x="5935" y="12632"/>
                  </a:moveTo>
                  <a:lnTo>
                    <a:pt x="5927" y="12440"/>
                  </a:lnTo>
                  <a:lnTo>
                    <a:pt x="5935" y="12631"/>
                  </a:lnTo>
                  <a:moveTo>
                    <a:pt x="10777" y="9480"/>
                  </a:moveTo>
                  <a:lnTo>
                    <a:pt x="12931" y="6872"/>
                  </a:lnTo>
                  <a:lnTo>
                    <a:pt x="10574" y="6872"/>
                  </a:lnTo>
                  <a:lnTo>
                    <a:pt x="12931" y="6872"/>
                  </a:lnTo>
                  <a:lnTo>
                    <a:pt x="12818" y="6352"/>
                  </a:lnTo>
                  <a:lnTo>
                    <a:pt x="12931" y="6872"/>
                  </a:lnTo>
                  <a:lnTo>
                    <a:pt x="15446" y="7725"/>
                  </a:lnTo>
                  <a:lnTo>
                    <a:pt x="15446" y="7725"/>
                  </a:lnTo>
                  <a:lnTo>
                    <a:pt x="12931" y="6872"/>
                  </a:lnTo>
                  <a:lnTo>
                    <a:pt x="14110" y="8914"/>
                  </a:lnTo>
                  <a:lnTo>
                    <a:pt x="12931" y="6872"/>
                  </a:lnTo>
                  <a:lnTo>
                    <a:pt x="10777" y="9480"/>
                  </a:lnTo>
                  <a:lnTo>
                    <a:pt x="10777" y="9480"/>
                  </a:lnTo>
                  <a:moveTo>
                    <a:pt x="7038" y="8914"/>
                  </a:moveTo>
                  <a:lnTo>
                    <a:pt x="7038" y="8914"/>
                  </a:lnTo>
                  <a:lnTo>
                    <a:pt x="8217" y="6872"/>
                  </a:lnTo>
                  <a:lnTo>
                    <a:pt x="5860" y="6872"/>
                  </a:lnTo>
                  <a:lnTo>
                    <a:pt x="5860" y="6872"/>
                  </a:lnTo>
                  <a:lnTo>
                    <a:pt x="8217" y="6872"/>
                  </a:lnTo>
                  <a:lnTo>
                    <a:pt x="7366" y="5398"/>
                  </a:lnTo>
                  <a:lnTo>
                    <a:pt x="8217" y="6872"/>
                  </a:lnTo>
                  <a:lnTo>
                    <a:pt x="9050" y="6406"/>
                  </a:lnTo>
                  <a:lnTo>
                    <a:pt x="8217" y="6872"/>
                  </a:lnTo>
                  <a:lnTo>
                    <a:pt x="8217" y="6872"/>
                  </a:lnTo>
                  <a:lnTo>
                    <a:pt x="7038" y="8914"/>
                  </a:lnTo>
                  <a:moveTo>
                    <a:pt x="7038" y="8914"/>
                  </a:moveTo>
                  <a:lnTo>
                    <a:pt x="5868" y="6886"/>
                  </a:lnTo>
                  <a:lnTo>
                    <a:pt x="7038" y="8914"/>
                  </a:lnTo>
                  <a:lnTo>
                    <a:pt x="7038" y="8914"/>
                  </a:lnTo>
                  <a:moveTo>
                    <a:pt x="15446" y="8914"/>
                  </a:moveTo>
                  <a:lnTo>
                    <a:pt x="14110" y="8914"/>
                  </a:lnTo>
                  <a:lnTo>
                    <a:pt x="15446" y="8914"/>
                  </a:lnTo>
                  <a:lnTo>
                    <a:pt x="15446" y="8914"/>
                  </a:lnTo>
                  <a:moveTo>
                    <a:pt x="14110" y="8914"/>
                  </a:moveTo>
                  <a:lnTo>
                    <a:pt x="14110" y="8914"/>
                  </a:lnTo>
                  <a:lnTo>
                    <a:pt x="14874" y="8485"/>
                  </a:lnTo>
                  <a:lnTo>
                    <a:pt x="14110" y="8914"/>
                  </a:lnTo>
                  <a:moveTo>
                    <a:pt x="8413" y="8878"/>
                  </a:moveTo>
                  <a:lnTo>
                    <a:pt x="8217" y="6872"/>
                  </a:lnTo>
                  <a:lnTo>
                    <a:pt x="8217" y="6872"/>
                  </a:lnTo>
                  <a:lnTo>
                    <a:pt x="8413" y="8878"/>
                  </a:lnTo>
                  <a:lnTo>
                    <a:pt x="8413" y="8878"/>
                  </a:lnTo>
                  <a:moveTo>
                    <a:pt x="2557" y="7302"/>
                  </a:moveTo>
                  <a:lnTo>
                    <a:pt x="2557" y="7302"/>
                  </a:lnTo>
                  <a:lnTo>
                    <a:pt x="2557" y="7302"/>
                  </a:lnTo>
                  <a:lnTo>
                    <a:pt x="4159" y="4109"/>
                  </a:lnTo>
                  <a:lnTo>
                    <a:pt x="2324" y="4831"/>
                  </a:lnTo>
                  <a:lnTo>
                    <a:pt x="2324" y="4831"/>
                  </a:lnTo>
                  <a:lnTo>
                    <a:pt x="2324" y="4831"/>
                  </a:lnTo>
                  <a:lnTo>
                    <a:pt x="2324" y="4831"/>
                  </a:lnTo>
                  <a:lnTo>
                    <a:pt x="2324" y="4831"/>
                  </a:lnTo>
                  <a:lnTo>
                    <a:pt x="4159" y="4109"/>
                  </a:lnTo>
                  <a:lnTo>
                    <a:pt x="4159" y="4109"/>
                  </a:lnTo>
                  <a:lnTo>
                    <a:pt x="4159" y="4109"/>
                  </a:lnTo>
                  <a:lnTo>
                    <a:pt x="4159" y="4109"/>
                  </a:lnTo>
                  <a:lnTo>
                    <a:pt x="4159" y="4109"/>
                  </a:lnTo>
                  <a:lnTo>
                    <a:pt x="5860" y="6872"/>
                  </a:lnTo>
                  <a:lnTo>
                    <a:pt x="5859" y="6872"/>
                  </a:lnTo>
                  <a:lnTo>
                    <a:pt x="4159" y="4109"/>
                  </a:lnTo>
                  <a:lnTo>
                    <a:pt x="2557" y="7302"/>
                  </a:lnTo>
                  <a:lnTo>
                    <a:pt x="2557" y="7302"/>
                  </a:lnTo>
                  <a:moveTo>
                    <a:pt x="2557" y="7302"/>
                  </a:moveTo>
                  <a:lnTo>
                    <a:pt x="2324" y="4831"/>
                  </a:lnTo>
                  <a:lnTo>
                    <a:pt x="2324" y="4831"/>
                  </a:lnTo>
                  <a:lnTo>
                    <a:pt x="2557" y="7302"/>
                  </a:lnTo>
                  <a:moveTo>
                    <a:pt x="2909" y="7256"/>
                  </a:moveTo>
                  <a:lnTo>
                    <a:pt x="5860" y="6872"/>
                  </a:lnTo>
                  <a:lnTo>
                    <a:pt x="5860" y="6872"/>
                  </a:lnTo>
                  <a:lnTo>
                    <a:pt x="5860" y="6872"/>
                  </a:lnTo>
                  <a:lnTo>
                    <a:pt x="2909" y="7256"/>
                  </a:lnTo>
                  <a:moveTo>
                    <a:pt x="15446" y="7072"/>
                  </a:moveTo>
                  <a:lnTo>
                    <a:pt x="15229" y="6708"/>
                  </a:lnTo>
                  <a:lnTo>
                    <a:pt x="15446" y="7072"/>
                  </a:lnTo>
                  <a:lnTo>
                    <a:pt x="15446" y="7072"/>
                  </a:lnTo>
                  <a:moveTo>
                    <a:pt x="1145" y="6872"/>
                  </a:moveTo>
                  <a:lnTo>
                    <a:pt x="1145" y="6872"/>
                  </a:lnTo>
                  <a:moveTo>
                    <a:pt x="10574" y="6872"/>
                  </a:moveTo>
                  <a:lnTo>
                    <a:pt x="10574" y="6872"/>
                  </a:lnTo>
                  <a:lnTo>
                    <a:pt x="10574" y="6872"/>
                  </a:lnTo>
                  <a:lnTo>
                    <a:pt x="12458" y="5724"/>
                  </a:lnTo>
                  <a:lnTo>
                    <a:pt x="10574" y="6872"/>
                  </a:lnTo>
                  <a:moveTo>
                    <a:pt x="8217" y="6872"/>
                  </a:moveTo>
                  <a:lnTo>
                    <a:pt x="8217" y="6872"/>
                  </a:lnTo>
                  <a:lnTo>
                    <a:pt x="8217" y="6872"/>
                  </a:lnTo>
                  <a:lnTo>
                    <a:pt x="8217" y="6872"/>
                  </a:lnTo>
                  <a:moveTo>
                    <a:pt x="10574" y="6872"/>
                  </a:moveTo>
                  <a:lnTo>
                    <a:pt x="9445" y="6321"/>
                  </a:lnTo>
                  <a:lnTo>
                    <a:pt x="10574" y="6872"/>
                  </a:lnTo>
                  <a:lnTo>
                    <a:pt x="10574" y="6872"/>
                  </a:lnTo>
                  <a:moveTo>
                    <a:pt x="9316" y="6257"/>
                  </a:moveTo>
                  <a:lnTo>
                    <a:pt x="9316" y="6257"/>
                  </a:lnTo>
                  <a:lnTo>
                    <a:pt x="9316" y="6257"/>
                  </a:lnTo>
                  <a:lnTo>
                    <a:pt x="9316" y="6257"/>
                  </a:lnTo>
                  <a:lnTo>
                    <a:pt x="9316" y="6257"/>
                  </a:lnTo>
                  <a:lnTo>
                    <a:pt x="9316" y="6257"/>
                  </a:lnTo>
                  <a:lnTo>
                    <a:pt x="12655" y="5604"/>
                  </a:lnTo>
                  <a:lnTo>
                    <a:pt x="12655" y="5604"/>
                  </a:lnTo>
                  <a:lnTo>
                    <a:pt x="12655" y="5604"/>
                  </a:lnTo>
                  <a:lnTo>
                    <a:pt x="12655" y="5604"/>
                  </a:lnTo>
                  <a:lnTo>
                    <a:pt x="14110" y="4831"/>
                  </a:lnTo>
                  <a:lnTo>
                    <a:pt x="12655" y="5604"/>
                  </a:lnTo>
                  <a:lnTo>
                    <a:pt x="12655" y="5604"/>
                  </a:lnTo>
                  <a:lnTo>
                    <a:pt x="12655" y="5604"/>
                  </a:lnTo>
                  <a:lnTo>
                    <a:pt x="9316" y="6257"/>
                  </a:lnTo>
                  <a:moveTo>
                    <a:pt x="9316" y="6257"/>
                  </a:moveTo>
                  <a:lnTo>
                    <a:pt x="7038" y="4831"/>
                  </a:lnTo>
                  <a:lnTo>
                    <a:pt x="7038" y="4831"/>
                  </a:lnTo>
                  <a:lnTo>
                    <a:pt x="9316" y="6257"/>
                  </a:lnTo>
                  <a:lnTo>
                    <a:pt x="9316" y="6257"/>
                  </a:lnTo>
                  <a:moveTo>
                    <a:pt x="9316" y="6257"/>
                  </a:moveTo>
                  <a:lnTo>
                    <a:pt x="9316" y="3550"/>
                  </a:lnTo>
                  <a:lnTo>
                    <a:pt x="9316" y="6257"/>
                  </a:lnTo>
                  <a:moveTo>
                    <a:pt x="12655" y="5604"/>
                  </a:moveTo>
                  <a:lnTo>
                    <a:pt x="12655" y="5604"/>
                  </a:lnTo>
                  <a:lnTo>
                    <a:pt x="12201" y="3434"/>
                  </a:lnTo>
                  <a:lnTo>
                    <a:pt x="12655" y="5604"/>
                  </a:lnTo>
                  <a:moveTo>
                    <a:pt x="7038" y="4831"/>
                  </a:moveTo>
                  <a:lnTo>
                    <a:pt x="7038" y="4831"/>
                  </a:lnTo>
                  <a:lnTo>
                    <a:pt x="9316" y="3550"/>
                  </a:lnTo>
                  <a:lnTo>
                    <a:pt x="5859" y="2789"/>
                  </a:lnTo>
                  <a:lnTo>
                    <a:pt x="5860" y="2789"/>
                  </a:lnTo>
                  <a:lnTo>
                    <a:pt x="9316" y="3550"/>
                  </a:lnTo>
                  <a:lnTo>
                    <a:pt x="8410" y="2581"/>
                  </a:lnTo>
                  <a:lnTo>
                    <a:pt x="9316" y="3550"/>
                  </a:lnTo>
                  <a:lnTo>
                    <a:pt x="9319" y="3444"/>
                  </a:lnTo>
                  <a:lnTo>
                    <a:pt x="9316" y="3550"/>
                  </a:lnTo>
                  <a:lnTo>
                    <a:pt x="10574" y="2789"/>
                  </a:lnTo>
                  <a:lnTo>
                    <a:pt x="9316" y="3550"/>
                  </a:lnTo>
                  <a:lnTo>
                    <a:pt x="7038" y="4831"/>
                  </a:lnTo>
                  <a:moveTo>
                    <a:pt x="7038" y="4831"/>
                  </a:moveTo>
                  <a:lnTo>
                    <a:pt x="6499" y="3898"/>
                  </a:lnTo>
                  <a:lnTo>
                    <a:pt x="7038" y="4831"/>
                  </a:lnTo>
                  <a:moveTo>
                    <a:pt x="2324" y="4831"/>
                  </a:moveTo>
                  <a:lnTo>
                    <a:pt x="1405" y="2233"/>
                  </a:lnTo>
                  <a:lnTo>
                    <a:pt x="2324" y="4831"/>
                  </a:lnTo>
                  <a:lnTo>
                    <a:pt x="2324" y="4831"/>
                  </a:lnTo>
                  <a:moveTo>
                    <a:pt x="14110" y="4831"/>
                  </a:moveTo>
                  <a:lnTo>
                    <a:pt x="12201" y="3434"/>
                  </a:lnTo>
                  <a:lnTo>
                    <a:pt x="12066" y="2627"/>
                  </a:lnTo>
                  <a:lnTo>
                    <a:pt x="12201" y="3434"/>
                  </a:lnTo>
                  <a:lnTo>
                    <a:pt x="15446" y="2602"/>
                  </a:lnTo>
                  <a:lnTo>
                    <a:pt x="15446" y="2602"/>
                  </a:lnTo>
                  <a:lnTo>
                    <a:pt x="12201" y="3434"/>
                  </a:lnTo>
                  <a:lnTo>
                    <a:pt x="14110" y="4831"/>
                  </a:lnTo>
                  <a:moveTo>
                    <a:pt x="14110" y="4831"/>
                  </a:moveTo>
                  <a:lnTo>
                    <a:pt x="14110" y="4831"/>
                  </a:lnTo>
                  <a:lnTo>
                    <a:pt x="15358" y="3331"/>
                  </a:lnTo>
                  <a:lnTo>
                    <a:pt x="14110" y="4831"/>
                  </a:lnTo>
                  <a:moveTo>
                    <a:pt x="4159" y="4109"/>
                  </a:moveTo>
                  <a:lnTo>
                    <a:pt x="4159" y="4109"/>
                  </a:lnTo>
                  <a:lnTo>
                    <a:pt x="4603" y="3765"/>
                  </a:lnTo>
                  <a:lnTo>
                    <a:pt x="4159" y="4109"/>
                  </a:lnTo>
                  <a:moveTo>
                    <a:pt x="12201" y="3434"/>
                  </a:moveTo>
                  <a:lnTo>
                    <a:pt x="10574" y="2789"/>
                  </a:lnTo>
                  <a:lnTo>
                    <a:pt x="10574" y="2789"/>
                  </a:lnTo>
                  <a:lnTo>
                    <a:pt x="10574" y="2789"/>
                  </a:lnTo>
                  <a:lnTo>
                    <a:pt x="11753" y="748"/>
                  </a:lnTo>
                  <a:lnTo>
                    <a:pt x="9396" y="748"/>
                  </a:lnTo>
                  <a:lnTo>
                    <a:pt x="9396" y="748"/>
                  </a:lnTo>
                  <a:lnTo>
                    <a:pt x="11753" y="748"/>
                  </a:lnTo>
                  <a:lnTo>
                    <a:pt x="11753" y="748"/>
                  </a:lnTo>
                  <a:lnTo>
                    <a:pt x="11753" y="748"/>
                  </a:lnTo>
                  <a:lnTo>
                    <a:pt x="10574" y="2789"/>
                  </a:lnTo>
                  <a:lnTo>
                    <a:pt x="12201" y="3434"/>
                  </a:lnTo>
                  <a:moveTo>
                    <a:pt x="5859" y="2790"/>
                  </a:moveTo>
                  <a:lnTo>
                    <a:pt x="3502" y="2790"/>
                  </a:lnTo>
                  <a:lnTo>
                    <a:pt x="5860" y="2789"/>
                  </a:lnTo>
                  <a:lnTo>
                    <a:pt x="5859" y="2789"/>
                  </a:lnTo>
                  <a:lnTo>
                    <a:pt x="5859" y="2790"/>
                  </a:lnTo>
                  <a:moveTo>
                    <a:pt x="15446" y="1876"/>
                  </a:moveTo>
                  <a:lnTo>
                    <a:pt x="14110" y="748"/>
                  </a:lnTo>
                  <a:lnTo>
                    <a:pt x="15446" y="1876"/>
                  </a:lnTo>
                  <a:lnTo>
                    <a:pt x="15446" y="1876"/>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4" name="Freeform 306"/>
            <p:cNvSpPr>
              <a:spLocks/>
            </p:cNvSpPr>
            <p:nvPr/>
          </p:nvSpPr>
          <p:spPr bwMode="auto">
            <a:xfrm>
              <a:off x="-12625388" y="-3271838"/>
              <a:ext cx="811213" cy="671513"/>
            </a:xfrm>
            <a:custGeom>
              <a:avLst/>
              <a:gdLst>
                <a:gd name="T0" fmla="*/ 0 w 511"/>
                <a:gd name="T1" fmla="*/ 423 h 423"/>
                <a:gd name="T2" fmla="*/ 0 w 511"/>
                <a:gd name="T3" fmla="*/ 0 h 423"/>
                <a:gd name="T4" fmla="*/ 433 w 511"/>
                <a:gd name="T5" fmla="*/ 70 h 423"/>
                <a:gd name="T6" fmla="*/ 511 w 511"/>
                <a:gd name="T7" fmla="*/ 83 h 423"/>
                <a:gd name="T8" fmla="*/ 0 w 511"/>
                <a:gd name="T9" fmla="*/ 423 h 423"/>
              </a:gdLst>
              <a:ahLst/>
              <a:cxnLst>
                <a:cxn ang="0">
                  <a:pos x="T0" y="T1"/>
                </a:cxn>
                <a:cxn ang="0">
                  <a:pos x="T2" y="T3"/>
                </a:cxn>
                <a:cxn ang="0">
                  <a:pos x="T4" y="T5"/>
                </a:cxn>
                <a:cxn ang="0">
                  <a:pos x="T6" y="T7"/>
                </a:cxn>
                <a:cxn ang="0">
                  <a:pos x="T8" y="T9"/>
                </a:cxn>
              </a:cxnLst>
              <a:rect l="0" t="0" r="r" b="b"/>
              <a:pathLst>
                <a:path w="511" h="423">
                  <a:moveTo>
                    <a:pt x="0" y="423"/>
                  </a:moveTo>
                  <a:lnTo>
                    <a:pt x="0" y="0"/>
                  </a:lnTo>
                  <a:lnTo>
                    <a:pt x="433" y="70"/>
                  </a:lnTo>
                  <a:lnTo>
                    <a:pt x="511" y="83"/>
                  </a:lnTo>
                  <a:lnTo>
                    <a:pt x="0" y="42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5" name="Freeform 307"/>
            <p:cNvSpPr>
              <a:spLocks/>
            </p:cNvSpPr>
            <p:nvPr/>
          </p:nvSpPr>
          <p:spPr bwMode="auto">
            <a:xfrm>
              <a:off x="-12625388" y="-4110038"/>
              <a:ext cx="33338" cy="39688"/>
            </a:xfrm>
            <a:custGeom>
              <a:avLst/>
              <a:gdLst>
                <a:gd name="T0" fmla="*/ 0 w 21"/>
                <a:gd name="T1" fmla="*/ 25 h 25"/>
                <a:gd name="T2" fmla="*/ 0 w 21"/>
                <a:gd name="T3" fmla="*/ 0 h 25"/>
                <a:gd name="T4" fmla="*/ 21 w 21"/>
                <a:gd name="T5" fmla="*/ 0 h 25"/>
                <a:gd name="T6" fmla="*/ 0 w 21"/>
                <a:gd name="T7" fmla="*/ 25 h 25"/>
              </a:gdLst>
              <a:ahLst/>
              <a:cxnLst>
                <a:cxn ang="0">
                  <a:pos x="T0" y="T1"/>
                </a:cxn>
                <a:cxn ang="0">
                  <a:pos x="T2" y="T3"/>
                </a:cxn>
                <a:cxn ang="0">
                  <a:pos x="T4" y="T5"/>
                </a:cxn>
                <a:cxn ang="0">
                  <a:pos x="T6" y="T7"/>
                </a:cxn>
              </a:cxnLst>
              <a:rect l="0" t="0" r="r" b="b"/>
              <a:pathLst>
                <a:path w="21" h="25">
                  <a:moveTo>
                    <a:pt x="0" y="25"/>
                  </a:moveTo>
                  <a:lnTo>
                    <a:pt x="0" y="0"/>
                  </a:lnTo>
                  <a:lnTo>
                    <a:pt x="21" y="0"/>
                  </a:lnTo>
                  <a:lnTo>
                    <a:pt x="0" y="25"/>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6" name="Freeform 308"/>
            <p:cNvSpPr>
              <a:spLocks/>
            </p:cNvSpPr>
            <p:nvPr/>
          </p:nvSpPr>
          <p:spPr bwMode="auto">
            <a:xfrm>
              <a:off x="-12625388" y="-3540126"/>
              <a:ext cx="1771650" cy="400050"/>
            </a:xfrm>
            <a:custGeom>
              <a:avLst/>
              <a:gdLst>
                <a:gd name="T0" fmla="*/ 511 w 1116"/>
                <a:gd name="T1" fmla="*/ 252 h 252"/>
                <a:gd name="T2" fmla="*/ 433 w 1116"/>
                <a:gd name="T3" fmla="*/ 239 h 252"/>
                <a:gd name="T4" fmla="*/ 0 w 1116"/>
                <a:gd name="T5" fmla="*/ 169 h 252"/>
                <a:gd name="T6" fmla="*/ 0 w 1116"/>
                <a:gd name="T7" fmla="*/ 81 h 252"/>
                <a:gd name="T8" fmla="*/ 1116 w 1116"/>
                <a:gd name="T9" fmla="*/ 0 h 252"/>
                <a:gd name="T10" fmla="*/ 511 w 1116"/>
                <a:gd name="T11" fmla="*/ 252 h 252"/>
              </a:gdLst>
              <a:ahLst/>
              <a:cxnLst>
                <a:cxn ang="0">
                  <a:pos x="T0" y="T1"/>
                </a:cxn>
                <a:cxn ang="0">
                  <a:pos x="T2" y="T3"/>
                </a:cxn>
                <a:cxn ang="0">
                  <a:pos x="T4" y="T5"/>
                </a:cxn>
                <a:cxn ang="0">
                  <a:pos x="T6" y="T7"/>
                </a:cxn>
                <a:cxn ang="0">
                  <a:pos x="T8" y="T9"/>
                </a:cxn>
                <a:cxn ang="0">
                  <a:pos x="T10" y="T11"/>
                </a:cxn>
              </a:cxnLst>
              <a:rect l="0" t="0" r="r" b="b"/>
              <a:pathLst>
                <a:path w="1116" h="252">
                  <a:moveTo>
                    <a:pt x="511" y="252"/>
                  </a:moveTo>
                  <a:lnTo>
                    <a:pt x="433" y="239"/>
                  </a:lnTo>
                  <a:lnTo>
                    <a:pt x="0" y="169"/>
                  </a:lnTo>
                  <a:lnTo>
                    <a:pt x="0" y="81"/>
                  </a:lnTo>
                  <a:lnTo>
                    <a:pt x="1116" y="0"/>
                  </a:lnTo>
                  <a:lnTo>
                    <a:pt x="511" y="25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7" name="Freeform 309"/>
            <p:cNvSpPr>
              <a:spLocks/>
            </p:cNvSpPr>
            <p:nvPr/>
          </p:nvSpPr>
          <p:spPr bwMode="auto">
            <a:xfrm>
              <a:off x="-12625388" y="-4110038"/>
              <a:ext cx="1771650" cy="698500"/>
            </a:xfrm>
            <a:custGeom>
              <a:avLst/>
              <a:gdLst>
                <a:gd name="T0" fmla="*/ 0 w 1116"/>
                <a:gd name="T1" fmla="*/ 440 h 440"/>
                <a:gd name="T2" fmla="*/ 0 w 1116"/>
                <a:gd name="T3" fmla="*/ 25 h 440"/>
                <a:gd name="T4" fmla="*/ 22 w 1116"/>
                <a:gd name="T5" fmla="*/ 0 h 440"/>
                <a:gd name="T6" fmla="*/ 908 w 1116"/>
                <a:gd name="T7" fmla="*/ 0 h 440"/>
                <a:gd name="T8" fmla="*/ 1116 w 1116"/>
                <a:gd name="T9" fmla="*/ 359 h 440"/>
                <a:gd name="T10" fmla="*/ 1116 w 1116"/>
                <a:gd name="T11" fmla="*/ 359 h 440"/>
                <a:gd name="T12" fmla="*/ 1116 w 1116"/>
                <a:gd name="T13" fmla="*/ 359 h 440"/>
                <a:gd name="T14" fmla="*/ 0 w 1116"/>
                <a:gd name="T15" fmla="*/ 440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6" h="440">
                  <a:moveTo>
                    <a:pt x="0" y="440"/>
                  </a:moveTo>
                  <a:lnTo>
                    <a:pt x="0" y="25"/>
                  </a:lnTo>
                  <a:lnTo>
                    <a:pt x="22" y="0"/>
                  </a:lnTo>
                  <a:lnTo>
                    <a:pt x="908" y="0"/>
                  </a:lnTo>
                  <a:lnTo>
                    <a:pt x="1116" y="359"/>
                  </a:lnTo>
                  <a:lnTo>
                    <a:pt x="1116" y="359"/>
                  </a:lnTo>
                  <a:lnTo>
                    <a:pt x="1116" y="359"/>
                  </a:lnTo>
                  <a:lnTo>
                    <a:pt x="0" y="440"/>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8" name="Freeform 310"/>
            <p:cNvSpPr>
              <a:spLocks noEditPoints="1"/>
            </p:cNvSpPr>
            <p:nvPr/>
          </p:nvSpPr>
          <p:spPr bwMode="auto">
            <a:xfrm>
              <a:off x="-10853738" y="-4110038"/>
              <a:ext cx="1795463" cy="569913"/>
            </a:xfrm>
            <a:custGeom>
              <a:avLst/>
              <a:gdLst>
                <a:gd name="T0" fmla="*/ 2357 w 2357"/>
                <a:gd name="T1" fmla="*/ 748 h 748"/>
                <a:gd name="T2" fmla="*/ 0 w 2357"/>
                <a:gd name="T3" fmla="*/ 748 h 748"/>
                <a:gd name="T4" fmla="*/ 432 w 2357"/>
                <a:gd name="T5" fmla="*/ 0 h 748"/>
                <a:gd name="T6" fmla="*/ 1925 w 2357"/>
                <a:gd name="T7" fmla="*/ 0 h 748"/>
                <a:gd name="T8" fmla="*/ 2357 w 2357"/>
                <a:gd name="T9" fmla="*/ 748 h 748"/>
                <a:gd name="T10" fmla="*/ 0 w 2357"/>
                <a:gd name="T11" fmla="*/ 748 h 748"/>
                <a:gd name="T12" fmla="*/ 0 w 2357"/>
                <a:gd name="T13" fmla="*/ 748 h 748"/>
                <a:gd name="T14" fmla="*/ 0 w 2357"/>
                <a:gd name="T15" fmla="*/ 748 h 748"/>
                <a:gd name="T16" fmla="*/ 0 w 2357"/>
                <a:gd name="T17" fmla="*/ 748 h 748"/>
                <a:gd name="T18" fmla="*/ 0 w 2357"/>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7" h="748">
                  <a:moveTo>
                    <a:pt x="2357" y="748"/>
                  </a:moveTo>
                  <a:lnTo>
                    <a:pt x="0" y="748"/>
                  </a:lnTo>
                  <a:lnTo>
                    <a:pt x="432" y="0"/>
                  </a:lnTo>
                  <a:lnTo>
                    <a:pt x="1925" y="0"/>
                  </a:lnTo>
                  <a:lnTo>
                    <a:pt x="2357" y="748"/>
                  </a:lnTo>
                  <a:moveTo>
                    <a:pt x="0" y="748"/>
                  </a:moveTo>
                  <a:lnTo>
                    <a:pt x="0" y="748"/>
                  </a:lnTo>
                  <a:lnTo>
                    <a:pt x="0" y="748"/>
                  </a:lnTo>
                  <a:lnTo>
                    <a:pt x="0" y="748"/>
                  </a:lnTo>
                  <a:lnTo>
                    <a:pt x="0"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9" name="Freeform 311"/>
            <p:cNvSpPr>
              <a:spLocks/>
            </p:cNvSpPr>
            <p:nvPr/>
          </p:nvSpPr>
          <p:spPr bwMode="auto">
            <a:xfrm>
              <a:off x="-9386888" y="-4110038"/>
              <a:ext cx="865188" cy="569913"/>
            </a:xfrm>
            <a:custGeom>
              <a:avLst/>
              <a:gdLst>
                <a:gd name="T0" fmla="*/ 207 w 545"/>
                <a:gd name="T1" fmla="*/ 359 h 359"/>
                <a:gd name="T2" fmla="*/ 0 w 545"/>
                <a:gd name="T3" fmla="*/ 0 h 359"/>
                <a:gd name="T4" fmla="*/ 545 w 545"/>
                <a:gd name="T5" fmla="*/ 0 h 359"/>
                <a:gd name="T6" fmla="*/ 207 w 545"/>
                <a:gd name="T7" fmla="*/ 359 h 359"/>
              </a:gdLst>
              <a:ahLst/>
              <a:cxnLst>
                <a:cxn ang="0">
                  <a:pos x="T0" y="T1"/>
                </a:cxn>
                <a:cxn ang="0">
                  <a:pos x="T2" y="T3"/>
                </a:cxn>
                <a:cxn ang="0">
                  <a:pos x="T4" y="T5"/>
                </a:cxn>
                <a:cxn ang="0">
                  <a:pos x="T6" y="T7"/>
                </a:cxn>
              </a:cxnLst>
              <a:rect l="0" t="0" r="r" b="b"/>
              <a:pathLst>
                <a:path w="545" h="359">
                  <a:moveTo>
                    <a:pt x="207" y="359"/>
                  </a:moveTo>
                  <a:lnTo>
                    <a:pt x="0" y="0"/>
                  </a:lnTo>
                  <a:lnTo>
                    <a:pt x="545" y="0"/>
                  </a:lnTo>
                  <a:lnTo>
                    <a:pt x="207"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0" name="Freeform 312"/>
            <p:cNvSpPr>
              <a:spLocks/>
            </p:cNvSpPr>
            <p:nvPr/>
          </p:nvSpPr>
          <p:spPr bwMode="auto">
            <a:xfrm>
              <a:off x="-11183938" y="-4110038"/>
              <a:ext cx="658813" cy="569913"/>
            </a:xfrm>
            <a:custGeom>
              <a:avLst/>
              <a:gdLst>
                <a:gd name="T0" fmla="*/ 208 w 415"/>
                <a:gd name="T1" fmla="*/ 359 h 359"/>
                <a:gd name="T2" fmla="*/ 0 w 415"/>
                <a:gd name="T3" fmla="*/ 0 h 359"/>
                <a:gd name="T4" fmla="*/ 415 w 415"/>
                <a:gd name="T5" fmla="*/ 0 h 359"/>
                <a:gd name="T6" fmla="*/ 208 w 415"/>
                <a:gd name="T7" fmla="*/ 359 h 359"/>
              </a:gdLst>
              <a:ahLst/>
              <a:cxnLst>
                <a:cxn ang="0">
                  <a:pos x="T0" y="T1"/>
                </a:cxn>
                <a:cxn ang="0">
                  <a:pos x="T2" y="T3"/>
                </a:cxn>
                <a:cxn ang="0">
                  <a:pos x="T4" y="T5"/>
                </a:cxn>
                <a:cxn ang="0">
                  <a:pos x="T6" y="T7"/>
                </a:cxn>
              </a:cxnLst>
              <a:rect l="0" t="0" r="r" b="b"/>
              <a:pathLst>
                <a:path w="415" h="359">
                  <a:moveTo>
                    <a:pt x="208" y="359"/>
                  </a:moveTo>
                  <a:lnTo>
                    <a:pt x="0" y="0"/>
                  </a:lnTo>
                  <a:lnTo>
                    <a:pt x="415" y="0"/>
                  </a:lnTo>
                  <a:lnTo>
                    <a:pt x="208"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1" name="Freeform 313"/>
            <p:cNvSpPr>
              <a:spLocks/>
            </p:cNvSpPr>
            <p:nvPr/>
          </p:nvSpPr>
          <p:spPr bwMode="auto">
            <a:xfrm>
              <a:off x="-10853738" y="-4110038"/>
              <a:ext cx="328613" cy="569913"/>
            </a:xfrm>
            <a:custGeom>
              <a:avLst/>
              <a:gdLst>
                <a:gd name="T0" fmla="*/ 0 w 207"/>
                <a:gd name="T1" fmla="*/ 359 h 359"/>
                <a:gd name="T2" fmla="*/ 0 w 207"/>
                <a:gd name="T3" fmla="*/ 359 h 359"/>
                <a:gd name="T4" fmla="*/ 0 w 207"/>
                <a:gd name="T5" fmla="*/ 359 h 359"/>
                <a:gd name="T6" fmla="*/ 207 w 207"/>
                <a:gd name="T7" fmla="*/ 0 h 359"/>
                <a:gd name="T8" fmla="*/ 207 w 207"/>
                <a:gd name="T9" fmla="*/ 0 h 359"/>
                <a:gd name="T10" fmla="*/ 0 w 207"/>
                <a:gd name="T11" fmla="*/ 359 h 359"/>
              </a:gdLst>
              <a:ahLst/>
              <a:cxnLst>
                <a:cxn ang="0">
                  <a:pos x="T0" y="T1"/>
                </a:cxn>
                <a:cxn ang="0">
                  <a:pos x="T2" y="T3"/>
                </a:cxn>
                <a:cxn ang="0">
                  <a:pos x="T4" y="T5"/>
                </a:cxn>
                <a:cxn ang="0">
                  <a:pos x="T6" y="T7"/>
                </a:cxn>
                <a:cxn ang="0">
                  <a:pos x="T8" y="T9"/>
                </a:cxn>
                <a:cxn ang="0">
                  <a:pos x="T10" y="T11"/>
                </a:cxn>
              </a:cxnLst>
              <a:rect l="0" t="0" r="r" b="b"/>
              <a:pathLst>
                <a:path w="207" h="359">
                  <a:moveTo>
                    <a:pt x="0" y="359"/>
                  </a:moveTo>
                  <a:lnTo>
                    <a:pt x="0" y="359"/>
                  </a:lnTo>
                  <a:lnTo>
                    <a:pt x="0" y="359"/>
                  </a:lnTo>
                  <a:lnTo>
                    <a:pt x="207" y="0"/>
                  </a:lnTo>
                  <a:lnTo>
                    <a:pt x="207"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2" name="Freeform 314"/>
            <p:cNvSpPr>
              <a:spLocks noEditPoints="1"/>
            </p:cNvSpPr>
            <p:nvPr/>
          </p:nvSpPr>
          <p:spPr bwMode="auto">
            <a:xfrm>
              <a:off x="-12533313" y="-1143001"/>
              <a:ext cx="781050" cy="2268538"/>
            </a:xfrm>
            <a:custGeom>
              <a:avLst/>
              <a:gdLst>
                <a:gd name="T0" fmla="*/ 1025 w 1025"/>
                <a:gd name="T1" fmla="*/ 2978 h 2978"/>
                <a:gd name="T2" fmla="*/ 150 w 1025"/>
                <a:gd name="T3" fmla="*/ 437 h 2978"/>
                <a:gd name="T4" fmla="*/ 1025 w 1025"/>
                <a:gd name="T5" fmla="*/ 2978 h 2978"/>
                <a:gd name="T6" fmla="*/ 0 w 1025"/>
                <a:gd name="T7" fmla="*/ 0 h 2978"/>
                <a:gd name="T8" fmla="*/ 0 w 1025"/>
                <a:gd name="T9" fmla="*/ 0 h 2978"/>
              </a:gdLst>
              <a:ahLst/>
              <a:cxnLst>
                <a:cxn ang="0">
                  <a:pos x="T0" y="T1"/>
                </a:cxn>
                <a:cxn ang="0">
                  <a:pos x="T2" y="T3"/>
                </a:cxn>
                <a:cxn ang="0">
                  <a:pos x="T4" y="T5"/>
                </a:cxn>
                <a:cxn ang="0">
                  <a:pos x="T6" y="T7"/>
                </a:cxn>
                <a:cxn ang="0">
                  <a:pos x="T8" y="T9"/>
                </a:cxn>
              </a:cxnLst>
              <a:rect l="0" t="0" r="r" b="b"/>
              <a:pathLst>
                <a:path w="1025" h="2978">
                  <a:moveTo>
                    <a:pt x="1025" y="2978"/>
                  </a:moveTo>
                  <a:lnTo>
                    <a:pt x="150" y="437"/>
                  </a:lnTo>
                  <a:lnTo>
                    <a:pt x="1025" y="2978"/>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3" name="Freeform 315"/>
            <p:cNvSpPr>
              <a:spLocks/>
            </p:cNvSpPr>
            <p:nvPr/>
          </p:nvSpPr>
          <p:spPr bwMode="auto">
            <a:xfrm>
              <a:off x="-12625388" y="-3140076"/>
              <a:ext cx="811213" cy="1997075"/>
            </a:xfrm>
            <a:custGeom>
              <a:avLst/>
              <a:gdLst>
                <a:gd name="T0" fmla="*/ 58 w 511"/>
                <a:gd name="T1" fmla="*/ 1258 h 1258"/>
                <a:gd name="T2" fmla="*/ 0 w 511"/>
                <a:gd name="T3" fmla="*/ 1211 h 1258"/>
                <a:gd name="T4" fmla="*/ 0 w 511"/>
                <a:gd name="T5" fmla="*/ 340 h 1258"/>
                <a:gd name="T6" fmla="*/ 511 w 511"/>
                <a:gd name="T7" fmla="*/ 0 h 1258"/>
                <a:gd name="T8" fmla="*/ 58 w 511"/>
                <a:gd name="T9" fmla="*/ 1258 h 1258"/>
              </a:gdLst>
              <a:ahLst/>
              <a:cxnLst>
                <a:cxn ang="0">
                  <a:pos x="T0" y="T1"/>
                </a:cxn>
                <a:cxn ang="0">
                  <a:pos x="T2" y="T3"/>
                </a:cxn>
                <a:cxn ang="0">
                  <a:pos x="T4" y="T5"/>
                </a:cxn>
                <a:cxn ang="0">
                  <a:pos x="T6" y="T7"/>
                </a:cxn>
                <a:cxn ang="0">
                  <a:pos x="T8" y="T9"/>
                </a:cxn>
              </a:cxnLst>
              <a:rect l="0" t="0" r="r" b="b"/>
              <a:pathLst>
                <a:path w="511" h="1258">
                  <a:moveTo>
                    <a:pt x="58" y="1258"/>
                  </a:moveTo>
                  <a:lnTo>
                    <a:pt x="0" y="1211"/>
                  </a:lnTo>
                  <a:lnTo>
                    <a:pt x="0" y="340"/>
                  </a:lnTo>
                  <a:lnTo>
                    <a:pt x="511" y="0"/>
                  </a:lnTo>
                  <a:lnTo>
                    <a:pt x="58" y="1258"/>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4" name="Line 316"/>
            <p:cNvSpPr>
              <a:spLocks noChangeShapeType="1"/>
            </p:cNvSpPr>
            <p:nvPr/>
          </p:nvSpPr>
          <p:spPr bwMode="auto">
            <a:xfrm>
              <a:off x="-12533313" y="-1143001"/>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5" name="Freeform 317"/>
            <p:cNvSpPr>
              <a:spLocks noEditPoints="1"/>
            </p:cNvSpPr>
            <p:nvPr/>
          </p:nvSpPr>
          <p:spPr bwMode="auto">
            <a:xfrm>
              <a:off x="-12533313" y="-1143001"/>
              <a:ext cx="1679575" cy="2268538"/>
            </a:xfrm>
            <a:custGeom>
              <a:avLst/>
              <a:gdLst>
                <a:gd name="T0" fmla="*/ 1025 w 2204"/>
                <a:gd name="T1" fmla="*/ 2978 h 2978"/>
                <a:gd name="T2" fmla="*/ 150 w 2204"/>
                <a:gd name="T3" fmla="*/ 437 h 2978"/>
                <a:gd name="T4" fmla="*/ 0 w 2204"/>
                <a:gd name="T5" fmla="*/ 0 h 2978"/>
                <a:gd name="T6" fmla="*/ 2204 w 2204"/>
                <a:gd name="T7" fmla="*/ 937 h 2978"/>
                <a:gd name="T8" fmla="*/ 2204 w 2204"/>
                <a:gd name="T9" fmla="*/ 937 h 2978"/>
                <a:gd name="T10" fmla="*/ 2204 w 2204"/>
                <a:gd name="T11" fmla="*/ 937 h 2978"/>
                <a:gd name="T12" fmla="*/ 2204 w 2204"/>
                <a:gd name="T13" fmla="*/ 937 h 2978"/>
                <a:gd name="T14" fmla="*/ 2204 w 2204"/>
                <a:gd name="T15" fmla="*/ 937 h 2978"/>
                <a:gd name="T16" fmla="*/ 1968 w 2204"/>
                <a:gd name="T17" fmla="*/ 1345 h 2978"/>
                <a:gd name="T18" fmla="*/ 1025 w 2204"/>
                <a:gd name="T19" fmla="*/ 2978 h 2978"/>
                <a:gd name="T20" fmla="*/ 150 w 2204"/>
                <a:gd name="T21" fmla="*/ 437 h 2978"/>
                <a:gd name="T22" fmla="*/ 0 w 2204"/>
                <a:gd name="T23" fmla="*/ 0 h 2978"/>
                <a:gd name="T24" fmla="*/ 150 w 2204"/>
                <a:gd name="T25" fmla="*/ 437 h 2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4" h="2978">
                  <a:moveTo>
                    <a:pt x="1025" y="2978"/>
                  </a:moveTo>
                  <a:lnTo>
                    <a:pt x="150" y="437"/>
                  </a:lnTo>
                  <a:lnTo>
                    <a:pt x="0" y="0"/>
                  </a:lnTo>
                  <a:lnTo>
                    <a:pt x="2204" y="937"/>
                  </a:lnTo>
                  <a:lnTo>
                    <a:pt x="2204" y="937"/>
                  </a:lnTo>
                  <a:lnTo>
                    <a:pt x="2204" y="937"/>
                  </a:lnTo>
                  <a:lnTo>
                    <a:pt x="2204" y="937"/>
                  </a:lnTo>
                  <a:lnTo>
                    <a:pt x="2204" y="937"/>
                  </a:lnTo>
                  <a:lnTo>
                    <a:pt x="1968" y="1345"/>
                  </a:lnTo>
                  <a:lnTo>
                    <a:pt x="1025" y="2978"/>
                  </a:lnTo>
                  <a:moveTo>
                    <a:pt x="150" y="437"/>
                  </a:moveTo>
                  <a:lnTo>
                    <a:pt x="0" y="0"/>
                  </a:lnTo>
                  <a:lnTo>
                    <a:pt x="150" y="437"/>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6" name="Freeform 318"/>
            <p:cNvSpPr>
              <a:spLocks/>
            </p:cNvSpPr>
            <p:nvPr/>
          </p:nvSpPr>
          <p:spPr bwMode="auto">
            <a:xfrm>
              <a:off x="-12533313" y="-1143001"/>
              <a:ext cx="114300" cy="333375"/>
            </a:xfrm>
            <a:custGeom>
              <a:avLst/>
              <a:gdLst>
                <a:gd name="T0" fmla="*/ 72 w 72"/>
                <a:gd name="T1" fmla="*/ 210 h 210"/>
                <a:gd name="T2" fmla="*/ 72 w 72"/>
                <a:gd name="T3" fmla="*/ 210 h 210"/>
                <a:gd name="T4" fmla="*/ 0 w 72"/>
                <a:gd name="T5" fmla="*/ 0 h 210"/>
                <a:gd name="T6" fmla="*/ 0 w 72"/>
                <a:gd name="T7" fmla="*/ 0 h 210"/>
                <a:gd name="T8" fmla="*/ 72 w 72"/>
                <a:gd name="T9" fmla="*/ 210 h 210"/>
              </a:gdLst>
              <a:ahLst/>
              <a:cxnLst>
                <a:cxn ang="0">
                  <a:pos x="T0" y="T1"/>
                </a:cxn>
                <a:cxn ang="0">
                  <a:pos x="T2" y="T3"/>
                </a:cxn>
                <a:cxn ang="0">
                  <a:pos x="T4" y="T5"/>
                </a:cxn>
                <a:cxn ang="0">
                  <a:pos x="T6" y="T7"/>
                </a:cxn>
                <a:cxn ang="0">
                  <a:pos x="T8" y="T9"/>
                </a:cxn>
              </a:cxnLst>
              <a:rect l="0" t="0" r="r" b="b"/>
              <a:pathLst>
                <a:path w="72" h="210">
                  <a:moveTo>
                    <a:pt x="72" y="210"/>
                  </a:moveTo>
                  <a:lnTo>
                    <a:pt x="72" y="210"/>
                  </a:lnTo>
                  <a:lnTo>
                    <a:pt x="0" y="0"/>
                  </a:lnTo>
                  <a:lnTo>
                    <a:pt x="0" y="0"/>
                  </a:lnTo>
                  <a:lnTo>
                    <a:pt x="72" y="210"/>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7" name="Freeform 319"/>
            <p:cNvSpPr>
              <a:spLocks/>
            </p:cNvSpPr>
            <p:nvPr/>
          </p:nvSpPr>
          <p:spPr bwMode="auto">
            <a:xfrm>
              <a:off x="-12625388" y="-1217613"/>
              <a:ext cx="92075" cy="74613"/>
            </a:xfrm>
            <a:custGeom>
              <a:avLst/>
              <a:gdLst>
                <a:gd name="T0" fmla="*/ 58 w 58"/>
                <a:gd name="T1" fmla="*/ 47 h 47"/>
                <a:gd name="T2" fmla="*/ 0 w 58"/>
                <a:gd name="T3" fmla="*/ 0 h 47"/>
                <a:gd name="T4" fmla="*/ 58 w 58"/>
                <a:gd name="T5" fmla="*/ 47 h 47"/>
              </a:gdLst>
              <a:ahLst/>
              <a:cxnLst>
                <a:cxn ang="0">
                  <a:pos x="T0" y="T1"/>
                </a:cxn>
                <a:cxn ang="0">
                  <a:pos x="T2" y="T3"/>
                </a:cxn>
                <a:cxn ang="0">
                  <a:pos x="T4" y="T5"/>
                </a:cxn>
              </a:cxnLst>
              <a:rect l="0" t="0" r="r" b="b"/>
              <a:pathLst>
                <a:path w="58" h="47">
                  <a:moveTo>
                    <a:pt x="58" y="47"/>
                  </a:moveTo>
                  <a:lnTo>
                    <a:pt x="0" y="0"/>
                  </a:lnTo>
                  <a:lnTo>
                    <a:pt x="58" y="4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8" name="Freeform 320"/>
            <p:cNvSpPr>
              <a:spLocks noEditPoints="1"/>
            </p:cNvSpPr>
            <p:nvPr/>
          </p:nvSpPr>
          <p:spPr bwMode="auto">
            <a:xfrm>
              <a:off x="-12533313" y="-3140076"/>
              <a:ext cx="1679575" cy="2711450"/>
            </a:xfrm>
            <a:custGeom>
              <a:avLst/>
              <a:gdLst>
                <a:gd name="T0" fmla="*/ 2204 w 2204"/>
                <a:gd name="T1" fmla="*/ 3558 h 3558"/>
                <a:gd name="T2" fmla="*/ 0 w 2204"/>
                <a:gd name="T3" fmla="*/ 2621 h 3558"/>
                <a:gd name="T4" fmla="*/ 945 w 2204"/>
                <a:gd name="T5" fmla="*/ 0 h 3558"/>
                <a:gd name="T6" fmla="*/ 945 w 2204"/>
                <a:gd name="T7" fmla="*/ 0 h 3558"/>
                <a:gd name="T8" fmla="*/ 945 w 2204"/>
                <a:gd name="T9" fmla="*/ 0 h 3558"/>
                <a:gd name="T10" fmla="*/ 1285 w 2204"/>
                <a:gd name="T11" fmla="*/ 960 h 3558"/>
                <a:gd name="T12" fmla="*/ 2204 w 2204"/>
                <a:gd name="T13" fmla="*/ 3558 h 3558"/>
                <a:gd name="T14" fmla="*/ 2204 w 2204"/>
                <a:gd name="T15" fmla="*/ 3558 h 3558"/>
                <a:gd name="T16" fmla="*/ 2204 w 2204"/>
                <a:gd name="T17" fmla="*/ 3558 h 3558"/>
                <a:gd name="T18" fmla="*/ 2204 w 2204"/>
                <a:gd name="T19" fmla="*/ 3558 h 3558"/>
                <a:gd name="T20" fmla="*/ 945 w 2204"/>
                <a:gd name="T21" fmla="*/ 0 h 3558"/>
                <a:gd name="T22" fmla="*/ 945 w 2204"/>
                <a:gd name="T23" fmla="*/ 0 h 3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4" h="3558">
                  <a:moveTo>
                    <a:pt x="2204" y="3558"/>
                  </a:moveTo>
                  <a:lnTo>
                    <a:pt x="0" y="2621"/>
                  </a:lnTo>
                  <a:lnTo>
                    <a:pt x="945" y="0"/>
                  </a:lnTo>
                  <a:lnTo>
                    <a:pt x="945" y="0"/>
                  </a:lnTo>
                  <a:lnTo>
                    <a:pt x="945" y="0"/>
                  </a:lnTo>
                  <a:lnTo>
                    <a:pt x="1285" y="960"/>
                  </a:lnTo>
                  <a:lnTo>
                    <a:pt x="2204" y="3558"/>
                  </a:lnTo>
                  <a:lnTo>
                    <a:pt x="2204" y="3558"/>
                  </a:lnTo>
                  <a:lnTo>
                    <a:pt x="2204" y="3558"/>
                  </a:lnTo>
                  <a:lnTo>
                    <a:pt x="2204" y="3558"/>
                  </a:lnTo>
                  <a:moveTo>
                    <a:pt x="945" y="0"/>
                  </a:moveTo>
                  <a:lnTo>
                    <a:pt x="945" y="0"/>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9" name="Rectangle 321"/>
            <p:cNvSpPr>
              <a:spLocks noChangeArrowheads="1"/>
            </p:cNvSpPr>
            <p:nvPr/>
          </p:nvSpPr>
          <p:spPr bwMode="auto">
            <a:xfrm>
              <a:off x="-10853738" y="-428626"/>
              <a:ext cx="1588" cy="1588"/>
            </a:xfrm>
            <a:prstGeom prst="rect">
              <a:avLst/>
            </a:prstGeom>
            <a:solidFill>
              <a:srgbClr val="518DB3"/>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0" name="Freeform 322"/>
            <p:cNvSpPr>
              <a:spLocks/>
            </p:cNvSpPr>
            <p:nvPr/>
          </p:nvSpPr>
          <p:spPr bwMode="auto">
            <a:xfrm>
              <a:off x="-10853738" y="-1984376"/>
              <a:ext cx="1397000" cy="1555750"/>
            </a:xfrm>
            <a:custGeom>
              <a:avLst/>
              <a:gdLst>
                <a:gd name="T0" fmla="*/ 0 w 880"/>
                <a:gd name="T1" fmla="*/ 980 h 980"/>
                <a:gd name="T2" fmla="*/ 565 w 880"/>
                <a:gd name="T3" fmla="*/ 0 h 980"/>
                <a:gd name="T4" fmla="*/ 880 w 880"/>
                <a:gd name="T5" fmla="*/ 633 h 980"/>
                <a:gd name="T6" fmla="*/ 0 w 880"/>
                <a:gd name="T7" fmla="*/ 980 h 980"/>
              </a:gdLst>
              <a:ahLst/>
              <a:cxnLst>
                <a:cxn ang="0">
                  <a:pos x="T0" y="T1"/>
                </a:cxn>
                <a:cxn ang="0">
                  <a:pos x="T2" y="T3"/>
                </a:cxn>
                <a:cxn ang="0">
                  <a:pos x="T4" y="T5"/>
                </a:cxn>
                <a:cxn ang="0">
                  <a:pos x="T6" y="T7"/>
                </a:cxn>
              </a:cxnLst>
              <a:rect l="0" t="0" r="r" b="b"/>
              <a:pathLst>
                <a:path w="880" h="980">
                  <a:moveTo>
                    <a:pt x="0" y="980"/>
                  </a:moveTo>
                  <a:lnTo>
                    <a:pt x="565" y="0"/>
                  </a:lnTo>
                  <a:lnTo>
                    <a:pt x="880" y="633"/>
                  </a:lnTo>
                  <a:lnTo>
                    <a:pt x="0"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1" name="Freeform 323"/>
            <p:cNvSpPr>
              <a:spLocks/>
            </p:cNvSpPr>
            <p:nvPr/>
          </p:nvSpPr>
          <p:spPr bwMode="auto">
            <a:xfrm>
              <a:off x="-10853738" y="-3540126"/>
              <a:ext cx="1795463" cy="1555750"/>
            </a:xfrm>
            <a:custGeom>
              <a:avLst/>
              <a:gdLst>
                <a:gd name="T0" fmla="*/ 565 w 1131"/>
                <a:gd name="T1" fmla="*/ 980 h 980"/>
                <a:gd name="T2" fmla="*/ 565 w 1131"/>
                <a:gd name="T3" fmla="*/ 980 h 980"/>
                <a:gd name="T4" fmla="*/ 0 w 1131"/>
                <a:gd name="T5" fmla="*/ 0 h 980"/>
                <a:gd name="T6" fmla="*/ 1131 w 1131"/>
                <a:gd name="T7" fmla="*/ 0 h 980"/>
                <a:gd name="T8" fmla="*/ 565 w 1131"/>
                <a:gd name="T9" fmla="*/ 980 h 980"/>
              </a:gdLst>
              <a:ahLst/>
              <a:cxnLst>
                <a:cxn ang="0">
                  <a:pos x="T0" y="T1"/>
                </a:cxn>
                <a:cxn ang="0">
                  <a:pos x="T2" y="T3"/>
                </a:cxn>
                <a:cxn ang="0">
                  <a:pos x="T4" y="T5"/>
                </a:cxn>
                <a:cxn ang="0">
                  <a:pos x="T6" y="T7"/>
                </a:cxn>
                <a:cxn ang="0">
                  <a:pos x="T8" y="T9"/>
                </a:cxn>
              </a:cxnLst>
              <a:rect l="0" t="0" r="r" b="b"/>
              <a:pathLst>
                <a:path w="1131" h="980">
                  <a:moveTo>
                    <a:pt x="565" y="980"/>
                  </a:moveTo>
                  <a:lnTo>
                    <a:pt x="565" y="980"/>
                  </a:lnTo>
                  <a:lnTo>
                    <a:pt x="0" y="0"/>
                  </a:lnTo>
                  <a:lnTo>
                    <a:pt x="1131" y="0"/>
                  </a:lnTo>
                  <a:lnTo>
                    <a:pt x="565"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2" name="Freeform 324"/>
            <p:cNvSpPr>
              <a:spLocks/>
            </p:cNvSpPr>
            <p:nvPr/>
          </p:nvSpPr>
          <p:spPr bwMode="auto">
            <a:xfrm>
              <a:off x="-9956800" y="-1984376"/>
              <a:ext cx="1797050" cy="1004888"/>
            </a:xfrm>
            <a:custGeom>
              <a:avLst/>
              <a:gdLst>
                <a:gd name="T0" fmla="*/ 315 w 1132"/>
                <a:gd name="T1" fmla="*/ 633 h 633"/>
                <a:gd name="T2" fmla="*/ 315 w 1132"/>
                <a:gd name="T3" fmla="*/ 633 h 633"/>
                <a:gd name="T4" fmla="*/ 0 w 1132"/>
                <a:gd name="T5" fmla="*/ 0 h 633"/>
                <a:gd name="T6" fmla="*/ 0 w 1132"/>
                <a:gd name="T7" fmla="*/ 0 h 633"/>
                <a:gd name="T8" fmla="*/ 1132 w 1132"/>
                <a:gd name="T9" fmla="*/ 0 h 633"/>
                <a:gd name="T10" fmla="*/ 529 w 1132"/>
                <a:gd name="T11" fmla="*/ 468 h 633"/>
                <a:gd name="T12" fmla="*/ 315 w 1132"/>
                <a:gd name="T13" fmla="*/ 633 h 633"/>
                <a:gd name="T14" fmla="*/ 315 w 1132"/>
                <a:gd name="T15" fmla="*/ 633 h 633"/>
                <a:gd name="T16" fmla="*/ 315 w 1132"/>
                <a:gd name="T17" fmla="*/ 633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2" h="633">
                  <a:moveTo>
                    <a:pt x="315" y="633"/>
                  </a:moveTo>
                  <a:lnTo>
                    <a:pt x="315" y="633"/>
                  </a:lnTo>
                  <a:lnTo>
                    <a:pt x="0" y="0"/>
                  </a:lnTo>
                  <a:lnTo>
                    <a:pt x="0" y="0"/>
                  </a:lnTo>
                  <a:lnTo>
                    <a:pt x="1132" y="0"/>
                  </a:lnTo>
                  <a:lnTo>
                    <a:pt x="529" y="468"/>
                  </a:lnTo>
                  <a:lnTo>
                    <a:pt x="315" y="633"/>
                  </a:lnTo>
                  <a:lnTo>
                    <a:pt x="315" y="633"/>
                  </a:lnTo>
                  <a:lnTo>
                    <a:pt x="315" y="633"/>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3" name="Freeform 325"/>
            <p:cNvSpPr>
              <a:spLocks/>
            </p:cNvSpPr>
            <p:nvPr/>
          </p:nvSpPr>
          <p:spPr bwMode="auto">
            <a:xfrm>
              <a:off x="-9956800" y="-1984376"/>
              <a:ext cx="500063" cy="1004888"/>
            </a:xfrm>
            <a:custGeom>
              <a:avLst/>
              <a:gdLst>
                <a:gd name="T0" fmla="*/ 315 w 315"/>
                <a:gd name="T1" fmla="*/ 633 h 633"/>
                <a:gd name="T2" fmla="*/ 0 w 315"/>
                <a:gd name="T3" fmla="*/ 0 h 633"/>
                <a:gd name="T4" fmla="*/ 0 w 315"/>
                <a:gd name="T5" fmla="*/ 0 h 633"/>
                <a:gd name="T6" fmla="*/ 315 w 315"/>
                <a:gd name="T7" fmla="*/ 633 h 633"/>
              </a:gdLst>
              <a:ahLst/>
              <a:cxnLst>
                <a:cxn ang="0">
                  <a:pos x="T0" y="T1"/>
                </a:cxn>
                <a:cxn ang="0">
                  <a:pos x="T2" y="T3"/>
                </a:cxn>
                <a:cxn ang="0">
                  <a:pos x="T4" y="T5"/>
                </a:cxn>
                <a:cxn ang="0">
                  <a:pos x="T6" y="T7"/>
                </a:cxn>
              </a:cxnLst>
              <a:rect l="0" t="0" r="r" b="b"/>
              <a:pathLst>
                <a:path w="315" h="633">
                  <a:moveTo>
                    <a:pt x="315" y="633"/>
                  </a:moveTo>
                  <a:lnTo>
                    <a:pt x="0" y="0"/>
                  </a:lnTo>
                  <a:lnTo>
                    <a:pt x="0" y="0"/>
                  </a:lnTo>
                  <a:lnTo>
                    <a:pt x="315" y="63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4" name="Freeform 326"/>
            <p:cNvSpPr>
              <a:spLocks/>
            </p:cNvSpPr>
            <p:nvPr/>
          </p:nvSpPr>
          <p:spPr bwMode="auto">
            <a:xfrm>
              <a:off x="-11814175" y="-3540126"/>
              <a:ext cx="1857375" cy="1555750"/>
            </a:xfrm>
            <a:custGeom>
              <a:avLst/>
              <a:gdLst>
                <a:gd name="T0" fmla="*/ 1170 w 1170"/>
                <a:gd name="T1" fmla="*/ 980 h 980"/>
                <a:gd name="T2" fmla="*/ 0 w 1170"/>
                <a:gd name="T3" fmla="*/ 252 h 980"/>
                <a:gd name="T4" fmla="*/ 605 w 1170"/>
                <a:gd name="T5" fmla="*/ 0 h 980"/>
                <a:gd name="T6" fmla="*/ 1170 w 1170"/>
                <a:gd name="T7" fmla="*/ 980 h 980"/>
              </a:gdLst>
              <a:ahLst/>
              <a:cxnLst>
                <a:cxn ang="0">
                  <a:pos x="T0" y="T1"/>
                </a:cxn>
                <a:cxn ang="0">
                  <a:pos x="T2" y="T3"/>
                </a:cxn>
                <a:cxn ang="0">
                  <a:pos x="T4" y="T5"/>
                </a:cxn>
                <a:cxn ang="0">
                  <a:pos x="T6" y="T7"/>
                </a:cxn>
              </a:cxnLst>
              <a:rect l="0" t="0" r="r" b="b"/>
              <a:pathLst>
                <a:path w="1170" h="980">
                  <a:moveTo>
                    <a:pt x="1170" y="980"/>
                  </a:moveTo>
                  <a:lnTo>
                    <a:pt x="0" y="252"/>
                  </a:lnTo>
                  <a:lnTo>
                    <a:pt x="605" y="0"/>
                  </a:lnTo>
                  <a:lnTo>
                    <a:pt x="1170"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5" name="Freeform 327"/>
            <p:cNvSpPr>
              <a:spLocks/>
            </p:cNvSpPr>
            <p:nvPr/>
          </p:nvSpPr>
          <p:spPr bwMode="auto">
            <a:xfrm>
              <a:off x="-9956800" y="-3540126"/>
              <a:ext cx="1797050" cy="1555750"/>
            </a:xfrm>
            <a:custGeom>
              <a:avLst/>
              <a:gdLst>
                <a:gd name="T0" fmla="*/ 0 w 1132"/>
                <a:gd name="T1" fmla="*/ 980 h 980"/>
                <a:gd name="T2" fmla="*/ 0 w 1132"/>
                <a:gd name="T3" fmla="*/ 980 h 980"/>
                <a:gd name="T4" fmla="*/ 566 w 1132"/>
                <a:gd name="T5" fmla="*/ 0 h 980"/>
                <a:gd name="T6" fmla="*/ 1132 w 1132"/>
                <a:gd name="T7" fmla="*/ 980 h 980"/>
                <a:gd name="T8" fmla="*/ 1132 w 1132"/>
                <a:gd name="T9" fmla="*/ 980 h 980"/>
                <a:gd name="T10" fmla="*/ 1132 w 1132"/>
                <a:gd name="T11" fmla="*/ 980 h 980"/>
                <a:gd name="T12" fmla="*/ 1132 w 1132"/>
                <a:gd name="T13" fmla="*/ 980 h 980"/>
                <a:gd name="T14" fmla="*/ 0 w 1132"/>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980">
                  <a:moveTo>
                    <a:pt x="0" y="980"/>
                  </a:moveTo>
                  <a:lnTo>
                    <a:pt x="0" y="980"/>
                  </a:lnTo>
                  <a:lnTo>
                    <a:pt x="566" y="0"/>
                  </a:lnTo>
                  <a:lnTo>
                    <a:pt x="1132" y="980"/>
                  </a:lnTo>
                  <a:lnTo>
                    <a:pt x="1132" y="980"/>
                  </a:lnTo>
                  <a:lnTo>
                    <a:pt x="1132" y="980"/>
                  </a:lnTo>
                  <a:lnTo>
                    <a:pt x="1132" y="980"/>
                  </a:lnTo>
                  <a:lnTo>
                    <a:pt x="0" y="98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6" name="Freeform 328"/>
            <p:cNvSpPr>
              <a:spLocks/>
            </p:cNvSpPr>
            <p:nvPr/>
          </p:nvSpPr>
          <p:spPr bwMode="auto">
            <a:xfrm>
              <a:off x="-11814175" y="-3140076"/>
              <a:ext cx="1857375" cy="2711450"/>
            </a:xfrm>
            <a:custGeom>
              <a:avLst/>
              <a:gdLst>
                <a:gd name="T0" fmla="*/ 605 w 1170"/>
                <a:gd name="T1" fmla="*/ 1708 h 1708"/>
                <a:gd name="T2" fmla="*/ 605 w 1170"/>
                <a:gd name="T3" fmla="*/ 1708 h 1708"/>
                <a:gd name="T4" fmla="*/ 605 w 1170"/>
                <a:gd name="T5" fmla="*/ 1708 h 1708"/>
                <a:gd name="T6" fmla="*/ 163 w 1170"/>
                <a:gd name="T7" fmla="*/ 461 h 1708"/>
                <a:gd name="T8" fmla="*/ 0 w 1170"/>
                <a:gd name="T9" fmla="*/ 0 h 1708"/>
                <a:gd name="T10" fmla="*/ 0 w 1170"/>
                <a:gd name="T11" fmla="*/ 0 h 1708"/>
                <a:gd name="T12" fmla="*/ 1170 w 1170"/>
                <a:gd name="T13" fmla="*/ 728 h 1708"/>
                <a:gd name="T14" fmla="*/ 1170 w 1170"/>
                <a:gd name="T15" fmla="*/ 728 h 1708"/>
                <a:gd name="T16" fmla="*/ 1170 w 1170"/>
                <a:gd name="T17" fmla="*/ 728 h 1708"/>
                <a:gd name="T18" fmla="*/ 1170 w 1170"/>
                <a:gd name="T19" fmla="*/ 728 h 1708"/>
                <a:gd name="T20" fmla="*/ 1170 w 1170"/>
                <a:gd name="T21" fmla="*/ 728 h 1708"/>
                <a:gd name="T22" fmla="*/ 1170 w 1170"/>
                <a:gd name="T23" fmla="*/ 728 h 1708"/>
                <a:gd name="T24" fmla="*/ 605 w 1170"/>
                <a:gd name="T25" fmla="*/ 1708 h 1708"/>
                <a:gd name="T26" fmla="*/ 605 w 1170"/>
                <a:gd name="T27" fmla="*/ 1708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0" h="1708">
                  <a:moveTo>
                    <a:pt x="605" y="1708"/>
                  </a:moveTo>
                  <a:lnTo>
                    <a:pt x="605" y="1708"/>
                  </a:lnTo>
                  <a:lnTo>
                    <a:pt x="605" y="1708"/>
                  </a:lnTo>
                  <a:lnTo>
                    <a:pt x="163" y="461"/>
                  </a:lnTo>
                  <a:lnTo>
                    <a:pt x="0" y="0"/>
                  </a:lnTo>
                  <a:lnTo>
                    <a:pt x="0" y="0"/>
                  </a:lnTo>
                  <a:lnTo>
                    <a:pt x="1170" y="728"/>
                  </a:lnTo>
                  <a:lnTo>
                    <a:pt x="1170" y="728"/>
                  </a:lnTo>
                  <a:lnTo>
                    <a:pt x="1170" y="728"/>
                  </a:lnTo>
                  <a:lnTo>
                    <a:pt x="1170" y="728"/>
                  </a:lnTo>
                  <a:lnTo>
                    <a:pt x="1170" y="728"/>
                  </a:lnTo>
                  <a:lnTo>
                    <a:pt x="1170" y="728"/>
                  </a:lnTo>
                  <a:lnTo>
                    <a:pt x="605" y="1708"/>
                  </a:lnTo>
                  <a:lnTo>
                    <a:pt x="605" y="1708"/>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7" name="Freeform 329"/>
            <p:cNvSpPr>
              <a:spLocks/>
            </p:cNvSpPr>
            <p:nvPr/>
          </p:nvSpPr>
          <p:spPr bwMode="auto">
            <a:xfrm>
              <a:off x="-12625388" y="3949700"/>
              <a:ext cx="446088" cy="647700"/>
            </a:xfrm>
            <a:custGeom>
              <a:avLst/>
              <a:gdLst>
                <a:gd name="T0" fmla="*/ 281 w 281"/>
                <a:gd name="T1" fmla="*/ 408 h 408"/>
                <a:gd name="T2" fmla="*/ 0 w 281"/>
                <a:gd name="T3" fmla="*/ 334 h 408"/>
                <a:gd name="T4" fmla="*/ 0 w 281"/>
                <a:gd name="T5" fmla="*/ 0 h 408"/>
                <a:gd name="T6" fmla="*/ 281 w 281"/>
                <a:gd name="T7" fmla="*/ 408 h 408"/>
              </a:gdLst>
              <a:ahLst/>
              <a:cxnLst>
                <a:cxn ang="0">
                  <a:pos x="T0" y="T1"/>
                </a:cxn>
                <a:cxn ang="0">
                  <a:pos x="T2" y="T3"/>
                </a:cxn>
                <a:cxn ang="0">
                  <a:pos x="T4" y="T5"/>
                </a:cxn>
                <a:cxn ang="0">
                  <a:pos x="T6" y="T7"/>
                </a:cxn>
              </a:cxnLst>
              <a:rect l="0" t="0" r="r" b="b"/>
              <a:pathLst>
                <a:path w="281" h="408">
                  <a:moveTo>
                    <a:pt x="281" y="408"/>
                  </a:moveTo>
                  <a:lnTo>
                    <a:pt x="0" y="334"/>
                  </a:lnTo>
                  <a:lnTo>
                    <a:pt x="0" y="0"/>
                  </a:lnTo>
                  <a:lnTo>
                    <a:pt x="281" y="408"/>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8" name="Freeform 330"/>
            <p:cNvSpPr>
              <a:spLocks/>
            </p:cNvSpPr>
            <p:nvPr/>
          </p:nvSpPr>
          <p:spPr bwMode="auto">
            <a:xfrm>
              <a:off x="-12625388" y="1152525"/>
              <a:ext cx="844550" cy="811213"/>
            </a:xfrm>
            <a:custGeom>
              <a:avLst/>
              <a:gdLst>
                <a:gd name="T0" fmla="*/ 0 w 532"/>
                <a:gd name="T1" fmla="*/ 511 h 511"/>
                <a:gd name="T2" fmla="*/ 0 w 532"/>
                <a:gd name="T3" fmla="*/ 511 h 511"/>
                <a:gd name="T4" fmla="*/ 532 w 532"/>
                <a:gd name="T5" fmla="*/ 0 h 511"/>
                <a:gd name="T6" fmla="*/ 0 w 532"/>
                <a:gd name="T7" fmla="*/ 511 h 511"/>
              </a:gdLst>
              <a:ahLst/>
              <a:cxnLst>
                <a:cxn ang="0">
                  <a:pos x="T0" y="T1"/>
                </a:cxn>
                <a:cxn ang="0">
                  <a:pos x="T2" y="T3"/>
                </a:cxn>
                <a:cxn ang="0">
                  <a:pos x="T4" y="T5"/>
                </a:cxn>
                <a:cxn ang="0">
                  <a:pos x="T6" y="T7"/>
                </a:cxn>
              </a:cxnLst>
              <a:rect l="0" t="0" r="r" b="b"/>
              <a:pathLst>
                <a:path w="532" h="511">
                  <a:moveTo>
                    <a:pt x="0" y="511"/>
                  </a:moveTo>
                  <a:lnTo>
                    <a:pt x="0" y="511"/>
                  </a:lnTo>
                  <a:lnTo>
                    <a:pt x="532" y="0"/>
                  </a:lnTo>
                  <a:lnTo>
                    <a:pt x="0" y="51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9" name="Freeform 331"/>
            <p:cNvSpPr>
              <a:spLocks noEditPoints="1"/>
            </p:cNvSpPr>
            <p:nvPr/>
          </p:nvSpPr>
          <p:spPr bwMode="auto">
            <a:xfrm>
              <a:off x="-12625388" y="2682875"/>
              <a:ext cx="1771650" cy="1914525"/>
            </a:xfrm>
            <a:custGeom>
              <a:avLst/>
              <a:gdLst>
                <a:gd name="T0" fmla="*/ 586 w 2324"/>
                <a:gd name="T1" fmla="*/ 2514 h 2514"/>
                <a:gd name="T2" fmla="*/ 586 w 2324"/>
                <a:gd name="T3" fmla="*/ 2514 h 2514"/>
                <a:gd name="T4" fmla="*/ 0 w 2324"/>
                <a:gd name="T5" fmla="*/ 1664 h 2514"/>
                <a:gd name="T6" fmla="*/ 0 w 2324"/>
                <a:gd name="T7" fmla="*/ 64 h 2514"/>
                <a:gd name="T8" fmla="*/ 2324 w 2324"/>
                <a:gd name="T9" fmla="*/ 0 h 2514"/>
                <a:gd name="T10" fmla="*/ 1542 w 2324"/>
                <a:gd name="T11" fmla="*/ 1131 h 2514"/>
                <a:gd name="T12" fmla="*/ 586 w 2324"/>
                <a:gd name="T13" fmla="*/ 2514 h 2514"/>
                <a:gd name="T14" fmla="*/ 2324 w 2324"/>
                <a:gd name="T15" fmla="*/ 0 h 2514"/>
                <a:gd name="T16" fmla="*/ 2324 w 2324"/>
                <a:gd name="T17" fmla="*/ 0 h 2514"/>
                <a:gd name="T18" fmla="*/ 2324 w 2324"/>
                <a:gd name="T19"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4" h="2514">
                  <a:moveTo>
                    <a:pt x="586" y="2514"/>
                  </a:moveTo>
                  <a:lnTo>
                    <a:pt x="586" y="2514"/>
                  </a:lnTo>
                  <a:lnTo>
                    <a:pt x="0" y="1664"/>
                  </a:lnTo>
                  <a:lnTo>
                    <a:pt x="0" y="64"/>
                  </a:lnTo>
                  <a:lnTo>
                    <a:pt x="2324" y="0"/>
                  </a:lnTo>
                  <a:lnTo>
                    <a:pt x="1542" y="1131"/>
                  </a:lnTo>
                  <a:lnTo>
                    <a:pt x="586" y="2514"/>
                  </a:lnTo>
                  <a:moveTo>
                    <a:pt x="2324" y="0"/>
                  </a:moveTo>
                  <a:lnTo>
                    <a:pt x="2324" y="0"/>
                  </a:lnTo>
                  <a:lnTo>
                    <a:pt x="2324"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0" name="Freeform 332"/>
            <p:cNvSpPr>
              <a:spLocks/>
            </p:cNvSpPr>
            <p:nvPr/>
          </p:nvSpPr>
          <p:spPr bwMode="auto">
            <a:xfrm>
              <a:off x="-12625388" y="1125537"/>
              <a:ext cx="1771650" cy="1604963"/>
            </a:xfrm>
            <a:custGeom>
              <a:avLst/>
              <a:gdLst>
                <a:gd name="T0" fmla="*/ 0 w 1116"/>
                <a:gd name="T1" fmla="*/ 1011 h 1011"/>
                <a:gd name="T2" fmla="*/ 0 w 1116"/>
                <a:gd name="T3" fmla="*/ 528 h 1011"/>
                <a:gd name="T4" fmla="*/ 532 w 1116"/>
                <a:gd name="T5" fmla="*/ 17 h 1011"/>
                <a:gd name="T6" fmla="*/ 550 w 1116"/>
                <a:gd name="T7" fmla="*/ 0 h 1011"/>
                <a:gd name="T8" fmla="*/ 532 w 1116"/>
                <a:gd name="T9" fmla="*/ 17 h 1011"/>
                <a:gd name="T10" fmla="*/ 550 w 1116"/>
                <a:gd name="T11" fmla="*/ 0 h 1011"/>
                <a:gd name="T12" fmla="*/ 550 w 1116"/>
                <a:gd name="T13" fmla="*/ 0 h 1011"/>
                <a:gd name="T14" fmla="*/ 550 w 1116"/>
                <a:gd name="T15" fmla="*/ 0 h 1011"/>
                <a:gd name="T16" fmla="*/ 1116 w 1116"/>
                <a:gd name="T17" fmla="*/ 981 h 1011"/>
                <a:gd name="T18" fmla="*/ 0 w 1116"/>
                <a:gd name="T19" fmla="*/ 1011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6" h="1011">
                  <a:moveTo>
                    <a:pt x="0" y="1011"/>
                  </a:moveTo>
                  <a:lnTo>
                    <a:pt x="0" y="528"/>
                  </a:lnTo>
                  <a:lnTo>
                    <a:pt x="532" y="17"/>
                  </a:lnTo>
                  <a:lnTo>
                    <a:pt x="550" y="0"/>
                  </a:lnTo>
                  <a:lnTo>
                    <a:pt x="532" y="17"/>
                  </a:lnTo>
                  <a:lnTo>
                    <a:pt x="550" y="0"/>
                  </a:lnTo>
                  <a:lnTo>
                    <a:pt x="550" y="0"/>
                  </a:lnTo>
                  <a:lnTo>
                    <a:pt x="550" y="0"/>
                  </a:lnTo>
                  <a:lnTo>
                    <a:pt x="1116" y="981"/>
                  </a:lnTo>
                  <a:lnTo>
                    <a:pt x="0" y="101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1" name="Freeform 333"/>
            <p:cNvSpPr>
              <a:spLocks/>
            </p:cNvSpPr>
            <p:nvPr/>
          </p:nvSpPr>
          <p:spPr bwMode="auto">
            <a:xfrm>
              <a:off x="-11780838" y="1125537"/>
              <a:ext cx="28575" cy="26988"/>
            </a:xfrm>
            <a:custGeom>
              <a:avLst/>
              <a:gdLst>
                <a:gd name="T0" fmla="*/ 0 w 18"/>
                <a:gd name="T1" fmla="*/ 17 h 17"/>
                <a:gd name="T2" fmla="*/ 0 w 18"/>
                <a:gd name="T3" fmla="*/ 17 h 17"/>
                <a:gd name="T4" fmla="*/ 18 w 18"/>
                <a:gd name="T5" fmla="*/ 0 h 17"/>
                <a:gd name="T6" fmla="*/ 0 w 18"/>
                <a:gd name="T7" fmla="*/ 17 h 17"/>
              </a:gdLst>
              <a:ahLst/>
              <a:cxnLst>
                <a:cxn ang="0">
                  <a:pos x="T0" y="T1"/>
                </a:cxn>
                <a:cxn ang="0">
                  <a:pos x="T2" y="T3"/>
                </a:cxn>
                <a:cxn ang="0">
                  <a:pos x="T4" y="T5"/>
                </a:cxn>
                <a:cxn ang="0">
                  <a:pos x="T6" y="T7"/>
                </a:cxn>
              </a:cxnLst>
              <a:rect l="0" t="0" r="r" b="b"/>
              <a:pathLst>
                <a:path w="18" h="17">
                  <a:moveTo>
                    <a:pt x="0" y="17"/>
                  </a:moveTo>
                  <a:lnTo>
                    <a:pt x="0" y="17"/>
                  </a:lnTo>
                  <a:lnTo>
                    <a:pt x="18" y="0"/>
                  </a:lnTo>
                  <a:lnTo>
                    <a:pt x="0" y="1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2" name="Freeform 334"/>
            <p:cNvSpPr>
              <a:spLocks noEditPoints="1"/>
            </p:cNvSpPr>
            <p:nvPr/>
          </p:nvSpPr>
          <p:spPr bwMode="auto">
            <a:xfrm>
              <a:off x="-10853738" y="1454150"/>
              <a:ext cx="1365250" cy="1757363"/>
            </a:xfrm>
            <a:custGeom>
              <a:avLst/>
              <a:gdLst>
                <a:gd name="T0" fmla="*/ 1792 w 1792"/>
                <a:gd name="T1" fmla="*/ 2307 h 2307"/>
                <a:gd name="T2" fmla="*/ 0 w 1792"/>
                <a:gd name="T3" fmla="*/ 1612 h 2307"/>
                <a:gd name="T4" fmla="*/ 0 w 1792"/>
                <a:gd name="T5" fmla="*/ 1612 h 2307"/>
                <a:gd name="T6" fmla="*/ 0 w 1792"/>
                <a:gd name="T7" fmla="*/ 1612 h 2307"/>
                <a:gd name="T8" fmla="*/ 233 w 1792"/>
                <a:gd name="T9" fmla="*/ 0 h 2307"/>
                <a:gd name="T10" fmla="*/ 790 w 1792"/>
                <a:gd name="T11" fmla="*/ 824 h 2307"/>
                <a:gd name="T12" fmla="*/ 1792 w 1792"/>
                <a:gd name="T13" fmla="*/ 2307 h 2307"/>
                <a:gd name="T14" fmla="*/ 233 w 1792"/>
                <a:gd name="T15" fmla="*/ 0 h 2307"/>
                <a:gd name="T16" fmla="*/ 233 w 1792"/>
                <a:gd name="T17" fmla="*/ 0 h 2307"/>
                <a:gd name="T18" fmla="*/ 233 w 1792"/>
                <a:gd name="T19" fmla="*/ 0 h 2307"/>
                <a:gd name="T20" fmla="*/ 233 w 1792"/>
                <a:gd name="T21" fmla="*/ 0 h 2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2" h="2307">
                  <a:moveTo>
                    <a:pt x="1792" y="2307"/>
                  </a:moveTo>
                  <a:lnTo>
                    <a:pt x="0" y="1612"/>
                  </a:lnTo>
                  <a:lnTo>
                    <a:pt x="0" y="1612"/>
                  </a:lnTo>
                  <a:lnTo>
                    <a:pt x="0" y="1612"/>
                  </a:lnTo>
                  <a:lnTo>
                    <a:pt x="233" y="0"/>
                  </a:lnTo>
                  <a:lnTo>
                    <a:pt x="790" y="824"/>
                  </a:lnTo>
                  <a:lnTo>
                    <a:pt x="1792" y="2307"/>
                  </a:lnTo>
                  <a:moveTo>
                    <a:pt x="233" y="0"/>
                  </a:moveTo>
                  <a:lnTo>
                    <a:pt x="233" y="0"/>
                  </a:lnTo>
                  <a:lnTo>
                    <a:pt x="233" y="0"/>
                  </a:lnTo>
                  <a:lnTo>
                    <a:pt x="233"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3" name="Freeform 335"/>
            <p:cNvSpPr>
              <a:spLocks/>
            </p:cNvSpPr>
            <p:nvPr/>
          </p:nvSpPr>
          <p:spPr bwMode="auto">
            <a:xfrm>
              <a:off x="-10853738" y="-979488"/>
              <a:ext cx="1397000" cy="2433638"/>
            </a:xfrm>
            <a:custGeom>
              <a:avLst/>
              <a:gdLst>
                <a:gd name="T0" fmla="*/ 111 w 880"/>
                <a:gd name="T1" fmla="*/ 1533 h 1533"/>
                <a:gd name="T2" fmla="*/ 111 w 880"/>
                <a:gd name="T3" fmla="*/ 1533 h 1533"/>
                <a:gd name="T4" fmla="*/ 0 w 880"/>
                <a:gd name="T5" fmla="*/ 347 h 1533"/>
                <a:gd name="T6" fmla="*/ 0 w 880"/>
                <a:gd name="T7" fmla="*/ 347 h 1533"/>
                <a:gd name="T8" fmla="*/ 0 w 880"/>
                <a:gd name="T9" fmla="*/ 347 h 1533"/>
                <a:gd name="T10" fmla="*/ 880 w 880"/>
                <a:gd name="T11" fmla="*/ 0 h 1533"/>
                <a:gd name="T12" fmla="*/ 111 w 880"/>
                <a:gd name="T13" fmla="*/ 1533 h 1533"/>
              </a:gdLst>
              <a:ahLst/>
              <a:cxnLst>
                <a:cxn ang="0">
                  <a:pos x="T0" y="T1"/>
                </a:cxn>
                <a:cxn ang="0">
                  <a:pos x="T2" y="T3"/>
                </a:cxn>
                <a:cxn ang="0">
                  <a:pos x="T4" y="T5"/>
                </a:cxn>
                <a:cxn ang="0">
                  <a:pos x="T6" y="T7"/>
                </a:cxn>
                <a:cxn ang="0">
                  <a:pos x="T8" y="T9"/>
                </a:cxn>
                <a:cxn ang="0">
                  <a:pos x="T10" y="T11"/>
                </a:cxn>
                <a:cxn ang="0">
                  <a:pos x="T12" y="T13"/>
                </a:cxn>
              </a:cxnLst>
              <a:rect l="0" t="0" r="r" b="b"/>
              <a:pathLst>
                <a:path w="880" h="1533">
                  <a:moveTo>
                    <a:pt x="111" y="1533"/>
                  </a:moveTo>
                  <a:lnTo>
                    <a:pt x="111" y="1533"/>
                  </a:lnTo>
                  <a:lnTo>
                    <a:pt x="0" y="347"/>
                  </a:lnTo>
                  <a:lnTo>
                    <a:pt x="0" y="347"/>
                  </a:lnTo>
                  <a:lnTo>
                    <a:pt x="0" y="347"/>
                  </a:lnTo>
                  <a:lnTo>
                    <a:pt x="880" y="0"/>
                  </a:lnTo>
                  <a:lnTo>
                    <a:pt x="111" y="15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4" name="Freeform 336"/>
            <p:cNvSpPr>
              <a:spLocks/>
            </p:cNvSpPr>
            <p:nvPr/>
          </p:nvSpPr>
          <p:spPr bwMode="auto">
            <a:xfrm>
              <a:off x="-10677525" y="1125537"/>
              <a:ext cx="2517775" cy="2085975"/>
            </a:xfrm>
            <a:custGeom>
              <a:avLst/>
              <a:gdLst>
                <a:gd name="T0" fmla="*/ 749 w 1586"/>
                <a:gd name="T1" fmla="*/ 1314 h 1314"/>
                <a:gd name="T2" fmla="*/ 268 w 1586"/>
                <a:gd name="T3" fmla="*/ 602 h 1314"/>
                <a:gd name="T4" fmla="*/ 0 w 1586"/>
                <a:gd name="T5" fmla="*/ 207 h 1314"/>
                <a:gd name="T6" fmla="*/ 0 w 1586"/>
                <a:gd name="T7" fmla="*/ 207 h 1314"/>
                <a:gd name="T8" fmla="*/ 0 w 1586"/>
                <a:gd name="T9" fmla="*/ 207 h 1314"/>
                <a:gd name="T10" fmla="*/ 0 w 1586"/>
                <a:gd name="T11" fmla="*/ 207 h 1314"/>
                <a:gd name="T12" fmla="*/ 169 w 1586"/>
                <a:gd name="T13" fmla="*/ 185 h 1314"/>
                <a:gd name="T14" fmla="*/ 1586 w 1586"/>
                <a:gd name="T15" fmla="*/ 0 h 1314"/>
                <a:gd name="T16" fmla="*/ 749 w 1586"/>
                <a:gd name="T17" fmla="*/ 1314 h 1314"/>
                <a:gd name="T18" fmla="*/ 749 w 1586"/>
                <a:gd name="T19" fmla="*/ 1314 h 1314"/>
                <a:gd name="T20" fmla="*/ 749 w 1586"/>
                <a:gd name="T21" fmla="*/ 1314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6" h="1314">
                  <a:moveTo>
                    <a:pt x="749" y="1314"/>
                  </a:moveTo>
                  <a:lnTo>
                    <a:pt x="268" y="602"/>
                  </a:lnTo>
                  <a:lnTo>
                    <a:pt x="0" y="207"/>
                  </a:lnTo>
                  <a:lnTo>
                    <a:pt x="0" y="207"/>
                  </a:lnTo>
                  <a:lnTo>
                    <a:pt x="0" y="207"/>
                  </a:lnTo>
                  <a:lnTo>
                    <a:pt x="0" y="207"/>
                  </a:lnTo>
                  <a:lnTo>
                    <a:pt x="169" y="185"/>
                  </a:lnTo>
                  <a:lnTo>
                    <a:pt x="1586" y="0"/>
                  </a:lnTo>
                  <a:lnTo>
                    <a:pt x="749" y="1314"/>
                  </a:lnTo>
                  <a:lnTo>
                    <a:pt x="749" y="1314"/>
                  </a:lnTo>
                  <a:lnTo>
                    <a:pt x="749" y="1314"/>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5" name="Freeform 337"/>
            <p:cNvSpPr>
              <a:spLocks/>
            </p:cNvSpPr>
            <p:nvPr/>
          </p:nvSpPr>
          <p:spPr bwMode="auto">
            <a:xfrm>
              <a:off x="-10677525" y="1454150"/>
              <a:ext cx="425450" cy="627063"/>
            </a:xfrm>
            <a:custGeom>
              <a:avLst/>
              <a:gdLst>
                <a:gd name="T0" fmla="*/ 268 w 268"/>
                <a:gd name="T1" fmla="*/ 395 h 395"/>
                <a:gd name="T2" fmla="*/ 0 w 268"/>
                <a:gd name="T3" fmla="*/ 0 h 395"/>
                <a:gd name="T4" fmla="*/ 0 w 268"/>
                <a:gd name="T5" fmla="*/ 0 h 395"/>
                <a:gd name="T6" fmla="*/ 268 w 268"/>
                <a:gd name="T7" fmla="*/ 395 h 395"/>
              </a:gdLst>
              <a:ahLst/>
              <a:cxnLst>
                <a:cxn ang="0">
                  <a:pos x="T0" y="T1"/>
                </a:cxn>
                <a:cxn ang="0">
                  <a:pos x="T2" y="T3"/>
                </a:cxn>
                <a:cxn ang="0">
                  <a:pos x="T4" y="T5"/>
                </a:cxn>
                <a:cxn ang="0">
                  <a:pos x="T6" y="T7"/>
                </a:cxn>
              </a:cxnLst>
              <a:rect l="0" t="0" r="r" b="b"/>
              <a:pathLst>
                <a:path w="268" h="395">
                  <a:moveTo>
                    <a:pt x="268" y="395"/>
                  </a:moveTo>
                  <a:lnTo>
                    <a:pt x="0" y="0"/>
                  </a:lnTo>
                  <a:lnTo>
                    <a:pt x="0" y="0"/>
                  </a:lnTo>
                  <a:lnTo>
                    <a:pt x="268" y="39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6" name="Freeform 338"/>
            <p:cNvSpPr>
              <a:spLocks/>
            </p:cNvSpPr>
            <p:nvPr/>
          </p:nvSpPr>
          <p:spPr bwMode="auto">
            <a:xfrm>
              <a:off x="-11752263" y="-428626"/>
              <a:ext cx="1074738" cy="1882775"/>
            </a:xfrm>
            <a:custGeom>
              <a:avLst/>
              <a:gdLst>
                <a:gd name="T0" fmla="*/ 677 w 677"/>
                <a:gd name="T1" fmla="*/ 1186 h 1186"/>
                <a:gd name="T2" fmla="*/ 0 w 677"/>
                <a:gd name="T3" fmla="*/ 979 h 1186"/>
                <a:gd name="T4" fmla="*/ 452 w 677"/>
                <a:gd name="T5" fmla="*/ 196 h 1186"/>
                <a:gd name="T6" fmla="*/ 566 w 677"/>
                <a:gd name="T7" fmla="*/ 0 h 1186"/>
                <a:gd name="T8" fmla="*/ 677 w 677"/>
                <a:gd name="T9" fmla="*/ 1186 h 1186"/>
                <a:gd name="T10" fmla="*/ 677 w 677"/>
                <a:gd name="T11" fmla="*/ 1186 h 1186"/>
              </a:gdLst>
              <a:ahLst/>
              <a:cxnLst>
                <a:cxn ang="0">
                  <a:pos x="T0" y="T1"/>
                </a:cxn>
                <a:cxn ang="0">
                  <a:pos x="T2" y="T3"/>
                </a:cxn>
                <a:cxn ang="0">
                  <a:pos x="T4" y="T5"/>
                </a:cxn>
                <a:cxn ang="0">
                  <a:pos x="T6" y="T7"/>
                </a:cxn>
                <a:cxn ang="0">
                  <a:pos x="T8" y="T9"/>
                </a:cxn>
                <a:cxn ang="0">
                  <a:pos x="T10" y="T11"/>
                </a:cxn>
              </a:cxnLst>
              <a:rect l="0" t="0" r="r" b="b"/>
              <a:pathLst>
                <a:path w="677" h="1186">
                  <a:moveTo>
                    <a:pt x="677" y="1186"/>
                  </a:moveTo>
                  <a:lnTo>
                    <a:pt x="0" y="979"/>
                  </a:lnTo>
                  <a:lnTo>
                    <a:pt x="452" y="196"/>
                  </a:lnTo>
                  <a:lnTo>
                    <a:pt x="566" y="0"/>
                  </a:lnTo>
                  <a:lnTo>
                    <a:pt x="677" y="1186"/>
                  </a:lnTo>
                  <a:lnTo>
                    <a:pt x="677" y="118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7" name="Rectangle 339"/>
            <p:cNvSpPr>
              <a:spLocks noChangeArrowheads="1"/>
            </p:cNvSpPr>
            <p:nvPr/>
          </p:nvSpPr>
          <p:spPr bwMode="auto">
            <a:xfrm>
              <a:off x="-10677525" y="1454150"/>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8" name="Rectangle 340"/>
            <p:cNvSpPr>
              <a:spLocks noChangeArrowheads="1"/>
            </p:cNvSpPr>
            <p:nvPr/>
          </p:nvSpPr>
          <p:spPr bwMode="auto">
            <a:xfrm>
              <a:off x="-11752263" y="1125537"/>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9" name="Freeform 341"/>
            <p:cNvSpPr>
              <a:spLocks/>
            </p:cNvSpPr>
            <p:nvPr/>
          </p:nvSpPr>
          <p:spPr bwMode="auto">
            <a:xfrm>
              <a:off x="-10677525" y="-979488"/>
              <a:ext cx="2517775" cy="2433638"/>
            </a:xfrm>
            <a:custGeom>
              <a:avLst/>
              <a:gdLst>
                <a:gd name="T0" fmla="*/ 0 w 1586"/>
                <a:gd name="T1" fmla="*/ 1533 h 1533"/>
                <a:gd name="T2" fmla="*/ 769 w 1586"/>
                <a:gd name="T3" fmla="*/ 0 h 1533"/>
                <a:gd name="T4" fmla="*/ 1586 w 1586"/>
                <a:gd name="T5" fmla="*/ 1326 h 1533"/>
                <a:gd name="T6" fmla="*/ 1586 w 1586"/>
                <a:gd name="T7" fmla="*/ 1326 h 1533"/>
                <a:gd name="T8" fmla="*/ 1586 w 1586"/>
                <a:gd name="T9" fmla="*/ 1326 h 1533"/>
                <a:gd name="T10" fmla="*/ 1586 w 1586"/>
                <a:gd name="T11" fmla="*/ 1326 h 1533"/>
                <a:gd name="T12" fmla="*/ 169 w 1586"/>
                <a:gd name="T13" fmla="*/ 1511 h 1533"/>
                <a:gd name="T14" fmla="*/ 0 w 1586"/>
                <a:gd name="T15" fmla="*/ 1533 h 15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6" h="1533">
                  <a:moveTo>
                    <a:pt x="0" y="1533"/>
                  </a:moveTo>
                  <a:lnTo>
                    <a:pt x="769" y="0"/>
                  </a:lnTo>
                  <a:lnTo>
                    <a:pt x="1586" y="1326"/>
                  </a:lnTo>
                  <a:lnTo>
                    <a:pt x="1586" y="1326"/>
                  </a:lnTo>
                  <a:lnTo>
                    <a:pt x="1586" y="1326"/>
                  </a:lnTo>
                  <a:lnTo>
                    <a:pt x="1586" y="1326"/>
                  </a:lnTo>
                  <a:lnTo>
                    <a:pt x="169" y="1511"/>
                  </a:lnTo>
                  <a:lnTo>
                    <a:pt x="0" y="1533"/>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0" name="Freeform 342"/>
            <p:cNvSpPr>
              <a:spLocks noEditPoints="1"/>
            </p:cNvSpPr>
            <p:nvPr/>
          </p:nvSpPr>
          <p:spPr bwMode="auto">
            <a:xfrm>
              <a:off x="-11752263" y="1125537"/>
              <a:ext cx="1074738" cy="1557338"/>
            </a:xfrm>
            <a:custGeom>
              <a:avLst/>
              <a:gdLst>
                <a:gd name="T0" fmla="*/ 1179 w 1412"/>
                <a:gd name="T1" fmla="*/ 2042 h 2042"/>
                <a:gd name="T2" fmla="*/ 0 w 1412"/>
                <a:gd name="T3" fmla="*/ 0 h 2042"/>
                <a:gd name="T4" fmla="*/ 1412 w 1412"/>
                <a:gd name="T5" fmla="*/ 430 h 2042"/>
                <a:gd name="T6" fmla="*/ 1179 w 1412"/>
                <a:gd name="T7" fmla="*/ 2042 h 2042"/>
                <a:gd name="T8" fmla="*/ 1412 w 1412"/>
                <a:gd name="T9" fmla="*/ 430 h 2042"/>
                <a:gd name="T10" fmla="*/ 1412 w 1412"/>
                <a:gd name="T11" fmla="*/ 430 h 2042"/>
                <a:gd name="T12" fmla="*/ 1412 w 1412"/>
                <a:gd name="T13" fmla="*/ 430 h 2042"/>
                <a:gd name="T14" fmla="*/ 1412 w 1412"/>
                <a:gd name="T15" fmla="*/ 430 h 20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2042">
                  <a:moveTo>
                    <a:pt x="1179" y="2042"/>
                  </a:moveTo>
                  <a:lnTo>
                    <a:pt x="0" y="0"/>
                  </a:lnTo>
                  <a:lnTo>
                    <a:pt x="1412" y="430"/>
                  </a:lnTo>
                  <a:lnTo>
                    <a:pt x="1179" y="2042"/>
                  </a:lnTo>
                  <a:moveTo>
                    <a:pt x="1412" y="430"/>
                  </a:moveTo>
                  <a:lnTo>
                    <a:pt x="1412" y="430"/>
                  </a:lnTo>
                  <a:lnTo>
                    <a:pt x="1412" y="430"/>
                  </a:lnTo>
                  <a:lnTo>
                    <a:pt x="1412" y="430"/>
                  </a:lnTo>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1" name="Freeform 343"/>
            <p:cNvSpPr>
              <a:spLocks/>
            </p:cNvSpPr>
            <p:nvPr/>
          </p:nvSpPr>
          <p:spPr bwMode="auto">
            <a:xfrm>
              <a:off x="-10853738" y="1454150"/>
              <a:ext cx="176213" cy="1228725"/>
            </a:xfrm>
            <a:custGeom>
              <a:avLst/>
              <a:gdLst>
                <a:gd name="T0" fmla="*/ 0 w 111"/>
                <a:gd name="T1" fmla="*/ 774 h 774"/>
                <a:gd name="T2" fmla="*/ 0 w 111"/>
                <a:gd name="T3" fmla="*/ 774 h 774"/>
                <a:gd name="T4" fmla="*/ 111 w 111"/>
                <a:gd name="T5" fmla="*/ 0 h 774"/>
                <a:gd name="T6" fmla="*/ 111 w 111"/>
                <a:gd name="T7" fmla="*/ 0 h 774"/>
                <a:gd name="T8" fmla="*/ 111 w 111"/>
                <a:gd name="T9" fmla="*/ 0 h 774"/>
                <a:gd name="T10" fmla="*/ 111 w 111"/>
                <a:gd name="T11" fmla="*/ 0 h 774"/>
                <a:gd name="T12" fmla="*/ 111 w 111"/>
                <a:gd name="T13" fmla="*/ 0 h 774"/>
                <a:gd name="T14" fmla="*/ 111 w 111"/>
                <a:gd name="T15" fmla="*/ 0 h 774"/>
                <a:gd name="T16" fmla="*/ 0 w 111"/>
                <a:gd name="T17" fmla="*/ 77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74">
                  <a:moveTo>
                    <a:pt x="0" y="774"/>
                  </a:moveTo>
                  <a:lnTo>
                    <a:pt x="0" y="774"/>
                  </a:lnTo>
                  <a:lnTo>
                    <a:pt x="111" y="0"/>
                  </a:lnTo>
                  <a:lnTo>
                    <a:pt x="111" y="0"/>
                  </a:lnTo>
                  <a:lnTo>
                    <a:pt x="111" y="0"/>
                  </a:lnTo>
                  <a:lnTo>
                    <a:pt x="111" y="0"/>
                  </a:lnTo>
                  <a:lnTo>
                    <a:pt x="111" y="0"/>
                  </a:lnTo>
                  <a:lnTo>
                    <a:pt x="111" y="0"/>
                  </a:lnTo>
                  <a:lnTo>
                    <a:pt x="0" y="774"/>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2" name="Rectangle 344"/>
            <p:cNvSpPr>
              <a:spLocks noChangeArrowheads="1"/>
            </p:cNvSpPr>
            <p:nvPr/>
          </p:nvSpPr>
          <p:spPr bwMode="auto">
            <a:xfrm>
              <a:off x="-11752263" y="1125537"/>
              <a:ext cx="1588" cy="1588"/>
            </a:xfrm>
            <a:prstGeom prst="rect">
              <a:avLst/>
            </a:prstGeom>
            <a:solidFill>
              <a:srgbClr val="579ABA"/>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3" name="Rectangle 345"/>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4" name="Rectangle 346"/>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5" name="Freeform 347"/>
            <p:cNvSpPr>
              <a:spLocks/>
            </p:cNvSpPr>
            <p:nvPr/>
          </p:nvSpPr>
          <p:spPr bwMode="auto">
            <a:xfrm>
              <a:off x="-11752263" y="1125537"/>
              <a:ext cx="1074738" cy="328613"/>
            </a:xfrm>
            <a:custGeom>
              <a:avLst/>
              <a:gdLst>
                <a:gd name="T0" fmla="*/ 677 w 677"/>
                <a:gd name="T1" fmla="*/ 207 h 207"/>
                <a:gd name="T2" fmla="*/ 0 w 677"/>
                <a:gd name="T3" fmla="*/ 0 h 207"/>
                <a:gd name="T4" fmla="*/ 0 w 677"/>
                <a:gd name="T5" fmla="*/ 0 h 207"/>
                <a:gd name="T6" fmla="*/ 0 w 677"/>
                <a:gd name="T7" fmla="*/ 0 h 207"/>
                <a:gd name="T8" fmla="*/ 677 w 677"/>
                <a:gd name="T9" fmla="*/ 207 h 207"/>
                <a:gd name="T10" fmla="*/ 677 w 677"/>
                <a:gd name="T11" fmla="*/ 207 h 207"/>
              </a:gdLst>
              <a:ahLst/>
              <a:cxnLst>
                <a:cxn ang="0">
                  <a:pos x="T0" y="T1"/>
                </a:cxn>
                <a:cxn ang="0">
                  <a:pos x="T2" y="T3"/>
                </a:cxn>
                <a:cxn ang="0">
                  <a:pos x="T4" y="T5"/>
                </a:cxn>
                <a:cxn ang="0">
                  <a:pos x="T6" y="T7"/>
                </a:cxn>
                <a:cxn ang="0">
                  <a:pos x="T8" y="T9"/>
                </a:cxn>
                <a:cxn ang="0">
                  <a:pos x="T10" y="T11"/>
                </a:cxn>
              </a:cxnLst>
              <a:rect l="0" t="0" r="r" b="b"/>
              <a:pathLst>
                <a:path w="677" h="207">
                  <a:moveTo>
                    <a:pt x="677" y="207"/>
                  </a:moveTo>
                  <a:lnTo>
                    <a:pt x="0" y="0"/>
                  </a:lnTo>
                  <a:lnTo>
                    <a:pt x="0" y="0"/>
                  </a:lnTo>
                  <a:lnTo>
                    <a:pt x="0" y="0"/>
                  </a:lnTo>
                  <a:lnTo>
                    <a:pt x="677" y="207"/>
                  </a:lnTo>
                  <a:lnTo>
                    <a:pt x="677" y="20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3" name="Rectangle 348"/>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4" name="Freeform 349"/>
            <p:cNvSpPr>
              <a:spLocks noEditPoints="1"/>
            </p:cNvSpPr>
            <p:nvPr/>
          </p:nvSpPr>
          <p:spPr bwMode="auto">
            <a:xfrm>
              <a:off x="-12625388" y="5602287"/>
              <a:ext cx="571500" cy="1801813"/>
            </a:xfrm>
            <a:custGeom>
              <a:avLst/>
              <a:gdLst>
                <a:gd name="T0" fmla="*/ 0 w 750"/>
                <a:gd name="T1" fmla="*/ 2365 h 2365"/>
                <a:gd name="T2" fmla="*/ 0 w 750"/>
                <a:gd name="T3" fmla="*/ 921 h 2365"/>
                <a:gd name="T4" fmla="*/ 750 w 750"/>
                <a:gd name="T5" fmla="*/ 0 h 2365"/>
                <a:gd name="T6" fmla="*/ 371 w 750"/>
                <a:gd name="T7" fmla="*/ 2264 h 2365"/>
                <a:gd name="T8" fmla="*/ 0 w 750"/>
                <a:gd name="T9" fmla="*/ 2365 h 2365"/>
                <a:gd name="T10" fmla="*/ 0 w 750"/>
                <a:gd name="T11" fmla="*/ 921 h 2365"/>
                <a:gd name="T12" fmla="*/ 0 w 750"/>
                <a:gd name="T13" fmla="*/ 921 h 2365"/>
                <a:gd name="T14" fmla="*/ 750 w 750"/>
                <a:gd name="T15" fmla="*/ 0 h 2365"/>
                <a:gd name="T16" fmla="*/ 750 w 750"/>
                <a:gd name="T17" fmla="*/ 0 h 2365"/>
                <a:gd name="T18" fmla="*/ 750 w 750"/>
                <a:gd name="T19" fmla="*/ 0 h 2365"/>
                <a:gd name="T20" fmla="*/ 0 w 750"/>
                <a:gd name="T21" fmla="*/ 921 h 2365"/>
                <a:gd name="T22" fmla="*/ 750 w 750"/>
                <a:gd name="T23" fmla="*/ 0 h 2365"/>
                <a:gd name="T24" fmla="*/ 750 w 750"/>
                <a:gd name="T25" fmla="*/ 0 h 2365"/>
                <a:gd name="T26" fmla="*/ 750 w 750"/>
                <a:gd name="T27" fmla="*/ 0 h 2365"/>
                <a:gd name="T28" fmla="*/ 750 w 750"/>
                <a:gd name="T29" fmla="*/ 0 h 2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0" h="2365">
                  <a:moveTo>
                    <a:pt x="0" y="2365"/>
                  </a:moveTo>
                  <a:lnTo>
                    <a:pt x="0" y="921"/>
                  </a:lnTo>
                  <a:lnTo>
                    <a:pt x="750" y="0"/>
                  </a:lnTo>
                  <a:lnTo>
                    <a:pt x="371" y="2264"/>
                  </a:lnTo>
                  <a:lnTo>
                    <a:pt x="0" y="2365"/>
                  </a:lnTo>
                  <a:moveTo>
                    <a:pt x="0" y="921"/>
                  </a:moveTo>
                  <a:lnTo>
                    <a:pt x="0" y="921"/>
                  </a:lnTo>
                  <a:lnTo>
                    <a:pt x="750" y="0"/>
                  </a:lnTo>
                  <a:lnTo>
                    <a:pt x="750" y="0"/>
                  </a:lnTo>
                  <a:lnTo>
                    <a:pt x="750" y="0"/>
                  </a:lnTo>
                  <a:lnTo>
                    <a:pt x="0" y="921"/>
                  </a:lnTo>
                  <a:moveTo>
                    <a:pt x="750" y="0"/>
                  </a:moveTo>
                  <a:lnTo>
                    <a:pt x="750" y="0"/>
                  </a:lnTo>
                  <a:lnTo>
                    <a:pt x="750" y="0"/>
                  </a:lnTo>
                  <a:lnTo>
                    <a:pt x="750" y="0"/>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5" name="Freeform 350"/>
            <p:cNvSpPr>
              <a:spLocks/>
            </p:cNvSpPr>
            <p:nvPr/>
          </p:nvSpPr>
          <p:spPr bwMode="auto">
            <a:xfrm>
              <a:off x="-12625388" y="4479925"/>
              <a:ext cx="571500" cy="1122363"/>
            </a:xfrm>
            <a:custGeom>
              <a:avLst/>
              <a:gdLst>
                <a:gd name="T0" fmla="*/ 360 w 360"/>
                <a:gd name="T1" fmla="*/ 707 h 707"/>
                <a:gd name="T2" fmla="*/ 0 w 360"/>
                <a:gd name="T3" fmla="*/ 379 h 707"/>
                <a:gd name="T4" fmla="*/ 0 w 360"/>
                <a:gd name="T5" fmla="*/ 0 h 707"/>
                <a:gd name="T6" fmla="*/ 281 w 360"/>
                <a:gd name="T7" fmla="*/ 74 h 707"/>
                <a:gd name="T8" fmla="*/ 360 w 360"/>
                <a:gd name="T9" fmla="*/ 707 h 707"/>
              </a:gdLst>
              <a:ahLst/>
              <a:cxnLst>
                <a:cxn ang="0">
                  <a:pos x="T0" y="T1"/>
                </a:cxn>
                <a:cxn ang="0">
                  <a:pos x="T2" y="T3"/>
                </a:cxn>
                <a:cxn ang="0">
                  <a:pos x="T4" y="T5"/>
                </a:cxn>
                <a:cxn ang="0">
                  <a:pos x="T6" y="T7"/>
                </a:cxn>
                <a:cxn ang="0">
                  <a:pos x="T8" y="T9"/>
                </a:cxn>
              </a:cxnLst>
              <a:rect l="0" t="0" r="r" b="b"/>
              <a:pathLst>
                <a:path w="360" h="707">
                  <a:moveTo>
                    <a:pt x="360" y="707"/>
                  </a:moveTo>
                  <a:lnTo>
                    <a:pt x="0" y="379"/>
                  </a:lnTo>
                  <a:lnTo>
                    <a:pt x="0" y="0"/>
                  </a:lnTo>
                  <a:lnTo>
                    <a:pt x="281" y="74"/>
                  </a:lnTo>
                  <a:lnTo>
                    <a:pt x="360" y="707"/>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6" name="Freeform 351"/>
            <p:cNvSpPr>
              <a:spLocks noEditPoints="1"/>
            </p:cNvSpPr>
            <p:nvPr/>
          </p:nvSpPr>
          <p:spPr bwMode="auto">
            <a:xfrm>
              <a:off x="-12341225" y="5602287"/>
              <a:ext cx="1487488" cy="1725613"/>
            </a:xfrm>
            <a:custGeom>
              <a:avLst/>
              <a:gdLst>
                <a:gd name="T0" fmla="*/ 0 w 1952"/>
                <a:gd name="T1" fmla="*/ 2264 h 2264"/>
                <a:gd name="T2" fmla="*/ 378 w 1952"/>
                <a:gd name="T3" fmla="*/ 0 h 2264"/>
                <a:gd name="T4" fmla="*/ 378 w 1952"/>
                <a:gd name="T5" fmla="*/ 0 h 2264"/>
                <a:gd name="T6" fmla="*/ 1952 w 1952"/>
                <a:gd name="T7" fmla="*/ 251 h 2264"/>
                <a:gd name="T8" fmla="*/ 1952 w 1952"/>
                <a:gd name="T9" fmla="*/ 251 h 2264"/>
                <a:gd name="T10" fmla="*/ 1952 w 1952"/>
                <a:gd name="T11" fmla="*/ 251 h 2264"/>
                <a:gd name="T12" fmla="*/ 1952 w 1952"/>
                <a:gd name="T13" fmla="*/ 251 h 2264"/>
                <a:gd name="T14" fmla="*/ 780 w 1952"/>
                <a:gd name="T15" fmla="*/ 1459 h 2264"/>
                <a:gd name="T16" fmla="*/ 0 w 1952"/>
                <a:gd name="T17" fmla="*/ 2264 h 2264"/>
                <a:gd name="T18" fmla="*/ 378 w 1952"/>
                <a:gd name="T19" fmla="*/ 0 h 2264"/>
                <a:gd name="T20" fmla="*/ 378 w 1952"/>
                <a:gd name="T21" fmla="*/ 0 h 2264"/>
                <a:gd name="T22" fmla="*/ 378 w 1952"/>
                <a:gd name="T23" fmla="*/ 0 h 2264"/>
                <a:gd name="T24" fmla="*/ 378 w 1952"/>
                <a:gd name="T25" fmla="*/ 0 h 2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52" h="2264">
                  <a:moveTo>
                    <a:pt x="0" y="2264"/>
                  </a:moveTo>
                  <a:lnTo>
                    <a:pt x="378" y="0"/>
                  </a:lnTo>
                  <a:lnTo>
                    <a:pt x="378" y="0"/>
                  </a:lnTo>
                  <a:lnTo>
                    <a:pt x="1952" y="251"/>
                  </a:lnTo>
                  <a:lnTo>
                    <a:pt x="1952" y="251"/>
                  </a:lnTo>
                  <a:lnTo>
                    <a:pt x="1952" y="251"/>
                  </a:lnTo>
                  <a:lnTo>
                    <a:pt x="1952" y="251"/>
                  </a:lnTo>
                  <a:lnTo>
                    <a:pt x="780" y="1459"/>
                  </a:lnTo>
                  <a:lnTo>
                    <a:pt x="0" y="2264"/>
                  </a:lnTo>
                  <a:moveTo>
                    <a:pt x="378" y="0"/>
                  </a:moveTo>
                  <a:lnTo>
                    <a:pt x="378" y="0"/>
                  </a:lnTo>
                  <a:lnTo>
                    <a:pt x="378" y="0"/>
                  </a:lnTo>
                  <a:lnTo>
                    <a:pt x="378"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7" name="Freeform 352"/>
            <p:cNvSpPr>
              <a:spLocks noEditPoints="1"/>
            </p:cNvSpPr>
            <p:nvPr/>
          </p:nvSpPr>
          <p:spPr bwMode="auto">
            <a:xfrm>
              <a:off x="-12625388" y="5081587"/>
              <a:ext cx="571500" cy="520700"/>
            </a:xfrm>
            <a:custGeom>
              <a:avLst/>
              <a:gdLst>
                <a:gd name="T0" fmla="*/ 750 w 750"/>
                <a:gd name="T1" fmla="*/ 684 h 684"/>
                <a:gd name="T2" fmla="*/ 750 w 750"/>
                <a:gd name="T3" fmla="*/ 684 h 684"/>
                <a:gd name="T4" fmla="*/ 750 w 750"/>
                <a:gd name="T5" fmla="*/ 684 h 684"/>
                <a:gd name="T6" fmla="*/ 750 w 750"/>
                <a:gd name="T7" fmla="*/ 684 h 684"/>
                <a:gd name="T8" fmla="*/ 750 w 750"/>
                <a:gd name="T9" fmla="*/ 684 h 684"/>
                <a:gd name="T10" fmla="*/ 0 w 750"/>
                <a:gd name="T11" fmla="*/ 0 h 684"/>
                <a:gd name="T12" fmla="*/ 750 w 750"/>
                <a:gd name="T13" fmla="*/ 684 h 684"/>
              </a:gdLst>
              <a:ahLst/>
              <a:cxnLst>
                <a:cxn ang="0">
                  <a:pos x="T0" y="T1"/>
                </a:cxn>
                <a:cxn ang="0">
                  <a:pos x="T2" y="T3"/>
                </a:cxn>
                <a:cxn ang="0">
                  <a:pos x="T4" y="T5"/>
                </a:cxn>
                <a:cxn ang="0">
                  <a:pos x="T6" y="T7"/>
                </a:cxn>
                <a:cxn ang="0">
                  <a:pos x="T8" y="T9"/>
                </a:cxn>
                <a:cxn ang="0">
                  <a:pos x="T10" y="T11"/>
                </a:cxn>
                <a:cxn ang="0">
                  <a:pos x="T12" y="T13"/>
                </a:cxn>
              </a:cxnLst>
              <a:rect l="0" t="0" r="r" b="b"/>
              <a:pathLst>
                <a:path w="750" h="684">
                  <a:moveTo>
                    <a:pt x="750" y="684"/>
                  </a:moveTo>
                  <a:lnTo>
                    <a:pt x="750" y="684"/>
                  </a:lnTo>
                  <a:lnTo>
                    <a:pt x="750" y="684"/>
                  </a:lnTo>
                  <a:lnTo>
                    <a:pt x="750" y="684"/>
                  </a:lnTo>
                  <a:moveTo>
                    <a:pt x="750" y="684"/>
                  </a:moveTo>
                  <a:lnTo>
                    <a:pt x="0" y="0"/>
                  </a:lnTo>
                  <a:lnTo>
                    <a:pt x="750" y="684"/>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8" name="Rectangle 353"/>
            <p:cNvSpPr>
              <a:spLocks noChangeArrowheads="1"/>
            </p:cNvSpPr>
            <p:nvPr/>
          </p:nvSpPr>
          <p:spPr bwMode="auto">
            <a:xfrm>
              <a:off x="-12053888" y="5602287"/>
              <a:ext cx="1588" cy="1588"/>
            </a:xfrm>
            <a:prstGeom prst="rect">
              <a:avLst/>
            </a:prstGeom>
            <a:solidFill>
              <a:srgbClr val="599DBC"/>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9" name="Line 354"/>
            <p:cNvSpPr>
              <a:spLocks noChangeShapeType="1"/>
            </p:cNvSpPr>
            <p:nvPr/>
          </p:nvSpPr>
          <p:spPr bwMode="auto">
            <a:xfrm>
              <a:off x="-12053888" y="56022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0" name="Freeform 355"/>
            <p:cNvSpPr>
              <a:spLocks/>
            </p:cNvSpPr>
            <p:nvPr/>
          </p:nvSpPr>
          <p:spPr bwMode="auto">
            <a:xfrm>
              <a:off x="-12179300" y="4597400"/>
              <a:ext cx="1325563" cy="1195388"/>
            </a:xfrm>
            <a:custGeom>
              <a:avLst/>
              <a:gdLst>
                <a:gd name="T0" fmla="*/ 835 w 835"/>
                <a:gd name="T1" fmla="*/ 753 h 753"/>
                <a:gd name="T2" fmla="*/ 79 w 835"/>
                <a:gd name="T3" fmla="*/ 633 h 753"/>
                <a:gd name="T4" fmla="*/ 0 w 835"/>
                <a:gd name="T5" fmla="*/ 0 h 753"/>
                <a:gd name="T6" fmla="*/ 835 w 835"/>
                <a:gd name="T7" fmla="*/ 753 h 753"/>
                <a:gd name="T8" fmla="*/ 835 w 835"/>
                <a:gd name="T9" fmla="*/ 753 h 753"/>
              </a:gdLst>
              <a:ahLst/>
              <a:cxnLst>
                <a:cxn ang="0">
                  <a:pos x="T0" y="T1"/>
                </a:cxn>
                <a:cxn ang="0">
                  <a:pos x="T2" y="T3"/>
                </a:cxn>
                <a:cxn ang="0">
                  <a:pos x="T4" y="T5"/>
                </a:cxn>
                <a:cxn ang="0">
                  <a:pos x="T6" y="T7"/>
                </a:cxn>
                <a:cxn ang="0">
                  <a:pos x="T8" y="T9"/>
                </a:cxn>
              </a:cxnLst>
              <a:rect l="0" t="0" r="r" b="b"/>
              <a:pathLst>
                <a:path w="835" h="753">
                  <a:moveTo>
                    <a:pt x="835" y="753"/>
                  </a:moveTo>
                  <a:lnTo>
                    <a:pt x="79" y="633"/>
                  </a:lnTo>
                  <a:lnTo>
                    <a:pt x="0" y="0"/>
                  </a:lnTo>
                  <a:lnTo>
                    <a:pt x="835" y="753"/>
                  </a:lnTo>
                  <a:lnTo>
                    <a:pt x="835" y="753"/>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1" name="Freeform 356"/>
            <p:cNvSpPr>
              <a:spLocks/>
            </p:cNvSpPr>
            <p:nvPr/>
          </p:nvSpPr>
          <p:spPr bwMode="auto">
            <a:xfrm>
              <a:off x="-12625388" y="5602287"/>
              <a:ext cx="571500" cy="701675"/>
            </a:xfrm>
            <a:custGeom>
              <a:avLst/>
              <a:gdLst>
                <a:gd name="T0" fmla="*/ 0 w 360"/>
                <a:gd name="T1" fmla="*/ 442 h 442"/>
                <a:gd name="T2" fmla="*/ 0 w 360"/>
                <a:gd name="T3" fmla="*/ 442 h 442"/>
                <a:gd name="T4" fmla="*/ 360 w 360"/>
                <a:gd name="T5" fmla="*/ 0 h 442"/>
                <a:gd name="T6" fmla="*/ 360 w 360"/>
                <a:gd name="T7" fmla="*/ 0 h 442"/>
                <a:gd name="T8" fmla="*/ 360 w 360"/>
                <a:gd name="T9" fmla="*/ 0 h 442"/>
                <a:gd name="T10" fmla="*/ 360 w 360"/>
                <a:gd name="T11" fmla="*/ 0 h 442"/>
                <a:gd name="T12" fmla="*/ 360 w 360"/>
                <a:gd name="T13" fmla="*/ 0 h 442"/>
                <a:gd name="T14" fmla="*/ 0 w 36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442">
                  <a:moveTo>
                    <a:pt x="0" y="442"/>
                  </a:moveTo>
                  <a:lnTo>
                    <a:pt x="0" y="442"/>
                  </a:lnTo>
                  <a:lnTo>
                    <a:pt x="360" y="0"/>
                  </a:lnTo>
                  <a:lnTo>
                    <a:pt x="360" y="0"/>
                  </a:lnTo>
                  <a:lnTo>
                    <a:pt x="360" y="0"/>
                  </a:lnTo>
                  <a:lnTo>
                    <a:pt x="360" y="0"/>
                  </a:lnTo>
                  <a:lnTo>
                    <a:pt x="360" y="0"/>
                  </a:lnTo>
                  <a:lnTo>
                    <a:pt x="0" y="4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2" name="Freeform 357"/>
            <p:cNvSpPr>
              <a:spLocks noEditPoints="1"/>
            </p:cNvSpPr>
            <p:nvPr/>
          </p:nvSpPr>
          <p:spPr bwMode="auto">
            <a:xfrm>
              <a:off x="-10853738" y="4237037"/>
              <a:ext cx="944563" cy="2341563"/>
            </a:xfrm>
            <a:custGeom>
              <a:avLst/>
              <a:gdLst>
                <a:gd name="T0" fmla="*/ 1240 w 1240"/>
                <a:gd name="T1" fmla="*/ 3073 h 3073"/>
                <a:gd name="T2" fmla="*/ 0 w 1240"/>
                <a:gd name="T3" fmla="*/ 2042 h 3073"/>
                <a:gd name="T4" fmla="*/ 0 w 1240"/>
                <a:gd name="T5" fmla="*/ 2042 h 3073"/>
                <a:gd name="T6" fmla="*/ 0 w 1240"/>
                <a:gd name="T7" fmla="*/ 2042 h 3073"/>
                <a:gd name="T8" fmla="*/ 0 w 1240"/>
                <a:gd name="T9" fmla="*/ 2042 h 3073"/>
                <a:gd name="T10" fmla="*/ 1178 w 1240"/>
                <a:gd name="T11" fmla="*/ 1 h 3073"/>
                <a:gd name="T12" fmla="*/ 1240 w 1240"/>
                <a:gd name="T13" fmla="*/ 3073 h 3073"/>
                <a:gd name="T14" fmla="*/ 1178 w 1240"/>
                <a:gd name="T15" fmla="*/ 0 h 3073"/>
                <a:gd name="T16" fmla="*/ 1178 w 1240"/>
                <a:gd name="T17" fmla="*/ 0 h 3073"/>
                <a:gd name="T18" fmla="*/ 1178 w 1240"/>
                <a:gd name="T19" fmla="*/ 0 h 3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0" h="3073">
                  <a:moveTo>
                    <a:pt x="1240" y="3073"/>
                  </a:moveTo>
                  <a:lnTo>
                    <a:pt x="0" y="2042"/>
                  </a:lnTo>
                  <a:lnTo>
                    <a:pt x="0" y="2042"/>
                  </a:lnTo>
                  <a:lnTo>
                    <a:pt x="0" y="2042"/>
                  </a:lnTo>
                  <a:lnTo>
                    <a:pt x="0" y="2042"/>
                  </a:lnTo>
                  <a:lnTo>
                    <a:pt x="1178" y="1"/>
                  </a:lnTo>
                  <a:lnTo>
                    <a:pt x="1240" y="3073"/>
                  </a:lnTo>
                  <a:moveTo>
                    <a:pt x="1178" y="0"/>
                  </a:moveTo>
                  <a:lnTo>
                    <a:pt x="1178" y="0"/>
                  </a:lnTo>
                  <a:lnTo>
                    <a:pt x="1178" y="0"/>
                  </a:lnTo>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3" name="Rectangle 358"/>
            <p:cNvSpPr>
              <a:spLocks noChangeArrowheads="1"/>
            </p:cNvSpPr>
            <p:nvPr/>
          </p:nvSpPr>
          <p:spPr bwMode="auto">
            <a:xfrm>
              <a:off x="-10853738" y="5792787"/>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4" name="Freeform 359"/>
            <p:cNvSpPr>
              <a:spLocks/>
            </p:cNvSpPr>
            <p:nvPr/>
          </p:nvSpPr>
          <p:spPr bwMode="auto">
            <a:xfrm>
              <a:off x="-10853738" y="2682875"/>
              <a:ext cx="1365250" cy="1554163"/>
            </a:xfrm>
            <a:custGeom>
              <a:avLst/>
              <a:gdLst>
                <a:gd name="T0" fmla="*/ 565 w 860"/>
                <a:gd name="T1" fmla="*/ 979 h 979"/>
                <a:gd name="T2" fmla="*/ 565 w 860"/>
                <a:gd name="T3" fmla="*/ 979 h 979"/>
                <a:gd name="T4" fmla="*/ 0 w 860"/>
                <a:gd name="T5" fmla="*/ 0 h 979"/>
                <a:gd name="T6" fmla="*/ 0 w 860"/>
                <a:gd name="T7" fmla="*/ 0 h 979"/>
                <a:gd name="T8" fmla="*/ 860 w 860"/>
                <a:gd name="T9" fmla="*/ 333 h 979"/>
                <a:gd name="T10" fmla="*/ 565 w 860"/>
                <a:gd name="T11" fmla="*/ 979 h 979"/>
              </a:gdLst>
              <a:ahLst/>
              <a:cxnLst>
                <a:cxn ang="0">
                  <a:pos x="T0" y="T1"/>
                </a:cxn>
                <a:cxn ang="0">
                  <a:pos x="T2" y="T3"/>
                </a:cxn>
                <a:cxn ang="0">
                  <a:pos x="T4" y="T5"/>
                </a:cxn>
                <a:cxn ang="0">
                  <a:pos x="T6" y="T7"/>
                </a:cxn>
                <a:cxn ang="0">
                  <a:pos x="T8" y="T9"/>
                </a:cxn>
                <a:cxn ang="0">
                  <a:pos x="T10" y="T11"/>
                </a:cxn>
              </a:cxnLst>
              <a:rect l="0" t="0" r="r" b="b"/>
              <a:pathLst>
                <a:path w="860" h="979">
                  <a:moveTo>
                    <a:pt x="565" y="979"/>
                  </a:moveTo>
                  <a:lnTo>
                    <a:pt x="565" y="979"/>
                  </a:lnTo>
                  <a:lnTo>
                    <a:pt x="0" y="0"/>
                  </a:lnTo>
                  <a:lnTo>
                    <a:pt x="0" y="0"/>
                  </a:lnTo>
                  <a:lnTo>
                    <a:pt x="860" y="333"/>
                  </a:lnTo>
                  <a:lnTo>
                    <a:pt x="565"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5" name="Freeform 360"/>
            <p:cNvSpPr>
              <a:spLocks/>
            </p:cNvSpPr>
            <p:nvPr/>
          </p:nvSpPr>
          <p:spPr bwMode="auto">
            <a:xfrm>
              <a:off x="-9956800" y="4237037"/>
              <a:ext cx="1797050" cy="2341563"/>
            </a:xfrm>
            <a:custGeom>
              <a:avLst/>
              <a:gdLst>
                <a:gd name="T0" fmla="*/ 30 w 1132"/>
                <a:gd name="T1" fmla="*/ 1475 h 1475"/>
                <a:gd name="T2" fmla="*/ 0 w 1132"/>
                <a:gd name="T3" fmla="*/ 1 h 1475"/>
                <a:gd name="T4" fmla="*/ 0 w 1132"/>
                <a:gd name="T5" fmla="*/ 0 h 1475"/>
                <a:gd name="T6" fmla="*/ 0 w 1132"/>
                <a:gd name="T7" fmla="*/ 0 h 1475"/>
                <a:gd name="T8" fmla="*/ 0 w 1132"/>
                <a:gd name="T9" fmla="*/ 0 h 1475"/>
                <a:gd name="T10" fmla="*/ 1132 w 1132"/>
                <a:gd name="T11" fmla="*/ 0 h 1475"/>
                <a:gd name="T12" fmla="*/ 1132 w 1132"/>
                <a:gd name="T13" fmla="*/ 1 h 1475"/>
                <a:gd name="T14" fmla="*/ 30 w 1132"/>
                <a:gd name="T15" fmla="*/ 1475 h 14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1475">
                  <a:moveTo>
                    <a:pt x="30" y="1475"/>
                  </a:moveTo>
                  <a:lnTo>
                    <a:pt x="0" y="1"/>
                  </a:lnTo>
                  <a:lnTo>
                    <a:pt x="0" y="0"/>
                  </a:lnTo>
                  <a:lnTo>
                    <a:pt x="0" y="0"/>
                  </a:lnTo>
                  <a:lnTo>
                    <a:pt x="0" y="0"/>
                  </a:lnTo>
                  <a:lnTo>
                    <a:pt x="1132" y="0"/>
                  </a:lnTo>
                  <a:lnTo>
                    <a:pt x="1132" y="1"/>
                  </a:lnTo>
                  <a:lnTo>
                    <a:pt x="30" y="147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6" name="Freeform 361"/>
            <p:cNvSpPr>
              <a:spLocks noEditPoints="1"/>
            </p:cNvSpPr>
            <p:nvPr/>
          </p:nvSpPr>
          <p:spPr bwMode="auto">
            <a:xfrm>
              <a:off x="-12179300" y="2682875"/>
              <a:ext cx="2222500" cy="1914525"/>
            </a:xfrm>
            <a:custGeom>
              <a:avLst/>
              <a:gdLst>
                <a:gd name="T0" fmla="*/ 0 w 2916"/>
                <a:gd name="T1" fmla="*/ 2514 h 2514"/>
                <a:gd name="T2" fmla="*/ 956 w 2916"/>
                <a:gd name="T3" fmla="*/ 1131 h 2514"/>
                <a:gd name="T4" fmla="*/ 1738 w 2916"/>
                <a:gd name="T5" fmla="*/ 0 h 2514"/>
                <a:gd name="T6" fmla="*/ 2916 w 2916"/>
                <a:gd name="T7" fmla="*/ 2041 h 2514"/>
                <a:gd name="T8" fmla="*/ 0 w 2916"/>
                <a:gd name="T9" fmla="*/ 2514 h 2514"/>
                <a:gd name="T10" fmla="*/ 1738 w 2916"/>
                <a:gd name="T11" fmla="*/ 0 h 2514"/>
                <a:gd name="T12" fmla="*/ 1738 w 2916"/>
                <a:gd name="T13" fmla="*/ 0 h 2514"/>
              </a:gdLst>
              <a:ahLst/>
              <a:cxnLst>
                <a:cxn ang="0">
                  <a:pos x="T0" y="T1"/>
                </a:cxn>
                <a:cxn ang="0">
                  <a:pos x="T2" y="T3"/>
                </a:cxn>
                <a:cxn ang="0">
                  <a:pos x="T4" y="T5"/>
                </a:cxn>
                <a:cxn ang="0">
                  <a:pos x="T6" y="T7"/>
                </a:cxn>
                <a:cxn ang="0">
                  <a:pos x="T8" y="T9"/>
                </a:cxn>
                <a:cxn ang="0">
                  <a:pos x="T10" y="T11"/>
                </a:cxn>
                <a:cxn ang="0">
                  <a:pos x="T12" y="T13"/>
                </a:cxn>
              </a:cxnLst>
              <a:rect l="0" t="0" r="r" b="b"/>
              <a:pathLst>
                <a:path w="2916" h="2514">
                  <a:moveTo>
                    <a:pt x="0" y="2514"/>
                  </a:moveTo>
                  <a:lnTo>
                    <a:pt x="956" y="1131"/>
                  </a:lnTo>
                  <a:lnTo>
                    <a:pt x="1738" y="0"/>
                  </a:lnTo>
                  <a:lnTo>
                    <a:pt x="2916" y="2041"/>
                  </a:lnTo>
                  <a:lnTo>
                    <a:pt x="0" y="2514"/>
                  </a:lnTo>
                  <a:moveTo>
                    <a:pt x="1738" y="0"/>
                  </a:moveTo>
                  <a:lnTo>
                    <a:pt x="1738"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7" name="Freeform 362"/>
            <p:cNvSpPr>
              <a:spLocks/>
            </p:cNvSpPr>
            <p:nvPr/>
          </p:nvSpPr>
          <p:spPr bwMode="auto">
            <a:xfrm>
              <a:off x="-9956800" y="3211512"/>
              <a:ext cx="1797050" cy="1025525"/>
            </a:xfrm>
            <a:custGeom>
              <a:avLst/>
              <a:gdLst>
                <a:gd name="T0" fmla="*/ 2358 w 2358"/>
                <a:gd name="T1" fmla="*/ 1346 h 1346"/>
                <a:gd name="T2" fmla="*/ 0 w 2358"/>
                <a:gd name="T3" fmla="*/ 1346 h 1346"/>
                <a:gd name="T4" fmla="*/ 614 w 2358"/>
                <a:gd name="T5" fmla="*/ 0 h 1346"/>
                <a:gd name="T6" fmla="*/ 2358 w 2358"/>
                <a:gd name="T7" fmla="*/ 1346 h 1346"/>
                <a:gd name="T8" fmla="*/ 2357 w 2358"/>
                <a:gd name="T9" fmla="*/ 1346 h 1346"/>
                <a:gd name="T10" fmla="*/ 2358 w 2358"/>
                <a:gd name="T11" fmla="*/ 1346 h 1346"/>
                <a:gd name="T12" fmla="*/ 2358 w 2358"/>
                <a:gd name="T13" fmla="*/ 1346 h 1346"/>
                <a:gd name="T14" fmla="*/ 2357 w 2358"/>
                <a:gd name="T15" fmla="*/ 1346 h 13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8" h="1346">
                  <a:moveTo>
                    <a:pt x="2358" y="1346"/>
                  </a:moveTo>
                  <a:lnTo>
                    <a:pt x="0" y="1346"/>
                  </a:lnTo>
                  <a:lnTo>
                    <a:pt x="614" y="0"/>
                  </a:lnTo>
                  <a:lnTo>
                    <a:pt x="2358" y="1346"/>
                  </a:lnTo>
                  <a:lnTo>
                    <a:pt x="2357" y="1346"/>
                  </a:lnTo>
                  <a:lnTo>
                    <a:pt x="2358" y="1346"/>
                  </a:lnTo>
                  <a:lnTo>
                    <a:pt x="2358" y="1346"/>
                  </a:lnTo>
                  <a:lnTo>
                    <a:pt x="2357" y="1346"/>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8" name="Freeform 363"/>
            <p:cNvSpPr>
              <a:spLocks noEditPoints="1"/>
            </p:cNvSpPr>
            <p:nvPr/>
          </p:nvSpPr>
          <p:spPr bwMode="auto">
            <a:xfrm>
              <a:off x="-12179300" y="4237037"/>
              <a:ext cx="2222500" cy="1555750"/>
            </a:xfrm>
            <a:custGeom>
              <a:avLst/>
              <a:gdLst>
                <a:gd name="T0" fmla="*/ 1738 w 2916"/>
                <a:gd name="T1" fmla="*/ 2042 h 2042"/>
                <a:gd name="T2" fmla="*/ 0 w 2916"/>
                <a:gd name="T3" fmla="*/ 473 h 2042"/>
                <a:gd name="T4" fmla="*/ 2916 w 2916"/>
                <a:gd name="T5" fmla="*/ 0 h 2042"/>
                <a:gd name="T6" fmla="*/ 1738 w 2916"/>
                <a:gd name="T7" fmla="*/ 2042 h 2042"/>
                <a:gd name="T8" fmla="*/ 2916 w 2916"/>
                <a:gd name="T9" fmla="*/ 1 h 2042"/>
                <a:gd name="T10" fmla="*/ 2916 w 2916"/>
                <a:gd name="T11" fmla="*/ 0 h 2042"/>
                <a:gd name="T12" fmla="*/ 2916 w 2916"/>
                <a:gd name="T13" fmla="*/ 1 h 2042"/>
              </a:gdLst>
              <a:ahLst/>
              <a:cxnLst>
                <a:cxn ang="0">
                  <a:pos x="T0" y="T1"/>
                </a:cxn>
                <a:cxn ang="0">
                  <a:pos x="T2" y="T3"/>
                </a:cxn>
                <a:cxn ang="0">
                  <a:pos x="T4" y="T5"/>
                </a:cxn>
                <a:cxn ang="0">
                  <a:pos x="T6" y="T7"/>
                </a:cxn>
                <a:cxn ang="0">
                  <a:pos x="T8" y="T9"/>
                </a:cxn>
                <a:cxn ang="0">
                  <a:pos x="T10" y="T11"/>
                </a:cxn>
                <a:cxn ang="0">
                  <a:pos x="T12" y="T13"/>
                </a:cxn>
              </a:cxnLst>
              <a:rect l="0" t="0" r="r" b="b"/>
              <a:pathLst>
                <a:path w="2916" h="2042">
                  <a:moveTo>
                    <a:pt x="1738" y="2042"/>
                  </a:moveTo>
                  <a:lnTo>
                    <a:pt x="0" y="473"/>
                  </a:lnTo>
                  <a:lnTo>
                    <a:pt x="2916" y="0"/>
                  </a:lnTo>
                  <a:lnTo>
                    <a:pt x="1738" y="2042"/>
                  </a:lnTo>
                  <a:moveTo>
                    <a:pt x="2916" y="1"/>
                  </a:moveTo>
                  <a:lnTo>
                    <a:pt x="2916" y="0"/>
                  </a:lnTo>
                  <a:lnTo>
                    <a:pt x="2916" y="1"/>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9" name="Freeform 364"/>
            <p:cNvSpPr>
              <a:spLocks/>
            </p:cNvSpPr>
            <p:nvPr/>
          </p:nvSpPr>
          <p:spPr bwMode="auto">
            <a:xfrm>
              <a:off x="-10853738" y="4237037"/>
              <a:ext cx="896938" cy="1555750"/>
            </a:xfrm>
            <a:custGeom>
              <a:avLst/>
              <a:gdLst>
                <a:gd name="T0" fmla="*/ 0 w 565"/>
                <a:gd name="T1" fmla="*/ 980 h 980"/>
                <a:gd name="T2" fmla="*/ 0 w 565"/>
                <a:gd name="T3" fmla="*/ 980 h 980"/>
                <a:gd name="T4" fmla="*/ 565 w 565"/>
                <a:gd name="T5" fmla="*/ 0 h 980"/>
                <a:gd name="T6" fmla="*/ 565 w 565"/>
                <a:gd name="T7" fmla="*/ 1 h 980"/>
                <a:gd name="T8" fmla="*/ 0 w 565"/>
                <a:gd name="T9" fmla="*/ 980 h 980"/>
              </a:gdLst>
              <a:ahLst/>
              <a:cxnLst>
                <a:cxn ang="0">
                  <a:pos x="T0" y="T1"/>
                </a:cxn>
                <a:cxn ang="0">
                  <a:pos x="T2" y="T3"/>
                </a:cxn>
                <a:cxn ang="0">
                  <a:pos x="T4" y="T5"/>
                </a:cxn>
                <a:cxn ang="0">
                  <a:pos x="T6" y="T7"/>
                </a:cxn>
                <a:cxn ang="0">
                  <a:pos x="T8" y="T9"/>
                </a:cxn>
              </a:cxnLst>
              <a:rect l="0" t="0" r="r" b="b"/>
              <a:pathLst>
                <a:path w="565" h="980">
                  <a:moveTo>
                    <a:pt x="0" y="980"/>
                  </a:moveTo>
                  <a:lnTo>
                    <a:pt x="0" y="980"/>
                  </a:lnTo>
                  <a:lnTo>
                    <a:pt x="565" y="0"/>
                  </a:lnTo>
                  <a:lnTo>
                    <a:pt x="565" y="1"/>
                  </a:lnTo>
                  <a:lnTo>
                    <a:pt x="0" y="980"/>
                  </a:lnTo>
                  <a:close/>
                </a:path>
              </a:pathLst>
            </a:custGeom>
            <a:solidFill>
              <a:srgbClr val="599FB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0" name="Rectangle 365"/>
            <p:cNvSpPr>
              <a:spLocks noChangeArrowheads="1"/>
            </p:cNvSpPr>
            <p:nvPr/>
          </p:nvSpPr>
          <p:spPr bwMode="auto">
            <a:xfrm>
              <a:off x="-9956800" y="4237037"/>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1" name="Freeform 366"/>
            <p:cNvSpPr>
              <a:spLocks/>
            </p:cNvSpPr>
            <p:nvPr/>
          </p:nvSpPr>
          <p:spPr bwMode="auto">
            <a:xfrm>
              <a:off x="-12625388" y="7327900"/>
              <a:ext cx="366713" cy="331788"/>
            </a:xfrm>
            <a:custGeom>
              <a:avLst/>
              <a:gdLst>
                <a:gd name="T0" fmla="*/ 231 w 231"/>
                <a:gd name="T1" fmla="*/ 209 h 209"/>
                <a:gd name="T2" fmla="*/ 0 w 231"/>
                <a:gd name="T3" fmla="*/ 209 h 209"/>
                <a:gd name="T4" fmla="*/ 0 w 231"/>
                <a:gd name="T5" fmla="*/ 48 h 209"/>
                <a:gd name="T6" fmla="*/ 178 w 231"/>
                <a:gd name="T7" fmla="*/ 0 h 209"/>
                <a:gd name="T8" fmla="*/ 231 w 231"/>
                <a:gd name="T9" fmla="*/ 209 h 209"/>
              </a:gdLst>
              <a:ahLst/>
              <a:cxnLst>
                <a:cxn ang="0">
                  <a:pos x="T0" y="T1"/>
                </a:cxn>
                <a:cxn ang="0">
                  <a:pos x="T2" y="T3"/>
                </a:cxn>
                <a:cxn ang="0">
                  <a:pos x="T4" y="T5"/>
                </a:cxn>
                <a:cxn ang="0">
                  <a:pos x="T6" y="T7"/>
                </a:cxn>
                <a:cxn ang="0">
                  <a:pos x="T8" y="T9"/>
                </a:cxn>
              </a:cxnLst>
              <a:rect l="0" t="0" r="r" b="b"/>
              <a:pathLst>
                <a:path w="231" h="209">
                  <a:moveTo>
                    <a:pt x="231" y="209"/>
                  </a:moveTo>
                  <a:lnTo>
                    <a:pt x="0" y="209"/>
                  </a:lnTo>
                  <a:lnTo>
                    <a:pt x="0" y="48"/>
                  </a:lnTo>
                  <a:lnTo>
                    <a:pt x="178" y="0"/>
                  </a:lnTo>
                  <a:lnTo>
                    <a:pt x="231" y="20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2" name="Freeform 367"/>
            <p:cNvSpPr>
              <a:spLocks/>
            </p:cNvSpPr>
            <p:nvPr/>
          </p:nvSpPr>
          <p:spPr bwMode="auto">
            <a:xfrm>
              <a:off x="-12341225" y="7327900"/>
              <a:ext cx="534988" cy="331788"/>
            </a:xfrm>
            <a:custGeom>
              <a:avLst/>
              <a:gdLst>
                <a:gd name="T0" fmla="*/ 337 w 337"/>
                <a:gd name="T1" fmla="*/ 209 h 209"/>
                <a:gd name="T2" fmla="*/ 52 w 337"/>
                <a:gd name="T3" fmla="*/ 209 h 209"/>
                <a:gd name="T4" fmla="*/ 0 w 337"/>
                <a:gd name="T5" fmla="*/ 0 h 209"/>
                <a:gd name="T6" fmla="*/ 205 w 337"/>
                <a:gd name="T7" fmla="*/ 127 h 209"/>
                <a:gd name="T8" fmla="*/ 337 w 337"/>
                <a:gd name="T9" fmla="*/ 209 h 209"/>
              </a:gdLst>
              <a:ahLst/>
              <a:cxnLst>
                <a:cxn ang="0">
                  <a:pos x="T0" y="T1"/>
                </a:cxn>
                <a:cxn ang="0">
                  <a:pos x="T2" y="T3"/>
                </a:cxn>
                <a:cxn ang="0">
                  <a:pos x="T4" y="T5"/>
                </a:cxn>
                <a:cxn ang="0">
                  <a:pos x="T6" y="T7"/>
                </a:cxn>
                <a:cxn ang="0">
                  <a:pos x="T8" y="T9"/>
                </a:cxn>
              </a:cxnLst>
              <a:rect l="0" t="0" r="r" b="b"/>
              <a:pathLst>
                <a:path w="337" h="209">
                  <a:moveTo>
                    <a:pt x="337" y="209"/>
                  </a:moveTo>
                  <a:lnTo>
                    <a:pt x="52" y="209"/>
                  </a:lnTo>
                  <a:lnTo>
                    <a:pt x="0" y="0"/>
                  </a:lnTo>
                  <a:lnTo>
                    <a:pt x="205" y="127"/>
                  </a:lnTo>
                  <a:lnTo>
                    <a:pt x="337" y="20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3" name="Freeform 368"/>
            <p:cNvSpPr>
              <a:spLocks/>
            </p:cNvSpPr>
            <p:nvPr/>
          </p:nvSpPr>
          <p:spPr bwMode="auto">
            <a:xfrm>
              <a:off x="-10125075" y="7350125"/>
              <a:ext cx="347663" cy="309563"/>
            </a:xfrm>
            <a:custGeom>
              <a:avLst/>
              <a:gdLst>
                <a:gd name="T0" fmla="*/ 219 w 219"/>
                <a:gd name="T1" fmla="*/ 195 h 195"/>
                <a:gd name="T2" fmla="*/ 0 w 219"/>
                <a:gd name="T3" fmla="*/ 195 h 195"/>
                <a:gd name="T4" fmla="*/ 106 w 219"/>
                <a:gd name="T5" fmla="*/ 0 h 195"/>
                <a:gd name="T6" fmla="*/ 219 w 219"/>
                <a:gd name="T7" fmla="*/ 195 h 195"/>
              </a:gdLst>
              <a:ahLst/>
              <a:cxnLst>
                <a:cxn ang="0">
                  <a:pos x="T0" y="T1"/>
                </a:cxn>
                <a:cxn ang="0">
                  <a:pos x="T2" y="T3"/>
                </a:cxn>
                <a:cxn ang="0">
                  <a:pos x="T4" y="T5"/>
                </a:cxn>
                <a:cxn ang="0">
                  <a:pos x="T6" y="T7"/>
                </a:cxn>
              </a:cxnLst>
              <a:rect l="0" t="0" r="r" b="b"/>
              <a:pathLst>
                <a:path w="219" h="195">
                  <a:moveTo>
                    <a:pt x="219" y="195"/>
                  </a:moveTo>
                  <a:lnTo>
                    <a:pt x="0" y="195"/>
                  </a:lnTo>
                  <a:lnTo>
                    <a:pt x="106" y="0"/>
                  </a:lnTo>
                  <a:lnTo>
                    <a:pt x="219"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4" name="Freeform 369"/>
            <p:cNvSpPr>
              <a:spLocks/>
            </p:cNvSpPr>
            <p:nvPr/>
          </p:nvSpPr>
          <p:spPr bwMode="auto">
            <a:xfrm>
              <a:off x="-10853738" y="5792787"/>
              <a:ext cx="944563" cy="1557338"/>
            </a:xfrm>
            <a:custGeom>
              <a:avLst/>
              <a:gdLst>
                <a:gd name="T0" fmla="*/ 565 w 595"/>
                <a:gd name="T1" fmla="*/ 981 h 981"/>
                <a:gd name="T2" fmla="*/ 565 w 595"/>
                <a:gd name="T3" fmla="*/ 981 h 981"/>
                <a:gd name="T4" fmla="*/ 0 w 595"/>
                <a:gd name="T5" fmla="*/ 0 h 981"/>
                <a:gd name="T6" fmla="*/ 0 w 595"/>
                <a:gd name="T7" fmla="*/ 0 h 981"/>
                <a:gd name="T8" fmla="*/ 595 w 595"/>
                <a:gd name="T9" fmla="*/ 495 h 981"/>
                <a:gd name="T10" fmla="*/ 565 w 595"/>
                <a:gd name="T11" fmla="*/ 981 h 981"/>
              </a:gdLst>
              <a:ahLst/>
              <a:cxnLst>
                <a:cxn ang="0">
                  <a:pos x="T0" y="T1"/>
                </a:cxn>
                <a:cxn ang="0">
                  <a:pos x="T2" y="T3"/>
                </a:cxn>
                <a:cxn ang="0">
                  <a:pos x="T4" y="T5"/>
                </a:cxn>
                <a:cxn ang="0">
                  <a:pos x="T6" y="T7"/>
                </a:cxn>
                <a:cxn ang="0">
                  <a:pos x="T8" y="T9"/>
                </a:cxn>
                <a:cxn ang="0">
                  <a:pos x="T10" y="T11"/>
                </a:cxn>
              </a:cxnLst>
              <a:rect l="0" t="0" r="r" b="b"/>
              <a:pathLst>
                <a:path w="595" h="981">
                  <a:moveTo>
                    <a:pt x="565" y="981"/>
                  </a:moveTo>
                  <a:lnTo>
                    <a:pt x="565" y="981"/>
                  </a:lnTo>
                  <a:lnTo>
                    <a:pt x="0" y="0"/>
                  </a:lnTo>
                  <a:lnTo>
                    <a:pt x="0" y="0"/>
                  </a:lnTo>
                  <a:lnTo>
                    <a:pt x="595" y="495"/>
                  </a:lnTo>
                  <a:lnTo>
                    <a:pt x="565"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5" name="Freeform 370"/>
            <p:cNvSpPr>
              <a:spLocks/>
            </p:cNvSpPr>
            <p:nvPr/>
          </p:nvSpPr>
          <p:spPr bwMode="auto">
            <a:xfrm>
              <a:off x="-9956800" y="7350125"/>
              <a:ext cx="608013" cy="309563"/>
            </a:xfrm>
            <a:custGeom>
              <a:avLst/>
              <a:gdLst>
                <a:gd name="T0" fmla="*/ 383 w 383"/>
                <a:gd name="T1" fmla="*/ 195 h 195"/>
                <a:gd name="T2" fmla="*/ 113 w 383"/>
                <a:gd name="T3" fmla="*/ 195 h 195"/>
                <a:gd name="T4" fmla="*/ 0 w 383"/>
                <a:gd name="T5" fmla="*/ 0 h 195"/>
                <a:gd name="T6" fmla="*/ 0 w 383"/>
                <a:gd name="T7" fmla="*/ 0 h 195"/>
                <a:gd name="T8" fmla="*/ 383 w 383"/>
                <a:gd name="T9" fmla="*/ 195 h 195"/>
              </a:gdLst>
              <a:ahLst/>
              <a:cxnLst>
                <a:cxn ang="0">
                  <a:pos x="T0" y="T1"/>
                </a:cxn>
                <a:cxn ang="0">
                  <a:pos x="T2" y="T3"/>
                </a:cxn>
                <a:cxn ang="0">
                  <a:pos x="T4" y="T5"/>
                </a:cxn>
                <a:cxn ang="0">
                  <a:pos x="T6" y="T7"/>
                </a:cxn>
                <a:cxn ang="0">
                  <a:pos x="T8" y="T9"/>
                </a:cxn>
              </a:cxnLst>
              <a:rect l="0" t="0" r="r" b="b"/>
              <a:pathLst>
                <a:path w="383" h="195">
                  <a:moveTo>
                    <a:pt x="383" y="195"/>
                  </a:moveTo>
                  <a:lnTo>
                    <a:pt x="113" y="195"/>
                  </a:lnTo>
                  <a:lnTo>
                    <a:pt x="0" y="0"/>
                  </a:lnTo>
                  <a:lnTo>
                    <a:pt x="0" y="0"/>
                  </a:lnTo>
                  <a:lnTo>
                    <a:pt x="383"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6" name="Freeform 371"/>
            <p:cNvSpPr>
              <a:spLocks/>
            </p:cNvSpPr>
            <p:nvPr/>
          </p:nvSpPr>
          <p:spPr bwMode="auto">
            <a:xfrm>
              <a:off x="-12341225" y="5792787"/>
              <a:ext cx="2384425" cy="1557338"/>
            </a:xfrm>
            <a:custGeom>
              <a:avLst/>
              <a:gdLst>
                <a:gd name="T0" fmla="*/ 1502 w 1502"/>
                <a:gd name="T1" fmla="*/ 981 h 981"/>
                <a:gd name="T2" fmla="*/ 0 w 1502"/>
                <a:gd name="T3" fmla="*/ 967 h 981"/>
                <a:gd name="T4" fmla="*/ 0 w 1502"/>
                <a:gd name="T5" fmla="*/ 967 h 981"/>
                <a:gd name="T6" fmla="*/ 0 w 1502"/>
                <a:gd name="T7" fmla="*/ 967 h 981"/>
                <a:gd name="T8" fmla="*/ 374 w 1502"/>
                <a:gd name="T9" fmla="*/ 580 h 981"/>
                <a:gd name="T10" fmla="*/ 937 w 1502"/>
                <a:gd name="T11" fmla="*/ 0 h 981"/>
                <a:gd name="T12" fmla="*/ 1502 w 1502"/>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502" h="981">
                  <a:moveTo>
                    <a:pt x="1502" y="981"/>
                  </a:moveTo>
                  <a:lnTo>
                    <a:pt x="0" y="967"/>
                  </a:lnTo>
                  <a:lnTo>
                    <a:pt x="0" y="967"/>
                  </a:lnTo>
                  <a:lnTo>
                    <a:pt x="0" y="967"/>
                  </a:lnTo>
                  <a:lnTo>
                    <a:pt x="374" y="580"/>
                  </a:lnTo>
                  <a:lnTo>
                    <a:pt x="937" y="0"/>
                  </a:lnTo>
                  <a:lnTo>
                    <a:pt x="1502" y="981"/>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7" name="Freeform 372"/>
            <p:cNvSpPr>
              <a:spLocks/>
            </p:cNvSpPr>
            <p:nvPr/>
          </p:nvSpPr>
          <p:spPr bwMode="auto">
            <a:xfrm>
              <a:off x="-9956800" y="6578600"/>
              <a:ext cx="1098550" cy="1081088"/>
            </a:xfrm>
            <a:custGeom>
              <a:avLst/>
              <a:gdLst>
                <a:gd name="T0" fmla="*/ 692 w 692"/>
                <a:gd name="T1" fmla="*/ 681 h 681"/>
                <a:gd name="T2" fmla="*/ 383 w 692"/>
                <a:gd name="T3" fmla="*/ 681 h 681"/>
                <a:gd name="T4" fmla="*/ 0 w 692"/>
                <a:gd name="T5" fmla="*/ 486 h 681"/>
                <a:gd name="T6" fmla="*/ 30 w 692"/>
                <a:gd name="T7" fmla="*/ 0 h 681"/>
                <a:gd name="T8" fmla="*/ 692 w 692"/>
                <a:gd name="T9" fmla="*/ 681 h 681"/>
              </a:gdLst>
              <a:ahLst/>
              <a:cxnLst>
                <a:cxn ang="0">
                  <a:pos x="T0" y="T1"/>
                </a:cxn>
                <a:cxn ang="0">
                  <a:pos x="T2" y="T3"/>
                </a:cxn>
                <a:cxn ang="0">
                  <a:pos x="T4" y="T5"/>
                </a:cxn>
                <a:cxn ang="0">
                  <a:pos x="T6" y="T7"/>
                </a:cxn>
                <a:cxn ang="0">
                  <a:pos x="T8" y="T9"/>
                </a:cxn>
              </a:cxnLst>
              <a:rect l="0" t="0" r="r" b="b"/>
              <a:pathLst>
                <a:path w="692" h="681">
                  <a:moveTo>
                    <a:pt x="692" y="681"/>
                  </a:moveTo>
                  <a:lnTo>
                    <a:pt x="383" y="681"/>
                  </a:lnTo>
                  <a:lnTo>
                    <a:pt x="0" y="486"/>
                  </a:lnTo>
                  <a:lnTo>
                    <a:pt x="30" y="0"/>
                  </a:lnTo>
                  <a:lnTo>
                    <a:pt x="692" y="68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8" name="Freeform 373"/>
            <p:cNvSpPr>
              <a:spLocks noEditPoints="1"/>
            </p:cNvSpPr>
            <p:nvPr/>
          </p:nvSpPr>
          <p:spPr bwMode="auto">
            <a:xfrm>
              <a:off x="-12341225" y="7327900"/>
              <a:ext cx="2384425" cy="331788"/>
            </a:xfrm>
            <a:custGeom>
              <a:avLst/>
              <a:gdLst>
                <a:gd name="T0" fmla="*/ 2910 w 3130"/>
                <a:gd name="T1" fmla="*/ 436 h 436"/>
                <a:gd name="T2" fmla="*/ 702 w 3130"/>
                <a:gd name="T3" fmla="*/ 436 h 436"/>
                <a:gd name="T4" fmla="*/ 428 w 3130"/>
                <a:gd name="T5" fmla="*/ 265 h 436"/>
                <a:gd name="T6" fmla="*/ 0 w 3130"/>
                <a:gd name="T7" fmla="*/ 0 h 436"/>
                <a:gd name="T8" fmla="*/ 3130 w 3130"/>
                <a:gd name="T9" fmla="*/ 29 h 436"/>
                <a:gd name="T10" fmla="*/ 2910 w 3130"/>
                <a:gd name="T11" fmla="*/ 436 h 436"/>
                <a:gd name="T12" fmla="*/ 3130 w 3130"/>
                <a:gd name="T13" fmla="*/ 29 h 436"/>
                <a:gd name="T14" fmla="*/ 3130 w 3130"/>
                <a:gd name="T15" fmla="*/ 29 h 436"/>
                <a:gd name="T16" fmla="*/ 3130 w 3130"/>
                <a:gd name="T17" fmla="*/ 29 h 436"/>
                <a:gd name="T18" fmla="*/ 3130 w 3130"/>
                <a:gd name="T19" fmla="*/ 29 h 436"/>
                <a:gd name="T20" fmla="*/ 3130 w 3130"/>
                <a:gd name="T21" fmla="*/ 29 h 436"/>
                <a:gd name="T22" fmla="*/ 3130 w 3130"/>
                <a:gd name="T23" fmla="*/ 29 h 436"/>
                <a:gd name="T24" fmla="*/ 0 w 3130"/>
                <a:gd name="T25" fmla="*/ 0 h 436"/>
                <a:gd name="T26" fmla="*/ 0 w 3130"/>
                <a:gd name="T27" fmla="*/ 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30" h="436">
                  <a:moveTo>
                    <a:pt x="2910" y="436"/>
                  </a:moveTo>
                  <a:lnTo>
                    <a:pt x="702" y="436"/>
                  </a:lnTo>
                  <a:lnTo>
                    <a:pt x="428" y="265"/>
                  </a:lnTo>
                  <a:lnTo>
                    <a:pt x="0" y="0"/>
                  </a:lnTo>
                  <a:lnTo>
                    <a:pt x="3130" y="29"/>
                  </a:lnTo>
                  <a:lnTo>
                    <a:pt x="2910" y="436"/>
                  </a:lnTo>
                  <a:moveTo>
                    <a:pt x="3130" y="29"/>
                  </a:moveTo>
                  <a:lnTo>
                    <a:pt x="3130" y="29"/>
                  </a:lnTo>
                  <a:lnTo>
                    <a:pt x="3130" y="29"/>
                  </a:lnTo>
                  <a:lnTo>
                    <a:pt x="3130" y="29"/>
                  </a:lnTo>
                  <a:lnTo>
                    <a:pt x="3130" y="29"/>
                  </a:lnTo>
                  <a:lnTo>
                    <a:pt x="3130" y="29"/>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9" name="Freeform 374"/>
            <p:cNvSpPr>
              <a:spLocks/>
            </p:cNvSpPr>
            <p:nvPr/>
          </p:nvSpPr>
          <p:spPr bwMode="auto">
            <a:xfrm>
              <a:off x="-10125075" y="7350125"/>
              <a:ext cx="168275" cy="309563"/>
            </a:xfrm>
            <a:custGeom>
              <a:avLst/>
              <a:gdLst>
                <a:gd name="T0" fmla="*/ 0 w 106"/>
                <a:gd name="T1" fmla="*/ 195 h 195"/>
                <a:gd name="T2" fmla="*/ 0 w 106"/>
                <a:gd name="T3" fmla="*/ 195 h 195"/>
                <a:gd name="T4" fmla="*/ 106 w 106"/>
                <a:gd name="T5" fmla="*/ 0 h 195"/>
                <a:gd name="T6" fmla="*/ 106 w 106"/>
                <a:gd name="T7" fmla="*/ 0 h 195"/>
                <a:gd name="T8" fmla="*/ 0 w 106"/>
                <a:gd name="T9" fmla="*/ 195 h 195"/>
              </a:gdLst>
              <a:ahLst/>
              <a:cxnLst>
                <a:cxn ang="0">
                  <a:pos x="T0" y="T1"/>
                </a:cxn>
                <a:cxn ang="0">
                  <a:pos x="T2" y="T3"/>
                </a:cxn>
                <a:cxn ang="0">
                  <a:pos x="T4" y="T5"/>
                </a:cxn>
                <a:cxn ang="0">
                  <a:pos x="T6" y="T7"/>
                </a:cxn>
                <a:cxn ang="0">
                  <a:pos x="T8" y="T9"/>
                </a:cxn>
              </a:cxnLst>
              <a:rect l="0" t="0" r="r" b="b"/>
              <a:pathLst>
                <a:path w="106" h="195">
                  <a:moveTo>
                    <a:pt x="0" y="195"/>
                  </a:moveTo>
                  <a:lnTo>
                    <a:pt x="0" y="195"/>
                  </a:lnTo>
                  <a:lnTo>
                    <a:pt x="106" y="0"/>
                  </a:lnTo>
                  <a:lnTo>
                    <a:pt x="106" y="0"/>
                  </a:lnTo>
                  <a:lnTo>
                    <a:pt x="0"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0" name="Rectangle 375"/>
            <p:cNvSpPr>
              <a:spLocks noChangeArrowheads="1"/>
            </p:cNvSpPr>
            <p:nvPr/>
          </p:nvSpPr>
          <p:spPr bwMode="auto">
            <a:xfrm>
              <a:off x="-9956800" y="7350125"/>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1" name="Freeform 376"/>
            <p:cNvSpPr>
              <a:spLocks noEditPoints="1"/>
            </p:cNvSpPr>
            <p:nvPr/>
          </p:nvSpPr>
          <p:spPr bwMode="auto">
            <a:xfrm>
              <a:off x="-12341225" y="7327900"/>
              <a:ext cx="2384425" cy="22225"/>
            </a:xfrm>
            <a:custGeom>
              <a:avLst/>
              <a:gdLst>
                <a:gd name="T0" fmla="*/ 3130 w 3130"/>
                <a:gd name="T1" fmla="*/ 29 h 29"/>
                <a:gd name="T2" fmla="*/ 0 w 3130"/>
                <a:gd name="T3" fmla="*/ 0 h 29"/>
                <a:gd name="T4" fmla="*/ 0 w 3130"/>
                <a:gd name="T5" fmla="*/ 0 h 29"/>
                <a:gd name="T6" fmla="*/ 3130 w 3130"/>
                <a:gd name="T7" fmla="*/ 29 h 29"/>
                <a:gd name="T8" fmla="*/ 3130 w 3130"/>
                <a:gd name="T9" fmla="*/ 29 h 29"/>
                <a:gd name="T10" fmla="*/ 0 w 3130"/>
                <a:gd name="T11" fmla="*/ 0 h 29"/>
                <a:gd name="T12" fmla="*/ 0 w 3130"/>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130" h="29">
                  <a:moveTo>
                    <a:pt x="3130" y="29"/>
                  </a:moveTo>
                  <a:lnTo>
                    <a:pt x="0" y="0"/>
                  </a:lnTo>
                  <a:lnTo>
                    <a:pt x="0" y="0"/>
                  </a:lnTo>
                  <a:lnTo>
                    <a:pt x="3130" y="29"/>
                  </a:lnTo>
                  <a:lnTo>
                    <a:pt x="3130" y="29"/>
                  </a:lnTo>
                  <a:moveTo>
                    <a:pt x="0" y="0"/>
                  </a:moveTo>
                  <a:lnTo>
                    <a:pt x="0" y="0"/>
                  </a:lnTo>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2" name="Freeform 377"/>
            <p:cNvSpPr>
              <a:spLocks/>
            </p:cNvSpPr>
            <p:nvPr/>
          </p:nvSpPr>
          <p:spPr bwMode="auto">
            <a:xfrm>
              <a:off x="-8159750" y="-2909888"/>
              <a:ext cx="2633663" cy="1504950"/>
            </a:xfrm>
            <a:custGeom>
              <a:avLst/>
              <a:gdLst>
                <a:gd name="T0" fmla="*/ 1659 w 1659"/>
                <a:gd name="T1" fmla="*/ 948 h 948"/>
                <a:gd name="T2" fmla="*/ 0 w 1659"/>
                <a:gd name="T3" fmla="*/ 583 h 948"/>
                <a:gd name="T4" fmla="*/ 0 w 1659"/>
                <a:gd name="T5" fmla="*/ 583 h 948"/>
                <a:gd name="T6" fmla="*/ 0 w 1659"/>
                <a:gd name="T7" fmla="*/ 583 h 948"/>
                <a:gd name="T8" fmla="*/ 0 w 1659"/>
                <a:gd name="T9" fmla="*/ 583 h 948"/>
                <a:gd name="T10" fmla="*/ 772 w 1659"/>
                <a:gd name="T11" fmla="*/ 0 h 948"/>
                <a:gd name="T12" fmla="*/ 772 w 1659"/>
                <a:gd name="T13" fmla="*/ 0 h 948"/>
                <a:gd name="T14" fmla="*/ 772 w 1659"/>
                <a:gd name="T15" fmla="*/ 0 h 948"/>
                <a:gd name="T16" fmla="*/ 772 w 1659"/>
                <a:gd name="T17" fmla="*/ 0 h 948"/>
                <a:gd name="T18" fmla="*/ 772 w 1659"/>
                <a:gd name="T19" fmla="*/ 0 h 948"/>
                <a:gd name="T20" fmla="*/ 1224 w 1659"/>
                <a:gd name="T21" fmla="*/ 483 h 948"/>
                <a:gd name="T22" fmla="*/ 1659 w 1659"/>
                <a:gd name="T23" fmla="*/ 948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9" h="948">
                  <a:moveTo>
                    <a:pt x="1659" y="948"/>
                  </a:moveTo>
                  <a:lnTo>
                    <a:pt x="0" y="583"/>
                  </a:lnTo>
                  <a:lnTo>
                    <a:pt x="0" y="583"/>
                  </a:lnTo>
                  <a:lnTo>
                    <a:pt x="0" y="583"/>
                  </a:lnTo>
                  <a:lnTo>
                    <a:pt x="0" y="583"/>
                  </a:lnTo>
                  <a:lnTo>
                    <a:pt x="772" y="0"/>
                  </a:lnTo>
                  <a:lnTo>
                    <a:pt x="772" y="0"/>
                  </a:lnTo>
                  <a:lnTo>
                    <a:pt x="772" y="0"/>
                  </a:lnTo>
                  <a:lnTo>
                    <a:pt x="772" y="0"/>
                  </a:lnTo>
                  <a:lnTo>
                    <a:pt x="772" y="0"/>
                  </a:lnTo>
                  <a:lnTo>
                    <a:pt x="1224" y="483"/>
                  </a:lnTo>
                  <a:lnTo>
                    <a:pt x="1659" y="948"/>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3" name="Freeform 378"/>
            <p:cNvSpPr>
              <a:spLocks/>
            </p:cNvSpPr>
            <p:nvPr/>
          </p:nvSpPr>
          <p:spPr bwMode="auto">
            <a:xfrm>
              <a:off x="-7967663" y="-4110038"/>
              <a:ext cx="1346200" cy="1200150"/>
            </a:xfrm>
            <a:custGeom>
              <a:avLst/>
              <a:gdLst>
                <a:gd name="T0" fmla="*/ 651 w 848"/>
                <a:gd name="T1" fmla="*/ 756 h 756"/>
                <a:gd name="T2" fmla="*/ 0 w 848"/>
                <a:gd name="T3" fmla="*/ 0 h 756"/>
                <a:gd name="T4" fmla="*/ 848 w 848"/>
                <a:gd name="T5" fmla="*/ 0 h 756"/>
                <a:gd name="T6" fmla="*/ 651 w 848"/>
                <a:gd name="T7" fmla="*/ 756 h 756"/>
              </a:gdLst>
              <a:ahLst/>
              <a:cxnLst>
                <a:cxn ang="0">
                  <a:pos x="T0" y="T1"/>
                </a:cxn>
                <a:cxn ang="0">
                  <a:pos x="T2" y="T3"/>
                </a:cxn>
                <a:cxn ang="0">
                  <a:pos x="T4" y="T5"/>
                </a:cxn>
                <a:cxn ang="0">
                  <a:pos x="T6" y="T7"/>
                </a:cxn>
              </a:cxnLst>
              <a:rect l="0" t="0" r="r" b="b"/>
              <a:pathLst>
                <a:path w="848" h="756">
                  <a:moveTo>
                    <a:pt x="651" y="756"/>
                  </a:moveTo>
                  <a:lnTo>
                    <a:pt x="0" y="0"/>
                  </a:lnTo>
                  <a:lnTo>
                    <a:pt x="848" y="0"/>
                  </a:lnTo>
                  <a:lnTo>
                    <a:pt x="651" y="756"/>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4" name="Freeform 379"/>
            <p:cNvSpPr>
              <a:spLocks/>
            </p:cNvSpPr>
            <p:nvPr/>
          </p:nvSpPr>
          <p:spPr bwMode="auto">
            <a:xfrm>
              <a:off x="-6934200" y="-3540126"/>
              <a:ext cx="1468438" cy="2135188"/>
            </a:xfrm>
            <a:custGeom>
              <a:avLst/>
              <a:gdLst>
                <a:gd name="T0" fmla="*/ 887 w 925"/>
                <a:gd name="T1" fmla="*/ 1345 h 1345"/>
                <a:gd name="T2" fmla="*/ 452 w 925"/>
                <a:gd name="T3" fmla="*/ 880 h 1345"/>
                <a:gd name="T4" fmla="*/ 0 w 925"/>
                <a:gd name="T5" fmla="*/ 397 h 1345"/>
                <a:gd name="T6" fmla="*/ 925 w 925"/>
                <a:gd name="T7" fmla="*/ 0 h 1345"/>
                <a:gd name="T8" fmla="*/ 925 w 925"/>
                <a:gd name="T9" fmla="*/ 0 h 1345"/>
                <a:gd name="T10" fmla="*/ 888 w 925"/>
                <a:gd name="T11" fmla="*/ 1294 h 1345"/>
                <a:gd name="T12" fmla="*/ 887 w 925"/>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925" h="1345">
                  <a:moveTo>
                    <a:pt x="887" y="1345"/>
                  </a:moveTo>
                  <a:lnTo>
                    <a:pt x="452" y="880"/>
                  </a:lnTo>
                  <a:lnTo>
                    <a:pt x="0" y="397"/>
                  </a:lnTo>
                  <a:lnTo>
                    <a:pt x="925" y="0"/>
                  </a:lnTo>
                  <a:lnTo>
                    <a:pt x="925" y="0"/>
                  </a:lnTo>
                  <a:lnTo>
                    <a:pt x="888" y="1294"/>
                  </a:lnTo>
                  <a:lnTo>
                    <a:pt x="887" y="1345"/>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5" name="Freeform 380"/>
            <p:cNvSpPr>
              <a:spLocks/>
            </p:cNvSpPr>
            <p:nvPr/>
          </p:nvSpPr>
          <p:spPr bwMode="auto">
            <a:xfrm>
              <a:off x="-9058275" y="-4110038"/>
              <a:ext cx="2124075" cy="1200150"/>
            </a:xfrm>
            <a:custGeom>
              <a:avLst/>
              <a:gdLst>
                <a:gd name="T0" fmla="*/ 1338 w 1338"/>
                <a:gd name="T1" fmla="*/ 756 h 756"/>
                <a:gd name="T2" fmla="*/ 1338 w 1338"/>
                <a:gd name="T3" fmla="*/ 756 h 756"/>
                <a:gd name="T4" fmla="*/ 0 w 1338"/>
                <a:gd name="T5" fmla="*/ 359 h 756"/>
                <a:gd name="T6" fmla="*/ 338 w 1338"/>
                <a:gd name="T7" fmla="*/ 0 h 756"/>
                <a:gd name="T8" fmla="*/ 687 w 1338"/>
                <a:gd name="T9" fmla="*/ 0 h 756"/>
                <a:gd name="T10" fmla="*/ 1338 w 1338"/>
                <a:gd name="T11" fmla="*/ 756 h 756"/>
              </a:gdLst>
              <a:ahLst/>
              <a:cxnLst>
                <a:cxn ang="0">
                  <a:pos x="T0" y="T1"/>
                </a:cxn>
                <a:cxn ang="0">
                  <a:pos x="T2" y="T3"/>
                </a:cxn>
                <a:cxn ang="0">
                  <a:pos x="T4" y="T5"/>
                </a:cxn>
                <a:cxn ang="0">
                  <a:pos x="T6" y="T7"/>
                </a:cxn>
                <a:cxn ang="0">
                  <a:pos x="T8" y="T9"/>
                </a:cxn>
                <a:cxn ang="0">
                  <a:pos x="T10" y="T11"/>
                </a:cxn>
              </a:cxnLst>
              <a:rect l="0" t="0" r="r" b="b"/>
              <a:pathLst>
                <a:path w="1338" h="756">
                  <a:moveTo>
                    <a:pt x="1338" y="756"/>
                  </a:moveTo>
                  <a:lnTo>
                    <a:pt x="1338" y="756"/>
                  </a:lnTo>
                  <a:lnTo>
                    <a:pt x="0" y="359"/>
                  </a:lnTo>
                  <a:lnTo>
                    <a:pt x="338" y="0"/>
                  </a:lnTo>
                  <a:lnTo>
                    <a:pt x="687" y="0"/>
                  </a:lnTo>
                  <a:lnTo>
                    <a:pt x="1338"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6" name="Freeform 381"/>
            <p:cNvSpPr>
              <a:spLocks/>
            </p:cNvSpPr>
            <p:nvPr/>
          </p:nvSpPr>
          <p:spPr bwMode="auto">
            <a:xfrm>
              <a:off x="-6934200" y="-4110038"/>
              <a:ext cx="1468438" cy="1200150"/>
            </a:xfrm>
            <a:custGeom>
              <a:avLst/>
              <a:gdLst>
                <a:gd name="T0" fmla="*/ 0 w 925"/>
                <a:gd name="T1" fmla="*/ 756 h 756"/>
                <a:gd name="T2" fmla="*/ 0 w 925"/>
                <a:gd name="T3" fmla="*/ 756 h 756"/>
                <a:gd name="T4" fmla="*/ 197 w 925"/>
                <a:gd name="T5" fmla="*/ 0 h 756"/>
                <a:gd name="T6" fmla="*/ 718 w 925"/>
                <a:gd name="T7" fmla="*/ 0 h 756"/>
                <a:gd name="T8" fmla="*/ 925 w 925"/>
                <a:gd name="T9" fmla="*/ 359 h 756"/>
                <a:gd name="T10" fmla="*/ 925 w 925"/>
                <a:gd name="T11" fmla="*/ 359 h 756"/>
                <a:gd name="T12" fmla="*/ 925 w 925"/>
                <a:gd name="T13" fmla="*/ 359 h 756"/>
                <a:gd name="T14" fmla="*/ 925 w 925"/>
                <a:gd name="T15" fmla="*/ 359 h 756"/>
                <a:gd name="T16" fmla="*/ 925 w 925"/>
                <a:gd name="T17" fmla="*/ 359 h 756"/>
                <a:gd name="T18" fmla="*/ 925 w 925"/>
                <a:gd name="T19" fmla="*/ 359 h 756"/>
                <a:gd name="T20" fmla="*/ 0 w 925"/>
                <a:gd name="T21" fmla="*/ 756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5" h="756">
                  <a:moveTo>
                    <a:pt x="0" y="756"/>
                  </a:moveTo>
                  <a:lnTo>
                    <a:pt x="0" y="756"/>
                  </a:lnTo>
                  <a:lnTo>
                    <a:pt x="197" y="0"/>
                  </a:lnTo>
                  <a:lnTo>
                    <a:pt x="718" y="0"/>
                  </a:lnTo>
                  <a:lnTo>
                    <a:pt x="925" y="359"/>
                  </a:lnTo>
                  <a:lnTo>
                    <a:pt x="925" y="359"/>
                  </a:lnTo>
                  <a:lnTo>
                    <a:pt x="925" y="359"/>
                  </a:lnTo>
                  <a:lnTo>
                    <a:pt x="925" y="359"/>
                  </a:lnTo>
                  <a:lnTo>
                    <a:pt x="925" y="359"/>
                  </a:lnTo>
                  <a:lnTo>
                    <a:pt x="925" y="359"/>
                  </a:lnTo>
                  <a:lnTo>
                    <a:pt x="0"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7" name="Freeform 382"/>
            <p:cNvSpPr>
              <a:spLocks/>
            </p:cNvSpPr>
            <p:nvPr/>
          </p:nvSpPr>
          <p:spPr bwMode="auto">
            <a:xfrm>
              <a:off x="-9058275" y="-3540126"/>
              <a:ext cx="2124075" cy="1555750"/>
            </a:xfrm>
            <a:custGeom>
              <a:avLst/>
              <a:gdLst>
                <a:gd name="T0" fmla="*/ 566 w 1338"/>
                <a:gd name="T1" fmla="*/ 980 h 980"/>
                <a:gd name="T2" fmla="*/ 0 w 1338"/>
                <a:gd name="T3" fmla="*/ 0 h 980"/>
                <a:gd name="T4" fmla="*/ 1338 w 1338"/>
                <a:gd name="T5" fmla="*/ 397 h 980"/>
                <a:gd name="T6" fmla="*/ 566 w 1338"/>
                <a:gd name="T7" fmla="*/ 980 h 980"/>
              </a:gdLst>
              <a:ahLst/>
              <a:cxnLst>
                <a:cxn ang="0">
                  <a:pos x="T0" y="T1"/>
                </a:cxn>
                <a:cxn ang="0">
                  <a:pos x="T2" y="T3"/>
                </a:cxn>
                <a:cxn ang="0">
                  <a:pos x="T4" y="T5"/>
                </a:cxn>
                <a:cxn ang="0">
                  <a:pos x="T6" y="T7"/>
                </a:cxn>
              </a:cxnLst>
              <a:rect l="0" t="0" r="r" b="b"/>
              <a:pathLst>
                <a:path w="1338" h="980">
                  <a:moveTo>
                    <a:pt x="566" y="980"/>
                  </a:moveTo>
                  <a:lnTo>
                    <a:pt x="0" y="0"/>
                  </a:lnTo>
                  <a:lnTo>
                    <a:pt x="1338" y="397"/>
                  </a:lnTo>
                  <a:lnTo>
                    <a:pt x="566"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8" name="Freeform 383"/>
            <p:cNvSpPr>
              <a:spLocks/>
            </p:cNvSpPr>
            <p:nvPr/>
          </p:nvSpPr>
          <p:spPr bwMode="auto">
            <a:xfrm>
              <a:off x="-8159750" y="-2909888"/>
              <a:ext cx="1225550" cy="925513"/>
            </a:xfrm>
            <a:custGeom>
              <a:avLst/>
              <a:gdLst>
                <a:gd name="T0" fmla="*/ 0 w 772"/>
                <a:gd name="T1" fmla="*/ 583 h 583"/>
                <a:gd name="T2" fmla="*/ 0 w 772"/>
                <a:gd name="T3" fmla="*/ 583 h 583"/>
                <a:gd name="T4" fmla="*/ 772 w 772"/>
                <a:gd name="T5" fmla="*/ 0 h 583"/>
                <a:gd name="T6" fmla="*/ 772 w 772"/>
                <a:gd name="T7" fmla="*/ 0 h 583"/>
                <a:gd name="T8" fmla="*/ 0 w 772"/>
                <a:gd name="T9" fmla="*/ 583 h 583"/>
              </a:gdLst>
              <a:ahLst/>
              <a:cxnLst>
                <a:cxn ang="0">
                  <a:pos x="T0" y="T1"/>
                </a:cxn>
                <a:cxn ang="0">
                  <a:pos x="T2" y="T3"/>
                </a:cxn>
                <a:cxn ang="0">
                  <a:pos x="T4" y="T5"/>
                </a:cxn>
                <a:cxn ang="0">
                  <a:pos x="T6" y="T7"/>
                </a:cxn>
                <a:cxn ang="0">
                  <a:pos x="T8" y="T9"/>
                </a:cxn>
              </a:cxnLst>
              <a:rect l="0" t="0" r="r" b="b"/>
              <a:pathLst>
                <a:path w="772" h="583">
                  <a:moveTo>
                    <a:pt x="0" y="583"/>
                  </a:moveTo>
                  <a:lnTo>
                    <a:pt x="0" y="583"/>
                  </a:lnTo>
                  <a:lnTo>
                    <a:pt x="772" y="0"/>
                  </a:lnTo>
                  <a:lnTo>
                    <a:pt x="772" y="0"/>
                  </a:lnTo>
                  <a:lnTo>
                    <a:pt x="0" y="58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9" name="Freeform 384"/>
            <p:cNvSpPr>
              <a:spLocks noEditPoints="1"/>
            </p:cNvSpPr>
            <p:nvPr/>
          </p:nvSpPr>
          <p:spPr bwMode="auto">
            <a:xfrm>
              <a:off x="-5465763" y="-4110038"/>
              <a:ext cx="1797050" cy="569913"/>
            </a:xfrm>
            <a:custGeom>
              <a:avLst/>
              <a:gdLst>
                <a:gd name="T0" fmla="*/ 2358 w 2358"/>
                <a:gd name="T1" fmla="*/ 748 h 748"/>
                <a:gd name="T2" fmla="*/ 1 w 2358"/>
                <a:gd name="T3" fmla="*/ 748 h 748"/>
                <a:gd name="T4" fmla="*/ 247 w 2358"/>
                <a:gd name="T5" fmla="*/ 0 h 748"/>
                <a:gd name="T6" fmla="*/ 1489 w 2358"/>
                <a:gd name="T7" fmla="*/ 0 h 748"/>
                <a:gd name="T8" fmla="*/ 2358 w 2358"/>
                <a:gd name="T9" fmla="*/ 748 h 748"/>
                <a:gd name="T10" fmla="*/ 1 w 2358"/>
                <a:gd name="T11" fmla="*/ 748 h 748"/>
                <a:gd name="T12" fmla="*/ 0 w 2358"/>
                <a:gd name="T13" fmla="*/ 748 h 748"/>
                <a:gd name="T14" fmla="*/ 0 w 2358"/>
                <a:gd name="T15" fmla="*/ 747 h 748"/>
                <a:gd name="T16" fmla="*/ 0 w 2358"/>
                <a:gd name="T17" fmla="*/ 747 h 748"/>
                <a:gd name="T18" fmla="*/ 1 w 2358"/>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8" h="748">
                  <a:moveTo>
                    <a:pt x="2358" y="748"/>
                  </a:moveTo>
                  <a:lnTo>
                    <a:pt x="1" y="748"/>
                  </a:lnTo>
                  <a:lnTo>
                    <a:pt x="247" y="0"/>
                  </a:lnTo>
                  <a:lnTo>
                    <a:pt x="1489" y="0"/>
                  </a:lnTo>
                  <a:lnTo>
                    <a:pt x="2358" y="748"/>
                  </a:lnTo>
                  <a:moveTo>
                    <a:pt x="1" y="748"/>
                  </a:moveTo>
                  <a:lnTo>
                    <a:pt x="0" y="748"/>
                  </a:lnTo>
                  <a:lnTo>
                    <a:pt x="0" y="747"/>
                  </a:lnTo>
                  <a:lnTo>
                    <a:pt x="0" y="747"/>
                  </a:lnTo>
                  <a:lnTo>
                    <a:pt x="1"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0" name="Freeform 385"/>
            <p:cNvSpPr>
              <a:spLocks/>
            </p:cNvSpPr>
            <p:nvPr/>
          </p:nvSpPr>
          <p:spPr bwMode="auto">
            <a:xfrm>
              <a:off x="-4330700" y="-4110038"/>
              <a:ext cx="1114425" cy="569913"/>
            </a:xfrm>
            <a:custGeom>
              <a:avLst/>
              <a:gdLst>
                <a:gd name="T0" fmla="*/ 417 w 702"/>
                <a:gd name="T1" fmla="*/ 359 h 359"/>
                <a:gd name="T2" fmla="*/ 417 w 702"/>
                <a:gd name="T3" fmla="*/ 359 h 359"/>
                <a:gd name="T4" fmla="*/ 417 w 702"/>
                <a:gd name="T5" fmla="*/ 359 h 359"/>
                <a:gd name="T6" fmla="*/ 0 w 702"/>
                <a:gd name="T7" fmla="*/ 0 h 359"/>
                <a:gd name="T8" fmla="*/ 702 w 702"/>
                <a:gd name="T9" fmla="*/ 0 h 359"/>
                <a:gd name="T10" fmla="*/ 417 w 702"/>
                <a:gd name="T11" fmla="*/ 359 h 359"/>
                <a:gd name="T12" fmla="*/ 417 w 702"/>
                <a:gd name="T13" fmla="*/ 359 h 359"/>
                <a:gd name="T14" fmla="*/ 417 w 702"/>
                <a:gd name="T15" fmla="*/ 359 h 359"/>
                <a:gd name="T16" fmla="*/ 417 w 702"/>
                <a:gd name="T17"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2" h="359">
                  <a:moveTo>
                    <a:pt x="417" y="359"/>
                  </a:moveTo>
                  <a:lnTo>
                    <a:pt x="417" y="359"/>
                  </a:lnTo>
                  <a:lnTo>
                    <a:pt x="417" y="359"/>
                  </a:lnTo>
                  <a:lnTo>
                    <a:pt x="0" y="0"/>
                  </a:lnTo>
                  <a:lnTo>
                    <a:pt x="702" y="0"/>
                  </a:lnTo>
                  <a:lnTo>
                    <a:pt x="417" y="359"/>
                  </a:lnTo>
                  <a:lnTo>
                    <a:pt x="417" y="359"/>
                  </a:lnTo>
                  <a:lnTo>
                    <a:pt x="417" y="359"/>
                  </a:lnTo>
                  <a:lnTo>
                    <a:pt x="417"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1" name="Freeform 386"/>
            <p:cNvSpPr>
              <a:spLocks/>
            </p:cNvSpPr>
            <p:nvPr/>
          </p:nvSpPr>
          <p:spPr bwMode="auto">
            <a:xfrm>
              <a:off x="-4330700" y="-4110038"/>
              <a:ext cx="661988" cy="569913"/>
            </a:xfrm>
            <a:custGeom>
              <a:avLst/>
              <a:gdLst>
                <a:gd name="T0" fmla="*/ 417 w 417"/>
                <a:gd name="T1" fmla="*/ 359 h 359"/>
                <a:gd name="T2" fmla="*/ 417 w 417"/>
                <a:gd name="T3" fmla="*/ 359 h 359"/>
                <a:gd name="T4" fmla="*/ 0 w 417"/>
                <a:gd name="T5" fmla="*/ 0 h 359"/>
                <a:gd name="T6" fmla="*/ 0 w 417"/>
                <a:gd name="T7" fmla="*/ 0 h 359"/>
                <a:gd name="T8" fmla="*/ 417 w 417"/>
                <a:gd name="T9" fmla="*/ 359 h 359"/>
              </a:gdLst>
              <a:ahLst/>
              <a:cxnLst>
                <a:cxn ang="0">
                  <a:pos x="T0" y="T1"/>
                </a:cxn>
                <a:cxn ang="0">
                  <a:pos x="T2" y="T3"/>
                </a:cxn>
                <a:cxn ang="0">
                  <a:pos x="T4" y="T5"/>
                </a:cxn>
                <a:cxn ang="0">
                  <a:pos x="T6" y="T7"/>
                </a:cxn>
                <a:cxn ang="0">
                  <a:pos x="T8" y="T9"/>
                </a:cxn>
              </a:cxnLst>
              <a:rect l="0" t="0" r="r" b="b"/>
              <a:pathLst>
                <a:path w="417" h="359">
                  <a:moveTo>
                    <a:pt x="417" y="359"/>
                  </a:moveTo>
                  <a:lnTo>
                    <a:pt x="417" y="359"/>
                  </a:lnTo>
                  <a:lnTo>
                    <a:pt x="0" y="0"/>
                  </a:lnTo>
                  <a:lnTo>
                    <a:pt x="0" y="0"/>
                  </a:lnTo>
                  <a:lnTo>
                    <a:pt x="417"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2" name="Freeform 387"/>
            <p:cNvSpPr>
              <a:spLocks/>
            </p:cNvSpPr>
            <p:nvPr/>
          </p:nvSpPr>
          <p:spPr bwMode="auto">
            <a:xfrm>
              <a:off x="-5794375" y="-4110038"/>
              <a:ext cx="517525" cy="569913"/>
            </a:xfrm>
            <a:custGeom>
              <a:avLst/>
              <a:gdLst>
                <a:gd name="T0" fmla="*/ 207 w 326"/>
                <a:gd name="T1" fmla="*/ 359 h 359"/>
                <a:gd name="T2" fmla="*/ 0 w 326"/>
                <a:gd name="T3" fmla="*/ 0 h 359"/>
                <a:gd name="T4" fmla="*/ 326 w 326"/>
                <a:gd name="T5" fmla="*/ 0 h 359"/>
                <a:gd name="T6" fmla="*/ 207 w 326"/>
                <a:gd name="T7" fmla="*/ 359 h 359"/>
              </a:gdLst>
              <a:ahLst/>
              <a:cxnLst>
                <a:cxn ang="0">
                  <a:pos x="T0" y="T1"/>
                </a:cxn>
                <a:cxn ang="0">
                  <a:pos x="T2" y="T3"/>
                </a:cxn>
                <a:cxn ang="0">
                  <a:pos x="T4" y="T5"/>
                </a:cxn>
                <a:cxn ang="0">
                  <a:pos x="T6" y="T7"/>
                </a:cxn>
              </a:cxnLst>
              <a:rect l="0" t="0" r="r" b="b"/>
              <a:pathLst>
                <a:path w="326" h="359">
                  <a:moveTo>
                    <a:pt x="207" y="359"/>
                  </a:moveTo>
                  <a:lnTo>
                    <a:pt x="0" y="0"/>
                  </a:lnTo>
                  <a:lnTo>
                    <a:pt x="326" y="0"/>
                  </a:lnTo>
                  <a:lnTo>
                    <a:pt x="207" y="35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3" name="Freeform 388"/>
            <p:cNvSpPr>
              <a:spLocks/>
            </p:cNvSpPr>
            <p:nvPr/>
          </p:nvSpPr>
          <p:spPr bwMode="auto">
            <a:xfrm>
              <a:off x="-5465763" y="-4110038"/>
              <a:ext cx="188913" cy="569913"/>
            </a:xfrm>
            <a:custGeom>
              <a:avLst/>
              <a:gdLst>
                <a:gd name="T0" fmla="*/ 0 w 119"/>
                <a:gd name="T1" fmla="*/ 359 h 359"/>
                <a:gd name="T2" fmla="*/ 0 w 119"/>
                <a:gd name="T3" fmla="*/ 359 h 359"/>
                <a:gd name="T4" fmla="*/ 0 w 119"/>
                <a:gd name="T5" fmla="*/ 359 h 359"/>
                <a:gd name="T6" fmla="*/ 119 w 119"/>
                <a:gd name="T7" fmla="*/ 0 h 359"/>
                <a:gd name="T8" fmla="*/ 119 w 119"/>
                <a:gd name="T9" fmla="*/ 0 h 359"/>
                <a:gd name="T10" fmla="*/ 0 w 119"/>
                <a:gd name="T11" fmla="*/ 359 h 359"/>
              </a:gdLst>
              <a:ahLst/>
              <a:cxnLst>
                <a:cxn ang="0">
                  <a:pos x="T0" y="T1"/>
                </a:cxn>
                <a:cxn ang="0">
                  <a:pos x="T2" y="T3"/>
                </a:cxn>
                <a:cxn ang="0">
                  <a:pos x="T4" y="T5"/>
                </a:cxn>
                <a:cxn ang="0">
                  <a:pos x="T6" y="T7"/>
                </a:cxn>
                <a:cxn ang="0">
                  <a:pos x="T8" y="T9"/>
                </a:cxn>
                <a:cxn ang="0">
                  <a:pos x="T10" y="T11"/>
                </a:cxn>
              </a:cxnLst>
              <a:rect l="0" t="0" r="r" b="b"/>
              <a:pathLst>
                <a:path w="119" h="359">
                  <a:moveTo>
                    <a:pt x="0" y="359"/>
                  </a:moveTo>
                  <a:lnTo>
                    <a:pt x="0" y="359"/>
                  </a:lnTo>
                  <a:lnTo>
                    <a:pt x="0" y="359"/>
                  </a:lnTo>
                  <a:lnTo>
                    <a:pt x="119" y="0"/>
                  </a:lnTo>
                  <a:lnTo>
                    <a:pt x="119"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4" name="Freeform 389"/>
            <p:cNvSpPr>
              <a:spLocks noEditPoints="1"/>
            </p:cNvSpPr>
            <p:nvPr/>
          </p:nvSpPr>
          <p:spPr bwMode="auto">
            <a:xfrm>
              <a:off x="-8159750" y="-428626"/>
              <a:ext cx="1795463" cy="1554163"/>
            </a:xfrm>
            <a:custGeom>
              <a:avLst/>
              <a:gdLst>
                <a:gd name="T0" fmla="*/ 2358 w 2358"/>
                <a:gd name="T1" fmla="*/ 2041 h 2041"/>
                <a:gd name="T2" fmla="*/ 1 w 2358"/>
                <a:gd name="T3" fmla="*/ 2041 h 2041"/>
                <a:gd name="T4" fmla="*/ 1179 w 2358"/>
                <a:gd name="T5" fmla="*/ 0 h 2041"/>
                <a:gd name="T6" fmla="*/ 1179 w 2358"/>
                <a:gd name="T7" fmla="*/ 0 h 2041"/>
                <a:gd name="T8" fmla="*/ 1179 w 2358"/>
                <a:gd name="T9" fmla="*/ 0 h 2041"/>
                <a:gd name="T10" fmla="*/ 1507 w 2358"/>
                <a:gd name="T11" fmla="*/ 567 h 2041"/>
                <a:gd name="T12" fmla="*/ 2358 w 2358"/>
                <a:gd name="T13" fmla="*/ 2041 h 2041"/>
                <a:gd name="T14" fmla="*/ 1 w 2358"/>
                <a:gd name="T15" fmla="*/ 2041 h 2041"/>
                <a:gd name="T16" fmla="*/ 0 w 2358"/>
                <a:gd name="T17" fmla="*/ 2041 h 2041"/>
                <a:gd name="T18" fmla="*/ 1 w 2358"/>
                <a:gd name="T19" fmla="*/ 2041 h 2041"/>
                <a:gd name="T20" fmla="*/ 1 w 2358"/>
                <a:gd name="T21" fmla="*/ 2041 h 2041"/>
                <a:gd name="T22" fmla="*/ 1179 w 2358"/>
                <a:gd name="T23" fmla="*/ 0 h 2041"/>
                <a:gd name="T24" fmla="*/ 1179 w 2358"/>
                <a:gd name="T25" fmla="*/ 0 h 2041"/>
                <a:gd name="T26" fmla="*/ 1179 w 2358"/>
                <a:gd name="T27" fmla="*/ 0 h 2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8" h="2041">
                  <a:moveTo>
                    <a:pt x="2358" y="2041"/>
                  </a:moveTo>
                  <a:lnTo>
                    <a:pt x="1" y="2041"/>
                  </a:lnTo>
                  <a:lnTo>
                    <a:pt x="1179" y="0"/>
                  </a:lnTo>
                  <a:lnTo>
                    <a:pt x="1179" y="0"/>
                  </a:lnTo>
                  <a:lnTo>
                    <a:pt x="1179" y="0"/>
                  </a:lnTo>
                  <a:lnTo>
                    <a:pt x="1507" y="567"/>
                  </a:lnTo>
                  <a:lnTo>
                    <a:pt x="2358" y="2041"/>
                  </a:lnTo>
                  <a:moveTo>
                    <a:pt x="1" y="2041"/>
                  </a:moveTo>
                  <a:lnTo>
                    <a:pt x="0" y="2041"/>
                  </a:lnTo>
                  <a:lnTo>
                    <a:pt x="1" y="2041"/>
                  </a:lnTo>
                  <a:lnTo>
                    <a:pt x="1" y="2041"/>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5" name="Freeform 390"/>
            <p:cNvSpPr>
              <a:spLocks/>
            </p:cNvSpPr>
            <p:nvPr/>
          </p:nvSpPr>
          <p:spPr bwMode="auto">
            <a:xfrm>
              <a:off x="-8159750" y="-1984376"/>
              <a:ext cx="2633663" cy="1555750"/>
            </a:xfrm>
            <a:custGeom>
              <a:avLst/>
              <a:gdLst>
                <a:gd name="T0" fmla="*/ 566 w 1659"/>
                <a:gd name="T1" fmla="*/ 980 h 980"/>
                <a:gd name="T2" fmla="*/ 566 w 1659"/>
                <a:gd name="T3" fmla="*/ 980 h 980"/>
                <a:gd name="T4" fmla="*/ 307 w 1659"/>
                <a:gd name="T5" fmla="*/ 532 h 980"/>
                <a:gd name="T6" fmla="*/ 0 w 1659"/>
                <a:gd name="T7" fmla="*/ 0 h 980"/>
                <a:gd name="T8" fmla="*/ 0 w 1659"/>
                <a:gd name="T9" fmla="*/ 0 h 980"/>
                <a:gd name="T10" fmla="*/ 1659 w 1659"/>
                <a:gd name="T11" fmla="*/ 365 h 980"/>
                <a:gd name="T12" fmla="*/ 566 w 1659"/>
                <a:gd name="T13" fmla="*/ 980 h 980"/>
              </a:gdLst>
              <a:ahLst/>
              <a:cxnLst>
                <a:cxn ang="0">
                  <a:pos x="T0" y="T1"/>
                </a:cxn>
                <a:cxn ang="0">
                  <a:pos x="T2" y="T3"/>
                </a:cxn>
                <a:cxn ang="0">
                  <a:pos x="T4" y="T5"/>
                </a:cxn>
                <a:cxn ang="0">
                  <a:pos x="T6" y="T7"/>
                </a:cxn>
                <a:cxn ang="0">
                  <a:pos x="T8" y="T9"/>
                </a:cxn>
                <a:cxn ang="0">
                  <a:pos x="T10" y="T11"/>
                </a:cxn>
                <a:cxn ang="0">
                  <a:pos x="T12" y="T13"/>
                </a:cxn>
              </a:cxnLst>
              <a:rect l="0" t="0" r="r" b="b"/>
              <a:pathLst>
                <a:path w="1659" h="980">
                  <a:moveTo>
                    <a:pt x="566" y="980"/>
                  </a:moveTo>
                  <a:lnTo>
                    <a:pt x="566" y="980"/>
                  </a:lnTo>
                  <a:lnTo>
                    <a:pt x="307" y="532"/>
                  </a:lnTo>
                  <a:lnTo>
                    <a:pt x="0" y="0"/>
                  </a:lnTo>
                  <a:lnTo>
                    <a:pt x="0" y="0"/>
                  </a:lnTo>
                  <a:lnTo>
                    <a:pt x="1659" y="36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6" name="Freeform 391"/>
            <p:cNvSpPr>
              <a:spLocks/>
            </p:cNvSpPr>
            <p:nvPr/>
          </p:nvSpPr>
          <p:spPr bwMode="auto">
            <a:xfrm>
              <a:off x="-7261225" y="-428626"/>
              <a:ext cx="1735138" cy="1554163"/>
            </a:xfrm>
            <a:custGeom>
              <a:avLst/>
              <a:gdLst>
                <a:gd name="T0" fmla="*/ 565 w 1093"/>
                <a:gd name="T1" fmla="*/ 979 h 979"/>
                <a:gd name="T2" fmla="*/ 157 w 1093"/>
                <a:gd name="T3" fmla="*/ 272 h 979"/>
                <a:gd name="T4" fmla="*/ 0 w 1093"/>
                <a:gd name="T5" fmla="*/ 0 h 979"/>
                <a:gd name="T6" fmla="*/ 1093 w 1093"/>
                <a:gd name="T7" fmla="*/ 684 h 979"/>
                <a:gd name="T8" fmla="*/ 1093 w 1093"/>
                <a:gd name="T9" fmla="*/ 684 h 979"/>
                <a:gd name="T10" fmla="*/ 1093 w 1093"/>
                <a:gd name="T11" fmla="*/ 684 h 979"/>
                <a:gd name="T12" fmla="*/ 1093 w 1093"/>
                <a:gd name="T13" fmla="*/ 684 h 979"/>
                <a:gd name="T14" fmla="*/ 1093 w 1093"/>
                <a:gd name="T15" fmla="*/ 684 h 979"/>
                <a:gd name="T16" fmla="*/ 965 w 1093"/>
                <a:gd name="T17" fmla="*/ 756 h 979"/>
                <a:gd name="T18" fmla="*/ 565 w 1093"/>
                <a:gd name="T19" fmla="*/ 979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3" h="979">
                  <a:moveTo>
                    <a:pt x="565" y="979"/>
                  </a:moveTo>
                  <a:lnTo>
                    <a:pt x="157" y="272"/>
                  </a:lnTo>
                  <a:lnTo>
                    <a:pt x="0" y="0"/>
                  </a:lnTo>
                  <a:lnTo>
                    <a:pt x="1093" y="684"/>
                  </a:lnTo>
                  <a:lnTo>
                    <a:pt x="1093" y="684"/>
                  </a:lnTo>
                  <a:lnTo>
                    <a:pt x="1093" y="684"/>
                  </a:lnTo>
                  <a:lnTo>
                    <a:pt x="1093" y="684"/>
                  </a:lnTo>
                  <a:lnTo>
                    <a:pt x="1093" y="684"/>
                  </a:lnTo>
                  <a:lnTo>
                    <a:pt x="965" y="756"/>
                  </a:lnTo>
                  <a:lnTo>
                    <a:pt x="565" y="97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7" name="Freeform 392"/>
            <p:cNvSpPr>
              <a:spLocks noEditPoints="1"/>
            </p:cNvSpPr>
            <p:nvPr/>
          </p:nvSpPr>
          <p:spPr bwMode="auto">
            <a:xfrm>
              <a:off x="-9456738" y="-1984376"/>
              <a:ext cx="2195513" cy="1555750"/>
            </a:xfrm>
            <a:custGeom>
              <a:avLst/>
              <a:gdLst>
                <a:gd name="T0" fmla="*/ 2879 w 2879"/>
                <a:gd name="T1" fmla="*/ 2042 h 2042"/>
                <a:gd name="T2" fmla="*/ 0 w 2879"/>
                <a:gd name="T3" fmla="*/ 1320 h 2042"/>
                <a:gd name="T4" fmla="*/ 444 w 2879"/>
                <a:gd name="T5" fmla="*/ 976 h 2042"/>
                <a:gd name="T6" fmla="*/ 1701 w 2879"/>
                <a:gd name="T7" fmla="*/ 1 h 2042"/>
                <a:gd name="T8" fmla="*/ 2340 w 2879"/>
                <a:gd name="T9" fmla="*/ 1109 h 2042"/>
                <a:gd name="T10" fmla="*/ 2879 w 2879"/>
                <a:gd name="T11" fmla="*/ 2042 h 2042"/>
                <a:gd name="T12" fmla="*/ 2879 w 2879"/>
                <a:gd name="T13" fmla="*/ 2042 h 2042"/>
                <a:gd name="T14" fmla="*/ 1701 w 2879"/>
                <a:gd name="T15" fmla="*/ 1 h 2042"/>
                <a:gd name="T16" fmla="*/ 1700 w 2879"/>
                <a:gd name="T17" fmla="*/ 1 h 2042"/>
                <a:gd name="T18" fmla="*/ 1701 w 2879"/>
                <a:gd name="T19" fmla="*/ 0 h 2042"/>
                <a:gd name="T20" fmla="*/ 1701 w 2879"/>
                <a:gd name="T21" fmla="*/ 1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9" h="2042">
                  <a:moveTo>
                    <a:pt x="2879" y="2042"/>
                  </a:moveTo>
                  <a:lnTo>
                    <a:pt x="0" y="1320"/>
                  </a:lnTo>
                  <a:lnTo>
                    <a:pt x="444" y="976"/>
                  </a:lnTo>
                  <a:lnTo>
                    <a:pt x="1701" y="1"/>
                  </a:lnTo>
                  <a:lnTo>
                    <a:pt x="2340" y="1109"/>
                  </a:lnTo>
                  <a:lnTo>
                    <a:pt x="2879" y="2042"/>
                  </a:lnTo>
                  <a:lnTo>
                    <a:pt x="2879" y="2042"/>
                  </a:lnTo>
                  <a:moveTo>
                    <a:pt x="1701" y="1"/>
                  </a:moveTo>
                  <a:lnTo>
                    <a:pt x="1700" y="1"/>
                  </a:lnTo>
                  <a:lnTo>
                    <a:pt x="1701" y="0"/>
                  </a:lnTo>
                  <a:lnTo>
                    <a:pt x="170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8" name="Freeform 393"/>
            <p:cNvSpPr>
              <a:spLocks/>
            </p:cNvSpPr>
            <p:nvPr/>
          </p:nvSpPr>
          <p:spPr bwMode="auto">
            <a:xfrm>
              <a:off x="-9117013" y="-1984376"/>
              <a:ext cx="957263" cy="742950"/>
            </a:xfrm>
            <a:custGeom>
              <a:avLst/>
              <a:gdLst>
                <a:gd name="T0" fmla="*/ 0 w 603"/>
                <a:gd name="T1" fmla="*/ 468 h 468"/>
                <a:gd name="T2" fmla="*/ 603 w 603"/>
                <a:gd name="T3" fmla="*/ 0 h 468"/>
                <a:gd name="T4" fmla="*/ 603 w 603"/>
                <a:gd name="T5" fmla="*/ 0 h 468"/>
                <a:gd name="T6" fmla="*/ 603 w 603"/>
                <a:gd name="T7" fmla="*/ 0 h 468"/>
                <a:gd name="T8" fmla="*/ 0 w 603"/>
                <a:gd name="T9" fmla="*/ 468 h 468"/>
              </a:gdLst>
              <a:ahLst/>
              <a:cxnLst>
                <a:cxn ang="0">
                  <a:pos x="T0" y="T1"/>
                </a:cxn>
                <a:cxn ang="0">
                  <a:pos x="T2" y="T3"/>
                </a:cxn>
                <a:cxn ang="0">
                  <a:pos x="T4" y="T5"/>
                </a:cxn>
                <a:cxn ang="0">
                  <a:pos x="T6" y="T7"/>
                </a:cxn>
                <a:cxn ang="0">
                  <a:pos x="T8" y="T9"/>
                </a:cxn>
              </a:cxnLst>
              <a:rect l="0" t="0" r="r" b="b"/>
              <a:pathLst>
                <a:path w="603" h="468">
                  <a:moveTo>
                    <a:pt x="0" y="468"/>
                  </a:moveTo>
                  <a:lnTo>
                    <a:pt x="603" y="0"/>
                  </a:lnTo>
                  <a:lnTo>
                    <a:pt x="603" y="0"/>
                  </a:lnTo>
                  <a:lnTo>
                    <a:pt x="603" y="0"/>
                  </a:lnTo>
                  <a:lnTo>
                    <a:pt x="0" y="468"/>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9" name="Freeform 394"/>
            <p:cNvSpPr>
              <a:spLocks/>
            </p:cNvSpPr>
            <p:nvPr/>
          </p:nvSpPr>
          <p:spPr bwMode="auto">
            <a:xfrm>
              <a:off x="-8159750" y="-1984376"/>
              <a:ext cx="487363" cy="844550"/>
            </a:xfrm>
            <a:custGeom>
              <a:avLst/>
              <a:gdLst>
                <a:gd name="T0" fmla="*/ 307 w 307"/>
                <a:gd name="T1" fmla="*/ 532 h 532"/>
                <a:gd name="T2" fmla="*/ 0 w 307"/>
                <a:gd name="T3" fmla="*/ 0 h 532"/>
                <a:gd name="T4" fmla="*/ 0 w 307"/>
                <a:gd name="T5" fmla="*/ 0 h 532"/>
                <a:gd name="T6" fmla="*/ 0 w 307"/>
                <a:gd name="T7" fmla="*/ 0 h 532"/>
                <a:gd name="T8" fmla="*/ 0 w 307"/>
                <a:gd name="T9" fmla="*/ 0 h 532"/>
                <a:gd name="T10" fmla="*/ 307 w 307"/>
                <a:gd name="T11" fmla="*/ 532 h 532"/>
              </a:gdLst>
              <a:ahLst/>
              <a:cxnLst>
                <a:cxn ang="0">
                  <a:pos x="T0" y="T1"/>
                </a:cxn>
                <a:cxn ang="0">
                  <a:pos x="T2" y="T3"/>
                </a:cxn>
                <a:cxn ang="0">
                  <a:pos x="T4" y="T5"/>
                </a:cxn>
                <a:cxn ang="0">
                  <a:pos x="T6" y="T7"/>
                </a:cxn>
                <a:cxn ang="0">
                  <a:pos x="T8" y="T9"/>
                </a:cxn>
                <a:cxn ang="0">
                  <a:pos x="T10" y="T11"/>
                </a:cxn>
              </a:cxnLst>
              <a:rect l="0" t="0" r="r" b="b"/>
              <a:pathLst>
                <a:path w="307" h="532">
                  <a:moveTo>
                    <a:pt x="307" y="532"/>
                  </a:moveTo>
                  <a:lnTo>
                    <a:pt x="0" y="0"/>
                  </a:lnTo>
                  <a:lnTo>
                    <a:pt x="0" y="0"/>
                  </a:lnTo>
                  <a:lnTo>
                    <a:pt x="0" y="0"/>
                  </a:lnTo>
                  <a:lnTo>
                    <a:pt x="0" y="0"/>
                  </a:lnTo>
                  <a:lnTo>
                    <a:pt x="307" y="5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0" name="Freeform 395"/>
            <p:cNvSpPr>
              <a:spLocks noEditPoints="1"/>
            </p:cNvSpPr>
            <p:nvPr/>
          </p:nvSpPr>
          <p:spPr bwMode="auto">
            <a:xfrm>
              <a:off x="-7261225" y="-1404938"/>
              <a:ext cx="1735138" cy="2062163"/>
            </a:xfrm>
            <a:custGeom>
              <a:avLst/>
              <a:gdLst>
                <a:gd name="T0" fmla="*/ 2278 w 2278"/>
                <a:gd name="T1" fmla="*/ 2707 h 2707"/>
                <a:gd name="T2" fmla="*/ 2278 w 2278"/>
                <a:gd name="T3" fmla="*/ 2707 h 2707"/>
                <a:gd name="T4" fmla="*/ 2278 w 2278"/>
                <a:gd name="T5" fmla="*/ 2707 h 2707"/>
                <a:gd name="T6" fmla="*/ 2278 w 2278"/>
                <a:gd name="T7" fmla="*/ 2707 h 2707"/>
                <a:gd name="T8" fmla="*/ 2278 w 2278"/>
                <a:gd name="T9" fmla="*/ 2707 h 2707"/>
                <a:gd name="T10" fmla="*/ 0 w 2278"/>
                <a:gd name="T11" fmla="*/ 1281 h 2707"/>
                <a:gd name="T12" fmla="*/ 0 w 2278"/>
                <a:gd name="T13" fmla="*/ 1281 h 2707"/>
                <a:gd name="T14" fmla="*/ 2278 w 2278"/>
                <a:gd name="T15" fmla="*/ 0 h 2707"/>
                <a:gd name="T16" fmla="*/ 2278 w 2278"/>
                <a:gd name="T17" fmla="*/ 2707 h 2707"/>
                <a:gd name="T18" fmla="*/ 2278 w 2278"/>
                <a:gd name="T19" fmla="*/ 2707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8" h="2707">
                  <a:moveTo>
                    <a:pt x="2278" y="2707"/>
                  </a:moveTo>
                  <a:lnTo>
                    <a:pt x="2278" y="2707"/>
                  </a:lnTo>
                  <a:lnTo>
                    <a:pt x="2278" y="2707"/>
                  </a:lnTo>
                  <a:lnTo>
                    <a:pt x="2278" y="2707"/>
                  </a:lnTo>
                  <a:moveTo>
                    <a:pt x="2278" y="2707"/>
                  </a:moveTo>
                  <a:lnTo>
                    <a:pt x="0" y="1281"/>
                  </a:lnTo>
                  <a:lnTo>
                    <a:pt x="0" y="1281"/>
                  </a:lnTo>
                  <a:lnTo>
                    <a:pt x="2278" y="0"/>
                  </a:lnTo>
                  <a:lnTo>
                    <a:pt x="2278" y="2707"/>
                  </a:lnTo>
                  <a:lnTo>
                    <a:pt x="2278" y="2707"/>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1" name="Freeform 396"/>
            <p:cNvSpPr>
              <a:spLocks/>
            </p:cNvSpPr>
            <p:nvPr/>
          </p:nvSpPr>
          <p:spPr bwMode="auto">
            <a:xfrm>
              <a:off x="-9456738" y="-979488"/>
              <a:ext cx="2195513" cy="2105025"/>
            </a:xfrm>
            <a:custGeom>
              <a:avLst/>
              <a:gdLst>
                <a:gd name="T0" fmla="*/ 817 w 1383"/>
                <a:gd name="T1" fmla="*/ 1326 h 1326"/>
                <a:gd name="T2" fmla="*/ 0 w 1383"/>
                <a:gd name="T3" fmla="*/ 0 h 1326"/>
                <a:gd name="T4" fmla="*/ 1383 w 1383"/>
                <a:gd name="T5" fmla="*/ 347 h 1326"/>
                <a:gd name="T6" fmla="*/ 817 w 1383"/>
                <a:gd name="T7" fmla="*/ 1326 h 1326"/>
              </a:gdLst>
              <a:ahLst/>
              <a:cxnLst>
                <a:cxn ang="0">
                  <a:pos x="T0" y="T1"/>
                </a:cxn>
                <a:cxn ang="0">
                  <a:pos x="T2" y="T3"/>
                </a:cxn>
                <a:cxn ang="0">
                  <a:pos x="T4" y="T5"/>
                </a:cxn>
                <a:cxn ang="0">
                  <a:pos x="T6" y="T7"/>
                </a:cxn>
              </a:cxnLst>
              <a:rect l="0" t="0" r="r" b="b"/>
              <a:pathLst>
                <a:path w="1383" h="1326">
                  <a:moveTo>
                    <a:pt x="817" y="1326"/>
                  </a:moveTo>
                  <a:lnTo>
                    <a:pt x="0" y="0"/>
                  </a:lnTo>
                  <a:lnTo>
                    <a:pt x="1383" y="347"/>
                  </a:lnTo>
                  <a:lnTo>
                    <a:pt x="817" y="132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2" name="Freeform 397"/>
            <p:cNvSpPr>
              <a:spLocks/>
            </p:cNvSpPr>
            <p:nvPr/>
          </p:nvSpPr>
          <p:spPr bwMode="auto">
            <a:xfrm>
              <a:off x="-8159750" y="-428626"/>
              <a:ext cx="898525" cy="1554163"/>
            </a:xfrm>
            <a:custGeom>
              <a:avLst/>
              <a:gdLst>
                <a:gd name="T0" fmla="*/ 0 w 566"/>
                <a:gd name="T1" fmla="*/ 979 h 979"/>
                <a:gd name="T2" fmla="*/ 0 w 566"/>
                <a:gd name="T3" fmla="*/ 979 h 979"/>
                <a:gd name="T4" fmla="*/ 0 w 566"/>
                <a:gd name="T5" fmla="*/ 979 h 979"/>
                <a:gd name="T6" fmla="*/ 566 w 566"/>
                <a:gd name="T7" fmla="*/ 0 h 979"/>
                <a:gd name="T8" fmla="*/ 566 w 566"/>
                <a:gd name="T9" fmla="*/ 0 h 979"/>
                <a:gd name="T10" fmla="*/ 0 w 566"/>
                <a:gd name="T11" fmla="*/ 979 h 979"/>
              </a:gdLst>
              <a:ahLst/>
              <a:cxnLst>
                <a:cxn ang="0">
                  <a:pos x="T0" y="T1"/>
                </a:cxn>
                <a:cxn ang="0">
                  <a:pos x="T2" y="T3"/>
                </a:cxn>
                <a:cxn ang="0">
                  <a:pos x="T4" y="T5"/>
                </a:cxn>
                <a:cxn ang="0">
                  <a:pos x="T6" y="T7"/>
                </a:cxn>
                <a:cxn ang="0">
                  <a:pos x="T8" y="T9"/>
                </a:cxn>
                <a:cxn ang="0">
                  <a:pos x="T10" y="T11"/>
                </a:cxn>
              </a:cxnLst>
              <a:rect l="0" t="0" r="r" b="b"/>
              <a:pathLst>
                <a:path w="566" h="979">
                  <a:moveTo>
                    <a:pt x="0" y="979"/>
                  </a:moveTo>
                  <a:lnTo>
                    <a:pt x="0" y="979"/>
                  </a:ln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3" name="Freeform 398"/>
            <p:cNvSpPr>
              <a:spLocks noEditPoints="1"/>
            </p:cNvSpPr>
            <p:nvPr/>
          </p:nvSpPr>
          <p:spPr bwMode="auto">
            <a:xfrm>
              <a:off x="-5526088" y="-1984376"/>
              <a:ext cx="2544763" cy="2641600"/>
            </a:xfrm>
            <a:custGeom>
              <a:avLst/>
              <a:gdLst>
                <a:gd name="T0" fmla="*/ 0 w 3339"/>
                <a:gd name="T1" fmla="*/ 3468 h 3468"/>
                <a:gd name="T2" fmla="*/ 0 w 3339"/>
                <a:gd name="T3" fmla="*/ 3468 h 3468"/>
                <a:gd name="T4" fmla="*/ 0 w 3339"/>
                <a:gd name="T5" fmla="*/ 3468 h 3468"/>
                <a:gd name="T6" fmla="*/ 0 w 3339"/>
                <a:gd name="T7" fmla="*/ 3468 h 3468"/>
                <a:gd name="T8" fmla="*/ 0 w 3339"/>
                <a:gd name="T9" fmla="*/ 3468 h 3468"/>
                <a:gd name="T10" fmla="*/ 0 w 3339"/>
                <a:gd name="T11" fmla="*/ 3468 h 3468"/>
                <a:gd name="T12" fmla="*/ 0 w 3339"/>
                <a:gd name="T13" fmla="*/ 3468 h 3468"/>
                <a:gd name="T14" fmla="*/ 0 w 3339"/>
                <a:gd name="T15" fmla="*/ 3468 h 3468"/>
                <a:gd name="T16" fmla="*/ 1258 w 3339"/>
                <a:gd name="T17" fmla="*/ 0 h 3468"/>
                <a:gd name="T18" fmla="*/ 3339 w 3339"/>
                <a:gd name="T19" fmla="*/ 2815 h 3468"/>
                <a:gd name="T20" fmla="*/ 0 w 3339"/>
                <a:gd name="T21" fmla="*/ 3468 h 3468"/>
                <a:gd name="T22" fmla="*/ 3339 w 3339"/>
                <a:gd name="T23" fmla="*/ 2815 h 3468"/>
                <a:gd name="T24" fmla="*/ 3339 w 3339"/>
                <a:gd name="T25" fmla="*/ 2815 h 3468"/>
                <a:gd name="T26" fmla="*/ 3339 w 3339"/>
                <a:gd name="T27" fmla="*/ 2815 h 3468"/>
                <a:gd name="T28" fmla="*/ 1258 w 3339"/>
                <a:gd name="T29" fmla="*/ 0 h 3468"/>
                <a:gd name="T30" fmla="*/ 1258 w 3339"/>
                <a:gd name="T31" fmla="*/ 0 h 3468"/>
                <a:gd name="T32" fmla="*/ 1258 w 3339"/>
                <a:gd name="T33" fmla="*/ 1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39" h="3468">
                  <a:moveTo>
                    <a:pt x="0" y="3468"/>
                  </a:moveTo>
                  <a:lnTo>
                    <a:pt x="0" y="3468"/>
                  </a:lnTo>
                  <a:lnTo>
                    <a:pt x="0" y="3468"/>
                  </a:lnTo>
                  <a:lnTo>
                    <a:pt x="0" y="3468"/>
                  </a:lnTo>
                  <a:lnTo>
                    <a:pt x="0" y="3468"/>
                  </a:lnTo>
                  <a:lnTo>
                    <a:pt x="0" y="3468"/>
                  </a:lnTo>
                  <a:lnTo>
                    <a:pt x="0" y="3468"/>
                  </a:lnTo>
                  <a:moveTo>
                    <a:pt x="0" y="3468"/>
                  </a:moveTo>
                  <a:lnTo>
                    <a:pt x="1258" y="0"/>
                  </a:lnTo>
                  <a:lnTo>
                    <a:pt x="3339" y="2815"/>
                  </a:lnTo>
                  <a:lnTo>
                    <a:pt x="0" y="3468"/>
                  </a:lnTo>
                  <a:moveTo>
                    <a:pt x="3339" y="2815"/>
                  </a:moveTo>
                  <a:lnTo>
                    <a:pt x="3339" y="2815"/>
                  </a:lnTo>
                  <a:lnTo>
                    <a:pt x="3339" y="2815"/>
                  </a:lnTo>
                  <a:moveTo>
                    <a:pt x="1258" y="0"/>
                  </a:moveTo>
                  <a:lnTo>
                    <a:pt x="1258" y="0"/>
                  </a:lnTo>
                  <a:lnTo>
                    <a:pt x="1258" y="1"/>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4" name="Freeform 399"/>
            <p:cNvSpPr>
              <a:spLocks/>
            </p:cNvSpPr>
            <p:nvPr/>
          </p:nvSpPr>
          <p:spPr bwMode="auto">
            <a:xfrm>
              <a:off x="-5465763" y="-3540126"/>
              <a:ext cx="1797050" cy="1555750"/>
            </a:xfrm>
            <a:custGeom>
              <a:avLst/>
              <a:gdLst>
                <a:gd name="T0" fmla="*/ 566 w 1132"/>
                <a:gd name="T1" fmla="*/ 980 h 980"/>
                <a:gd name="T2" fmla="*/ 566 w 1132"/>
                <a:gd name="T3" fmla="*/ 980 h 980"/>
                <a:gd name="T4" fmla="*/ 0 w 1132"/>
                <a:gd name="T5" fmla="*/ 0 h 980"/>
                <a:gd name="T6" fmla="*/ 0 w 1132"/>
                <a:gd name="T7" fmla="*/ 0 h 980"/>
                <a:gd name="T8" fmla="*/ 1132 w 1132"/>
                <a:gd name="T9" fmla="*/ 0 h 980"/>
                <a:gd name="T10" fmla="*/ 566 w 1132"/>
                <a:gd name="T11" fmla="*/ 980 h 980"/>
              </a:gdLst>
              <a:ahLst/>
              <a:cxnLst>
                <a:cxn ang="0">
                  <a:pos x="T0" y="T1"/>
                </a:cxn>
                <a:cxn ang="0">
                  <a:pos x="T2" y="T3"/>
                </a:cxn>
                <a:cxn ang="0">
                  <a:pos x="T4" y="T5"/>
                </a:cxn>
                <a:cxn ang="0">
                  <a:pos x="T6" y="T7"/>
                </a:cxn>
                <a:cxn ang="0">
                  <a:pos x="T8" y="T9"/>
                </a:cxn>
                <a:cxn ang="0">
                  <a:pos x="T10" y="T11"/>
                </a:cxn>
              </a:cxnLst>
              <a:rect l="0" t="0" r="r" b="b"/>
              <a:pathLst>
                <a:path w="1132" h="980">
                  <a:moveTo>
                    <a:pt x="566" y="980"/>
                  </a:moveTo>
                  <a:lnTo>
                    <a:pt x="566" y="980"/>
                  </a:lnTo>
                  <a:lnTo>
                    <a:pt x="0" y="0"/>
                  </a:lnTo>
                  <a:lnTo>
                    <a:pt x="0" y="0"/>
                  </a:lnTo>
                  <a:lnTo>
                    <a:pt x="1132" y="0"/>
                  </a:lnTo>
                  <a:lnTo>
                    <a:pt x="566"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5" name="Freeform 400"/>
            <p:cNvSpPr>
              <a:spLocks/>
            </p:cNvSpPr>
            <p:nvPr/>
          </p:nvSpPr>
          <p:spPr bwMode="auto">
            <a:xfrm>
              <a:off x="-5465763" y="-354012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99D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6" name="Rectangle 401"/>
            <p:cNvSpPr>
              <a:spLocks noChangeArrowheads="1"/>
            </p:cNvSpPr>
            <p:nvPr/>
          </p:nvSpPr>
          <p:spPr bwMode="auto">
            <a:xfrm>
              <a:off x="-5465763" y="-3540126"/>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7" name="Freeform 402"/>
            <p:cNvSpPr>
              <a:spLocks noEditPoints="1"/>
            </p:cNvSpPr>
            <p:nvPr/>
          </p:nvSpPr>
          <p:spPr bwMode="auto">
            <a:xfrm>
              <a:off x="-4567238" y="-1984376"/>
              <a:ext cx="1585913" cy="2144713"/>
            </a:xfrm>
            <a:custGeom>
              <a:avLst/>
              <a:gdLst>
                <a:gd name="T0" fmla="*/ 2081 w 2081"/>
                <a:gd name="T1" fmla="*/ 2815 h 2815"/>
                <a:gd name="T2" fmla="*/ 2081 w 2081"/>
                <a:gd name="T3" fmla="*/ 2815 h 2815"/>
                <a:gd name="T4" fmla="*/ 2081 w 2081"/>
                <a:gd name="T5" fmla="*/ 2815 h 2815"/>
                <a:gd name="T6" fmla="*/ 2081 w 2081"/>
                <a:gd name="T7" fmla="*/ 2815 h 2815"/>
                <a:gd name="T8" fmla="*/ 0 w 2081"/>
                <a:gd name="T9" fmla="*/ 0 h 2815"/>
                <a:gd name="T10" fmla="*/ 0 w 2081"/>
                <a:gd name="T11" fmla="*/ 0 h 2815"/>
                <a:gd name="T12" fmla="*/ 1627 w 2081"/>
                <a:gd name="T13" fmla="*/ 645 h 2815"/>
                <a:gd name="T14" fmla="*/ 2081 w 2081"/>
                <a:gd name="T15" fmla="*/ 2815 h 28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1" h="2815">
                  <a:moveTo>
                    <a:pt x="2081" y="2815"/>
                  </a:moveTo>
                  <a:lnTo>
                    <a:pt x="2081" y="2815"/>
                  </a:lnTo>
                  <a:lnTo>
                    <a:pt x="2081" y="2815"/>
                  </a:lnTo>
                  <a:moveTo>
                    <a:pt x="2081" y="2815"/>
                  </a:moveTo>
                  <a:lnTo>
                    <a:pt x="0" y="0"/>
                  </a:lnTo>
                  <a:lnTo>
                    <a:pt x="0" y="0"/>
                  </a:lnTo>
                  <a:lnTo>
                    <a:pt x="1627" y="645"/>
                  </a:lnTo>
                  <a:lnTo>
                    <a:pt x="2081" y="2815"/>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8" name="Freeform 403"/>
            <p:cNvSpPr>
              <a:spLocks/>
            </p:cNvSpPr>
            <p:nvPr/>
          </p:nvSpPr>
          <p:spPr bwMode="auto">
            <a:xfrm>
              <a:off x="-4567238" y="-1984376"/>
              <a:ext cx="1585913" cy="2144713"/>
            </a:xfrm>
            <a:custGeom>
              <a:avLst/>
              <a:gdLst>
                <a:gd name="T0" fmla="*/ 999 w 999"/>
                <a:gd name="T1" fmla="*/ 1351 h 1351"/>
                <a:gd name="T2" fmla="*/ 0 w 999"/>
                <a:gd name="T3" fmla="*/ 0 h 1351"/>
                <a:gd name="T4" fmla="*/ 0 w 999"/>
                <a:gd name="T5" fmla="*/ 0 h 1351"/>
                <a:gd name="T6" fmla="*/ 999 w 999"/>
                <a:gd name="T7" fmla="*/ 1351 h 1351"/>
                <a:gd name="T8" fmla="*/ 999 w 999"/>
                <a:gd name="T9" fmla="*/ 1351 h 1351"/>
                <a:gd name="T10" fmla="*/ 999 w 999"/>
                <a:gd name="T11" fmla="*/ 1351 h 1351"/>
              </a:gdLst>
              <a:ahLst/>
              <a:cxnLst>
                <a:cxn ang="0">
                  <a:pos x="T0" y="T1"/>
                </a:cxn>
                <a:cxn ang="0">
                  <a:pos x="T2" y="T3"/>
                </a:cxn>
                <a:cxn ang="0">
                  <a:pos x="T4" y="T5"/>
                </a:cxn>
                <a:cxn ang="0">
                  <a:pos x="T6" y="T7"/>
                </a:cxn>
                <a:cxn ang="0">
                  <a:pos x="T8" y="T9"/>
                </a:cxn>
                <a:cxn ang="0">
                  <a:pos x="T10" y="T11"/>
                </a:cxn>
              </a:cxnLst>
              <a:rect l="0" t="0" r="r" b="b"/>
              <a:pathLst>
                <a:path w="999" h="1351">
                  <a:moveTo>
                    <a:pt x="999" y="1351"/>
                  </a:moveTo>
                  <a:lnTo>
                    <a:pt x="0" y="0"/>
                  </a:lnTo>
                  <a:lnTo>
                    <a:pt x="0" y="0"/>
                  </a:lnTo>
                  <a:lnTo>
                    <a:pt x="999" y="1351"/>
                  </a:lnTo>
                  <a:lnTo>
                    <a:pt x="999" y="1351"/>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9" name="Rectangle 404"/>
            <p:cNvSpPr>
              <a:spLocks noChangeArrowheads="1"/>
            </p:cNvSpPr>
            <p:nvPr/>
          </p:nvSpPr>
          <p:spPr bwMode="auto">
            <a:xfrm>
              <a:off x="-4567238" y="-1984376"/>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0" name="Freeform 405"/>
            <p:cNvSpPr>
              <a:spLocks/>
            </p:cNvSpPr>
            <p:nvPr/>
          </p:nvSpPr>
          <p:spPr bwMode="auto">
            <a:xfrm>
              <a:off x="-5526088" y="-3540126"/>
              <a:ext cx="958850" cy="2135188"/>
            </a:xfrm>
            <a:custGeom>
              <a:avLst/>
              <a:gdLst>
                <a:gd name="T0" fmla="*/ 0 w 604"/>
                <a:gd name="T1" fmla="*/ 1345 h 1345"/>
                <a:gd name="T2" fmla="*/ 1 w 604"/>
                <a:gd name="T3" fmla="*/ 1294 h 1345"/>
                <a:gd name="T4" fmla="*/ 38 w 604"/>
                <a:gd name="T5" fmla="*/ 0 h 1345"/>
                <a:gd name="T6" fmla="*/ 38 w 604"/>
                <a:gd name="T7" fmla="*/ 0 h 1345"/>
                <a:gd name="T8" fmla="*/ 38 w 604"/>
                <a:gd name="T9" fmla="*/ 0 h 1345"/>
                <a:gd name="T10" fmla="*/ 604 w 604"/>
                <a:gd name="T11" fmla="*/ 980 h 1345"/>
                <a:gd name="T12" fmla="*/ 0 w 604"/>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604" h="1345">
                  <a:moveTo>
                    <a:pt x="0" y="1345"/>
                  </a:moveTo>
                  <a:lnTo>
                    <a:pt x="1" y="1294"/>
                  </a:lnTo>
                  <a:lnTo>
                    <a:pt x="38" y="0"/>
                  </a:lnTo>
                  <a:lnTo>
                    <a:pt x="38" y="0"/>
                  </a:lnTo>
                  <a:lnTo>
                    <a:pt x="38" y="0"/>
                  </a:lnTo>
                  <a:lnTo>
                    <a:pt x="604" y="980"/>
                  </a:lnTo>
                  <a:lnTo>
                    <a:pt x="0" y="134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1" name="Freeform 406"/>
            <p:cNvSpPr>
              <a:spLocks/>
            </p:cNvSpPr>
            <p:nvPr/>
          </p:nvSpPr>
          <p:spPr bwMode="auto">
            <a:xfrm>
              <a:off x="-4567238" y="-3540126"/>
              <a:ext cx="1239838" cy="2046288"/>
            </a:xfrm>
            <a:custGeom>
              <a:avLst/>
              <a:gdLst>
                <a:gd name="T0" fmla="*/ 781 w 781"/>
                <a:gd name="T1" fmla="*/ 1289 h 1289"/>
                <a:gd name="T2" fmla="*/ 0 w 781"/>
                <a:gd name="T3" fmla="*/ 980 h 1289"/>
                <a:gd name="T4" fmla="*/ 566 w 781"/>
                <a:gd name="T5" fmla="*/ 0 h 1289"/>
                <a:gd name="T6" fmla="*/ 716 w 781"/>
                <a:gd name="T7" fmla="*/ 902 h 1289"/>
                <a:gd name="T8" fmla="*/ 781 w 781"/>
                <a:gd name="T9" fmla="*/ 1289 h 1289"/>
              </a:gdLst>
              <a:ahLst/>
              <a:cxnLst>
                <a:cxn ang="0">
                  <a:pos x="T0" y="T1"/>
                </a:cxn>
                <a:cxn ang="0">
                  <a:pos x="T2" y="T3"/>
                </a:cxn>
                <a:cxn ang="0">
                  <a:pos x="T4" y="T5"/>
                </a:cxn>
                <a:cxn ang="0">
                  <a:pos x="T6" y="T7"/>
                </a:cxn>
                <a:cxn ang="0">
                  <a:pos x="T8" y="T9"/>
                </a:cxn>
              </a:cxnLst>
              <a:rect l="0" t="0" r="r" b="b"/>
              <a:pathLst>
                <a:path w="781" h="1289">
                  <a:moveTo>
                    <a:pt x="781" y="1289"/>
                  </a:moveTo>
                  <a:lnTo>
                    <a:pt x="0" y="980"/>
                  </a:lnTo>
                  <a:lnTo>
                    <a:pt x="566" y="0"/>
                  </a:lnTo>
                  <a:lnTo>
                    <a:pt x="716" y="902"/>
                  </a:lnTo>
                  <a:lnTo>
                    <a:pt x="781" y="128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2" name="Freeform 407"/>
            <p:cNvSpPr>
              <a:spLocks noEditPoints="1"/>
            </p:cNvSpPr>
            <p:nvPr/>
          </p:nvSpPr>
          <p:spPr bwMode="auto">
            <a:xfrm>
              <a:off x="-5526088" y="-1984376"/>
              <a:ext cx="958850" cy="2641600"/>
            </a:xfrm>
            <a:custGeom>
              <a:avLst/>
              <a:gdLst>
                <a:gd name="T0" fmla="*/ 0 w 1258"/>
                <a:gd name="T1" fmla="*/ 3467 h 3467"/>
                <a:gd name="T2" fmla="*/ 0 w 1258"/>
                <a:gd name="T3" fmla="*/ 3467 h 3467"/>
                <a:gd name="T4" fmla="*/ 0 w 1258"/>
                <a:gd name="T5" fmla="*/ 3467 h 3467"/>
                <a:gd name="T6" fmla="*/ 0 w 1258"/>
                <a:gd name="T7" fmla="*/ 3467 h 3467"/>
                <a:gd name="T8" fmla="*/ 0 w 1258"/>
                <a:gd name="T9" fmla="*/ 3467 h 3467"/>
                <a:gd name="T10" fmla="*/ 0 w 1258"/>
                <a:gd name="T11" fmla="*/ 760 h 3467"/>
                <a:gd name="T12" fmla="*/ 1258 w 1258"/>
                <a:gd name="T13" fmla="*/ 0 h 3467"/>
                <a:gd name="T14" fmla="*/ 0 w 1258"/>
                <a:gd name="T15" fmla="*/ 3467 h 3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8" h="3467">
                  <a:moveTo>
                    <a:pt x="0" y="3467"/>
                  </a:moveTo>
                  <a:lnTo>
                    <a:pt x="0" y="3467"/>
                  </a:lnTo>
                  <a:lnTo>
                    <a:pt x="0" y="3467"/>
                  </a:lnTo>
                  <a:lnTo>
                    <a:pt x="0" y="3467"/>
                  </a:lnTo>
                  <a:moveTo>
                    <a:pt x="0" y="3467"/>
                  </a:moveTo>
                  <a:lnTo>
                    <a:pt x="0" y="760"/>
                  </a:lnTo>
                  <a:lnTo>
                    <a:pt x="1258" y="0"/>
                  </a:lnTo>
                  <a:lnTo>
                    <a:pt x="0" y="3467"/>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3" name="Freeform 408"/>
            <p:cNvSpPr>
              <a:spLocks/>
            </p:cNvSpPr>
            <p:nvPr/>
          </p:nvSpPr>
          <p:spPr bwMode="auto">
            <a:xfrm>
              <a:off x="-5526088" y="-1984376"/>
              <a:ext cx="958850" cy="2641600"/>
            </a:xfrm>
            <a:custGeom>
              <a:avLst/>
              <a:gdLst>
                <a:gd name="T0" fmla="*/ 0 w 604"/>
                <a:gd name="T1" fmla="*/ 1664 h 1664"/>
                <a:gd name="T2" fmla="*/ 0 w 604"/>
                <a:gd name="T3" fmla="*/ 1664 h 1664"/>
                <a:gd name="T4" fmla="*/ 604 w 604"/>
                <a:gd name="T5" fmla="*/ 0 h 1664"/>
                <a:gd name="T6" fmla="*/ 604 w 604"/>
                <a:gd name="T7" fmla="*/ 0 h 1664"/>
                <a:gd name="T8" fmla="*/ 604 w 604"/>
                <a:gd name="T9" fmla="*/ 0 h 1664"/>
                <a:gd name="T10" fmla="*/ 0 w 604"/>
                <a:gd name="T11" fmla="*/ 1664 h 1664"/>
                <a:gd name="T12" fmla="*/ 0 w 604"/>
                <a:gd name="T13" fmla="*/ 1664 h 1664"/>
              </a:gdLst>
              <a:ahLst/>
              <a:cxnLst>
                <a:cxn ang="0">
                  <a:pos x="T0" y="T1"/>
                </a:cxn>
                <a:cxn ang="0">
                  <a:pos x="T2" y="T3"/>
                </a:cxn>
                <a:cxn ang="0">
                  <a:pos x="T4" y="T5"/>
                </a:cxn>
                <a:cxn ang="0">
                  <a:pos x="T6" y="T7"/>
                </a:cxn>
                <a:cxn ang="0">
                  <a:pos x="T8" y="T9"/>
                </a:cxn>
                <a:cxn ang="0">
                  <a:pos x="T10" y="T11"/>
                </a:cxn>
                <a:cxn ang="0">
                  <a:pos x="T12" y="T13"/>
                </a:cxn>
              </a:cxnLst>
              <a:rect l="0" t="0" r="r" b="b"/>
              <a:pathLst>
                <a:path w="604" h="1664">
                  <a:moveTo>
                    <a:pt x="0" y="1664"/>
                  </a:moveTo>
                  <a:lnTo>
                    <a:pt x="0" y="1664"/>
                  </a:lnTo>
                  <a:lnTo>
                    <a:pt x="604" y="0"/>
                  </a:lnTo>
                  <a:lnTo>
                    <a:pt x="604" y="0"/>
                  </a:lnTo>
                  <a:lnTo>
                    <a:pt x="604" y="0"/>
                  </a:lnTo>
                  <a:lnTo>
                    <a:pt x="0" y="1664"/>
                  </a:lnTo>
                  <a:lnTo>
                    <a:pt x="0" y="166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4" name="Freeform 409"/>
            <p:cNvSpPr>
              <a:spLocks/>
            </p:cNvSpPr>
            <p:nvPr/>
          </p:nvSpPr>
          <p:spPr bwMode="auto">
            <a:xfrm>
              <a:off x="-4567238" y="-19843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5" name="Freeform 410"/>
            <p:cNvSpPr>
              <a:spLocks noEditPoints="1"/>
            </p:cNvSpPr>
            <p:nvPr/>
          </p:nvSpPr>
          <p:spPr bwMode="auto">
            <a:xfrm>
              <a:off x="-8159750" y="2682875"/>
              <a:ext cx="1141413" cy="1914525"/>
            </a:xfrm>
            <a:custGeom>
              <a:avLst/>
              <a:gdLst>
                <a:gd name="T0" fmla="*/ 1498 w 1498"/>
                <a:gd name="T1" fmla="*/ 2514 h 2514"/>
                <a:gd name="T2" fmla="*/ 1 w 1498"/>
                <a:gd name="T3" fmla="*/ 2041 h 2514"/>
                <a:gd name="T4" fmla="*/ 0 w 1498"/>
                <a:gd name="T5" fmla="*/ 2041 h 2514"/>
                <a:gd name="T6" fmla="*/ 1 w 1498"/>
                <a:gd name="T7" fmla="*/ 2041 h 2514"/>
                <a:gd name="T8" fmla="*/ 1179 w 1498"/>
                <a:gd name="T9" fmla="*/ 0 h 2514"/>
                <a:gd name="T10" fmla="*/ 1179 w 1498"/>
                <a:gd name="T11" fmla="*/ 0 h 2514"/>
                <a:gd name="T12" fmla="*/ 1179 w 1498"/>
                <a:gd name="T13" fmla="*/ 0 h 2514"/>
                <a:gd name="T14" fmla="*/ 1179 w 1498"/>
                <a:gd name="T15" fmla="*/ 0 h 2514"/>
                <a:gd name="T16" fmla="*/ 1179 w 1498"/>
                <a:gd name="T17" fmla="*/ 0 h 2514"/>
                <a:gd name="T18" fmla="*/ 1234 w 1498"/>
                <a:gd name="T19" fmla="*/ 432 h 2514"/>
                <a:gd name="T20" fmla="*/ 1498 w 1498"/>
                <a:gd name="T21" fmla="*/ 2514 h 2514"/>
                <a:gd name="T22" fmla="*/ 1179 w 1498"/>
                <a:gd name="T23" fmla="*/ 0 h 2514"/>
                <a:gd name="T24" fmla="*/ 1179 w 1498"/>
                <a:gd name="T25" fmla="*/ 0 h 2514"/>
                <a:gd name="T26" fmla="*/ 1179 w 1498"/>
                <a:gd name="T27"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8" h="2514">
                  <a:moveTo>
                    <a:pt x="1498" y="2514"/>
                  </a:moveTo>
                  <a:lnTo>
                    <a:pt x="1" y="2041"/>
                  </a:lnTo>
                  <a:lnTo>
                    <a:pt x="0" y="2041"/>
                  </a:lnTo>
                  <a:lnTo>
                    <a:pt x="1" y="2041"/>
                  </a:lnTo>
                  <a:lnTo>
                    <a:pt x="1179" y="0"/>
                  </a:lnTo>
                  <a:lnTo>
                    <a:pt x="1179" y="0"/>
                  </a:lnTo>
                  <a:lnTo>
                    <a:pt x="1179" y="0"/>
                  </a:lnTo>
                  <a:lnTo>
                    <a:pt x="1179" y="0"/>
                  </a:lnTo>
                  <a:lnTo>
                    <a:pt x="1179" y="0"/>
                  </a:lnTo>
                  <a:lnTo>
                    <a:pt x="1234" y="432"/>
                  </a:lnTo>
                  <a:lnTo>
                    <a:pt x="1498" y="2514"/>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6" name="Freeform 411"/>
            <p:cNvSpPr>
              <a:spLocks/>
            </p:cNvSpPr>
            <p:nvPr/>
          </p:nvSpPr>
          <p:spPr bwMode="auto">
            <a:xfrm>
              <a:off x="-8159750" y="1125537"/>
              <a:ext cx="1795463" cy="1557338"/>
            </a:xfrm>
            <a:custGeom>
              <a:avLst/>
              <a:gdLst>
                <a:gd name="T0" fmla="*/ 566 w 1131"/>
                <a:gd name="T1" fmla="*/ 981 h 981"/>
                <a:gd name="T2" fmla="*/ 4 w 1131"/>
                <a:gd name="T3" fmla="*/ 7 h 981"/>
                <a:gd name="T4" fmla="*/ 0 w 1131"/>
                <a:gd name="T5" fmla="*/ 0 h 981"/>
                <a:gd name="T6" fmla="*/ 0 w 1131"/>
                <a:gd name="T7" fmla="*/ 0 h 981"/>
                <a:gd name="T8" fmla="*/ 0 w 1131"/>
                <a:gd name="T9" fmla="*/ 0 h 981"/>
                <a:gd name="T10" fmla="*/ 0 w 1131"/>
                <a:gd name="T11" fmla="*/ 0 h 981"/>
                <a:gd name="T12" fmla="*/ 1131 w 1131"/>
                <a:gd name="T13" fmla="*/ 0 h 981"/>
                <a:gd name="T14" fmla="*/ 566 w 1131"/>
                <a:gd name="T15" fmla="*/ 981 h 9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981">
                  <a:moveTo>
                    <a:pt x="566" y="981"/>
                  </a:moveTo>
                  <a:lnTo>
                    <a:pt x="4" y="7"/>
                  </a:lnTo>
                  <a:lnTo>
                    <a:pt x="0" y="0"/>
                  </a:lnTo>
                  <a:lnTo>
                    <a:pt x="0" y="0"/>
                  </a:lnTo>
                  <a:lnTo>
                    <a:pt x="0" y="0"/>
                  </a:lnTo>
                  <a:lnTo>
                    <a:pt x="0" y="0"/>
                  </a:lnTo>
                  <a:lnTo>
                    <a:pt x="1131" y="0"/>
                  </a:lnTo>
                  <a:lnTo>
                    <a:pt x="566" y="98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7" name="Freeform 412"/>
            <p:cNvSpPr>
              <a:spLocks noEditPoints="1"/>
            </p:cNvSpPr>
            <p:nvPr/>
          </p:nvSpPr>
          <p:spPr bwMode="auto">
            <a:xfrm>
              <a:off x="-7261225" y="2655887"/>
              <a:ext cx="1047750" cy="1941513"/>
            </a:xfrm>
            <a:custGeom>
              <a:avLst/>
              <a:gdLst>
                <a:gd name="T0" fmla="*/ 319 w 1375"/>
                <a:gd name="T1" fmla="*/ 2549 h 2549"/>
                <a:gd name="T2" fmla="*/ 55 w 1375"/>
                <a:gd name="T3" fmla="*/ 467 h 2549"/>
                <a:gd name="T4" fmla="*/ 0 w 1375"/>
                <a:gd name="T5" fmla="*/ 35 h 2549"/>
                <a:gd name="T6" fmla="*/ 1375 w 1375"/>
                <a:gd name="T7" fmla="*/ 0 h 2549"/>
                <a:gd name="T8" fmla="*/ 1375 w 1375"/>
                <a:gd name="T9" fmla="*/ 0 h 2549"/>
                <a:gd name="T10" fmla="*/ 319 w 1375"/>
                <a:gd name="T11" fmla="*/ 2549 h 2549"/>
                <a:gd name="T12" fmla="*/ 1375 w 1375"/>
                <a:gd name="T13" fmla="*/ 0 h 2549"/>
                <a:gd name="T14" fmla="*/ 1375 w 1375"/>
                <a:gd name="T15" fmla="*/ 0 h 2549"/>
                <a:gd name="T16" fmla="*/ 1375 w 1375"/>
                <a:gd name="T17" fmla="*/ 0 h 2549"/>
                <a:gd name="T18" fmla="*/ 1375 w 1375"/>
                <a:gd name="T19" fmla="*/ 0 h 2549"/>
                <a:gd name="T20" fmla="*/ 1375 w 1375"/>
                <a:gd name="T21" fmla="*/ 0 h 2549"/>
                <a:gd name="T22" fmla="*/ 1375 w 1375"/>
                <a:gd name="T23" fmla="*/ 0 h 2549"/>
                <a:gd name="T24" fmla="*/ 1375 w 1375"/>
                <a:gd name="T25" fmla="*/ 0 h 2549"/>
                <a:gd name="T26" fmla="*/ 1375 w 1375"/>
                <a:gd name="T27" fmla="*/ 0 h 2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5" h="2549">
                  <a:moveTo>
                    <a:pt x="319" y="2549"/>
                  </a:moveTo>
                  <a:lnTo>
                    <a:pt x="55" y="467"/>
                  </a:lnTo>
                  <a:lnTo>
                    <a:pt x="0" y="35"/>
                  </a:lnTo>
                  <a:lnTo>
                    <a:pt x="1375" y="0"/>
                  </a:lnTo>
                  <a:lnTo>
                    <a:pt x="1375" y="0"/>
                  </a:lnTo>
                  <a:lnTo>
                    <a:pt x="319" y="2549"/>
                  </a:lnTo>
                  <a:moveTo>
                    <a:pt x="1375" y="0"/>
                  </a:moveTo>
                  <a:lnTo>
                    <a:pt x="1375" y="0"/>
                  </a:lnTo>
                  <a:lnTo>
                    <a:pt x="1375" y="0"/>
                  </a:lnTo>
                  <a:lnTo>
                    <a:pt x="1375" y="0"/>
                  </a:lnTo>
                  <a:moveTo>
                    <a:pt x="1375" y="0"/>
                  </a:moveTo>
                  <a:lnTo>
                    <a:pt x="1375" y="0"/>
                  </a:lnTo>
                  <a:lnTo>
                    <a:pt x="1375" y="0"/>
                  </a:lnTo>
                  <a:lnTo>
                    <a:pt x="1375"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8" name="Freeform 413"/>
            <p:cNvSpPr>
              <a:spLocks noEditPoints="1"/>
            </p:cNvSpPr>
            <p:nvPr/>
          </p:nvSpPr>
          <p:spPr bwMode="auto">
            <a:xfrm>
              <a:off x="-9488488" y="1125537"/>
              <a:ext cx="2227263" cy="2085975"/>
            </a:xfrm>
            <a:custGeom>
              <a:avLst/>
              <a:gdLst>
                <a:gd name="T0" fmla="*/ 0 w 2922"/>
                <a:gd name="T1" fmla="*/ 2737 h 2737"/>
                <a:gd name="T2" fmla="*/ 0 w 2922"/>
                <a:gd name="T3" fmla="*/ 2737 h 2737"/>
                <a:gd name="T4" fmla="*/ 0 w 2922"/>
                <a:gd name="T5" fmla="*/ 2737 h 2737"/>
                <a:gd name="T6" fmla="*/ 0 w 2922"/>
                <a:gd name="T7" fmla="*/ 2737 h 2737"/>
                <a:gd name="T8" fmla="*/ 1744 w 2922"/>
                <a:gd name="T9" fmla="*/ 0 h 2737"/>
                <a:gd name="T10" fmla="*/ 1752 w 2922"/>
                <a:gd name="T11" fmla="*/ 14 h 2737"/>
                <a:gd name="T12" fmla="*/ 2922 w 2922"/>
                <a:gd name="T13" fmla="*/ 2042 h 2737"/>
                <a:gd name="T14" fmla="*/ 2922 w 2922"/>
                <a:gd name="T15" fmla="*/ 2042 h 2737"/>
                <a:gd name="T16" fmla="*/ 0 w 2922"/>
                <a:gd name="T17" fmla="*/ 2737 h 2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22" h="2737">
                  <a:moveTo>
                    <a:pt x="0" y="2737"/>
                  </a:moveTo>
                  <a:lnTo>
                    <a:pt x="0" y="2737"/>
                  </a:lnTo>
                  <a:lnTo>
                    <a:pt x="0" y="2737"/>
                  </a:lnTo>
                  <a:moveTo>
                    <a:pt x="0" y="2737"/>
                  </a:moveTo>
                  <a:lnTo>
                    <a:pt x="1744" y="0"/>
                  </a:lnTo>
                  <a:lnTo>
                    <a:pt x="1752" y="14"/>
                  </a:lnTo>
                  <a:lnTo>
                    <a:pt x="2922" y="2042"/>
                  </a:lnTo>
                  <a:lnTo>
                    <a:pt x="2922" y="2042"/>
                  </a:lnTo>
                  <a:lnTo>
                    <a:pt x="0" y="2737"/>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9" name="Freeform 414"/>
            <p:cNvSpPr>
              <a:spLocks/>
            </p:cNvSpPr>
            <p:nvPr/>
          </p:nvSpPr>
          <p:spPr bwMode="auto">
            <a:xfrm>
              <a:off x="-7261225" y="1125537"/>
              <a:ext cx="1047750" cy="1557338"/>
            </a:xfrm>
            <a:custGeom>
              <a:avLst/>
              <a:gdLst>
                <a:gd name="T0" fmla="*/ 0 w 660"/>
                <a:gd name="T1" fmla="*/ 981 h 981"/>
                <a:gd name="T2" fmla="*/ 0 w 660"/>
                <a:gd name="T3" fmla="*/ 981 h 981"/>
                <a:gd name="T4" fmla="*/ 565 w 660"/>
                <a:gd name="T5" fmla="*/ 0 h 981"/>
                <a:gd name="T6" fmla="*/ 565 w 660"/>
                <a:gd name="T7" fmla="*/ 0 h 981"/>
                <a:gd name="T8" fmla="*/ 565 w 660"/>
                <a:gd name="T9" fmla="*/ 0 h 981"/>
                <a:gd name="T10" fmla="*/ 660 w 660"/>
                <a:gd name="T11" fmla="*/ 963 h 981"/>
                <a:gd name="T12" fmla="*/ 660 w 660"/>
                <a:gd name="T13" fmla="*/ 963 h 981"/>
                <a:gd name="T14" fmla="*/ 660 w 660"/>
                <a:gd name="T15" fmla="*/ 964 h 981"/>
                <a:gd name="T16" fmla="*/ 660 w 660"/>
                <a:gd name="T17" fmla="*/ 964 h 981"/>
                <a:gd name="T18" fmla="*/ 0 w 660"/>
                <a:gd name="T19" fmla="*/ 981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0" h="981">
                  <a:moveTo>
                    <a:pt x="0" y="981"/>
                  </a:moveTo>
                  <a:lnTo>
                    <a:pt x="0" y="981"/>
                  </a:lnTo>
                  <a:lnTo>
                    <a:pt x="565" y="0"/>
                  </a:lnTo>
                  <a:lnTo>
                    <a:pt x="565" y="0"/>
                  </a:lnTo>
                  <a:lnTo>
                    <a:pt x="565" y="0"/>
                  </a:lnTo>
                  <a:lnTo>
                    <a:pt x="660" y="963"/>
                  </a:lnTo>
                  <a:lnTo>
                    <a:pt x="660" y="963"/>
                  </a:lnTo>
                  <a:lnTo>
                    <a:pt x="660" y="964"/>
                  </a:lnTo>
                  <a:lnTo>
                    <a:pt x="660" y="964"/>
                  </a:lnTo>
                  <a:lnTo>
                    <a:pt x="0"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0" name="Freeform 415"/>
            <p:cNvSpPr>
              <a:spLocks/>
            </p:cNvSpPr>
            <p:nvPr/>
          </p:nvSpPr>
          <p:spPr bwMode="auto">
            <a:xfrm>
              <a:off x="-9488488" y="2682875"/>
              <a:ext cx="2227263" cy="1554163"/>
            </a:xfrm>
            <a:custGeom>
              <a:avLst/>
              <a:gdLst>
                <a:gd name="T0" fmla="*/ 1744 w 2922"/>
                <a:gd name="T1" fmla="*/ 2041 h 2041"/>
                <a:gd name="T2" fmla="*/ 0 w 2922"/>
                <a:gd name="T3" fmla="*/ 695 h 2041"/>
                <a:gd name="T4" fmla="*/ 2922 w 2922"/>
                <a:gd name="T5" fmla="*/ 0 h 2041"/>
                <a:gd name="T6" fmla="*/ 1743 w 2922"/>
                <a:gd name="T7" fmla="*/ 2041 h 2041"/>
              </a:gdLst>
              <a:ahLst/>
              <a:cxnLst>
                <a:cxn ang="0">
                  <a:pos x="T0" y="T1"/>
                </a:cxn>
                <a:cxn ang="0">
                  <a:pos x="T2" y="T3"/>
                </a:cxn>
                <a:cxn ang="0">
                  <a:pos x="T4" y="T5"/>
                </a:cxn>
                <a:cxn ang="0">
                  <a:pos x="T6" y="T7"/>
                </a:cxn>
              </a:cxnLst>
              <a:rect l="0" t="0" r="r" b="b"/>
              <a:pathLst>
                <a:path w="2922" h="2041">
                  <a:moveTo>
                    <a:pt x="1744" y="2041"/>
                  </a:moveTo>
                  <a:lnTo>
                    <a:pt x="0" y="695"/>
                  </a:lnTo>
                  <a:lnTo>
                    <a:pt x="2922" y="0"/>
                  </a:lnTo>
                  <a:lnTo>
                    <a:pt x="1743" y="204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1" name="Freeform 416"/>
            <p:cNvSpPr>
              <a:spLocks/>
            </p:cNvSpPr>
            <p:nvPr/>
          </p:nvSpPr>
          <p:spPr bwMode="auto">
            <a:xfrm>
              <a:off x="-8159750" y="2682875"/>
              <a:ext cx="898525" cy="1554163"/>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2" name="Freeform 417"/>
            <p:cNvSpPr>
              <a:spLocks/>
            </p:cNvSpPr>
            <p:nvPr/>
          </p:nvSpPr>
          <p:spPr bwMode="auto">
            <a:xfrm>
              <a:off x="-9488488" y="2682875"/>
              <a:ext cx="2227263" cy="528638"/>
            </a:xfrm>
            <a:custGeom>
              <a:avLst/>
              <a:gdLst>
                <a:gd name="T0" fmla="*/ 0 w 1403"/>
                <a:gd name="T1" fmla="*/ 333 h 333"/>
                <a:gd name="T2" fmla="*/ 0 w 1403"/>
                <a:gd name="T3" fmla="*/ 333 h 333"/>
                <a:gd name="T4" fmla="*/ 1403 w 1403"/>
                <a:gd name="T5" fmla="*/ 0 h 333"/>
                <a:gd name="T6" fmla="*/ 1403 w 1403"/>
                <a:gd name="T7" fmla="*/ 0 h 333"/>
                <a:gd name="T8" fmla="*/ 0 w 1403"/>
                <a:gd name="T9" fmla="*/ 333 h 333"/>
              </a:gdLst>
              <a:ahLst/>
              <a:cxnLst>
                <a:cxn ang="0">
                  <a:pos x="T0" y="T1"/>
                </a:cxn>
                <a:cxn ang="0">
                  <a:pos x="T2" y="T3"/>
                </a:cxn>
                <a:cxn ang="0">
                  <a:pos x="T4" y="T5"/>
                </a:cxn>
                <a:cxn ang="0">
                  <a:pos x="T6" y="T7"/>
                </a:cxn>
                <a:cxn ang="0">
                  <a:pos x="T8" y="T9"/>
                </a:cxn>
              </a:cxnLst>
              <a:rect l="0" t="0" r="r" b="b"/>
              <a:pathLst>
                <a:path w="1403" h="333">
                  <a:moveTo>
                    <a:pt x="0" y="333"/>
                  </a:moveTo>
                  <a:lnTo>
                    <a:pt x="0" y="333"/>
                  </a:lnTo>
                  <a:lnTo>
                    <a:pt x="1403" y="0"/>
                  </a:lnTo>
                  <a:lnTo>
                    <a:pt x="1403" y="0"/>
                  </a:lnTo>
                  <a:lnTo>
                    <a:pt x="0" y="3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3" name="Freeform 418"/>
            <p:cNvSpPr>
              <a:spLocks noEditPoints="1"/>
            </p:cNvSpPr>
            <p:nvPr/>
          </p:nvSpPr>
          <p:spPr bwMode="auto">
            <a:xfrm>
              <a:off x="-6213475" y="1125537"/>
              <a:ext cx="1800225" cy="1987550"/>
            </a:xfrm>
            <a:custGeom>
              <a:avLst/>
              <a:gdLst>
                <a:gd name="T0" fmla="*/ 2364 w 2364"/>
                <a:gd name="T1" fmla="*/ 2608 h 2608"/>
                <a:gd name="T2" fmla="*/ 0 w 2364"/>
                <a:gd name="T3" fmla="*/ 2007 h 2608"/>
                <a:gd name="T4" fmla="*/ 0 w 2364"/>
                <a:gd name="T5" fmla="*/ 2006 h 2608"/>
                <a:gd name="T6" fmla="*/ 0 w 2364"/>
                <a:gd name="T7" fmla="*/ 2006 h 2608"/>
                <a:gd name="T8" fmla="*/ 0 w 2364"/>
                <a:gd name="T9" fmla="*/ 2006 h 2608"/>
                <a:gd name="T10" fmla="*/ 2161 w 2364"/>
                <a:gd name="T11" fmla="*/ 0 h 2608"/>
                <a:gd name="T12" fmla="*/ 2364 w 2364"/>
                <a:gd name="T13" fmla="*/ 2608 h 2608"/>
                <a:gd name="T14" fmla="*/ 2161 w 2364"/>
                <a:gd name="T15" fmla="*/ 0 h 2608"/>
                <a:gd name="T16" fmla="*/ 2161 w 2364"/>
                <a:gd name="T17" fmla="*/ 0 h 2608"/>
                <a:gd name="T18" fmla="*/ 2161 w 2364"/>
                <a:gd name="T19" fmla="*/ 0 h 2608"/>
                <a:gd name="T20" fmla="*/ 2161 w 2364"/>
                <a:gd name="T21" fmla="*/ 0 h 2608"/>
                <a:gd name="T22" fmla="*/ 2161 w 2364"/>
                <a:gd name="T23" fmla="*/ 0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64" h="2608">
                  <a:moveTo>
                    <a:pt x="2364" y="2608"/>
                  </a:moveTo>
                  <a:lnTo>
                    <a:pt x="0" y="2007"/>
                  </a:lnTo>
                  <a:lnTo>
                    <a:pt x="0" y="2006"/>
                  </a:lnTo>
                  <a:lnTo>
                    <a:pt x="0" y="2006"/>
                  </a:lnTo>
                  <a:lnTo>
                    <a:pt x="0" y="2006"/>
                  </a:lnTo>
                  <a:lnTo>
                    <a:pt x="2161" y="0"/>
                  </a:lnTo>
                  <a:lnTo>
                    <a:pt x="2364" y="2608"/>
                  </a:lnTo>
                  <a:moveTo>
                    <a:pt x="2161" y="0"/>
                  </a:moveTo>
                  <a:lnTo>
                    <a:pt x="2161" y="0"/>
                  </a:lnTo>
                  <a:lnTo>
                    <a:pt x="2161" y="0"/>
                  </a:lnTo>
                  <a:lnTo>
                    <a:pt x="2161" y="0"/>
                  </a:lnTo>
                  <a:lnTo>
                    <a:pt x="2161" y="0"/>
                  </a:lnTo>
                </a:path>
              </a:pathLst>
            </a:custGeom>
            <a:solidFill>
              <a:srgbClr val="59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4" name="Rectangle 419"/>
            <p:cNvSpPr>
              <a:spLocks noChangeArrowheads="1"/>
            </p:cNvSpPr>
            <p:nvPr/>
          </p:nvSpPr>
          <p:spPr bwMode="auto">
            <a:xfrm>
              <a:off x="-6213475" y="2654300"/>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5" name="Freeform 420"/>
            <p:cNvSpPr>
              <a:spLocks/>
            </p:cNvSpPr>
            <p:nvPr/>
          </p:nvSpPr>
          <p:spPr bwMode="auto">
            <a:xfrm>
              <a:off x="-5526088" y="160337"/>
              <a:ext cx="2544763" cy="965200"/>
            </a:xfrm>
            <a:custGeom>
              <a:avLst/>
              <a:gdLst>
                <a:gd name="T0" fmla="*/ 604 w 1603"/>
                <a:gd name="T1" fmla="*/ 608 h 608"/>
                <a:gd name="T2" fmla="*/ 62 w 1603"/>
                <a:gd name="T3" fmla="*/ 344 h 608"/>
                <a:gd name="T4" fmla="*/ 0 w 1603"/>
                <a:gd name="T5" fmla="*/ 313 h 608"/>
                <a:gd name="T6" fmla="*/ 0 w 1603"/>
                <a:gd name="T7" fmla="*/ 313 h 608"/>
                <a:gd name="T8" fmla="*/ 1603 w 1603"/>
                <a:gd name="T9" fmla="*/ 0 h 608"/>
                <a:gd name="T10" fmla="*/ 1508 w 1603"/>
                <a:gd name="T11" fmla="*/ 57 h 608"/>
                <a:gd name="T12" fmla="*/ 604 w 1603"/>
                <a:gd name="T13" fmla="*/ 608 h 608"/>
              </a:gdLst>
              <a:ahLst/>
              <a:cxnLst>
                <a:cxn ang="0">
                  <a:pos x="T0" y="T1"/>
                </a:cxn>
                <a:cxn ang="0">
                  <a:pos x="T2" y="T3"/>
                </a:cxn>
                <a:cxn ang="0">
                  <a:pos x="T4" y="T5"/>
                </a:cxn>
                <a:cxn ang="0">
                  <a:pos x="T6" y="T7"/>
                </a:cxn>
                <a:cxn ang="0">
                  <a:pos x="T8" y="T9"/>
                </a:cxn>
                <a:cxn ang="0">
                  <a:pos x="T10" y="T11"/>
                </a:cxn>
                <a:cxn ang="0">
                  <a:pos x="T12" y="T13"/>
                </a:cxn>
              </a:cxnLst>
              <a:rect l="0" t="0" r="r" b="b"/>
              <a:pathLst>
                <a:path w="1603" h="608">
                  <a:moveTo>
                    <a:pt x="604" y="608"/>
                  </a:moveTo>
                  <a:lnTo>
                    <a:pt x="62" y="344"/>
                  </a:lnTo>
                  <a:lnTo>
                    <a:pt x="0" y="313"/>
                  </a:lnTo>
                  <a:lnTo>
                    <a:pt x="0" y="313"/>
                  </a:lnTo>
                  <a:lnTo>
                    <a:pt x="1603" y="0"/>
                  </a:lnTo>
                  <a:lnTo>
                    <a:pt x="1508" y="57"/>
                  </a:lnTo>
                  <a:lnTo>
                    <a:pt x="604" y="608"/>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6" name="Freeform 421"/>
            <p:cNvSpPr>
              <a:spLocks/>
            </p:cNvSpPr>
            <p:nvPr/>
          </p:nvSpPr>
          <p:spPr bwMode="auto">
            <a:xfrm>
              <a:off x="-5526088" y="65722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89C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7" name="Freeform 422"/>
            <p:cNvSpPr>
              <a:spLocks/>
            </p:cNvSpPr>
            <p:nvPr/>
          </p:nvSpPr>
          <p:spPr bwMode="auto">
            <a:xfrm>
              <a:off x="-4567238" y="1125537"/>
              <a:ext cx="1795463" cy="1987550"/>
            </a:xfrm>
            <a:custGeom>
              <a:avLst/>
              <a:gdLst>
                <a:gd name="T0" fmla="*/ 97 w 1131"/>
                <a:gd name="T1" fmla="*/ 1252 h 1252"/>
                <a:gd name="T2" fmla="*/ 97 w 1131"/>
                <a:gd name="T3" fmla="*/ 1252 h 1252"/>
                <a:gd name="T4" fmla="*/ 0 w 1131"/>
                <a:gd name="T5" fmla="*/ 0 h 1252"/>
                <a:gd name="T6" fmla="*/ 0 w 1131"/>
                <a:gd name="T7" fmla="*/ 0 h 1252"/>
                <a:gd name="T8" fmla="*/ 1131 w 1131"/>
                <a:gd name="T9" fmla="*/ 0 h 1252"/>
                <a:gd name="T10" fmla="*/ 97 w 1131"/>
                <a:gd name="T11" fmla="*/ 1252 h 1252"/>
                <a:gd name="T12" fmla="*/ 97 w 1131"/>
                <a:gd name="T13" fmla="*/ 1252 h 1252"/>
                <a:gd name="T14" fmla="*/ 97 w 1131"/>
                <a:gd name="T15" fmla="*/ 1252 h 1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1252">
                  <a:moveTo>
                    <a:pt x="97" y="1252"/>
                  </a:moveTo>
                  <a:lnTo>
                    <a:pt x="97" y="1252"/>
                  </a:lnTo>
                  <a:lnTo>
                    <a:pt x="0" y="0"/>
                  </a:lnTo>
                  <a:lnTo>
                    <a:pt x="0" y="0"/>
                  </a:lnTo>
                  <a:lnTo>
                    <a:pt x="1131" y="0"/>
                  </a:lnTo>
                  <a:lnTo>
                    <a:pt x="97" y="1252"/>
                  </a:lnTo>
                  <a:lnTo>
                    <a:pt x="97" y="1252"/>
                  </a:lnTo>
                  <a:lnTo>
                    <a:pt x="97" y="1252"/>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8" name="Freeform 423"/>
            <p:cNvSpPr>
              <a:spLocks/>
            </p:cNvSpPr>
            <p:nvPr/>
          </p:nvSpPr>
          <p:spPr bwMode="auto">
            <a:xfrm>
              <a:off x="-4567238" y="1125537"/>
              <a:ext cx="153988" cy="1987550"/>
            </a:xfrm>
            <a:custGeom>
              <a:avLst/>
              <a:gdLst>
                <a:gd name="T0" fmla="*/ 97 w 97"/>
                <a:gd name="T1" fmla="*/ 1252 h 1252"/>
                <a:gd name="T2" fmla="*/ 97 w 97"/>
                <a:gd name="T3" fmla="*/ 1252 h 1252"/>
                <a:gd name="T4" fmla="*/ 0 w 97"/>
                <a:gd name="T5" fmla="*/ 0 h 1252"/>
                <a:gd name="T6" fmla="*/ 0 w 97"/>
                <a:gd name="T7" fmla="*/ 0 h 1252"/>
                <a:gd name="T8" fmla="*/ 97 w 97"/>
                <a:gd name="T9" fmla="*/ 1252 h 1252"/>
              </a:gdLst>
              <a:ahLst/>
              <a:cxnLst>
                <a:cxn ang="0">
                  <a:pos x="T0" y="T1"/>
                </a:cxn>
                <a:cxn ang="0">
                  <a:pos x="T2" y="T3"/>
                </a:cxn>
                <a:cxn ang="0">
                  <a:pos x="T4" y="T5"/>
                </a:cxn>
                <a:cxn ang="0">
                  <a:pos x="T6" y="T7"/>
                </a:cxn>
                <a:cxn ang="0">
                  <a:pos x="T8" y="T9"/>
                </a:cxn>
              </a:cxnLst>
              <a:rect l="0" t="0" r="r" b="b"/>
              <a:pathLst>
                <a:path w="97" h="1252">
                  <a:moveTo>
                    <a:pt x="97" y="1252"/>
                  </a:moveTo>
                  <a:lnTo>
                    <a:pt x="97" y="1252"/>
                  </a:lnTo>
                  <a:lnTo>
                    <a:pt x="0" y="0"/>
                  </a:lnTo>
                  <a:lnTo>
                    <a:pt x="0" y="0"/>
                  </a:lnTo>
                  <a:lnTo>
                    <a:pt x="97" y="1252"/>
                  </a:lnTo>
                  <a:close/>
                </a:path>
              </a:pathLst>
            </a:custGeom>
            <a:solidFill>
              <a:srgbClr val="5BA2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9" name="Freeform 424"/>
            <p:cNvSpPr>
              <a:spLocks noEditPoints="1"/>
            </p:cNvSpPr>
            <p:nvPr/>
          </p:nvSpPr>
          <p:spPr bwMode="auto">
            <a:xfrm>
              <a:off x="-6364288" y="657225"/>
              <a:ext cx="1797050" cy="468313"/>
            </a:xfrm>
            <a:custGeom>
              <a:avLst/>
              <a:gdLst>
                <a:gd name="T0" fmla="*/ 0 w 2357"/>
                <a:gd name="T1" fmla="*/ 615 h 615"/>
                <a:gd name="T2" fmla="*/ 0 w 2357"/>
                <a:gd name="T3" fmla="*/ 615 h 615"/>
                <a:gd name="T4" fmla="*/ 0 w 2357"/>
                <a:gd name="T5" fmla="*/ 615 h 615"/>
                <a:gd name="T6" fmla="*/ 0 w 2357"/>
                <a:gd name="T7" fmla="*/ 615 h 615"/>
                <a:gd name="T8" fmla="*/ 0 w 2357"/>
                <a:gd name="T9" fmla="*/ 615 h 615"/>
                <a:gd name="T10" fmla="*/ 2357 w 2357"/>
                <a:gd name="T11" fmla="*/ 615 h 615"/>
                <a:gd name="T12" fmla="*/ 0 w 2357"/>
                <a:gd name="T13" fmla="*/ 615 h 615"/>
                <a:gd name="T14" fmla="*/ 833 w 2357"/>
                <a:gd name="T15" fmla="*/ 149 h 615"/>
                <a:gd name="T16" fmla="*/ 1099 w 2357"/>
                <a:gd name="T17" fmla="*/ 0 h 615"/>
                <a:gd name="T18" fmla="*/ 1228 w 2357"/>
                <a:gd name="T19" fmla="*/ 64 h 615"/>
                <a:gd name="T20" fmla="*/ 2357 w 2357"/>
                <a:gd name="T21" fmla="*/ 615 h 615"/>
                <a:gd name="T22" fmla="*/ 2357 w 2357"/>
                <a:gd name="T23"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7" h="615">
                  <a:moveTo>
                    <a:pt x="0" y="615"/>
                  </a:moveTo>
                  <a:lnTo>
                    <a:pt x="0" y="615"/>
                  </a:lnTo>
                  <a:lnTo>
                    <a:pt x="0" y="615"/>
                  </a:lnTo>
                  <a:lnTo>
                    <a:pt x="0" y="615"/>
                  </a:lnTo>
                  <a:lnTo>
                    <a:pt x="0" y="615"/>
                  </a:lnTo>
                  <a:moveTo>
                    <a:pt x="2357" y="615"/>
                  </a:moveTo>
                  <a:lnTo>
                    <a:pt x="0" y="615"/>
                  </a:lnTo>
                  <a:lnTo>
                    <a:pt x="833" y="149"/>
                  </a:lnTo>
                  <a:lnTo>
                    <a:pt x="1099" y="0"/>
                  </a:lnTo>
                  <a:lnTo>
                    <a:pt x="1228" y="64"/>
                  </a:lnTo>
                  <a:lnTo>
                    <a:pt x="2357" y="615"/>
                  </a:lnTo>
                  <a:lnTo>
                    <a:pt x="2357" y="615"/>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0" name="Freeform 425"/>
            <p:cNvSpPr>
              <a:spLocks/>
            </p:cNvSpPr>
            <p:nvPr/>
          </p:nvSpPr>
          <p:spPr bwMode="auto">
            <a:xfrm>
              <a:off x="-5729288" y="657225"/>
              <a:ext cx="203200" cy="114300"/>
            </a:xfrm>
            <a:custGeom>
              <a:avLst/>
              <a:gdLst>
                <a:gd name="T0" fmla="*/ 0 w 128"/>
                <a:gd name="T1" fmla="*/ 72 h 72"/>
                <a:gd name="T2" fmla="*/ 128 w 128"/>
                <a:gd name="T3" fmla="*/ 0 h 72"/>
                <a:gd name="T4" fmla="*/ 128 w 128"/>
                <a:gd name="T5" fmla="*/ 0 h 72"/>
                <a:gd name="T6" fmla="*/ 0 w 128"/>
                <a:gd name="T7" fmla="*/ 72 h 72"/>
              </a:gdLst>
              <a:ahLst/>
              <a:cxnLst>
                <a:cxn ang="0">
                  <a:pos x="T0" y="T1"/>
                </a:cxn>
                <a:cxn ang="0">
                  <a:pos x="T2" y="T3"/>
                </a:cxn>
                <a:cxn ang="0">
                  <a:pos x="T4" y="T5"/>
                </a:cxn>
                <a:cxn ang="0">
                  <a:pos x="T6" y="T7"/>
                </a:cxn>
              </a:cxnLst>
              <a:rect l="0" t="0" r="r" b="b"/>
              <a:pathLst>
                <a:path w="128" h="72">
                  <a:moveTo>
                    <a:pt x="0" y="72"/>
                  </a:moveTo>
                  <a:lnTo>
                    <a:pt x="128" y="0"/>
                  </a:lnTo>
                  <a:lnTo>
                    <a:pt x="128" y="0"/>
                  </a:lnTo>
                  <a:lnTo>
                    <a:pt x="0" y="72"/>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1" name="Freeform 426"/>
            <p:cNvSpPr>
              <a:spLocks/>
            </p:cNvSpPr>
            <p:nvPr/>
          </p:nvSpPr>
          <p:spPr bwMode="auto">
            <a:xfrm>
              <a:off x="-5526088" y="657225"/>
              <a:ext cx="98425" cy="49213"/>
            </a:xfrm>
            <a:custGeom>
              <a:avLst/>
              <a:gdLst>
                <a:gd name="T0" fmla="*/ 62 w 62"/>
                <a:gd name="T1" fmla="*/ 31 h 31"/>
                <a:gd name="T2" fmla="*/ 0 w 62"/>
                <a:gd name="T3" fmla="*/ 0 h 31"/>
                <a:gd name="T4" fmla="*/ 0 w 62"/>
                <a:gd name="T5" fmla="*/ 0 h 31"/>
                <a:gd name="T6" fmla="*/ 62 w 62"/>
                <a:gd name="T7" fmla="*/ 31 h 31"/>
              </a:gdLst>
              <a:ahLst/>
              <a:cxnLst>
                <a:cxn ang="0">
                  <a:pos x="T0" y="T1"/>
                </a:cxn>
                <a:cxn ang="0">
                  <a:pos x="T2" y="T3"/>
                </a:cxn>
                <a:cxn ang="0">
                  <a:pos x="T4" y="T5"/>
                </a:cxn>
                <a:cxn ang="0">
                  <a:pos x="T6" y="T7"/>
                </a:cxn>
              </a:cxnLst>
              <a:rect l="0" t="0" r="r" b="b"/>
              <a:pathLst>
                <a:path w="62" h="31">
                  <a:moveTo>
                    <a:pt x="62" y="31"/>
                  </a:moveTo>
                  <a:lnTo>
                    <a:pt x="0" y="0"/>
                  </a:lnTo>
                  <a:lnTo>
                    <a:pt x="0" y="0"/>
                  </a:lnTo>
                  <a:lnTo>
                    <a:pt x="62" y="31"/>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2" name="Rectangle 427"/>
            <p:cNvSpPr>
              <a:spLocks noChangeArrowheads="1"/>
            </p:cNvSpPr>
            <p:nvPr/>
          </p:nvSpPr>
          <p:spPr bwMode="auto">
            <a:xfrm>
              <a:off x="-5526088" y="657225"/>
              <a:ext cx="1588" cy="1588"/>
            </a:xfrm>
            <a:prstGeom prst="rect">
              <a:avLst/>
            </a:prstGeom>
            <a:solidFill>
              <a:srgbClr val="589CBB"/>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3" name="Freeform 428"/>
            <p:cNvSpPr>
              <a:spLocks/>
            </p:cNvSpPr>
            <p:nvPr/>
          </p:nvSpPr>
          <p:spPr bwMode="auto">
            <a:xfrm>
              <a:off x="-4567238" y="160337"/>
              <a:ext cx="1795463" cy="965200"/>
            </a:xfrm>
            <a:custGeom>
              <a:avLst/>
              <a:gdLst>
                <a:gd name="T0" fmla="*/ 0 w 1131"/>
                <a:gd name="T1" fmla="*/ 608 h 608"/>
                <a:gd name="T2" fmla="*/ 0 w 1131"/>
                <a:gd name="T3" fmla="*/ 608 h 608"/>
                <a:gd name="T4" fmla="*/ 904 w 1131"/>
                <a:gd name="T5" fmla="*/ 57 h 608"/>
                <a:gd name="T6" fmla="*/ 999 w 1131"/>
                <a:gd name="T7" fmla="*/ 0 h 608"/>
                <a:gd name="T8" fmla="*/ 999 w 1131"/>
                <a:gd name="T9" fmla="*/ 0 h 608"/>
                <a:gd name="T10" fmla="*/ 1077 w 1131"/>
                <a:gd name="T11" fmla="*/ 359 h 608"/>
                <a:gd name="T12" fmla="*/ 1131 w 1131"/>
                <a:gd name="T13" fmla="*/ 608 h 608"/>
                <a:gd name="T14" fmla="*/ 0 w 1131"/>
                <a:gd name="T15" fmla="*/ 608 h 6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608">
                  <a:moveTo>
                    <a:pt x="0" y="608"/>
                  </a:moveTo>
                  <a:lnTo>
                    <a:pt x="0" y="608"/>
                  </a:lnTo>
                  <a:lnTo>
                    <a:pt x="904" y="57"/>
                  </a:lnTo>
                  <a:lnTo>
                    <a:pt x="999" y="0"/>
                  </a:lnTo>
                  <a:lnTo>
                    <a:pt x="999" y="0"/>
                  </a:lnTo>
                  <a:lnTo>
                    <a:pt x="1077" y="359"/>
                  </a:lnTo>
                  <a:lnTo>
                    <a:pt x="1131" y="608"/>
                  </a:lnTo>
                  <a:lnTo>
                    <a:pt x="0" y="608"/>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4" name="Freeform 429"/>
            <p:cNvSpPr>
              <a:spLocks/>
            </p:cNvSpPr>
            <p:nvPr/>
          </p:nvSpPr>
          <p:spPr bwMode="auto">
            <a:xfrm>
              <a:off x="-3132138" y="160337"/>
              <a:ext cx="150813" cy="90488"/>
            </a:xfrm>
            <a:custGeom>
              <a:avLst/>
              <a:gdLst>
                <a:gd name="T0" fmla="*/ 0 w 95"/>
                <a:gd name="T1" fmla="*/ 57 h 57"/>
                <a:gd name="T2" fmla="*/ 95 w 95"/>
                <a:gd name="T3" fmla="*/ 0 h 57"/>
                <a:gd name="T4" fmla="*/ 95 w 95"/>
                <a:gd name="T5" fmla="*/ 0 h 57"/>
                <a:gd name="T6" fmla="*/ 0 w 95"/>
                <a:gd name="T7" fmla="*/ 57 h 57"/>
              </a:gdLst>
              <a:ahLst/>
              <a:cxnLst>
                <a:cxn ang="0">
                  <a:pos x="T0" y="T1"/>
                </a:cxn>
                <a:cxn ang="0">
                  <a:pos x="T2" y="T3"/>
                </a:cxn>
                <a:cxn ang="0">
                  <a:pos x="T4" y="T5"/>
                </a:cxn>
                <a:cxn ang="0">
                  <a:pos x="T6" y="T7"/>
                </a:cxn>
              </a:cxnLst>
              <a:rect l="0" t="0" r="r" b="b"/>
              <a:pathLst>
                <a:path w="95" h="57">
                  <a:moveTo>
                    <a:pt x="0" y="57"/>
                  </a:moveTo>
                  <a:lnTo>
                    <a:pt x="95" y="0"/>
                  </a:lnTo>
                  <a:lnTo>
                    <a:pt x="95" y="0"/>
                  </a:lnTo>
                  <a:lnTo>
                    <a:pt x="0" y="5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5" name="Freeform 430"/>
            <p:cNvSpPr>
              <a:spLocks noEditPoints="1"/>
            </p:cNvSpPr>
            <p:nvPr/>
          </p:nvSpPr>
          <p:spPr bwMode="auto">
            <a:xfrm>
              <a:off x="-6364288" y="1125537"/>
              <a:ext cx="1797050" cy="1528763"/>
            </a:xfrm>
            <a:custGeom>
              <a:avLst/>
              <a:gdLst>
                <a:gd name="T0" fmla="*/ 196 w 2357"/>
                <a:gd name="T1" fmla="*/ 2006 h 2006"/>
                <a:gd name="T2" fmla="*/ 0 w 2357"/>
                <a:gd name="T3" fmla="*/ 0 h 2006"/>
                <a:gd name="T4" fmla="*/ 2357 w 2357"/>
                <a:gd name="T5" fmla="*/ 0 h 2006"/>
                <a:gd name="T6" fmla="*/ 196 w 2357"/>
                <a:gd name="T7" fmla="*/ 2006 h 2006"/>
                <a:gd name="T8" fmla="*/ 2357 w 2357"/>
                <a:gd name="T9" fmla="*/ 0 h 2006"/>
                <a:gd name="T10" fmla="*/ 2357 w 2357"/>
                <a:gd name="T11" fmla="*/ 0 h 2006"/>
                <a:gd name="T12" fmla="*/ 2357 w 2357"/>
                <a:gd name="T13" fmla="*/ 0 h 2006"/>
                <a:gd name="T14" fmla="*/ 0 w 2357"/>
                <a:gd name="T15" fmla="*/ 0 h 2006"/>
                <a:gd name="T16" fmla="*/ 0 w 2357"/>
                <a:gd name="T17" fmla="*/ 0 h 2006"/>
                <a:gd name="T18" fmla="*/ 0 w 2357"/>
                <a:gd name="T19" fmla="*/ 0 h 2006"/>
                <a:gd name="T20" fmla="*/ 0 w 2357"/>
                <a:gd name="T21" fmla="*/ 0 h 2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7" h="2006">
                  <a:moveTo>
                    <a:pt x="196" y="2006"/>
                  </a:moveTo>
                  <a:lnTo>
                    <a:pt x="0" y="0"/>
                  </a:lnTo>
                  <a:lnTo>
                    <a:pt x="2357" y="0"/>
                  </a:lnTo>
                  <a:lnTo>
                    <a:pt x="196" y="2006"/>
                  </a:lnTo>
                  <a:moveTo>
                    <a:pt x="2357" y="0"/>
                  </a:moveTo>
                  <a:lnTo>
                    <a:pt x="2357" y="0"/>
                  </a:lnTo>
                  <a:lnTo>
                    <a:pt x="2357" y="0"/>
                  </a:lnTo>
                  <a:moveTo>
                    <a:pt x="0" y="0"/>
                  </a:moveTo>
                  <a:lnTo>
                    <a:pt x="0" y="0"/>
                  </a:lnTo>
                  <a:lnTo>
                    <a:pt x="0" y="0"/>
                  </a:ln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6" name="Freeform 431"/>
            <p:cNvSpPr>
              <a:spLocks/>
            </p:cNvSpPr>
            <p:nvPr/>
          </p:nvSpPr>
          <p:spPr bwMode="auto">
            <a:xfrm>
              <a:off x="-6213475" y="1125537"/>
              <a:ext cx="1646238" cy="1528763"/>
            </a:xfrm>
            <a:custGeom>
              <a:avLst/>
              <a:gdLst>
                <a:gd name="T0" fmla="*/ 0 w 1037"/>
                <a:gd name="T1" fmla="*/ 963 h 963"/>
                <a:gd name="T2" fmla="*/ 0 w 1037"/>
                <a:gd name="T3" fmla="*/ 963 h 963"/>
                <a:gd name="T4" fmla="*/ 1037 w 1037"/>
                <a:gd name="T5" fmla="*/ 0 h 963"/>
                <a:gd name="T6" fmla="*/ 1037 w 1037"/>
                <a:gd name="T7" fmla="*/ 0 h 963"/>
                <a:gd name="T8" fmla="*/ 1037 w 1037"/>
                <a:gd name="T9" fmla="*/ 0 h 963"/>
                <a:gd name="T10" fmla="*/ 1037 w 1037"/>
                <a:gd name="T11" fmla="*/ 0 h 963"/>
                <a:gd name="T12" fmla="*/ 0 w 1037"/>
                <a:gd name="T13" fmla="*/ 963 h 963"/>
              </a:gdLst>
              <a:ahLst/>
              <a:cxnLst>
                <a:cxn ang="0">
                  <a:pos x="T0" y="T1"/>
                </a:cxn>
                <a:cxn ang="0">
                  <a:pos x="T2" y="T3"/>
                </a:cxn>
                <a:cxn ang="0">
                  <a:pos x="T4" y="T5"/>
                </a:cxn>
                <a:cxn ang="0">
                  <a:pos x="T6" y="T7"/>
                </a:cxn>
                <a:cxn ang="0">
                  <a:pos x="T8" y="T9"/>
                </a:cxn>
                <a:cxn ang="0">
                  <a:pos x="T10" y="T11"/>
                </a:cxn>
                <a:cxn ang="0">
                  <a:pos x="T12" y="T13"/>
                </a:cxn>
              </a:cxnLst>
              <a:rect l="0" t="0" r="r" b="b"/>
              <a:pathLst>
                <a:path w="1037" h="963">
                  <a:moveTo>
                    <a:pt x="0" y="963"/>
                  </a:moveTo>
                  <a:lnTo>
                    <a:pt x="0" y="963"/>
                  </a:lnTo>
                  <a:lnTo>
                    <a:pt x="1037" y="0"/>
                  </a:lnTo>
                  <a:lnTo>
                    <a:pt x="1037" y="0"/>
                  </a:lnTo>
                  <a:lnTo>
                    <a:pt x="1037" y="0"/>
                  </a:lnTo>
                  <a:lnTo>
                    <a:pt x="1037" y="0"/>
                  </a:lnTo>
                  <a:lnTo>
                    <a:pt x="0" y="963"/>
                  </a:lnTo>
                  <a:close/>
                </a:path>
              </a:pathLst>
            </a:custGeom>
            <a:solidFill>
              <a:srgbClr val="5AA1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7" name="Freeform 432"/>
            <p:cNvSpPr>
              <a:spLocks noEditPoints="1"/>
            </p:cNvSpPr>
            <p:nvPr/>
          </p:nvSpPr>
          <p:spPr bwMode="auto">
            <a:xfrm>
              <a:off x="-8323263" y="5514975"/>
              <a:ext cx="1782763" cy="2144713"/>
            </a:xfrm>
            <a:custGeom>
              <a:avLst/>
              <a:gdLst>
                <a:gd name="T0" fmla="*/ 893 w 2339"/>
                <a:gd name="T1" fmla="*/ 2815 h 2815"/>
                <a:gd name="T2" fmla="*/ 0 w 2339"/>
                <a:gd name="T3" fmla="*/ 2815 h 2815"/>
                <a:gd name="T4" fmla="*/ 290 w 2339"/>
                <a:gd name="T5" fmla="*/ 1 h 2815"/>
                <a:gd name="T6" fmla="*/ 290 w 2339"/>
                <a:gd name="T7" fmla="*/ 0 h 2815"/>
                <a:gd name="T8" fmla="*/ 291 w 2339"/>
                <a:gd name="T9" fmla="*/ 1 h 2815"/>
                <a:gd name="T10" fmla="*/ 290 w 2339"/>
                <a:gd name="T11" fmla="*/ 1 h 2815"/>
                <a:gd name="T12" fmla="*/ 1731 w 2339"/>
                <a:gd name="T13" fmla="*/ 1291 h 2815"/>
                <a:gd name="T14" fmla="*/ 2339 w 2339"/>
                <a:gd name="T15" fmla="*/ 1834 h 2815"/>
                <a:gd name="T16" fmla="*/ 893 w 2339"/>
                <a:gd name="T17" fmla="*/ 2815 h 2815"/>
                <a:gd name="T18" fmla="*/ 291 w 2339"/>
                <a:gd name="T19" fmla="*/ 1 h 2815"/>
                <a:gd name="T20" fmla="*/ 290 w 2339"/>
                <a:gd name="T21" fmla="*/ 1 h 2815"/>
                <a:gd name="T22" fmla="*/ 291 w 2339"/>
                <a:gd name="T23" fmla="*/ 1 h 2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39" h="2815">
                  <a:moveTo>
                    <a:pt x="893" y="2815"/>
                  </a:moveTo>
                  <a:lnTo>
                    <a:pt x="0" y="2815"/>
                  </a:lnTo>
                  <a:lnTo>
                    <a:pt x="290" y="1"/>
                  </a:lnTo>
                  <a:lnTo>
                    <a:pt x="290" y="0"/>
                  </a:lnTo>
                  <a:lnTo>
                    <a:pt x="291" y="1"/>
                  </a:lnTo>
                  <a:lnTo>
                    <a:pt x="290" y="1"/>
                  </a:lnTo>
                  <a:lnTo>
                    <a:pt x="1731" y="1291"/>
                  </a:lnTo>
                  <a:lnTo>
                    <a:pt x="2339" y="1834"/>
                  </a:lnTo>
                  <a:lnTo>
                    <a:pt x="893" y="2815"/>
                  </a:lnTo>
                  <a:moveTo>
                    <a:pt x="291" y="1"/>
                  </a:moveTo>
                  <a:lnTo>
                    <a:pt x="290" y="1"/>
                  </a:lnTo>
                  <a:lnTo>
                    <a:pt x="29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8" name="Freeform 433"/>
            <p:cNvSpPr>
              <a:spLocks/>
            </p:cNvSpPr>
            <p:nvPr/>
          </p:nvSpPr>
          <p:spPr bwMode="auto">
            <a:xfrm>
              <a:off x="-8159750" y="4237037"/>
              <a:ext cx="1141413" cy="1277938"/>
            </a:xfrm>
            <a:custGeom>
              <a:avLst/>
              <a:gdLst>
                <a:gd name="T0" fmla="*/ 36 w 719"/>
                <a:gd name="T1" fmla="*/ 805 h 805"/>
                <a:gd name="T2" fmla="*/ 36 w 719"/>
                <a:gd name="T3" fmla="*/ 805 h 805"/>
                <a:gd name="T4" fmla="*/ 32 w 719"/>
                <a:gd name="T5" fmla="*/ 713 h 805"/>
                <a:gd name="T6" fmla="*/ 0 w 719"/>
                <a:gd name="T7" fmla="*/ 1 h 805"/>
                <a:gd name="T8" fmla="*/ 0 w 719"/>
                <a:gd name="T9" fmla="*/ 1 h 805"/>
                <a:gd name="T10" fmla="*/ 0 w 719"/>
                <a:gd name="T11" fmla="*/ 0 h 805"/>
                <a:gd name="T12" fmla="*/ 0 w 719"/>
                <a:gd name="T13" fmla="*/ 0 h 805"/>
                <a:gd name="T14" fmla="*/ 719 w 719"/>
                <a:gd name="T15" fmla="*/ 227 h 805"/>
                <a:gd name="T16" fmla="*/ 36 w 719"/>
                <a:gd name="T17" fmla="*/ 805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9" h="805">
                  <a:moveTo>
                    <a:pt x="36" y="805"/>
                  </a:moveTo>
                  <a:lnTo>
                    <a:pt x="36" y="805"/>
                  </a:lnTo>
                  <a:lnTo>
                    <a:pt x="32" y="713"/>
                  </a:lnTo>
                  <a:lnTo>
                    <a:pt x="0" y="1"/>
                  </a:lnTo>
                  <a:lnTo>
                    <a:pt x="0" y="1"/>
                  </a:lnTo>
                  <a:lnTo>
                    <a:pt x="0" y="0"/>
                  </a:lnTo>
                  <a:lnTo>
                    <a:pt x="0" y="0"/>
                  </a:lnTo>
                  <a:lnTo>
                    <a:pt x="719" y="227"/>
                  </a:lnTo>
                  <a:lnTo>
                    <a:pt x="36" y="80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9" name="Freeform 434"/>
            <p:cNvSpPr>
              <a:spLocks/>
            </p:cNvSpPr>
            <p:nvPr/>
          </p:nvSpPr>
          <p:spPr bwMode="auto">
            <a:xfrm>
              <a:off x="-8101013" y="5514975"/>
              <a:ext cx="2635250" cy="1397000"/>
            </a:xfrm>
            <a:custGeom>
              <a:avLst/>
              <a:gdLst>
                <a:gd name="T0" fmla="*/ 983 w 1660"/>
                <a:gd name="T1" fmla="*/ 880 h 880"/>
                <a:gd name="T2" fmla="*/ 691 w 1660"/>
                <a:gd name="T3" fmla="*/ 619 h 880"/>
                <a:gd name="T4" fmla="*/ 0 w 1660"/>
                <a:gd name="T5" fmla="*/ 0 h 880"/>
                <a:gd name="T6" fmla="*/ 1660 w 1660"/>
                <a:gd name="T7" fmla="*/ 175 h 880"/>
                <a:gd name="T8" fmla="*/ 1660 w 1660"/>
                <a:gd name="T9" fmla="*/ 175 h 880"/>
                <a:gd name="T10" fmla="*/ 1660 w 1660"/>
                <a:gd name="T11" fmla="*/ 175 h 880"/>
                <a:gd name="T12" fmla="*/ 1660 w 1660"/>
                <a:gd name="T13" fmla="*/ 175 h 880"/>
                <a:gd name="T14" fmla="*/ 983 w 1660"/>
                <a:gd name="T15" fmla="*/ 880 h 8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0" h="880">
                  <a:moveTo>
                    <a:pt x="983" y="880"/>
                  </a:moveTo>
                  <a:lnTo>
                    <a:pt x="691" y="619"/>
                  </a:lnTo>
                  <a:lnTo>
                    <a:pt x="0" y="0"/>
                  </a:lnTo>
                  <a:lnTo>
                    <a:pt x="1660" y="175"/>
                  </a:lnTo>
                  <a:lnTo>
                    <a:pt x="1660" y="175"/>
                  </a:lnTo>
                  <a:lnTo>
                    <a:pt x="1660" y="175"/>
                  </a:lnTo>
                  <a:lnTo>
                    <a:pt x="1660" y="175"/>
                  </a:lnTo>
                  <a:lnTo>
                    <a:pt x="983" y="8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0" name="Freeform 435"/>
            <p:cNvSpPr>
              <a:spLocks/>
            </p:cNvSpPr>
            <p:nvPr/>
          </p:nvSpPr>
          <p:spPr bwMode="auto">
            <a:xfrm>
              <a:off x="-8102600" y="5514975"/>
              <a:ext cx="1098550" cy="982663"/>
            </a:xfrm>
            <a:custGeom>
              <a:avLst/>
              <a:gdLst>
                <a:gd name="T0" fmla="*/ 692 w 692"/>
                <a:gd name="T1" fmla="*/ 619 h 619"/>
                <a:gd name="T2" fmla="*/ 0 w 692"/>
                <a:gd name="T3" fmla="*/ 0 h 619"/>
                <a:gd name="T4" fmla="*/ 1 w 692"/>
                <a:gd name="T5" fmla="*/ 0 h 619"/>
                <a:gd name="T6" fmla="*/ 692 w 692"/>
                <a:gd name="T7" fmla="*/ 619 h 619"/>
              </a:gdLst>
              <a:ahLst/>
              <a:cxnLst>
                <a:cxn ang="0">
                  <a:pos x="T0" y="T1"/>
                </a:cxn>
                <a:cxn ang="0">
                  <a:pos x="T2" y="T3"/>
                </a:cxn>
                <a:cxn ang="0">
                  <a:pos x="T4" y="T5"/>
                </a:cxn>
                <a:cxn ang="0">
                  <a:pos x="T6" y="T7"/>
                </a:cxn>
              </a:cxnLst>
              <a:rect l="0" t="0" r="r" b="b"/>
              <a:pathLst>
                <a:path w="692" h="619">
                  <a:moveTo>
                    <a:pt x="692" y="619"/>
                  </a:moveTo>
                  <a:lnTo>
                    <a:pt x="0" y="0"/>
                  </a:lnTo>
                  <a:lnTo>
                    <a:pt x="1" y="0"/>
                  </a:lnTo>
                  <a:lnTo>
                    <a:pt x="692" y="61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1" name="Freeform 436"/>
            <p:cNvSpPr>
              <a:spLocks noEditPoints="1"/>
            </p:cNvSpPr>
            <p:nvPr/>
          </p:nvSpPr>
          <p:spPr bwMode="auto">
            <a:xfrm>
              <a:off x="-9909175" y="4238625"/>
              <a:ext cx="1806575" cy="2339975"/>
            </a:xfrm>
            <a:custGeom>
              <a:avLst/>
              <a:gdLst>
                <a:gd name="T0" fmla="*/ 0 w 2371"/>
                <a:gd name="T1" fmla="*/ 3072 h 3072"/>
                <a:gd name="T2" fmla="*/ 0 w 2371"/>
                <a:gd name="T3" fmla="*/ 3072 h 3072"/>
                <a:gd name="T4" fmla="*/ 0 w 2371"/>
                <a:gd name="T5" fmla="*/ 3072 h 3072"/>
                <a:gd name="T6" fmla="*/ 0 w 2371"/>
                <a:gd name="T7" fmla="*/ 3072 h 3072"/>
                <a:gd name="T8" fmla="*/ 2296 w 2371"/>
                <a:gd name="T9" fmla="*/ 0 h 3072"/>
                <a:gd name="T10" fmla="*/ 2363 w 2371"/>
                <a:gd name="T11" fmla="*/ 1484 h 3072"/>
                <a:gd name="T12" fmla="*/ 2371 w 2371"/>
                <a:gd name="T13" fmla="*/ 1676 h 3072"/>
                <a:gd name="T14" fmla="*/ 2371 w 2371"/>
                <a:gd name="T15" fmla="*/ 1676 h 3072"/>
                <a:gd name="T16" fmla="*/ 0 w 2371"/>
                <a:gd name="T17" fmla="*/ 3072 h 3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1" h="3072">
                  <a:moveTo>
                    <a:pt x="0" y="3072"/>
                  </a:moveTo>
                  <a:lnTo>
                    <a:pt x="0" y="3072"/>
                  </a:lnTo>
                  <a:lnTo>
                    <a:pt x="0" y="3072"/>
                  </a:lnTo>
                  <a:moveTo>
                    <a:pt x="0" y="3072"/>
                  </a:moveTo>
                  <a:lnTo>
                    <a:pt x="2296" y="0"/>
                  </a:lnTo>
                  <a:lnTo>
                    <a:pt x="2363" y="1484"/>
                  </a:lnTo>
                  <a:lnTo>
                    <a:pt x="2371" y="1676"/>
                  </a:lnTo>
                  <a:lnTo>
                    <a:pt x="2371" y="1676"/>
                  </a:lnTo>
                  <a:lnTo>
                    <a:pt x="0" y="3072"/>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2" name="Freeform 437"/>
            <p:cNvSpPr>
              <a:spLocks/>
            </p:cNvSpPr>
            <p:nvPr/>
          </p:nvSpPr>
          <p:spPr bwMode="auto">
            <a:xfrm>
              <a:off x="-8102600" y="551497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3" name="Freeform 438"/>
            <p:cNvSpPr>
              <a:spLocks/>
            </p:cNvSpPr>
            <p:nvPr/>
          </p:nvSpPr>
          <p:spPr bwMode="auto">
            <a:xfrm>
              <a:off x="-8159750" y="4238625"/>
              <a:ext cx="50800" cy="1130300"/>
            </a:xfrm>
            <a:custGeom>
              <a:avLst/>
              <a:gdLst>
                <a:gd name="T0" fmla="*/ 32 w 32"/>
                <a:gd name="T1" fmla="*/ 712 h 712"/>
                <a:gd name="T2" fmla="*/ 0 w 32"/>
                <a:gd name="T3" fmla="*/ 0 h 712"/>
                <a:gd name="T4" fmla="*/ 0 w 32"/>
                <a:gd name="T5" fmla="*/ 0 h 712"/>
                <a:gd name="T6" fmla="*/ 32 w 32"/>
                <a:gd name="T7" fmla="*/ 712 h 712"/>
              </a:gdLst>
              <a:ahLst/>
              <a:cxnLst>
                <a:cxn ang="0">
                  <a:pos x="T0" y="T1"/>
                </a:cxn>
                <a:cxn ang="0">
                  <a:pos x="T2" y="T3"/>
                </a:cxn>
                <a:cxn ang="0">
                  <a:pos x="T4" y="T5"/>
                </a:cxn>
                <a:cxn ang="0">
                  <a:pos x="T6" y="T7"/>
                </a:cxn>
              </a:cxnLst>
              <a:rect l="0" t="0" r="r" b="b"/>
              <a:pathLst>
                <a:path w="32" h="712">
                  <a:moveTo>
                    <a:pt x="32" y="712"/>
                  </a:moveTo>
                  <a:lnTo>
                    <a:pt x="0" y="0"/>
                  </a:lnTo>
                  <a:lnTo>
                    <a:pt x="0" y="0"/>
                  </a:lnTo>
                  <a:lnTo>
                    <a:pt x="32" y="71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4" name="Freeform 439"/>
            <p:cNvSpPr>
              <a:spLocks/>
            </p:cNvSpPr>
            <p:nvPr/>
          </p:nvSpPr>
          <p:spPr bwMode="auto">
            <a:xfrm>
              <a:off x="-8101013" y="4597400"/>
              <a:ext cx="2635250" cy="1195388"/>
            </a:xfrm>
            <a:custGeom>
              <a:avLst/>
              <a:gdLst>
                <a:gd name="T0" fmla="*/ 1660 w 1660"/>
                <a:gd name="T1" fmla="*/ 753 h 753"/>
                <a:gd name="T2" fmla="*/ 0 w 1660"/>
                <a:gd name="T3" fmla="*/ 578 h 753"/>
                <a:gd name="T4" fmla="*/ 0 w 1660"/>
                <a:gd name="T5" fmla="*/ 578 h 753"/>
                <a:gd name="T6" fmla="*/ 682 w 1660"/>
                <a:gd name="T7" fmla="*/ 0 h 753"/>
                <a:gd name="T8" fmla="*/ 1660 w 1660"/>
                <a:gd name="T9" fmla="*/ 753 h 753"/>
                <a:gd name="T10" fmla="*/ 1660 w 1660"/>
                <a:gd name="T11" fmla="*/ 753 h 753"/>
              </a:gdLst>
              <a:ahLst/>
              <a:cxnLst>
                <a:cxn ang="0">
                  <a:pos x="T0" y="T1"/>
                </a:cxn>
                <a:cxn ang="0">
                  <a:pos x="T2" y="T3"/>
                </a:cxn>
                <a:cxn ang="0">
                  <a:pos x="T4" y="T5"/>
                </a:cxn>
                <a:cxn ang="0">
                  <a:pos x="T6" y="T7"/>
                </a:cxn>
                <a:cxn ang="0">
                  <a:pos x="T8" y="T9"/>
                </a:cxn>
                <a:cxn ang="0">
                  <a:pos x="T10" y="T11"/>
                </a:cxn>
              </a:cxnLst>
              <a:rect l="0" t="0" r="r" b="b"/>
              <a:pathLst>
                <a:path w="1660" h="753">
                  <a:moveTo>
                    <a:pt x="1660" y="753"/>
                  </a:moveTo>
                  <a:lnTo>
                    <a:pt x="0" y="578"/>
                  </a:lnTo>
                  <a:lnTo>
                    <a:pt x="0" y="578"/>
                  </a:lnTo>
                  <a:lnTo>
                    <a:pt x="682" y="0"/>
                  </a:lnTo>
                  <a:lnTo>
                    <a:pt x="1660" y="753"/>
                  </a:lnTo>
                  <a:lnTo>
                    <a:pt x="1660" y="753"/>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5" name="Freeform 440"/>
            <p:cNvSpPr>
              <a:spLocks/>
            </p:cNvSpPr>
            <p:nvPr/>
          </p:nvSpPr>
          <p:spPr bwMode="auto">
            <a:xfrm>
              <a:off x="-8102600" y="5514975"/>
              <a:ext cx="1588"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6" name="Freeform 441"/>
            <p:cNvSpPr>
              <a:spLocks/>
            </p:cNvSpPr>
            <p:nvPr/>
          </p:nvSpPr>
          <p:spPr bwMode="auto">
            <a:xfrm>
              <a:off x="-9909175" y="5514975"/>
              <a:ext cx="1806575" cy="2144713"/>
            </a:xfrm>
            <a:custGeom>
              <a:avLst/>
              <a:gdLst>
                <a:gd name="T0" fmla="*/ 999 w 1138"/>
                <a:gd name="T1" fmla="*/ 1351 h 1351"/>
                <a:gd name="T2" fmla="*/ 662 w 1138"/>
                <a:gd name="T3" fmla="*/ 1351 h 1351"/>
                <a:gd name="T4" fmla="*/ 0 w 1138"/>
                <a:gd name="T5" fmla="*/ 670 h 1351"/>
                <a:gd name="T6" fmla="*/ 0 w 1138"/>
                <a:gd name="T7" fmla="*/ 670 h 1351"/>
                <a:gd name="T8" fmla="*/ 1138 w 1138"/>
                <a:gd name="T9" fmla="*/ 0 h 1351"/>
                <a:gd name="T10" fmla="*/ 999 w 1138"/>
                <a:gd name="T11" fmla="*/ 1351 h 1351"/>
              </a:gdLst>
              <a:ahLst/>
              <a:cxnLst>
                <a:cxn ang="0">
                  <a:pos x="T0" y="T1"/>
                </a:cxn>
                <a:cxn ang="0">
                  <a:pos x="T2" y="T3"/>
                </a:cxn>
                <a:cxn ang="0">
                  <a:pos x="T4" y="T5"/>
                </a:cxn>
                <a:cxn ang="0">
                  <a:pos x="T6" y="T7"/>
                </a:cxn>
                <a:cxn ang="0">
                  <a:pos x="T8" y="T9"/>
                </a:cxn>
                <a:cxn ang="0">
                  <a:pos x="T10" y="T11"/>
                </a:cxn>
              </a:cxnLst>
              <a:rect l="0" t="0" r="r" b="b"/>
              <a:pathLst>
                <a:path w="1138" h="1351">
                  <a:moveTo>
                    <a:pt x="999" y="1351"/>
                  </a:moveTo>
                  <a:lnTo>
                    <a:pt x="662" y="1351"/>
                  </a:lnTo>
                  <a:lnTo>
                    <a:pt x="0" y="670"/>
                  </a:lnTo>
                  <a:lnTo>
                    <a:pt x="0" y="670"/>
                  </a:lnTo>
                  <a:lnTo>
                    <a:pt x="1138" y="0"/>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7" name="Freeform 442"/>
            <p:cNvSpPr>
              <a:spLocks/>
            </p:cNvSpPr>
            <p:nvPr/>
          </p:nvSpPr>
          <p:spPr bwMode="auto">
            <a:xfrm>
              <a:off x="-5465763" y="4816475"/>
              <a:ext cx="1250950" cy="1479550"/>
            </a:xfrm>
            <a:custGeom>
              <a:avLst/>
              <a:gdLst>
                <a:gd name="T0" fmla="*/ 788 w 788"/>
                <a:gd name="T1" fmla="*/ 932 h 932"/>
                <a:gd name="T2" fmla="*/ 0 w 788"/>
                <a:gd name="T3" fmla="*/ 615 h 932"/>
                <a:gd name="T4" fmla="*/ 0 w 788"/>
                <a:gd name="T5" fmla="*/ 615 h 932"/>
                <a:gd name="T6" fmla="*/ 0 w 788"/>
                <a:gd name="T7" fmla="*/ 615 h 932"/>
                <a:gd name="T8" fmla="*/ 498 w 788"/>
                <a:gd name="T9" fmla="*/ 0 h 932"/>
                <a:gd name="T10" fmla="*/ 788 w 788"/>
                <a:gd name="T11" fmla="*/ 932 h 932"/>
              </a:gdLst>
              <a:ahLst/>
              <a:cxnLst>
                <a:cxn ang="0">
                  <a:pos x="T0" y="T1"/>
                </a:cxn>
                <a:cxn ang="0">
                  <a:pos x="T2" y="T3"/>
                </a:cxn>
                <a:cxn ang="0">
                  <a:pos x="T4" y="T5"/>
                </a:cxn>
                <a:cxn ang="0">
                  <a:pos x="T6" y="T7"/>
                </a:cxn>
                <a:cxn ang="0">
                  <a:pos x="T8" y="T9"/>
                </a:cxn>
                <a:cxn ang="0">
                  <a:pos x="T10" y="T11"/>
                </a:cxn>
              </a:cxnLst>
              <a:rect l="0" t="0" r="r" b="b"/>
              <a:pathLst>
                <a:path w="788" h="932">
                  <a:moveTo>
                    <a:pt x="788" y="932"/>
                  </a:moveTo>
                  <a:lnTo>
                    <a:pt x="0" y="615"/>
                  </a:lnTo>
                  <a:lnTo>
                    <a:pt x="0" y="615"/>
                  </a:lnTo>
                  <a:lnTo>
                    <a:pt x="0" y="615"/>
                  </a:lnTo>
                  <a:lnTo>
                    <a:pt x="498" y="0"/>
                  </a:lnTo>
                  <a:lnTo>
                    <a:pt x="788"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8" name="Freeform 443"/>
            <p:cNvSpPr>
              <a:spLocks/>
            </p:cNvSpPr>
            <p:nvPr/>
          </p:nvSpPr>
          <p:spPr bwMode="auto">
            <a:xfrm>
              <a:off x="-6213475" y="2655887"/>
              <a:ext cx="1800225" cy="2160588"/>
            </a:xfrm>
            <a:custGeom>
              <a:avLst/>
              <a:gdLst>
                <a:gd name="T0" fmla="*/ 969 w 1134"/>
                <a:gd name="T1" fmla="*/ 1361 h 1361"/>
                <a:gd name="T2" fmla="*/ 969 w 1134"/>
                <a:gd name="T3" fmla="*/ 1361 h 1361"/>
                <a:gd name="T4" fmla="*/ 0 w 1134"/>
                <a:gd name="T5" fmla="*/ 0 h 1361"/>
                <a:gd name="T6" fmla="*/ 0 w 1134"/>
                <a:gd name="T7" fmla="*/ 0 h 1361"/>
                <a:gd name="T8" fmla="*/ 1134 w 1134"/>
                <a:gd name="T9" fmla="*/ 288 h 1361"/>
                <a:gd name="T10" fmla="*/ 969 w 1134"/>
                <a:gd name="T11" fmla="*/ 1361 h 1361"/>
              </a:gdLst>
              <a:ahLst/>
              <a:cxnLst>
                <a:cxn ang="0">
                  <a:pos x="T0" y="T1"/>
                </a:cxn>
                <a:cxn ang="0">
                  <a:pos x="T2" y="T3"/>
                </a:cxn>
                <a:cxn ang="0">
                  <a:pos x="T4" y="T5"/>
                </a:cxn>
                <a:cxn ang="0">
                  <a:pos x="T6" y="T7"/>
                </a:cxn>
                <a:cxn ang="0">
                  <a:pos x="T8" y="T9"/>
                </a:cxn>
                <a:cxn ang="0">
                  <a:pos x="T10" y="T11"/>
                </a:cxn>
              </a:cxnLst>
              <a:rect l="0" t="0" r="r" b="b"/>
              <a:pathLst>
                <a:path w="1134" h="1361">
                  <a:moveTo>
                    <a:pt x="969" y="1361"/>
                  </a:moveTo>
                  <a:lnTo>
                    <a:pt x="969" y="1361"/>
                  </a:lnTo>
                  <a:lnTo>
                    <a:pt x="0" y="0"/>
                  </a:lnTo>
                  <a:lnTo>
                    <a:pt x="0" y="0"/>
                  </a:lnTo>
                  <a:lnTo>
                    <a:pt x="1134" y="288"/>
                  </a:lnTo>
                  <a:lnTo>
                    <a:pt x="969" y="1361"/>
                  </a:lnTo>
                  <a:close/>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9" name="Rectangle 444"/>
            <p:cNvSpPr>
              <a:spLocks noChangeArrowheads="1"/>
            </p:cNvSpPr>
            <p:nvPr/>
          </p:nvSpPr>
          <p:spPr bwMode="auto">
            <a:xfrm>
              <a:off x="-6213475" y="2655887"/>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0" name="Rectangle 445"/>
            <p:cNvSpPr>
              <a:spLocks noChangeArrowheads="1"/>
            </p:cNvSpPr>
            <p:nvPr/>
          </p:nvSpPr>
          <p:spPr bwMode="auto">
            <a:xfrm>
              <a:off x="-6213475" y="2655887"/>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1" name="Freeform 446"/>
            <p:cNvSpPr>
              <a:spLocks/>
            </p:cNvSpPr>
            <p:nvPr/>
          </p:nvSpPr>
          <p:spPr bwMode="auto">
            <a:xfrm>
              <a:off x="-4675188" y="4237037"/>
              <a:ext cx="1903413" cy="2058988"/>
            </a:xfrm>
            <a:custGeom>
              <a:avLst/>
              <a:gdLst>
                <a:gd name="T0" fmla="*/ 290 w 1199"/>
                <a:gd name="T1" fmla="*/ 1297 h 1297"/>
                <a:gd name="T2" fmla="*/ 290 w 1199"/>
                <a:gd name="T3" fmla="*/ 1297 h 1297"/>
                <a:gd name="T4" fmla="*/ 0 w 1199"/>
                <a:gd name="T5" fmla="*/ 365 h 1297"/>
                <a:gd name="T6" fmla="*/ 0 w 1199"/>
                <a:gd name="T7" fmla="*/ 365 h 1297"/>
                <a:gd name="T8" fmla="*/ 0 w 1199"/>
                <a:gd name="T9" fmla="*/ 365 h 1297"/>
                <a:gd name="T10" fmla="*/ 0 w 1199"/>
                <a:gd name="T11" fmla="*/ 365 h 1297"/>
                <a:gd name="T12" fmla="*/ 1199 w 1199"/>
                <a:gd name="T13" fmla="*/ 0 h 1297"/>
                <a:gd name="T14" fmla="*/ 290 w 1199"/>
                <a:gd name="T15" fmla="*/ 1297 h 1297"/>
                <a:gd name="T16" fmla="*/ 290 w 1199"/>
                <a:gd name="T17" fmla="*/ 1297 h 1297"/>
                <a:gd name="T18" fmla="*/ 290 w 1199"/>
                <a:gd name="T19" fmla="*/ 129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9" h="1297">
                  <a:moveTo>
                    <a:pt x="290" y="1297"/>
                  </a:moveTo>
                  <a:lnTo>
                    <a:pt x="290" y="1297"/>
                  </a:lnTo>
                  <a:lnTo>
                    <a:pt x="0" y="365"/>
                  </a:lnTo>
                  <a:lnTo>
                    <a:pt x="0" y="365"/>
                  </a:lnTo>
                  <a:lnTo>
                    <a:pt x="0" y="365"/>
                  </a:lnTo>
                  <a:lnTo>
                    <a:pt x="0" y="365"/>
                  </a:lnTo>
                  <a:lnTo>
                    <a:pt x="1199" y="0"/>
                  </a:lnTo>
                  <a:lnTo>
                    <a:pt x="290" y="1297"/>
                  </a:lnTo>
                  <a:lnTo>
                    <a:pt x="290" y="1297"/>
                  </a:lnTo>
                  <a:lnTo>
                    <a:pt x="290" y="1297"/>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2" name="Freeform 447"/>
            <p:cNvSpPr>
              <a:spLocks/>
            </p:cNvSpPr>
            <p:nvPr/>
          </p:nvSpPr>
          <p:spPr bwMode="auto">
            <a:xfrm>
              <a:off x="-4675188" y="4816475"/>
              <a:ext cx="460375" cy="1479550"/>
            </a:xfrm>
            <a:custGeom>
              <a:avLst/>
              <a:gdLst>
                <a:gd name="T0" fmla="*/ 290 w 290"/>
                <a:gd name="T1" fmla="*/ 932 h 932"/>
                <a:gd name="T2" fmla="*/ 290 w 290"/>
                <a:gd name="T3" fmla="*/ 932 h 932"/>
                <a:gd name="T4" fmla="*/ 0 w 290"/>
                <a:gd name="T5" fmla="*/ 0 h 932"/>
                <a:gd name="T6" fmla="*/ 0 w 290"/>
                <a:gd name="T7" fmla="*/ 0 h 932"/>
                <a:gd name="T8" fmla="*/ 290 w 290"/>
                <a:gd name="T9" fmla="*/ 932 h 932"/>
              </a:gdLst>
              <a:ahLst/>
              <a:cxnLst>
                <a:cxn ang="0">
                  <a:pos x="T0" y="T1"/>
                </a:cxn>
                <a:cxn ang="0">
                  <a:pos x="T2" y="T3"/>
                </a:cxn>
                <a:cxn ang="0">
                  <a:pos x="T4" y="T5"/>
                </a:cxn>
                <a:cxn ang="0">
                  <a:pos x="T6" y="T7"/>
                </a:cxn>
                <a:cxn ang="0">
                  <a:pos x="T8" y="T9"/>
                </a:cxn>
              </a:cxnLst>
              <a:rect l="0" t="0" r="r" b="b"/>
              <a:pathLst>
                <a:path w="290" h="932">
                  <a:moveTo>
                    <a:pt x="290" y="932"/>
                  </a:moveTo>
                  <a:lnTo>
                    <a:pt x="290" y="932"/>
                  </a:lnTo>
                  <a:lnTo>
                    <a:pt x="0" y="0"/>
                  </a:lnTo>
                  <a:lnTo>
                    <a:pt x="0" y="0"/>
                  </a:lnTo>
                  <a:lnTo>
                    <a:pt x="290"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3" name="Freeform 448"/>
            <p:cNvSpPr>
              <a:spLocks/>
            </p:cNvSpPr>
            <p:nvPr/>
          </p:nvSpPr>
          <p:spPr bwMode="auto">
            <a:xfrm>
              <a:off x="-7018338" y="2655887"/>
              <a:ext cx="2343150" cy="2160588"/>
            </a:xfrm>
            <a:custGeom>
              <a:avLst/>
              <a:gdLst>
                <a:gd name="T0" fmla="*/ 1476 w 1476"/>
                <a:gd name="T1" fmla="*/ 1361 h 1361"/>
                <a:gd name="T2" fmla="*/ 0 w 1476"/>
                <a:gd name="T3" fmla="*/ 1223 h 1361"/>
                <a:gd name="T4" fmla="*/ 507 w 1476"/>
                <a:gd name="T5" fmla="*/ 0 h 1361"/>
                <a:gd name="T6" fmla="*/ 1476 w 1476"/>
                <a:gd name="T7" fmla="*/ 1361 h 1361"/>
              </a:gdLst>
              <a:ahLst/>
              <a:cxnLst>
                <a:cxn ang="0">
                  <a:pos x="T0" y="T1"/>
                </a:cxn>
                <a:cxn ang="0">
                  <a:pos x="T2" y="T3"/>
                </a:cxn>
                <a:cxn ang="0">
                  <a:pos x="T4" y="T5"/>
                </a:cxn>
                <a:cxn ang="0">
                  <a:pos x="T6" y="T7"/>
                </a:cxn>
              </a:cxnLst>
              <a:rect l="0" t="0" r="r" b="b"/>
              <a:pathLst>
                <a:path w="1476" h="1361">
                  <a:moveTo>
                    <a:pt x="1476" y="1361"/>
                  </a:moveTo>
                  <a:lnTo>
                    <a:pt x="0" y="1223"/>
                  </a:lnTo>
                  <a:lnTo>
                    <a:pt x="507" y="0"/>
                  </a:lnTo>
                  <a:lnTo>
                    <a:pt x="1476" y="136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4" name="Freeform 449"/>
            <p:cNvSpPr>
              <a:spLocks/>
            </p:cNvSpPr>
            <p:nvPr/>
          </p:nvSpPr>
          <p:spPr bwMode="auto">
            <a:xfrm>
              <a:off x="-7018338" y="2655887"/>
              <a:ext cx="804863" cy="1941513"/>
            </a:xfrm>
            <a:custGeom>
              <a:avLst/>
              <a:gdLst>
                <a:gd name="T0" fmla="*/ 0 w 507"/>
                <a:gd name="T1" fmla="*/ 1223 h 1223"/>
                <a:gd name="T2" fmla="*/ 507 w 507"/>
                <a:gd name="T3" fmla="*/ 0 h 1223"/>
                <a:gd name="T4" fmla="*/ 507 w 507"/>
                <a:gd name="T5" fmla="*/ 0 h 1223"/>
                <a:gd name="T6" fmla="*/ 0 w 507"/>
                <a:gd name="T7" fmla="*/ 1223 h 1223"/>
              </a:gdLst>
              <a:ahLst/>
              <a:cxnLst>
                <a:cxn ang="0">
                  <a:pos x="T0" y="T1"/>
                </a:cxn>
                <a:cxn ang="0">
                  <a:pos x="T2" y="T3"/>
                </a:cxn>
                <a:cxn ang="0">
                  <a:pos x="T4" y="T5"/>
                </a:cxn>
                <a:cxn ang="0">
                  <a:pos x="T6" y="T7"/>
                </a:cxn>
              </a:cxnLst>
              <a:rect l="0" t="0" r="r" b="b"/>
              <a:pathLst>
                <a:path w="507" h="1223">
                  <a:moveTo>
                    <a:pt x="0" y="1223"/>
                  </a:moveTo>
                  <a:lnTo>
                    <a:pt x="507" y="0"/>
                  </a:lnTo>
                  <a:lnTo>
                    <a:pt x="507" y="0"/>
                  </a:lnTo>
                  <a:lnTo>
                    <a:pt x="0" y="122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5" name="Rectangle 450"/>
            <p:cNvSpPr>
              <a:spLocks noChangeArrowheads="1"/>
            </p:cNvSpPr>
            <p:nvPr/>
          </p:nvSpPr>
          <p:spPr bwMode="auto">
            <a:xfrm>
              <a:off x="-6213475" y="2655887"/>
              <a:ext cx="1588" cy="1588"/>
            </a:xfrm>
            <a:prstGeom prst="rect">
              <a:avLst/>
            </a:prstGeom>
            <a:solidFill>
              <a:srgbClr val="5698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6" name="Freeform 451"/>
            <p:cNvSpPr>
              <a:spLocks/>
            </p:cNvSpPr>
            <p:nvPr/>
          </p:nvSpPr>
          <p:spPr bwMode="auto">
            <a:xfrm>
              <a:off x="-6213475" y="2655887"/>
              <a:ext cx="1538288" cy="2160588"/>
            </a:xfrm>
            <a:custGeom>
              <a:avLst/>
              <a:gdLst>
                <a:gd name="T0" fmla="*/ 969 w 969"/>
                <a:gd name="T1" fmla="*/ 1361 h 1361"/>
                <a:gd name="T2" fmla="*/ 969 w 969"/>
                <a:gd name="T3" fmla="*/ 1361 h 1361"/>
                <a:gd name="T4" fmla="*/ 0 w 969"/>
                <a:gd name="T5" fmla="*/ 0 h 1361"/>
                <a:gd name="T6" fmla="*/ 0 w 969"/>
                <a:gd name="T7" fmla="*/ 0 h 1361"/>
                <a:gd name="T8" fmla="*/ 969 w 969"/>
                <a:gd name="T9" fmla="*/ 1361 h 1361"/>
              </a:gdLst>
              <a:ahLst/>
              <a:cxnLst>
                <a:cxn ang="0">
                  <a:pos x="T0" y="T1"/>
                </a:cxn>
                <a:cxn ang="0">
                  <a:pos x="T2" y="T3"/>
                </a:cxn>
                <a:cxn ang="0">
                  <a:pos x="T4" y="T5"/>
                </a:cxn>
                <a:cxn ang="0">
                  <a:pos x="T6" y="T7"/>
                </a:cxn>
                <a:cxn ang="0">
                  <a:pos x="T8" y="T9"/>
                </a:cxn>
              </a:cxnLst>
              <a:rect l="0" t="0" r="r" b="b"/>
              <a:pathLst>
                <a:path w="969" h="1361">
                  <a:moveTo>
                    <a:pt x="969" y="1361"/>
                  </a:moveTo>
                  <a:lnTo>
                    <a:pt x="969" y="1361"/>
                  </a:lnTo>
                  <a:lnTo>
                    <a:pt x="0" y="0"/>
                  </a:lnTo>
                  <a:lnTo>
                    <a:pt x="0" y="0"/>
                  </a:lnTo>
                  <a:lnTo>
                    <a:pt x="969" y="1361"/>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7" name="Freeform 452"/>
            <p:cNvSpPr>
              <a:spLocks/>
            </p:cNvSpPr>
            <p:nvPr/>
          </p:nvSpPr>
          <p:spPr bwMode="auto">
            <a:xfrm>
              <a:off x="-6213475" y="2655887"/>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8" name="Freeform 453"/>
            <p:cNvSpPr>
              <a:spLocks/>
            </p:cNvSpPr>
            <p:nvPr/>
          </p:nvSpPr>
          <p:spPr bwMode="auto">
            <a:xfrm>
              <a:off x="-4675188" y="3113087"/>
              <a:ext cx="1903413" cy="1703388"/>
            </a:xfrm>
            <a:custGeom>
              <a:avLst/>
              <a:gdLst>
                <a:gd name="T0" fmla="*/ 0 w 1199"/>
                <a:gd name="T1" fmla="*/ 1073 h 1073"/>
                <a:gd name="T2" fmla="*/ 165 w 1199"/>
                <a:gd name="T3" fmla="*/ 0 h 1073"/>
                <a:gd name="T4" fmla="*/ 1199 w 1199"/>
                <a:gd name="T5" fmla="*/ 708 h 1073"/>
                <a:gd name="T6" fmla="*/ 0 w 1199"/>
                <a:gd name="T7" fmla="*/ 1073 h 1073"/>
              </a:gdLst>
              <a:ahLst/>
              <a:cxnLst>
                <a:cxn ang="0">
                  <a:pos x="T0" y="T1"/>
                </a:cxn>
                <a:cxn ang="0">
                  <a:pos x="T2" y="T3"/>
                </a:cxn>
                <a:cxn ang="0">
                  <a:pos x="T4" y="T5"/>
                </a:cxn>
                <a:cxn ang="0">
                  <a:pos x="T6" y="T7"/>
                </a:cxn>
              </a:cxnLst>
              <a:rect l="0" t="0" r="r" b="b"/>
              <a:pathLst>
                <a:path w="1199" h="1073">
                  <a:moveTo>
                    <a:pt x="0" y="1073"/>
                  </a:moveTo>
                  <a:lnTo>
                    <a:pt x="165" y="0"/>
                  </a:lnTo>
                  <a:lnTo>
                    <a:pt x="1199" y="708"/>
                  </a:lnTo>
                  <a:lnTo>
                    <a:pt x="0" y="1073"/>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9" name="Freeform 454"/>
            <p:cNvSpPr>
              <a:spLocks/>
            </p:cNvSpPr>
            <p:nvPr/>
          </p:nvSpPr>
          <p:spPr bwMode="auto">
            <a:xfrm>
              <a:off x="-7018338" y="4597400"/>
              <a:ext cx="2343150" cy="1195388"/>
            </a:xfrm>
            <a:custGeom>
              <a:avLst/>
              <a:gdLst>
                <a:gd name="T0" fmla="*/ 978 w 1476"/>
                <a:gd name="T1" fmla="*/ 753 h 753"/>
                <a:gd name="T2" fmla="*/ 978 w 1476"/>
                <a:gd name="T3" fmla="*/ 753 h 753"/>
                <a:gd name="T4" fmla="*/ 0 w 1476"/>
                <a:gd name="T5" fmla="*/ 0 h 753"/>
                <a:gd name="T6" fmla="*/ 1476 w 1476"/>
                <a:gd name="T7" fmla="*/ 138 h 753"/>
                <a:gd name="T8" fmla="*/ 978 w 1476"/>
                <a:gd name="T9" fmla="*/ 753 h 753"/>
              </a:gdLst>
              <a:ahLst/>
              <a:cxnLst>
                <a:cxn ang="0">
                  <a:pos x="T0" y="T1"/>
                </a:cxn>
                <a:cxn ang="0">
                  <a:pos x="T2" y="T3"/>
                </a:cxn>
                <a:cxn ang="0">
                  <a:pos x="T4" y="T5"/>
                </a:cxn>
                <a:cxn ang="0">
                  <a:pos x="T6" y="T7"/>
                </a:cxn>
                <a:cxn ang="0">
                  <a:pos x="T8" y="T9"/>
                </a:cxn>
              </a:cxnLst>
              <a:rect l="0" t="0" r="r" b="b"/>
              <a:pathLst>
                <a:path w="1476" h="753">
                  <a:moveTo>
                    <a:pt x="978" y="753"/>
                  </a:moveTo>
                  <a:lnTo>
                    <a:pt x="978" y="753"/>
                  </a:lnTo>
                  <a:lnTo>
                    <a:pt x="0" y="0"/>
                  </a:lnTo>
                  <a:lnTo>
                    <a:pt x="1476" y="138"/>
                  </a:lnTo>
                  <a:lnTo>
                    <a:pt x="978" y="7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0" name="Line 455"/>
            <p:cNvSpPr>
              <a:spLocks noChangeShapeType="1"/>
            </p:cNvSpPr>
            <p:nvPr/>
          </p:nvSpPr>
          <p:spPr bwMode="auto">
            <a:xfrm>
              <a:off x="-7643813" y="76596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1" name="Freeform 456"/>
            <p:cNvSpPr>
              <a:spLocks/>
            </p:cNvSpPr>
            <p:nvPr/>
          </p:nvSpPr>
          <p:spPr bwMode="auto">
            <a:xfrm>
              <a:off x="-7643813" y="6911975"/>
              <a:ext cx="1103313" cy="747713"/>
            </a:xfrm>
            <a:custGeom>
              <a:avLst/>
              <a:gdLst>
                <a:gd name="T0" fmla="*/ 0 w 695"/>
                <a:gd name="T1" fmla="*/ 471 h 471"/>
                <a:gd name="T2" fmla="*/ 0 w 695"/>
                <a:gd name="T3" fmla="*/ 471 h 471"/>
                <a:gd name="T4" fmla="*/ 695 w 695"/>
                <a:gd name="T5" fmla="*/ 0 h 471"/>
                <a:gd name="T6" fmla="*/ 0 w 695"/>
                <a:gd name="T7" fmla="*/ 471 h 471"/>
              </a:gdLst>
              <a:ahLst/>
              <a:cxnLst>
                <a:cxn ang="0">
                  <a:pos x="T0" y="T1"/>
                </a:cxn>
                <a:cxn ang="0">
                  <a:pos x="T2" y="T3"/>
                </a:cxn>
                <a:cxn ang="0">
                  <a:pos x="T4" y="T5"/>
                </a:cxn>
                <a:cxn ang="0">
                  <a:pos x="T6" y="T7"/>
                </a:cxn>
              </a:cxnLst>
              <a:rect l="0" t="0" r="r" b="b"/>
              <a:pathLst>
                <a:path w="695" h="471">
                  <a:moveTo>
                    <a:pt x="0" y="471"/>
                  </a:moveTo>
                  <a:lnTo>
                    <a:pt x="0" y="471"/>
                  </a:lnTo>
                  <a:lnTo>
                    <a:pt x="695" y="0"/>
                  </a:lnTo>
                  <a:lnTo>
                    <a:pt x="0" y="47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2" name="Freeform 457"/>
            <p:cNvSpPr>
              <a:spLocks/>
            </p:cNvSpPr>
            <p:nvPr/>
          </p:nvSpPr>
          <p:spPr bwMode="auto">
            <a:xfrm>
              <a:off x="-5465763" y="5792787"/>
              <a:ext cx="1524000" cy="1866900"/>
            </a:xfrm>
            <a:custGeom>
              <a:avLst/>
              <a:gdLst>
                <a:gd name="T0" fmla="*/ 960 w 960"/>
                <a:gd name="T1" fmla="*/ 1176 h 1176"/>
                <a:gd name="T2" fmla="*/ 823 w 960"/>
                <a:gd name="T3" fmla="*/ 1176 h 1176"/>
                <a:gd name="T4" fmla="*/ 0 w 960"/>
                <a:gd name="T5" fmla="*/ 0 h 1176"/>
                <a:gd name="T6" fmla="*/ 788 w 960"/>
                <a:gd name="T7" fmla="*/ 317 h 1176"/>
                <a:gd name="T8" fmla="*/ 960 w 960"/>
                <a:gd name="T9" fmla="*/ 1176 h 1176"/>
              </a:gdLst>
              <a:ahLst/>
              <a:cxnLst>
                <a:cxn ang="0">
                  <a:pos x="T0" y="T1"/>
                </a:cxn>
                <a:cxn ang="0">
                  <a:pos x="T2" y="T3"/>
                </a:cxn>
                <a:cxn ang="0">
                  <a:pos x="T4" y="T5"/>
                </a:cxn>
                <a:cxn ang="0">
                  <a:pos x="T6" y="T7"/>
                </a:cxn>
                <a:cxn ang="0">
                  <a:pos x="T8" y="T9"/>
                </a:cxn>
              </a:cxnLst>
              <a:rect l="0" t="0" r="r" b="b"/>
              <a:pathLst>
                <a:path w="960" h="1176">
                  <a:moveTo>
                    <a:pt x="960" y="1176"/>
                  </a:moveTo>
                  <a:lnTo>
                    <a:pt x="823" y="1176"/>
                  </a:lnTo>
                  <a:lnTo>
                    <a:pt x="0" y="0"/>
                  </a:lnTo>
                  <a:lnTo>
                    <a:pt x="788" y="317"/>
                  </a:lnTo>
                  <a:lnTo>
                    <a:pt x="960" y="117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3" name="Rectangle 458"/>
            <p:cNvSpPr>
              <a:spLocks noChangeArrowheads="1"/>
            </p:cNvSpPr>
            <p:nvPr/>
          </p:nvSpPr>
          <p:spPr bwMode="auto">
            <a:xfrm>
              <a:off x="-5465763" y="5792787"/>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4" name="Freeform 459"/>
            <p:cNvSpPr>
              <a:spLocks/>
            </p:cNvSpPr>
            <p:nvPr/>
          </p:nvSpPr>
          <p:spPr bwMode="auto">
            <a:xfrm>
              <a:off x="-6540500" y="5792787"/>
              <a:ext cx="2381250" cy="1866900"/>
            </a:xfrm>
            <a:custGeom>
              <a:avLst/>
              <a:gdLst>
                <a:gd name="T0" fmla="*/ 1500 w 1500"/>
                <a:gd name="T1" fmla="*/ 1176 h 1176"/>
                <a:gd name="T2" fmla="*/ 1072 w 1500"/>
                <a:gd name="T3" fmla="*/ 1176 h 1176"/>
                <a:gd name="T4" fmla="*/ 0 w 1500"/>
                <a:gd name="T5" fmla="*/ 705 h 1176"/>
                <a:gd name="T6" fmla="*/ 677 w 1500"/>
                <a:gd name="T7" fmla="*/ 0 h 1176"/>
                <a:gd name="T8" fmla="*/ 677 w 1500"/>
                <a:gd name="T9" fmla="*/ 0 h 1176"/>
                <a:gd name="T10" fmla="*/ 1500 w 1500"/>
                <a:gd name="T11" fmla="*/ 1176 h 1176"/>
              </a:gdLst>
              <a:ahLst/>
              <a:cxnLst>
                <a:cxn ang="0">
                  <a:pos x="T0" y="T1"/>
                </a:cxn>
                <a:cxn ang="0">
                  <a:pos x="T2" y="T3"/>
                </a:cxn>
                <a:cxn ang="0">
                  <a:pos x="T4" y="T5"/>
                </a:cxn>
                <a:cxn ang="0">
                  <a:pos x="T6" y="T7"/>
                </a:cxn>
                <a:cxn ang="0">
                  <a:pos x="T8" y="T9"/>
                </a:cxn>
                <a:cxn ang="0">
                  <a:pos x="T10" y="T11"/>
                </a:cxn>
              </a:cxnLst>
              <a:rect l="0" t="0" r="r" b="b"/>
              <a:pathLst>
                <a:path w="1500" h="1176">
                  <a:moveTo>
                    <a:pt x="1500" y="1176"/>
                  </a:moveTo>
                  <a:lnTo>
                    <a:pt x="1072" y="1176"/>
                  </a:lnTo>
                  <a:lnTo>
                    <a:pt x="0" y="705"/>
                  </a:lnTo>
                  <a:lnTo>
                    <a:pt x="677" y="0"/>
                  </a:lnTo>
                  <a:lnTo>
                    <a:pt x="677" y="0"/>
                  </a:lnTo>
                  <a:lnTo>
                    <a:pt x="150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5" name="Freeform 460"/>
            <p:cNvSpPr>
              <a:spLocks/>
            </p:cNvSpPr>
            <p:nvPr/>
          </p:nvSpPr>
          <p:spPr bwMode="auto">
            <a:xfrm>
              <a:off x="-4214813" y="6296025"/>
              <a:ext cx="1620838" cy="1363663"/>
            </a:xfrm>
            <a:custGeom>
              <a:avLst/>
              <a:gdLst>
                <a:gd name="T0" fmla="*/ 1021 w 1021"/>
                <a:gd name="T1" fmla="*/ 859 h 859"/>
                <a:gd name="T2" fmla="*/ 172 w 1021"/>
                <a:gd name="T3" fmla="*/ 859 h 859"/>
                <a:gd name="T4" fmla="*/ 0 w 1021"/>
                <a:gd name="T5" fmla="*/ 0 h 859"/>
                <a:gd name="T6" fmla="*/ 1021 w 1021"/>
                <a:gd name="T7" fmla="*/ 859 h 859"/>
              </a:gdLst>
              <a:ahLst/>
              <a:cxnLst>
                <a:cxn ang="0">
                  <a:pos x="T0" y="T1"/>
                </a:cxn>
                <a:cxn ang="0">
                  <a:pos x="T2" y="T3"/>
                </a:cxn>
                <a:cxn ang="0">
                  <a:pos x="T4" y="T5"/>
                </a:cxn>
                <a:cxn ang="0">
                  <a:pos x="T6" y="T7"/>
                </a:cxn>
              </a:cxnLst>
              <a:rect l="0" t="0" r="r" b="b"/>
              <a:pathLst>
                <a:path w="1021" h="859">
                  <a:moveTo>
                    <a:pt x="1021" y="859"/>
                  </a:moveTo>
                  <a:lnTo>
                    <a:pt x="172" y="859"/>
                  </a:lnTo>
                  <a:lnTo>
                    <a:pt x="0" y="0"/>
                  </a:lnTo>
                  <a:lnTo>
                    <a:pt x="1021" y="8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6" name="Freeform 461"/>
            <p:cNvSpPr>
              <a:spLocks/>
            </p:cNvSpPr>
            <p:nvPr/>
          </p:nvSpPr>
          <p:spPr bwMode="auto">
            <a:xfrm>
              <a:off x="-6540500" y="6911975"/>
              <a:ext cx="1701800" cy="747713"/>
            </a:xfrm>
            <a:custGeom>
              <a:avLst/>
              <a:gdLst>
                <a:gd name="T0" fmla="*/ 1072 w 1072"/>
                <a:gd name="T1" fmla="*/ 471 h 471"/>
                <a:gd name="T2" fmla="*/ 254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254" y="471"/>
                  </a:lnTo>
                  <a:lnTo>
                    <a:pt x="0" y="0"/>
                  </a:lnTo>
                  <a:lnTo>
                    <a:pt x="1072" y="471"/>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7" name="Line 462"/>
            <p:cNvSpPr>
              <a:spLocks noChangeShapeType="1"/>
            </p:cNvSpPr>
            <p:nvPr/>
          </p:nvSpPr>
          <p:spPr bwMode="auto">
            <a:xfrm>
              <a:off x="-6137275" y="76596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8" name="Freeform 463"/>
            <p:cNvSpPr>
              <a:spLocks/>
            </p:cNvSpPr>
            <p:nvPr/>
          </p:nvSpPr>
          <p:spPr bwMode="auto">
            <a:xfrm>
              <a:off x="-6540500" y="6911975"/>
              <a:ext cx="403225" cy="747713"/>
            </a:xfrm>
            <a:custGeom>
              <a:avLst/>
              <a:gdLst>
                <a:gd name="T0" fmla="*/ 254 w 254"/>
                <a:gd name="T1" fmla="*/ 471 h 471"/>
                <a:gd name="T2" fmla="*/ 254 w 254"/>
                <a:gd name="T3" fmla="*/ 471 h 471"/>
                <a:gd name="T4" fmla="*/ 0 w 254"/>
                <a:gd name="T5" fmla="*/ 0 h 471"/>
                <a:gd name="T6" fmla="*/ 254 w 254"/>
                <a:gd name="T7" fmla="*/ 471 h 471"/>
              </a:gdLst>
              <a:ahLst/>
              <a:cxnLst>
                <a:cxn ang="0">
                  <a:pos x="T0" y="T1"/>
                </a:cxn>
                <a:cxn ang="0">
                  <a:pos x="T2" y="T3"/>
                </a:cxn>
                <a:cxn ang="0">
                  <a:pos x="T4" y="T5"/>
                </a:cxn>
                <a:cxn ang="0">
                  <a:pos x="T6" y="T7"/>
                </a:cxn>
              </a:cxnLst>
              <a:rect l="0" t="0" r="r" b="b"/>
              <a:pathLst>
                <a:path w="254" h="471">
                  <a:moveTo>
                    <a:pt x="254" y="471"/>
                  </a:moveTo>
                  <a:lnTo>
                    <a:pt x="254" y="471"/>
                  </a:lnTo>
                  <a:lnTo>
                    <a:pt x="0" y="0"/>
                  </a:lnTo>
                  <a:lnTo>
                    <a:pt x="254" y="471"/>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9" name="Freeform 464"/>
            <p:cNvSpPr>
              <a:spLocks/>
            </p:cNvSpPr>
            <p:nvPr/>
          </p:nvSpPr>
          <p:spPr bwMode="auto">
            <a:xfrm>
              <a:off x="-6540500" y="6911975"/>
              <a:ext cx="1701800" cy="747713"/>
            </a:xfrm>
            <a:custGeom>
              <a:avLst/>
              <a:gdLst>
                <a:gd name="T0" fmla="*/ 1072 w 1072"/>
                <a:gd name="T1" fmla="*/ 471 h 471"/>
                <a:gd name="T2" fmla="*/ 1072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1072" y="471"/>
                  </a:lnTo>
                  <a:lnTo>
                    <a:pt x="0" y="0"/>
                  </a:lnTo>
                  <a:lnTo>
                    <a:pt x="1072" y="47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0" name="Freeform 465"/>
            <p:cNvSpPr>
              <a:spLocks/>
            </p:cNvSpPr>
            <p:nvPr/>
          </p:nvSpPr>
          <p:spPr bwMode="auto">
            <a:xfrm>
              <a:off x="-3327400" y="-3540126"/>
              <a:ext cx="2473325" cy="2046288"/>
            </a:xfrm>
            <a:custGeom>
              <a:avLst/>
              <a:gdLst>
                <a:gd name="T0" fmla="*/ 0 w 1558"/>
                <a:gd name="T1" fmla="*/ 1289 h 1289"/>
                <a:gd name="T2" fmla="*/ 916 w 1558"/>
                <a:gd name="T3" fmla="*/ 0 h 1289"/>
                <a:gd name="T4" fmla="*/ 1558 w 1558"/>
                <a:gd name="T5" fmla="*/ 541 h 1289"/>
                <a:gd name="T6" fmla="*/ 1558 w 1558"/>
                <a:gd name="T7" fmla="*/ 890 h 1289"/>
                <a:gd name="T8" fmla="*/ 0 w 1558"/>
                <a:gd name="T9" fmla="*/ 1289 h 1289"/>
              </a:gdLst>
              <a:ahLst/>
              <a:cxnLst>
                <a:cxn ang="0">
                  <a:pos x="T0" y="T1"/>
                </a:cxn>
                <a:cxn ang="0">
                  <a:pos x="T2" y="T3"/>
                </a:cxn>
                <a:cxn ang="0">
                  <a:pos x="T4" y="T5"/>
                </a:cxn>
                <a:cxn ang="0">
                  <a:pos x="T6" y="T7"/>
                </a:cxn>
                <a:cxn ang="0">
                  <a:pos x="T8" y="T9"/>
                </a:cxn>
              </a:cxnLst>
              <a:rect l="0" t="0" r="r" b="b"/>
              <a:pathLst>
                <a:path w="1558" h="1289">
                  <a:moveTo>
                    <a:pt x="0" y="1289"/>
                  </a:moveTo>
                  <a:lnTo>
                    <a:pt x="916" y="0"/>
                  </a:lnTo>
                  <a:lnTo>
                    <a:pt x="1558" y="541"/>
                  </a:lnTo>
                  <a:lnTo>
                    <a:pt x="1558" y="890"/>
                  </a:lnTo>
                  <a:lnTo>
                    <a:pt x="0" y="128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1" name="Freeform 466"/>
            <p:cNvSpPr>
              <a:spLocks/>
            </p:cNvSpPr>
            <p:nvPr/>
          </p:nvSpPr>
          <p:spPr bwMode="auto">
            <a:xfrm>
              <a:off x="-2697163" y="-4110038"/>
              <a:ext cx="1154113" cy="569913"/>
            </a:xfrm>
            <a:custGeom>
              <a:avLst/>
              <a:gdLst>
                <a:gd name="T0" fmla="*/ 519 w 727"/>
                <a:gd name="T1" fmla="*/ 359 h 359"/>
                <a:gd name="T2" fmla="*/ 519 w 727"/>
                <a:gd name="T3" fmla="*/ 359 h 359"/>
                <a:gd name="T4" fmla="*/ 0 w 727"/>
                <a:gd name="T5" fmla="*/ 0 h 359"/>
                <a:gd name="T6" fmla="*/ 727 w 727"/>
                <a:gd name="T7" fmla="*/ 0 h 359"/>
                <a:gd name="T8" fmla="*/ 519 w 727"/>
                <a:gd name="T9" fmla="*/ 359 h 359"/>
              </a:gdLst>
              <a:ahLst/>
              <a:cxnLst>
                <a:cxn ang="0">
                  <a:pos x="T0" y="T1"/>
                </a:cxn>
                <a:cxn ang="0">
                  <a:pos x="T2" y="T3"/>
                </a:cxn>
                <a:cxn ang="0">
                  <a:pos x="T4" y="T5"/>
                </a:cxn>
                <a:cxn ang="0">
                  <a:pos x="T6" y="T7"/>
                </a:cxn>
                <a:cxn ang="0">
                  <a:pos x="T8" y="T9"/>
                </a:cxn>
              </a:cxnLst>
              <a:rect l="0" t="0" r="r" b="b"/>
              <a:pathLst>
                <a:path w="727" h="359">
                  <a:moveTo>
                    <a:pt x="519" y="359"/>
                  </a:moveTo>
                  <a:lnTo>
                    <a:pt x="519" y="359"/>
                  </a:lnTo>
                  <a:lnTo>
                    <a:pt x="0" y="0"/>
                  </a:lnTo>
                  <a:lnTo>
                    <a:pt x="727" y="0"/>
                  </a:lnTo>
                  <a:lnTo>
                    <a:pt x="519"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2" name="Freeform 467"/>
            <p:cNvSpPr>
              <a:spLocks/>
            </p:cNvSpPr>
            <p:nvPr/>
          </p:nvSpPr>
          <p:spPr bwMode="auto">
            <a:xfrm>
              <a:off x="-1873250" y="-3540126"/>
              <a:ext cx="1019175" cy="858838"/>
            </a:xfrm>
            <a:custGeom>
              <a:avLst/>
              <a:gdLst>
                <a:gd name="T0" fmla="*/ 642 w 642"/>
                <a:gd name="T1" fmla="*/ 541 h 541"/>
                <a:gd name="T2" fmla="*/ 0 w 642"/>
                <a:gd name="T3" fmla="*/ 0 h 541"/>
                <a:gd name="T4" fmla="*/ 642 w 642"/>
                <a:gd name="T5" fmla="*/ 0 h 541"/>
                <a:gd name="T6" fmla="*/ 642 w 642"/>
                <a:gd name="T7" fmla="*/ 541 h 541"/>
              </a:gdLst>
              <a:ahLst/>
              <a:cxnLst>
                <a:cxn ang="0">
                  <a:pos x="T0" y="T1"/>
                </a:cxn>
                <a:cxn ang="0">
                  <a:pos x="T2" y="T3"/>
                </a:cxn>
                <a:cxn ang="0">
                  <a:pos x="T4" y="T5"/>
                </a:cxn>
                <a:cxn ang="0">
                  <a:pos x="T6" y="T7"/>
                </a:cxn>
              </a:cxnLst>
              <a:rect l="0" t="0" r="r" b="b"/>
              <a:pathLst>
                <a:path w="642" h="541">
                  <a:moveTo>
                    <a:pt x="642" y="541"/>
                  </a:moveTo>
                  <a:lnTo>
                    <a:pt x="0" y="0"/>
                  </a:lnTo>
                  <a:lnTo>
                    <a:pt x="642" y="0"/>
                  </a:lnTo>
                  <a:lnTo>
                    <a:pt x="642" y="541"/>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3" name="Freeform 468"/>
            <p:cNvSpPr>
              <a:spLocks/>
            </p:cNvSpPr>
            <p:nvPr/>
          </p:nvSpPr>
          <p:spPr bwMode="auto">
            <a:xfrm>
              <a:off x="-3668713" y="-4110038"/>
              <a:ext cx="1795463" cy="569913"/>
            </a:xfrm>
            <a:custGeom>
              <a:avLst/>
              <a:gdLst>
                <a:gd name="T0" fmla="*/ 1131 w 1131"/>
                <a:gd name="T1" fmla="*/ 359 h 359"/>
                <a:gd name="T2" fmla="*/ 0 w 1131"/>
                <a:gd name="T3" fmla="*/ 359 h 359"/>
                <a:gd name="T4" fmla="*/ 285 w 1131"/>
                <a:gd name="T5" fmla="*/ 0 h 359"/>
                <a:gd name="T6" fmla="*/ 612 w 1131"/>
                <a:gd name="T7" fmla="*/ 0 h 359"/>
                <a:gd name="T8" fmla="*/ 1131 w 1131"/>
                <a:gd name="T9" fmla="*/ 359 h 359"/>
              </a:gdLst>
              <a:ahLst/>
              <a:cxnLst>
                <a:cxn ang="0">
                  <a:pos x="T0" y="T1"/>
                </a:cxn>
                <a:cxn ang="0">
                  <a:pos x="T2" y="T3"/>
                </a:cxn>
                <a:cxn ang="0">
                  <a:pos x="T4" y="T5"/>
                </a:cxn>
                <a:cxn ang="0">
                  <a:pos x="T6" y="T7"/>
                </a:cxn>
                <a:cxn ang="0">
                  <a:pos x="T8" y="T9"/>
                </a:cxn>
              </a:cxnLst>
              <a:rect l="0" t="0" r="r" b="b"/>
              <a:pathLst>
                <a:path w="1131" h="359">
                  <a:moveTo>
                    <a:pt x="1131" y="359"/>
                  </a:moveTo>
                  <a:lnTo>
                    <a:pt x="0" y="359"/>
                  </a:lnTo>
                  <a:lnTo>
                    <a:pt x="285" y="0"/>
                  </a:lnTo>
                  <a:lnTo>
                    <a:pt x="612" y="0"/>
                  </a:lnTo>
                  <a:lnTo>
                    <a:pt x="1131"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4" name="Freeform 469"/>
            <p:cNvSpPr>
              <a:spLocks/>
            </p:cNvSpPr>
            <p:nvPr/>
          </p:nvSpPr>
          <p:spPr bwMode="auto">
            <a:xfrm>
              <a:off x="-1873250" y="-4110038"/>
              <a:ext cx="1019175" cy="569913"/>
            </a:xfrm>
            <a:custGeom>
              <a:avLst/>
              <a:gdLst>
                <a:gd name="T0" fmla="*/ 642 w 642"/>
                <a:gd name="T1" fmla="*/ 359 h 359"/>
                <a:gd name="T2" fmla="*/ 0 w 642"/>
                <a:gd name="T3" fmla="*/ 359 h 359"/>
                <a:gd name="T4" fmla="*/ 208 w 642"/>
                <a:gd name="T5" fmla="*/ 0 h 359"/>
                <a:gd name="T6" fmla="*/ 642 w 642"/>
                <a:gd name="T7" fmla="*/ 0 h 359"/>
                <a:gd name="T8" fmla="*/ 642 w 642"/>
                <a:gd name="T9" fmla="*/ 359 h 359"/>
              </a:gdLst>
              <a:ahLst/>
              <a:cxnLst>
                <a:cxn ang="0">
                  <a:pos x="T0" y="T1"/>
                </a:cxn>
                <a:cxn ang="0">
                  <a:pos x="T2" y="T3"/>
                </a:cxn>
                <a:cxn ang="0">
                  <a:pos x="T4" y="T5"/>
                </a:cxn>
                <a:cxn ang="0">
                  <a:pos x="T6" y="T7"/>
                </a:cxn>
                <a:cxn ang="0">
                  <a:pos x="T8" y="T9"/>
                </a:cxn>
              </a:cxnLst>
              <a:rect l="0" t="0" r="r" b="b"/>
              <a:pathLst>
                <a:path w="642" h="359">
                  <a:moveTo>
                    <a:pt x="642" y="359"/>
                  </a:moveTo>
                  <a:lnTo>
                    <a:pt x="0" y="359"/>
                  </a:lnTo>
                  <a:lnTo>
                    <a:pt x="208" y="0"/>
                  </a:lnTo>
                  <a:lnTo>
                    <a:pt x="642" y="0"/>
                  </a:lnTo>
                  <a:lnTo>
                    <a:pt x="642"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5" name="Freeform 470"/>
            <p:cNvSpPr>
              <a:spLocks/>
            </p:cNvSpPr>
            <p:nvPr/>
          </p:nvSpPr>
          <p:spPr bwMode="auto">
            <a:xfrm>
              <a:off x="-3668713" y="-3540126"/>
              <a:ext cx="1795463" cy="2046288"/>
            </a:xfrm>
            <a:custGeom>
              <a:avLst/>
              <a:gdLst>
                <a:gd name="T0" fmla="*/ 215 w 1131"/>
                <a:gd name="T1" fmla="*/ 1289 h 1289"/>
                <a:gd name="T2" fmla="*/ 150 w 1131"/>
                <a:gd name="T3" fmla="*/ 902 h 1289"/>
                <a:gd name="T4" fmla="*/ 0 w 1131"/>
                <a:gd name="T5" fmla="*/ 0 h 1289"/>
                <a:gd name="T6" fmla="*/ 0 w 1131"/>
                <a:gd name="T7" fmla="*/ 0 h 1289"/>
                <a:gd name="T8" fmla="*/ 0 w 1131"/>
                <a:gd name="T9" fmla="*/ 0 h 1289"/>
                <a:gd name="T10" fmla="*/ 1131 w 1131"/>
                <a:gd name="T11" fmla="*/ 0 h 1289"/>
                <a:gd name="T12" fmla="*/ 215 w 1131"/>
                <a:gd name="T13" fmla="*/ 1289 h 1289"/>
              </a:gdLst>
              <a:ahLst/>
              <a:cxnLst>
                <a:cxn ang="0">
                  <a:pos x="T0" y="T1"/>
                </a:cxn>
                <a:cxn ang="0">
                  <a:pos x="T2" y="T3"/>
                </a:cxn>
                <a:cxn ang="0">
                  <a:pos x="T4" y="T5"/>
                </a:cxn>
                <a:cxn ang="0">
                  <a:pos x="T6" y="T7"/>
                </a:cxn>
                <a:cxn ang="0">
                  <a:pos x="T8" y="T9"/>
                </a:cxn>
                <a:cxn ang="0">
                  <a:pos x="T10" y="T11"/>
                </a:cxn>
                <a:cxn ang="0">
                  <a:pos x="T12" y="T13"/>
                </a:cxn>
              </a:cxnLst>
              <a:rect l="0" t="0" r="r" b="b"/>
              <a:pathLst>
                <a:path w="1131" h="1289">
                  <a:moveTo>
                    <a:pt x="215" y="1289"/>
                  </a:moveTo>
                  <a:lnTo>
                    <a:pt x="150" y="902"/>
                  </a:lnTo>
                  <a:lnTo>
                    <a:pt x="0" y="0"/>
                  </a:lnTo>
                  <a:lnTo>
                    <a:pt x="0" y="0"/>
                  </a:lnTo>
                  <a:lnTo>
                    <a:pt x="0" y="0"/>
                  </a:lnTo>
                  <a:lnTo>
                    <a:pt x="1131" y="0"/>
                  </a:lnTo>
                  <a:lnTo>
                    <a:pt x="215" y="128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6" name="Freeform 471"/>
            <p:cNvSpPr>
              <a:spLocks/>
            </p:cNvSpPr>
            <p:nvPr/>
          </p:nvSpPr>
          <p:spPr bwMode="auto">
            <a:xfrm>
              <a:off x="-3668713" y="-35401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7" name="Freeform 472"/>
            <p:cNvSpPr>
              <a:spLocks/>
            </p:cNvSpPr>
            <p:nvPr/>
          </p:nvSpPr>
          <p:spPr bwMode="auto">
            <a:xfrm>
              <a:off x="-3668713" y="-3540126"/>
              <a:ext cx="238125" cy="1431925"/>
            </a:xfrm>
            <a:custGeom>
              <a:avLst/>
              <a:gdLst>
                <a:gd name="T0" fmla="*/ 150 w 150"/>
                <a:gd name="T1" fmla="*/ 902 h 902"/>
                <a:gd name="T2" fmla="*/ 0 w 150"/>
                <a:gd name="T3" fmla="*/ 0 h 902"/>
                <a:gd name="T4" fmla="*/ 0 w 150"/>
                <a:gd name="T5" fmla="*/ 0 h 902"/>
                <a:gd name="T6" fmla="*/ 150 w 150"/>
                <a:gd name="T7" fmla="*/ 902 h 902"/>
              </a:gdLst>
              <a:ahLst/>
              <a:cxnLst>
                <a:cxn ang="0">
                  <a:pos x="T0" y="T1"/>
                </a:cxn>
                <a:cxn ang="0">
                  <a:pos x="T2" y="T3"/>
                </a:cxn>
                <a:cxn ang="0">
                  <a:pos x="T4" y="T5"/>
                </a:cxn>
                <a:cxn ang="0">
                  <a:pos x="T6" y="T7"/>
                </a:cxn>
              </a:cxnLst>
              <a:rect l="0" t="0" r="r" b="b"/>
              <a:pathLst>
                <a:path w="150" h="902">
                  <a:moveTo>
                    <a:pt x="150" y="902"/>
                  </a:moveTo>
                  <a:lnTo>
                    <a:pt x="0" y="0"/>
                  </a:lnTo>
                  <a:lnTo>
                    <a:pt x="0" y="0"/>
                  </a:lnTo>
                  <a:lnTo>
                    <a:pt x="150" y="902"/>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8" name="Freeform 473"/>
            <p:cNvSpPr>
              <a:spLocks/>
            </p:cNvSpPr>
            <p:nvPr/>
          </p:nvSpPr>
          <p:spPr bwMode="auto">
            <a:xfrm>
              <a:off x="-2771775" y="-428626"/>
              <a:ext cx="1917700" cy="2205038"/>
            </a:xfrm>
            <a:custGeom>
              <a:avLst/>
              <a:gdLst>
                <a:gd name="T0" fmla="*/ 1208 w 1208"/>
                <a:gd name="T1" fmla="*/ 1389 h 1389"/>
                <a:gd name="T2" fmla="*/ 0 w 1208"/>
                <a:gd name="T3" fmla="*/ 979 h 1389"/>
                <a:gd name="T4" fmla="*/ 566 w 1208"/>
                <a:gd name="T5" fmla="*/ 0 h 1389"/>
                <a:gd name="T6" fmla="*/ 566 w 1208"/>
                <a:gd name="T7" fmla="*/ 0 h 1389"/>
                <a:gd name="T8" fmla="*/ 566 w 1208"/>
                <a:gd name="T9" fmla="*/ 0 h 1389"/>
                <a:gd name="T10" fmla="*/ 566 w 1208"/>
                <a:gd name="T11" fmla="*/ 0 h 1389"/>
                <a:gd name="T12" fmla="*/ 566 w 1208"/>
                <a:gd name="T13" fmla="*/ 0 h 1389"/>
                <a:gd name="T14" fmla="*/ 1104 w 1208"/>
                <a:gd name="T15" fmla="*/ 901 h 1389"/>
                <a:gd name="T16" fmla="*/ 1208 w 1208"/>
                <a:gd name="T17" fmla="*/ 1075 h 1389"/>
                <a:gd name="T18" fmla="*/ 1208 w 1208"/>
                <a:gd name="T19" fmla="*/ 1389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8" h="1389">
                  <a:moveTo>
                    <a:pt x="1208" y="1389"/>
                  </a:moveTo>
                  <a:lnTo>
                    <a:pt x="0" y="979"/>
                  </a:lnTo>
                  <a:lnTo>
                    <a:pt x="566" y="0"/>
                  </a:lnTo>
                  <a:lnTo>
                    <a:pt x="566" y="0"/>
                  </a:lnTo>
                  <a:lnTo>
                    <a:pt x="566" y="0"/>
                  </a:lnTo>
                  <a:lnTo>
                    <a:pt x="566" y="0"/>
                  </a:lnTo>
                  <a:lnTo>
                    <a:pt x="566" y="0"/>
                  </a:lnTo>
                  <a:lnTo>
                    <a:pt x="1104" y="901"/>
                  </a:lnTo>
                  <a:lnTo>
                    <a:pt x="1208" y="1075"/>
                  </a:lnTo>
                  <a:lnTo>
                    <a:pt x="1208" y="138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9" name="Freeform 474"/>
            <p:cNvSpPr>
              <a:spLocks/>
            </p:cNvSpPr>
            <p:nvPr/>
          </p:nvSpPr>
          <p:spPr bwMode="auto">
            <a:xfrm>
              <a:off x="-3327400" y="-2127251"/>
              <a:ext cx="2473325" cy="1698625"/>
            </a:xfrm>
            <a:custGeom>
              <a:avLst/>
              <a:gdLst>
                <a:gd name="T0" fmla="*/ 916 w 1558"/>
                <a:gd name="T1" fmla="*/ 1070 h 1070"/>
                <a:gd name="T2" fmla="*/ 916 w 1558"/>
                <a:gd name="T3" fmla="*/ 1070 h 1070"/>
                <a:gd name="T4" fmla="*/ 0 w 1558"/>
                <a:gd name="T5" fmla="*/ 399 h 1070"/>
                <a:gd name="T6" fmla="*/ 1558 w 1558"/>
                <a:gd name="T7" fmla="*/ 0 h 1070"/>
                <a:gd name="T8" fmla="*/ 1558 w 1558"/>
                <a:gd name="T9" fmla="*/ 299 h 1070"/>
                <a:gd name="T10" fmla="*/ 1515 w 1558"/>
                <a:gd name="T11" fmla="*/ 350 h 1070"/>
                <a:gd name="T12" fmla="*/ 916 w 1558"/>
                <a:gd name="T13" fmla="*/ 1070 h 1070"/>
              </a:gdLst>
              <a:ahLst/>
              <a:cxnLst>
                <a:cxn ang="0">
                  <a:pos x="T0" y="T1"/>
                </a:cxn>
                <a:cxn ang="0">
                  <a:pos x="T2" y="T3"/>
                </a:cxn>
                <a:cxn ang="0">
                  <a:pos x="T4" y="T5"/>
                </a:cxn>
                <a:cxn ang="0">
                  <a:pos x="T6" y="T7"/>
                </a:cxn>
                <a:cxn ang="0">
                  <a:pos x="T8" y="T9"/>
                </a:cxn>
                <a:cxn ang="0">
                  <a:pos x="T10" y="T11"/>
                </a:cxn>
                <a:cxn ang="0">
                  <a:pos x="T12" y="T13"/>
                </a:cxn>
              </a:cxnLst>
              <a:rect l="0" t="0" r="r" b="b"/>
              <a:pathLst>
                <a:path w="1558" h="1070">
                  <a:moveTo>
                    <a:pt x="916" y="1070"/>
                  </a:moveTo>
                  <a:lnTo>
                    <a:pt x="916" y="1070"/>
                  </a:lnTo>
                  <a:lnTo>
                    <a:pt x="0" y="399"/>
                  </a:lnTo>
                  <a:lnTo>
                    <a:pt x="1558" y="0"/>
                  </a:lnTo>
                  <a:lnTo>
                    <a:pt x="1558" y="299"/>
                  </a:lnTo>
                  <a:lnTo>
                    <a:pt x="1515" y="350"/>
                  </a:lnTo>
                  <a:lnTo>
                    <a:pt x="916" y="107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0" name="Freeform 475"/>
            <p:cNvSpPr>
              <a:spLocks/>
            </p:cNvSpPr>
            <p:nvPr/>
          </p:nvSpPr>
          <p:spPr bwMode="auto">
            <a:xfrm>
              <a:off x="-1873250" y="-428626"/>
              <a:ext cx="1019175" cy="1706563"/>
            </a:xfrm>
            <a:custGeom>
              <a:avLst/>
              <a:gdLst>
                <a:gd name="T0" fmla="*/ 642 w 642"/>
                <a:gd name="T1" fmla="*/ 1075 h 1075"/>
                <a:gd name="T2" fmla="*/ 538 w 642"/>
                <a:gd name="T3" fmla="*/ 901 h 1075"/>
                <a:gd name="T4" fmla="*/ 0 w 642"/>
                <a:gd name="T5" fmla="*/ 0 h 1075"/>
                <a:gd name="T6" fmla="*/ 642 w 642"/>
                <a:gd name="T7" fmla="*/ 193 h 1075"/>
                <a:gd name="T8" fmla="*/ 642 w 642"/>
                <a:gd name="T9" fmla="*/ 1075 h 1075"/>
              </a:gdLst>
              <a:ahLst/>
              <a:cxnLst>
                <a:cxn ang="0">
                  <a:pos x="T0" y="T1"/>
                </a:cxn>
                <a:cxn ang="0">
                  <a:pos x="T2" y="T3"/>
                </a:cxn>
                <a:cxn ang="0">
                  <a:pos x="T4" y="T5"/>
                </a:cxn>
                <a:cxn ang="0">
                  <a:pos x="T6" y="T7"/>
                </a:cxn>
                <a:cxn ang="0">
                  <a:pos x="T8" y="T9"/>
                </a:cxn>
              </a:cxnLst>
              <a:rect l="0" t="0" r="r" b="b"/>
              <a:pathLst>
                <a:path w="642" h="1075">
                  <a:moveTo>
                    <a:pt x="642" y="1075"/>
                  </a:moveTo>
                  <a:lnTo>
                    <a:pt x="538" y="901"/>
                  </a:lnTo>
                  <a:lnTo>
                    <a:pt x="0" y="0"/>
                  </a:lnTo>
                  <a:lnTo>
                    <a:pt x="642" y="193"/>
                  </a:lnTo>
                  <a:lnTo>
                    <a:pt x="642" y="107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1" name="Freeform 476"/>
            <p:cNvSpPr>
              <a:spLocks/>
            </p:cNvSpPr>
            <p:nvPr/>
          </p:nvSpPr>
          <p:spPr bwMode="auto">
            <a:xfrm>
              <a:off x="-3327400" y="-1493838"/>
              <a:ext cx="1454150" cy="1654175"/>
            </a:xfrm>
            <a:custGeom>
              <a:avLst/>
              <a:gdLst>
                <a:gd name="T0" fmla="*/ 218 w 916"/>
                <a:gd name="T1" fmla="*/ 1042 h 1042"/>
                <a:gd name="T2" fmla="*/ 218 w 916"/>
                <a:gd name="T3" fmla="*/ 1042 h 1042"/>
                <a:gd name="T4" fmla="*/ 0 w 916"/>
                <a:gd name="T5" fmla="*/ 0 h 1042"/>
                <a:gd name="T6" fmla="*/ 916 w 916"/>
                <a:gd name="T7" fmla="*/ 671 h 1042"/>
                <a:gd name="T8" fmla="*/ 916 w 916"/>
                <a:gd name="T9" fmla="*/ 671 h 1042"/>
                <a:gd name="T10" fmla="*/ 218 w 916"/>
                <a:gd name="T11" fmla="*/ 1042 h 1042"/>
              </a:gdLst>
              <a:ahLst/>
              <a:cxnLst>
                <a:cxn ang="0">
                  <a:pos x="T0" y="T1"/>
                </a:cxn>
                <a:cxn ang="0">
                  <a:pos x="T2" y="T3"/>
                </a:cxn>
                <a:cxn ang="0">
                  <a:pos x="T4" y="T5"/>
                </a:cxn>
                <a:cxn ang="0">
                  <a:pos x="T6" y="T7"/>
                </a:cxn>
                <a:cxn ang="0">
                  <a:pos x="T8" y="T9"/>
                </a:cxn>
                <a:cxn ang="0">
                  <a:pos x="T10" y="T11"/>
                </a:cxn>
              </a:cxnLst>
              <a:rect l="0" t="0" r="r" b="b"/>
              <a:pathLst>
                <a:path w="916" h="1042">
                  <a:moveTo>
                    <a:pt x="218" y="1042"/>
                  </a:moveTo>
                  <a:lnTo>
                    <a:pt x="218" y="1042"/>
                  </a:lnTo>
                  <a:lnTo>
                    <a:pt x="0" y="0"/>
                  </a:lnTo>
                  <a:lnTo>
                    <a:pt x="916" y="671"/>
                  </a:lnTo>
                  <a:lnTo>
                    <a:pt x="916" y="671"/>
                  </a:lnTo>
                  <a:lnTo>
                    <a:pt x="218" y="10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2" name="Freeform 477"/>
            <p:cNvSpPr>
              <a:spLocks/>
            </p:cNvSpPr>
            <p:nvPr/>
          </p:nvSpPr>
          <p:spPr bwMode="auto">
            <a:xfrm>
              <a:off x="-1873250" y="-1652588"/>
              <a:ext cx="1019175" cy="1530350"/>
            </a:xfrm>
            <a:custGeom>
              <a:avLst/>
              <a:gdLst>
                <a:gd name="T0" fmla="*/ 642 w 642"/>
                <a:gd name="T1" fmla="*/ 964 h 964"/>
                <a:gd name="T2" fmla="*/ 0 w 642"/>
                <a:gd name="T3" fmla="*/ 771 h 964"/>
                <a:gd name="T4" fmla="*/ 0 w 642"/>
                <a:gd name="T5" fmla="*/ 771 h 964"/>
                <a:gd name="T6" fmla="*/ 599 w 642"/>
                <a:gd name="T7" fmla="*/ 51 h 964"/>
                <a:gd name="T8" fmla="*/ 642 w 642"/>
                <a:gd name="T9" fmla="*/ 0 h 964"/>
                <a:gd name="T10" fmla="*/ 642 w 642"/>
                <a:gd name="T11" fmla="*/ 964 h 964"/>
              </a:gdLst>
              <a:ahLst/>
              <a:cxnLst>
                <a:cxn ang="0">
                  <a:pos x="T0" y="T1"/>
                </a:cxn>
                <a:cxn ang="0">
                  <a:pos x="T2" y="T3"/>
                </a:cxn>
                <a:cxn ang="0">
                  <a:pos x="T4" y="T5"/>
                </a:cxn>
                <a:cxn ang="0">
                  <a:pos x="T6" y="T7"/>
                </a:cxn>
                <a:cxn ang="0">
                  <a:pos x="T8" y="T9"/>
                </a:cxn>
                <a:cxn ang="0">
                  <a:pos x="T10" y="T11"/>
                </a:cxn>
              </a:cxnLst>
              <a:rect l="0" t="0" r="r" b="b"/>
              <a:pathLst>
                <a:path w="642" h="964">
                  <a:moveTo>
                    <a:pt x="642" y="964"/>
                  </a:moveTo>
                  <a:lnTo>
                    <a:pt x="0" y="771"/>
                  </a:lnTo>
                  <a:lnTo>
                    <a:pt x="0" y="771"/>
                  </a:lnTo>
                  <a:lnTo>
                    <a:pt x="599" y="51"/>
                  </a:lnTo>
                  <a:lnTo>
                    <a:pt x="642" y="0"/>
                  </a:lnTo>
                  <a:lnTo>
                    <a:pt x="642" y="964"/>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3" name="Freeform 478"/>
            <p:cNvSpPr>
              <a:spLocks/>
            </p:cNvSpPr>
            <p:nvPr/>
          </p:nvSpPr>
          <p:spPr bwMode="auto">
            <a:xfrm>
              <a:off x="-922338" y="-1652588"/>
              <a:ext cx="68263" cy="80963"/>
            </a:xfrm>
            <a:custGeom>
              <a:avLst/>
              <a:gdLst>
                <a:gd name="T0" fmla="*/ 0 w 43"/>
                <a:gd name="T1" fmla="*/ 51 h 51"/>
                <a:gd name="T2" fmla="*/ 43 w 43"/>
                <a:gd name="T3" fmla="*/ 0 h 51"/>
                <a:gd name="T4" fmla="*/ 43 w 43"/>
                <a:gd name="T5" fmla="*/ 0 h 51"/>
                <a:gd name="T6" fmla="*/ 0 w 43"/>
                <a:gd name="T7" fmla="*/ 51 h 51"/>
              </a:gdLst>
              <a:ahLst/>
              <a:cxnLst>
                <a:cxn ang="0">
                  <a:pos x="T0" y="T1"/>
                </a:cxn>
                <a:cxn ang="0">
                  <a:pos x="T2" y="T3"/>
                </a:cxn>
                <a:cxn ang="0">
                  <a:pos x="T4" y="T5"/>
                </a:cxn>
                <a:cxn ang="0">
                  <a:pos x="T6" y="T7"/>
                </a:cxn>
              </a:cxnLst>
              <a:rect l="0" t="0" r="r" b="b"/>
              <a:pathLst>
                <a:path w="43" h="51">
                  <a:moveTo>
                    <a:pt x="0" y="51"/>
                  </a:moveTo>
                  <a:lnTo>
                    <a:pt x="43" y="0"/>
                  </a:lnTo>
                  <a:lnTo>
                    <a:pt x="43" y="0"/>
                  </a:lnTo>
                  <a:lnTo>
                    <a:pt x="0" y="51"/>
                  </a:lnTo>
                  <a:close/>
                </a:path>
              </a:pathLst>
            </a:custGeom>
            <a:solidFill>
              <a:srgbClr val="5A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4" name="Freeform 479"/>
            <p:cNvSpPr>
              <a:spLocks/>
            </p:cNvSpPr>
            <p:nvPr/>
          </p:nvSpPr>
          <p:spPr bwMode="auto">
            <a:xfrm>
              <a:off x="-2981325" y="-428626"/>
              <a:ext cx="1108075" cy="1554163"/>
            </a:xfrm>
            <a:custGeom>
              <a:avLst/>
              <a:gdLst>
                <a:gd name="T0" fmla="*/ 132 w 698"/>
                <a:gd name="T1" fmla="*/ 979 h 979"/>
                <a:gd name="T2" fmla="*/ 78 w 698"/>
                <a:gd name="T3" fmla="*/ 730 h 979"/>
                <a:gd name="T4" fmla="*/ 0 w 698"/>
                <a:gd name="T5" fmla="*/ 371 h 979"/>
                <a:gd name="T6" fmla="*/ 0 w 698"/>
                <a:gd name="T7" fmla="*/ 371 h 979"/>
                <a:gd name="T8" fmla="*/ 698 w 698"/>
                <a:gd name="T9" fmla="*/ 0 h 979"/>
                <a:gd name="T10" fmla="*/ 132 w 698"/>
                <a:gd name="T11" fmla="*/ 979 h 979"/>
              </a:gdLst>
              <a:ahLst/>
              <a:cxnLst>
                <a:cxn ang="0">
                  <a:pos x="T0" y="T1"/>
                </a:cxn>
                <a:cxn ang="0">
                  <a:pos x="T2" y="T3"/>
                </a:cxn>
                <a:cxn ang="0">
                  <a:pos x="T4" y="T5"/>
                </a:cxn>
                <a:cxn ang="0">
                  <a:pos x="T6" y="T7"/>
                </a:cxn>
                <a:cxn ang="0">
                  <a:pos x="T8" y="T9"/>
                </a:cxn>
                <a:cxn ang="0">
                  <a:pos x="T10" y="T11"/>
                </a:cxn>
              </a:cxnLst>
              <a:rect l="0" t="0" r="r" b="b"/>
              <a:pathLst>
                <a:path w="698" h="979">
                  <a:moveTo>
                    <a:pt x="132" y="979"/>
                  </a:moveTo>
                  <a:lnTo>
                    <a:pt x="78" y="730"/>
                  </a:lnTo>
                  <a:lnTo>
                    <a:pt x="0" y="371"/>
                  </a:lnTo>
                  <a:lnTo>
                    <a:pt x="0" y="371"/>
                  </a:lnTo>
                  <a:lnTo>
                    <a:pt x="698" y="0"/>
                  </a:lnTo>
                  <a:lnTo>
                    <a:pt x="132" y="97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5" name="Freeform 480"/>
            <p:cNvSpPr>
              <a:spLocks/>
            </p:cNvSpPr>
            <p:nvPr/>
          </p:nvSpPr>
          <p:spPr bwMode="auto">
            <a:xfrm>
              <a:off x="-2981325" y="160337"/>
              <a:ext cx="123825" cy="569913"/>
            </a:xfrm>
            <a:custGeom>
              <a:avLst/>
              <a:gdLst>
                <a:gd name="T0" fmla="*/ 78 w 78"/>
                <a:gd name="T1" fmla="*/ 359 h 359"/>
                <a:gd name="T2" fmla="*/ 0 w 78"/>
                <a:gd name="T3" fmla="*/ 0 h 359"/>
                <a:gd name="T4" fmla="*/ 0 w 78"/>
                <a:gd name="T5" fmla="*/ 0 h 359"/>
                <a:gd name="T6" fmla="*/ 78 w 78"/>
                <a:gd name="T7" fmla="*/ 359 h 359"/>
              </a:gdLst>
              <a:ahLst/>
              <a:cxnLst>
                <a:cxn ang="0">
                  <a:pos x="T0" y="T1"/>
                </a:cxn>
                <a:cxn ang="0">
                  <a:pos x="T2" y="T3"/>
                </a:cxn>
                <a:cxn ang="0">
                  <a:pos x="T4" y="T5"/>
                </a:cxn>
                <a:cxn ang="0">
                  <a:pos x="T6" y="T7"/>
                </a:cxn>
              </a:cxnLst>
              <a:rect l="0" t="0" r="r" b="b"/>
              <a:pathLst>
                <a:path w="78" h="359">
                  <a:moveTo>
                    <a:pt x="78" y="359"/>
                  </a:moveTo>
                  <a:lnTo>
                    <a:pt x="0" y="0"/>
                  </a:lnTo>
                  <a:lnTo>
                    <a:pt x="0" y="0"/>
                  </a:lnTo>
                  <a:lnTo>
                    <a:pt x="78" y="359"/>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6" name="Freeform 481"/>
            <p:cNvSpPr>
              <a:spLocks/>
            </p:cNvSpPr>
            <p:nvPr/>
          </p:nvSpPr>
          <p:spPr bwMode="auto">
            <a:xfrm>
              <a:off x="-2771775" y="-428626"/>
              <a:ext cx="898525" cy="1554163"/>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7" name="Freeform 482"/>
            <p:cNvSpPr>
              <a:spLocks noEditPoints="1"/>
            </p:cNvSpPr>
            <p:nvPr/>
          </p:nvSpPr>
          <p:spPr bwMode="auto">
            <a:xfrm>
              <a:off x="-2771775" y="2682875"/>
              <a:ext cx="898525" cy="2232025"/>
            </a:xfrm>
            <a:custGeom>
              <a:avLst/>
              <a:gdLst>
                <a:gd name="T0" fmla="*/ 940 w 1179"/>
                <a:gd name="T1" fmla="*/ 2930 h 2930"/>
                <a:gd name="T2" fmla="*/ 0 w 1179"/>
                <a:gd name="T3" fmla="*/ 2041 h 2930"/>
                <a:gd name="T4" fmla="*/ 1179 w 1179"/>
                <a:gd name="T5" fmla="*/ 0 h 2930"/>
                <a:gd name="T6" fmla="*/ 940 w 1179"/>
                <a:gd name="T7" fmla="*/ 2930 h 2930"/>
                <a:gd name="T8" fmla="*/ 1179 w 1179"/>
                <a:gd name="T9" fmla="*/ 0 h 2930"/>
                <a:gd name="T10" fmla="*/ 1179 w 1179"/>
                <a:gd name="T11" fmla="*/ 0 h 2930"/>
              </a:gdLst>
              <a:ahLst/>
              <a:cxnLst>
                <a:cxn ang="0">
                  <a:pos x="T0" y="T1"/>
                </a:cxn>
                <a:cxn ang="0">
                  <a:pos x="T2" y="T3"/>
                </a:cxn>
                <a:cxn ang="0">
                  <a:pos x="T4" y="T5"/>
                </a:cxn>
                <a:cxn ang="0">
                  <a:pos x="T6" y="T7"/>
                </a:cxn>
                <a:cxn ang="0">
                  <a:pos x="T8" y="T9"/>
                </a:cxn>
                <a:cxn ang="0">
                  <a:pos x="T10" y="T11"/>
                </a:cxn>
              </a:cxnLst>
              <a:rect l="0" t="0" r="r" b="b"/>
              <a:pathLst>
                <a:path w="1179" h="2930">
                  <a:moveTo>
                    <a:pt x="940" y="2930"/>
                  </a:moveTo>
                  <a:lnTo>
                    <a:pt x="0" y="2041"/>
                  </a:lnTo>
                  <a:lnTo>
                    <a:pt x="1179" y="0"/>
                  </a:lnTo>
                  <a:lnTo>
                    <a:pt x="940" y="2930"/>
                  </a:lnTo>
                  <a:moveTo>
                    <a:pt x="1179" y="0"/>
                  </a:moveTo>
                  <a:lnTo>
                    <a:pt x="1179"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8" name="Freeform 483"/>
            <p:cNvSpPr>
              <a:spLocks/>
            </p:cNvSpPr>
            <p:nvPr/>
          </p:nvSpPr>
          <p:spPr bwMode="auto">
            <a:xfrm>
              <a:off x="-2771775" y="1125537"/>
              <a:ext cx="1917700" cy="1557338"/>
            </a:xfrm>
            <a:custGeom>
              <a:avLst/>
              <a:gdLst>
                <a:gd name="T0" fmla="*/ 566 w 1208"/>
                <a:gd name="T1" fmla="*/ 981 h 981"/>
                <a:gd name="T2" fmla="*/ 566 w 1208"/>
                <a:gd name="T3" fmla="*/ 981 h 981"/>
                <a:gd name="T4" fmla="*/ 0 w 1208"/>
                <a:gd name="T5" fmla="*/ 0 h 981"/>
                <a:gd name="T6" fmla="*/ 1208 w 1208"/>
                <a:gd name="T7" fmla="*/ 410 h 981"/>
                <a:gd name="T8" fmla="*/ 1208 w 1208"/>
                <a:gd name="T9" fmla="*/ 621 h 981"/>
                <a:gd name="T10" fmla="*/ 933 w 1208"/>
                <a:gd name="T11" fmla="*/ 775 h 981"/>
                <a:gd name="T12" fmla="*/ 566 w 1208"/>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208" h="981">
                  <a:moveTo>
                    <a:pt x="566" y="981"/>
                  </a:moveTo>
                  <a:lnTo>
                    <a:pt x="566" y="981"/>
                  </a:lnTo>
                  <a:lnTo>
                    <a:pt x="0" y="0"/>
                  </a:lnTo>
                  <a:lnTo>
                    <a:pt x="1208" y="410"/>
                  </a:lnTo>
                  <a:lnTo>
                    <a:pt x="1208" y="621"/>
                  </a:lnTo>
                  <a:lnTo>
                    <a:pt x="933" y="775"/>
                  </a:lnTo>
                  <a:lnTo>
                    <a:pt x="566"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9" name="Freeform 484"/>
            <p:cNvSpPr>
              <a:spLocks/>
            </p:cNvSpPr>
            <p:nvPr/>
          </p:nvSpPr>
          <p:spPr bwMode="auto">
            <a:xfrm>
              <a:off x="-2054225" y="2682875"/>
              <a:ext cx="1200150" cy="2232025"/>
            </a:xfrm>
            <a:custGeom>
              <a:avLst/>
              <a:gdLst>
                <a:gd name="T0" fmla="*/ 0 w 756"/>
                <a:gd name="T1" fmla="*/ 1406 h 1406"/>
                <a:gd name="T2" fmla="*/ 114 w 756"/>
                <a:gd name="T3" fmla="*/ 0 h 1406"/>
                <a:gd name="T4" fmla="*/ 756 w 756"/>
                <a:gd name="T5" fmla="*/ 0 h 1406"/>
                <a:gd name="T6" fmla="*/ 756 w 756"/>
                <a:gd name="T7" fmla="*/ 553 h 1406"/>
                <a:gd name="T8" fmla="*/ 0 w 756"/>
                <a:gd name="T9" fmla="*/ 1406 h 1406"/>
              </a:gdLst>
              <a:ahLst/>
              <a:cxnLst>
                <a:cxn ang="0">
                  <a:pos x="T0" y="T1"/>
                </a:cxn>
                <a:cxn ang="0">
                  <a:pos x="T2" y="T3"/>
                </a:cxn>
                <a:cxn ang="0">
                  <a:pos x="T4" y="T5"/>
                </a:cxn>
                <a:cxn ang="0">
                  <a:pos x="T6" y="T7"/>
                </a:cxn>
                <a:cxn ang="0">
                  <a:pos x="T8" y="T9"/>
                </a:cxn>
              </a:cxnLst>
              <a:rect l="0" t="0" r="r" b="b"/>
              <a:pathLst>
                <a:path w="756" h="1406">
                  <a:moveTo>
                    <a:pt x="0" y="1406"/>
                  </a:moveTo>
                  <a:lnTo>
                    <a:pt x="114" y="0"/>
                  </a:lnTo>
                  <a:lnTo>
                    <a:pt x="756" y="0"/>
                  </a:lnTo>
                  <a:lnTo>
                    <a:pt x="756" y="553"/>
                  </a:lnTo>
                  <a:lnTo>
                    <a:pt x="0" y="140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20" name="Freeform 485"/>
            <p:cNvSpPr>
              <a:spLocks noEditPoints="1"/>
            </p:cNvSpPr>
            <p:nvPr/>
          </p:nvSpPr>
          <p:spPr bwMode="auto">
            <a:xfrm>
              <a:off x="-4413250" y="1125537"/>
              <a:ext cx="2540000" cy="1987550"/>
            </a:xfrm>
            <a:custGeom>
              <a:avLst/>
              <a:gdLst>
                <a:gd name="T0" fmla="*/ 0 w 3333"/>
                <a:gd name="T1" fmla="*/ 2608 h 2608"/>
                <a:gd name="T2" fmla="*/ 0 w 3333"/>
                <a:gd name="T3" fmla="*/ 2608 h 2608"/>
                <a:gd name="T4" fmla="*/ 0 w 3333"/>
                <a:gd name="T5" fmla="*/ 2608 h 2608"/>
                <a:gd name="T6" fmla="*/ 0 w 3333"/>
                <a:gd name="T7" fmla="*/ 2608 h 2608"/>
                <a:gd name="T8" fmla="*/ 0 w 3333"/>
                <a:gd name="T9" fmla="*/ 2608 h 2608"/>
                <a:gd name="T10" fmla="*/ 2154 w 3333"/>
                <a:gd name="T11" fmla="*/ 0 h 2608"/>
                <a:gd name="T12" fmla="*/ 3333 w 3333"/>
                <a:gd name="T13" fmla="*/ 2042 h 2608"/>
                <a:gd name="T14" fmla="*/ 3333 w 3333"/>
                <a:gd name="T15" fmla="*/ 2042 h 2608"/>
                <a:gd name="T16" fmla="*/ 0 w 3333"/>
                <a:gd name="T17" fmla="*/ 2608 h 2608"/>
                <a:gd name="T18" fmla="*/ 3333 w 3333"/>
                <a:gd name="T19" fmla="*/ 2042 h 2608"/>
                <a:gd name="T20" fmla="*/ 3333 w 3333"/>
                <a:gd name="T21" fmla="*/ 2042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33" h="2608">
                  <a:moveTo>
                    <a:pt x="0" y="2608"/>
                  </a:moveTo>
                  <a:lnTo>
                    <a:pt x="0" y="2608"/>
                  </a:lnTo>
                  <a:lnTo>
                    <a:pt x="0" y="2608"/>
                  </a:lnTo>
                  <a:lnTo>
                    <a:pt x="0" y="2608"/>
                  </a:lnTo>
                  <a:moveTo>
                    <a:pt x="0" y="2608"/>
                  </a:moveTo>
                  <a:lnTo>
                    <a:pt x="2154" y="0"/>
                  </a:lnTo>
                  <a:lnTo>
                    <a:pt x="3333" y="2042"/>
                  </a:lnTo>
                  <a:lnTo>
                    <a:pt x="3333" y="2042"/>
                  </a:lnTo>
                  <a:lnTo>
                    <a:pt x="0" y="2608"/>
                  </a:lnTo>
                  <a:moveTo>
                    <a:pt x="3333" y="2042"/>
                  </a:moveTo>
                  <a:lnTo>
                    <a:pt x="3333" y="2042"/>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21" name="Freeform 486"/>
            <p:cNvSpPr>
              <a:spLocks/>
            </p:cNvSpPr>
            <p:nvPr/>
          </p:nvSpPr>
          <p:spPr bwMode="auto">
            <a:xfrm>
              <a:off x="-1873250" y="2111375"/>
              <a:ext cx="1019175" cy="571500"/>
            </a:xfrm>
            <a:custGeom>
              <a:avLst/>
              <a:gdLst>
                <a:gd name="T0" fmla="*/ 0 w 642"/>
                <a:gd name="T1" fmla="*/ 360 h 360"/>
                <a:gd name="T2" fmla="*/ 0 w 642"/>
                <a:gd name="T3" fmla="*/ 360 h 360"/>
                <a:gd name="T4" fmla="*/ 367 w 642"/>
                <a:gd name="T5" fmla="*/ 154 h 360"/>
                <a:gd name="T6" fmla="*/ 642 w 642"/>
                <a:gd name="T7" fmla="*/ 0 h 360"/>
                <a:gd name="T8" fmla="*/ 642 w 642"/>
                <a:gd name="T9" fmla="*/ 360 h 360"/>
                <a:gd name="T10" fmla="*/ 0 w 642"/>
                <a:gd name="T11" fmla="*/ 360 h 360"/>
              </a:gdLst>
              <a:ahLst/>
              <a:cxnLst>
                <a:cxn ang="0">
                  <a:pos x="T0" y="T1"/>
                </a:cxn>
                <a:cxn ang="0">
                  <a:pos x="T2" y="T3"/>
                </a:cxn>
                <a:cxn ang="0">
                  <a:pos x="T4" y="T5"/>
                </a:cxn>
                <a:cxn ang="0">
                  <a:pos x="T6" y="T7"/>
                </a:cxn>
                <a:cxn ang="0">
                  <a:pos x="T8" y="T9"/>
                </a:cxn>
                <a:cxn ang="0">
                  <a:pos x="T10" y="T11"/>
                </a:cxn>
              </a:cxnLst>
              <a:rect l="0" t="0" r="r" b="b"/>
              <a:pathLst>
                <a:path w="642" h="360">
                  <a:moveTo>
                    <a:pt x="0" y="360"/>
                  </a:moveTo>
                  <a:lnTo>
                    <a:pt x="0" y="360"/>
                  </a:lnTo>
                  <a:lnTo>
                    <a:pt x="367" y="154"/>
                  </a:lnTo>
                  <a:lnTo>
                    <a:pt x="642" y="0"/>
                  </a:lnTo>
                  <a:lnTo>
                    <a:pt x="642" y="360"/>
                  </a:lnTo>
                  <a:lnTo>
                    <a:pt x="0" y="36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22" name="Freeform 487"/>
            <p:cNvSpPr>
              <a:spLocks/>
            </p:cNvSpPr>
            <p:nvPr/>
          </p:nvSpPr>
          <p:spPr bwMode="auto">
            <a:xfrm>
              <a:off x="-1290638" y="2111375"/>
              <a:ext cx="436563" cy="244475"/>
            </a:xfrm>
            <a:custGeom>
              <a:avLst/>
              <a:gdLst>
                <a:gd name="T0" fmla="*/ 0 w 275"/>
                <a:gd name="T1" fmla="*/ 154 h 154"/>
                <a:gd name="T2" fmla="*/ 275 w 275"/>
                <a:gd name="T3" fmla="*/ 0 h 154"/>
                <a:gd name="T4" fmla="*/ 275 w 275"/>
                <a:gd name="T5" fmla="*/ 0 h 154"/>
                <a:gd name="T6" fmla="*/ 0 w 275"/>
                <a:gd name="T7" fmla="*/ 154 h 154"/>
              </a:gdLst>
              <a:ahLst/>
              <a:cxnLst>
                <a:cxn ang="0">
                  <a:pos x="T0" y="T1"/>
                </a:cxn>
                <a:cxn ang="0">
                  <a:pos x="T2" y="T3"/>
                </a:cxn>
                <a:cxn ang="0">
                  <a:pos x="T4" y="T5"/>
                </a:cxn>
                <a:cxn ang="0">
                  <a:pos x="T6" y="T7"/>
                </a:cxn>
              </a:cxnLst>
              <a:rect l="0" t="0" r="r" b="b"/>
              <a:pathLst>
                <a:path w="275" h="154">
                  <a:moveTo>
                    <a:pt x="0" y="154"/>
                  </a:moveTo>
                  <a:lnTo>
                    <a:pt x="275" y="0"/>
                  </a:lnTo>
                  <a:lnTo>
                    <a:pt x="275" y="0"/>
                  </a:lnTo>
                  <a:lnTo>
                    <a:pt x="0" y="15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23" name="Freeform 488"/>
            <p:cNvSpPr>
              <a:spLocks/>
            </p:cNvSpPr>
            <p:nvPr/>
          </p:nvSpPr>
          <p:spPr bwMode="auto">
            <a:xfrm>
              <a:off x="-4413250" y="2682875"/>
              <a:ext cx="2540000" cy="1554163"/>
            </a:xfrm>
            <a:custGeom>
              <a:avLst/>
              <a:gdLst>
                <a:gd name="T0" fmla="*/ 1034 w 1600"/>
                <a:gd name="T1" fmla="*/ 979 h 979"/>
                <a:gd name="T2" fmla="*/ 0 w 1600"/>
                <a:gd name="T3" fmla="*/ 271 h 979"/>
                <a:gd name="T4" fmla="*/ 0 w 1600"/>
                <a:gd name="T5" fmla="*/ 271 h 979"/>
                <a:gd name="T6" fmla="*/ 1600 w 1600"/>
                <a:gd name="T7" fmla="*/ 0 h 979"/>
                <a:gd name="T8" fmla="*/ 1034 w 1600"/>
                <a:gd name="T9" fmla="*/ 979 h 979"/>
              </a:gdLst>
              <a:ahLst/>
              <a:cxnLst>
                <a:cxn ang="0">
                  <a:pos x="T0" y="T1"/>
                </a:cxn>
                <a:cxn ang="0">
                  <a:pos x="T2" y="T3"/>
                </a:cxn>
                <a:cxn ang="0">
                  <a:pos x="T4" y="T5"/>
                </a:cxn>
                <a:cxn ang="0">
                  <a:pos x="T6" y="T7"/>
                </a:cxn>
                <a:cxn ang="0">
                  <a:pos x="T8" y="T9"/>
                </a:cxn>
              </a:cxnLst>
              <a:rect l="0" t="0" r="r" b="b"/>
              <a:pathLst>
                <a:path w="1600" h="979">
                  <a:moveTo>
                    <a:pt x="1034" y="979"/>
                  </a:moveTo>
                  <a:lnTo>
                    <a:pt x="0" y="271"/>
                  </a:lnTo>
                  <a:lnTo>
                    <a:pt x="0" y="271"/>
                  </a:lnTo>
                  <a:lnTo>
                    <a:pt x="1600" y="0"/>
                  </a:lnTo>
                  <a:lnTo>
                    <a:pt x="1034"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24" name="Freeform 489"/>
            <p:cNvSpPr>
              <a:spLocks noEditPoints="1"/>
            </p:cNvSpPr>
            <p:nvPr/>
          </p:nvSpPr>
          <p:spPr bwMode="auto">
            <a:xfrm>
              <a:off x="-2438400" y="5792787"/>
              <a:ext cx="1517650" cy="1866900"/>
            </a:xfrm>
            <a:custGeom>
              <a:avLst/>
              <a:gdLst>
                <a:gd name="T0" fmla="*/ 184 w 1992"/>
                <a:gd name="T1" fmla="*/ 2449 h 2449"/>
                <a:gd name="T2" fmla="*/ 0 w 1992"/>
                <a:gd name="T3" fmla="*/ 2449 h 2449"/>
                <a:gd name="T4" fmla="*/ 742 w 1992"/>
                <a:gd name="T5" fmla="*/ 0 h 2449"/>
                <a:gd name="T6" fmla="*/ 1342 w 1992"/>
                <a:gd name="T7" fmla="*/ 650 h 2449"/>
                <a:gd name="T8" fmla="*/ 1992 w 1992"/>
                <a:gd name="T9" fmla="*/ 1354 h 2449"/>
                <a:gd name="T10" fmla="*/ 184 w 1992"/>
                <a:gd name="T11" fmla="*/ 2449 h 2449"/>
                <a:gd name="T12" fmla="*/ 742 w 1992"/>
                <a:gd name="T13" fmla="*/ 0 h 2449"/>
                <a:gd name="T14" fmla="*/ 742 w 1992"/>
                <a:gd name="T15" fmla="*/ 0 h 2449"/>
                <a:gd name="T16" fmla="*/ 742 w 1992"/>
                <a:gd name="T17" fmla="*/ 0 h 2449"/>
                <a:gd name="T18" fmla="*/ 742 w 1992"/>
                <a:gd name="T19" fmla="*/ 0 h 2449"/>
                <a:gd name="T20" fmla="*/ 742 w 1992"/>
                <a:gd name="T21" fmla="*/ 0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2" h="2449">
                  <a:moveTo>
                    <a:pt x="184" y="2449"/>
                  </a:moveTo>
                  <a:lnTo>
                    <a:pt x="0" y="2449"/>
                  </a:lnTo>
                  <a:lnTo>
                    <a:pt x="742" y="0"/>
                  </a:lnTo>
                  <a:lnTo>
                    <a:pt x="1342" y="650"/>
                  </a:lnTo>
                  <a:lnTo>
                    <a:pt x="1992" y="1354"/>
                  </a:lnTo>
                  <a:lnTo>
                    <a:pt x="184" y="2449"/>
                  </a:lnTo>
                  <a:moveTo>
                    <a:pt x="742" y="0"/>
                  </a:moveTo>
                  <a:lnTo>
                    <a:pt x="742" y="0"/>
                  </a:lnTo>
                  <a:moveTo>
                    <a:pt x="742" y="0"/>
                  </a:moveTo>
                  <a:lnTo>
                    <a:pt x="742" y="0"/>
                  </a:lnTo>
                  <a:lnTo>
                    <a:pt x="742"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25" name="Freeform 490"/>
            <p:cNvSpPr>
              <a:spLocks/>
            </p:cNvSpPr>
            <p:nvPr/>
          </p:nvSpPr>
          <p:spPr bwMode="auto">
            <a:xfrm>
              <a:off x="-2771775" y="4237037"/>
              <a:ext cx="898525" cy="1555750"/>
            </a:xfrm>
            <a:custGeom>
              <a:avLst/>
              <a:gdLst>
                <a:gd name="T0" fmla="*/ 566 w 566"/>
                <a:gd name="T1" fmla="*/ 980 h 980"/>
                <a:gd name="T2" fmla="*/ 0 w 566"/>
                <a:gd name="T3" fmla="*/ 0 h 980"/>
                <a:gd name="T4" fmla="*/ 452 w 566"/>
                <a:gd name="T5" fmla="*/ 427 h 980"/>
                <a:gd name="T6" fmla="*/ 547 w 566"/>
                <a:gd name="T7" fmla="*/ 885 h 980"/>
                <a:gd name="T8" fmla="*/ 566 w 566"/>
                <a:gd name="T9" fmla="*/ 980 h 980"/>
              </a:gdLst>
              <a:ahLst/>
              <a:cxnLst>
                <a:cxn ang="0">
                  <a:pos x="T0" y="T1"/>
                </a:cxn>
                <a:cxn ang="0">
                  <a:pos x="T2" y="T3"/>
                </a:cxn>
                <a:cxn ang="0">
                  <a:pos x="T4" y="T5"/>
                </a:cxn>
                <a:cxn ang="0">
                  <a:pos x="T6" y="T7"/>
                </a:cxn>
                <a:cxn ang="0">
                  <a:pos x="T8" y="T9"/>
                </a:cxn>
              </a:cxnLst>
              <a:rect l="0" t="0" r="r" b="b"/>
              <a:pathLst>
                <a:path w="566" h="980">
                  <a:moveTo>
                    <a:pt x="566" y="980"/>
                  </a:moveTo>
                  <a:lnTo>
                    <a:pt x="0" y="0"/>
                  </a:lnTo>
                  <a:lnTo>
                    <a:pt x="452" y="427"/>
                  </a:lnTo>
                  <a:lnTo>
                    <a:pt x="547" y="88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26" name="Freeform 491"/>
            <p:cNvSpPr>
              <a:spLocks/>
            </p:cNvSpPr>
            <p:nvPr/>
          </p:nvSpPr>
          <p:spPr bwMode="auto">
            <a:xfrm>
              <a:off x="-1873250" y="5792787"/>
              <a:ext cx="1019175" cy="1031875"/>
            </a:xfrm>
            <a:custGeom>
              <a:avLst/>
              <a:gdLst>
                <a:gd name="T0" fmla="*/ 600 w 642"/>
                <a:gd name="T1" fmla="*/ 650 h 650"/>
                <a:gd name="T2" fmla="*/ 288 w 642"/>
                <a:gd name="T3" fmla="*/ 312 h 650"/>
                <a:gd name="T4" fmla="*/ 0 w 642"/>
                <a:gd name="T5" fmla="*/ 0 h 650"/>
                <a:gd name="T6" fmla="*/ 642 w 642"/>
                <a:gd name="T7" fmla="*/ 0 h 650"/>
                <a:gd name="T8" fmla="*/ 642 w 642"/>
                <a:gd name="T9" fmla="*/ 600 h 650"/>
                <a:gd name="T10" fmla="*/ 600 w 642"/>
                <a:gd name="T11" fmla="*/ 650 h 650"/>
              </a:gdLst>
              <a:ahLst/>
              <a:cxnLst>
                <a:cxn ang="0">
                  <a:pos x="T0" y="T1"/>
                </a:cxn>
                <a:cxn ang="0">
                  <a:pos x="T2" y="T3"/>
                </a:cxn>
                <a:cxn ang="0">
                  <a:pos x="T4" y="T5"/>
                </a:cxn>
                <a:cxn ang="0">
                  <a:pos x="T6" y="T7"/>
                </a:cxn>
                <a:cxn ang="0">
                  <a:pos x="T8" y="T9"/>
                </a:cxn>
                <a:cxn ang="0">
                  <a:pos x="T10" y="T11"/>
                </a:cxn>
              </a:cxnLst>
              <a:rect l="0" t="0" r="r" b="b"/>
              <a:pathLst>
                <a:path w="642" h="650">
                  <a:moveTo>
                    <a:pt x="600" y="650"/>
                  </a:moveTo>
                  <a:lnTo>
                    <a:pt x="288" y="312"/>
                  </a:lnTo>
                  <a:lnTo>
                    <a:pt x="0" y="0"/>
                  </a:lnTo>
                  <a:lnTo>
                    <a:pt x="642" y="0"/>
                  </a:lnTo>
                  <a:lnTo>
                    <a:pt x="642" y="600"/>
                  </a:lnTo>
                  <a:lnTo>
                    <a:pt x="600" y="650"/>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27" name="Freeform 492"/>
            <p:cNvSpPr>
              <a:spLocks noEditPoints="1"/>
            </p:cNvSpPr>
            <p:nvPr/>
          </p:nvSpPr>
          <p:spPr bwMode="auto">
            <a:xfrm>
              <a:off x="-4214813" y="4237037"/>
              <a:ext cx="2341563" cy="2058988"/>
            </a:xfrm>
            <a:custGeom>
              <a:avLst/>
              <a:gdLst>
                <a:gd name="T0" fmla="*/ 0 w 3073"/>
                <a:gd name="T1" fmla="*/ 2701 h 2701"/>
                <a:gd name="T2" fmla="*/ 0 w 3073"/>
                <a:gd name="T3" fmla="*/ 2701 h 2701"/>
                <a:gd name="T4" fmla="*/ 0 w 3073"/>
                <a:gd name="T5" fmla="*/ 2701 h 2701"/>
                <a:gd name="T6" fmla="*/ 0 w 3073"/>
                <a:gd name="T7" fmla="*/ 2701 h 2701"/>
                <a:gd name="T8" fmla="*/ 0 w 3073"/>
                <a:gd name="T9" fmla="*/ 2701 h 2701"/>
                <a:gd name="T10" fmla="*/ 1894 w 3073"/>
                <a:gd name="T11" fmla="*/ 0 h 2701"/>
                <a:gd name="T12" fmla="*/ 3073 w 3073"/>
                <a:gd name="T13" fmla="*/ 2042 h 2701"/>
                <a:gd name="T14" fmla="*/ 3073 w 3073"/>
                <a:gd name="T15" fmla="*/ 2042 h 2701"/>
                <a:gd name="T16" fmla="*/ 0 w 3073"/>
                <a:gd name="T17" fmla="*/ 2701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701">
                  <a:moveTo>
                    <a:pt x="0" y="2701"/>
                  </a:moveTo>
                  <a:lnTo>
                    <a:pt x="0" y="2701"/>
                  </a:lnTo>
                  <a:lnTo>
                    <a:pt x="0" y="2701"/>
                  </a:lnTo>
                  <a:lnTo>
                    <a:pt x="0" y="2701"/>
                  </a:lnTo>
                  <a:moveTo>
                    <a:pt x="0" y="2701"/>
                  </a:moveTo>
                  <a:lnTo>
                    <a:pt x="1894" y="0"/>
                  </a:lnTo>
                  <a:lnTo>
                    <a:pt x="3073" y="2042"/>
                  </a:lnTo>
                  <a:lnTo>
                    <a:pt x="3073" y="2042"/>
                  </a:lnTo>
                  <a:lnTo>
                    <a:pt x="0" y="270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28" name="Freeform 493"/>
            <p:cNvSpPr>
              <a:spLocks/>
            </p:cNvSpPr>
            <p:nvPr/>
          </p:nvSpPr>
          <p:spPr bwMode="auto">
            <a:xfrm>
              <a:off x="-2054225" y="4914900"/>
              <a:ext cx="1200150" cy="877888"/>
            </a:xfrm>
            <a:custGeom>
              <a:avLst/>
              <a:gdLst>
                <a:gd name="T0" fmla="*/ 114 w 756"/>
                <a:gd name="T1" fmla="*/ 553 h 553"/>
                <a:gd name="T2" fmla="*/ 114 w 756"/>
                <a:gd name="T3" fmla="*/ 553 h 553"/>
                <a:gd name="T4" fmla="*/ 114 w 756"/>
                <a:gd name="T5" fmla="*/ 553 h 553"/>
                <a:gd name="T6" fmla="*/ 95 w 756"/>
                <a:gd name="T7" fmla="*/ 458 h 553"/>
                <a:gd name="T8" fmla="*/ 0 w 756"/>
                <a:gd name="T9" fmla="*/ 0 h 553"/>
                <a:gd name="T10" fmla="*/ 756 w 756"/>
                <a:gd name="T11" fmla="*/ 336 h 553"/>
                <a:gd name="T12" fmla="*/ 756 w 756"/>
                <a:gd name="T13" fmla="*/ 553 h 553"/>
                <a:gd name="T14" fmla="*/ 114 w 756"/>
                <a:gd name="T15" fmla="*/ 553 h 5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6" h="553">
                  <a:moveTo>
                    <a:pt x="114" y="553"/>
                  </a:moveTo>
                  <a:lnTo>
                    <a:pt x="114" y="553"/>
                  </a:lnTo>
                  <a:lnTo>
                    <a:pt x="114" y="553"/>
                  </a:lnTo>
                  <a:lnTo>
                    <a:pt x="95" y="458"/>
                  </a:lnTo>
                  <a:lnTo>
                    <a:pt x="0" y="0"/>
                  </a:lnTo>
                  <a:lnTo>
                    <a:pt x="756" y="336"/>
                  </a:lnTo>
                  <a:lnTo>
                    <a:pt x="756" y="553"/>
                  </a:lnTo>
                  <a:lnTo>
                    <a:pt x="114" y="5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29" name="Freeform 494"/>
            <p:cNvSpPr>
              <a:spLocks noEditPoints="1"/>
            </p:cNvSpPr>
            <p:nvPr/>
          </p:nvSpPr>
          <p:spPr bwMode="auto">
            <a:xfrm>
              <a:off x="-4214813" y="5792787"/>
              <a:ext cx="2341563" cy="1866900"/>
            </a:xfrm>
            <a:custGeom>
              <a:avLst/>
              <a:gdLst>
                <a:gd name="T0" fmla="*/ 2331 w 3073"/>
                <a:gd name="T1" fmla="*/ 2449 h 2449"/>
                <a:gd name="T2" fmla="*/ 2127 w 3073"/>
                <a:gd name="T3" fmla="*/ 2449 h 2449"/>
                <a:gd name="T4" fmla="*/ 0 w 3073"/>
                <a:gd name="T5" fmla="*/ 659 h 2449"/>
                <a:gd name="T6" fmla="*/ 3073 w 3073"/>
                <a:gd name="T7" fmla="*/ 0 h 2449"/>
                <a:gd name="T8" fmla="*/ 2331 w 3073"/>
                <a:gd name="T9" fmla="*/ 2449 h 2449"/>
                <a:gd name="T10" fmla="*/ 0 w 3073"/>
                <a:gd name="T11" fmla="*/ 659 h 2449"/>
                <a:gd name="T12" fmla="*/ 0 w 3073"/>
                <a:gd name="T13" fmla="*/ 659 h 2449"/>
                <a:gd name="T14" fmla="*/ 0 w 3073"/>
                <a:gd name="T15" fmla="*/ 659 h 2449"/>
                <a:gd name="T16" fmla="*/ 0 w 3073"/>
                <a:gd name="T17" fmla="*/ 659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449">
                  <a:moveTo>
                    <a:pt x="2331" y="2449"/>
                  </a:moveTo>
                  <a:lnTo>
                    <a:pt x="2127" y="2449"/>
                  </a:lnTo>
                  <a:lnTo>
                    <a:pt x="0" y="659"/>
                  </a:lnTo>
                  <a:lnTo>
                    <a:pt x="3073" y="0"/>
                  </a:lnTo>
                  <a:lnTo>
                    <a:pt x="2331" y="2449"/>
                  </a:lnTo>
                  <a:moveTo>
                    <a:pt x="0" y="659"/>
                  </a:moveTo>
                  <a:lnTo>
                    <a:pt x="0" y="659"/>
                  </a:lnTo>
                  <a:lnTo>
                    <a:pt x="0" y="659"/>
                  </a:lnTo>
                  <a:lnTo>
                    <a:pt x="0" y="659"/>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30" name="Rectangle 495"/>
            <p:cNvSpPr>
              <a:spLocks noChangeArrowheads="1"/>
            </p:cNvSpPr>
            <p:nvPr/>
          </p:nvSpPr>
          <p:spPr bwMode="auto">
            <a:xfrm>
              <a:off x="-4214813" y="6296025"/>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31" name="Freeform 496"/>
            <p:cNvSpPr>
              <a:spLocks/>
            </p:cNvSpPr>
            <p:nvPr/>
          </p:nvSpPr>
          <p:spPr bwMode="auto">
            <a:xfrm>
              <a:off x="-2438400" y="5792787"/>
              <a:ext cx="565150" cy="1866900"/>
            </a:xfrm>
            <a:custGeom>
              <a:avLst/>
              <a:gdLst>
                <a:gd name="T0" fmla="*/ 0 w 356"/>
                <a:gd name="T1" fmla="*/ 1176 h 1176"/>
                <a:gd name="T2" fmla="*/ 0 w 356"/>
                <a:gd name="T3" fmla="*/ 1176 h 1176"/>
                <a:gd name="T4" fmla="*/ 356 w 356"/>
                <a:gd name="T5" fmla="*/ 0 h 1176"/>
                <a:gd name="T6" fmla="*/ 356 w 356"/>
                <a:gd name="T7" fmla="*/ 0 h 1176"/>
                <a:gd name="T8" fmla="*/ 0 w 356"/>
                <a:gd name="T9" fmla="*/ 1176 h 1176"/>
              </a:gdLst>
              <a:ahLst/>
              <a:cxnLst>
                <a:cxn ang="0">
                  <a:pos x="T0" y="T1"/>
                </a:cxn>
                <a:cxn ang="0">
                  <a:pos x="T2" y="T3"/>
                </a:cxn>
                <a:cxn ang="0">
                  <a:pos x="T4" y="T5"/>
                </a:cxn>
                <a:cxn ang="0">
                  <a:pos x="T6" y="T7"/>
                </a:cxn>
                <a:cxn ang="0">
                  <a:pos x="T8" y="T9"/>
                </a:cxn>
              </a:cxnLst>
              <a:rect l="0" t="0" r="r" b="b"/>
              <a:pathLst>
                <a:path w="356" h="1176">
                  <a:moveTo>
                    <a:pt x="0" y="1176"/>
                  </a:moveTo>
                  <a:lnTo>
                    <a:pt x="0" y="1176"/>
                  </a:lnTo>
                  <a:lnTo>
                    <a:pt x="356" y="0"/>
                  </a:lnTo>
                  <a:lnTo>
                    <a:pt x="356" y="0"/>
                  </a:lnTo>
                  <a:lnTo>
                    <a:pt x="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32" name="Freeform 497"/>
            <p:cNvSpPr>
              <a:spLocks/>
            </p:cNvSpPr>
            <p:nvPr/>
          </p:nvSpPr>
          <p:spPr bwMode="auto">
            <a:xfrm>
              <a:off x="-4214813" y="5792787"/>
              <a:ext cx="2341563" cy="503238"/>
            </a:xfrm>
            <a:custGeom>
              <a:avLst/>
              <a:gdLst>
                <a:gd name="T0" fmla="*/ 0 w 1475"/>
                <a:gd name="T1" fmla="*/ 317 h 317"/>
                <a:gd name="T2" fmla="*/ 0 w 1475"/>
                <a:gd name="T3" fmla="*/ 317 h 317"/>
                <a:gd name="T4" fmla="*/ 0 w 1475"/>
                <a:gd name="T5" fmla="*/ 317 h 317"/>
                <a:gd name="T6" fmla="*/ 1475 w 1475"/>
                <a:gd name="T7" fmla="*/ 0 h 317"/>
                <a:gd name="T8" fmla="*/ 1475 w 1475"/>
                <a:gd name="T9" fmla="*/ 0 h 317"/>
                <a:gd name="T10" fmla="*/ 0 w 1475"/>
                <a:gd name="T11" fmla="*/ 317 h 317"/>
              </a:gdLst>
              <a:ahLst/>
              <a:cxnLst>
                <a:cxn ang="0">
                  <a:pos x="T0" y="T1"/>
                </a:cxn>
                <a:cxn ang="0">
                  <a:pos x="T2" y="T3"/>
                </a:cxn>
                <a:cxn ang="0">
                  <a:pos x="T4" y="T5"/>
                </a:cxn>
                <a:cxn ang="0">
                  <a:pos x="T6" y="T7"/>
                </a:cxn>
                <a:cxn ang="0">
                  <a:pos x="T8" y="T9"/>
                </a:cxn>
                <a:cxn ang="0">
                  <a:pos x="T10" y="T11"/>
                </a:cxn>
              </a:cxnLst>
              <a:rect l="0" t="0" r="r" b="b"/>
              <a:pathLst>
                <a:path w="1475" h="317">
                  <a:moveTo>
                    <a:pt x="0" y="317"/>
                  </a:moveTo>
                  <a:lnTo>
                    <a:pt x="0" y="317"/>
                  </a:lnTo>
                  <a:lnTo>
                    <a:pt x="0" y="317"/>
                  </a:lnTo>
                  <a:lnTo>
                    <a:pt x="1475" y="0"/>
                  </a:lnTo>
                  <a:lnTo>
                    <a:pt x="1475" y="0"/>
                  </a:lnTo>
                  <a:lnTo>
                    <a:pt x="0" y="317"/>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33" name="Freeform 498"/>
            <p:cNvSpPr>
              <a:spLocks/>
            </p:cNvSpPr>
            <p:nvPr/>
          </p:nvSpPr>
          <p:spPr bwMode="auto">
            <a:xfrm>
              <a:off x="-2054225" y="3560762"/>
              <a:ext cx="1200150" cy="1354138"/>
            </a:xfrm>
            <a:custGeom>
              <a:avLst/>
              <a:gdLst>
                <a:gd name="T0" fmla="*/ 0 w 756"/>
                <a:gd name="T1" fmla="*/ 853 h 853"/>
                <a:gd name="T2" fmla="*/ 0 w 756"/>
                <a:gd name="T3" fmla="*/ 853 h 853"/>
                <a:gd name="T4" fmla="*/ 756 w 756"/>
                <a:gd name="T5" fmla="*/ 0 h 853"/>
                <a:gd name="T6" fmla="*/ 756 w 756"/>
                <a:gd name="T7" fmla="*/ 675 h 853"/>
                <a:gd name="T8" fmla="*/ 0 w 756"/>
                <a:gd name="T9" fmla="*/ 853 h 853"/>
              </a:gdLst>
              <a:ahLst/>
              <a:cxnLst>
                <a:cxn ang="0">
                  <a:pos x="T0" y="T1"/>
                </a:cxn>
                <a:cxn ang="0">
                  <a:pos x="T2" y="T3"/>
                </a:cxn>
                <a:cxn ang="0">
                  <a:pos x="T4" y="T5"/>
                </a:cxn>
                <a:cxn ang="0">
                  <a:pos x="T6" y="T7"/>
                </a:cxn>
                <a:cxn ang="0">
                  <a:pos x="T8" y="T9"/>
                </a:cxn>
              </a:cxnLst>
              <a:rect l="0" t="0" r="r" b="b"/>
              <a:pathLst>
                <a:path w="756" h="853">
                  <a:moveTo>
                    <a:pt x="0" y="853"/>
                  </a:moveTo>
                  <a:lnTo>
                    <a:pt x="0" y="853"/>
                  </a:lnTo>
                  <a:lnTo>
                    <a:pt x="756" y="0"/>
                  </a:lnTo>
                  <a:lnTo>
                    <a:pt x="756" y="675"/>
                  </a:lnTo>
                  <a:lnTo>
                    <a:pt x="0" y="853"/>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34" name="Freeform 499"/>
            <p:cNvSpPr>
              <a:spLocks/>
            </p:cNvSpPr>
            <p:nvPr/>
          </p:nvSpPr>
          <p:spPr bwMode="auto">
            <a:xfrm>
              <a:off x="-2054225" y="3560762"/>
              <a:ext cx="1200150" cy="1354138"/>
            </a:xfrm>
            <a:custGeom>
              <a:avLst/>
              <a:gdLst>
                <a:gd name="T0" fmla="*/ 0 w 756"/>
                <a:gd name="T1" fmla="*/ 853 h 853"/>
                <a:gd name="T2" fmla="*/ 756 w 756"/>
                <a:gd name="T3" fmla="*/ 0 h 853"/>
                <a:gd name="T4" fmla="*/ 756 w 756"/>
                <a:gd name="T5" fmla="*/ 0 h 853"/>
                <a:gd name="T6" fmla="*/ 0 w 756"/>
                <a:gd name="T7" fmla="*/ 853 h 853"/>
              </a:gdLst>
              <a:ahLst/>
              <a:cxnLst>
                <a:cxn ang="0">
                  <a:pos x="T0" y="T1"/>
                </a:cxn>
                <a:cxn ang="0">
                  <a:pos x="T2" y="T3"/>
                </a:cxn>
                <a:cxn ang="0">
                  <a:pos x="T4" y="T5"/>
                </a:cxn>
                <a:cxn ang="0">
                  <a:pos x="T6" y="T7"/>
                </a:cxn>
              </a:cxnLst>
              <a:rect l="0" t="0" r="r" b="b"/>
              <a:pathLst>
                <a:path w="756" h="853">
                  <a:moveTo>
                    <a:pt x="0" y="853"/>
                  </a:moveTo>
                  <a:lnTo>
                    <a:pt x="756" y="0"/>
                  </a:lnTo>
                  <a:lnTo>
                    <a:pt x="756" y="0"/>
                  </a:lnTo>
                  <a:lnTo>
                    <a:pt x="0" y="853"/>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35" name="Freeform 500"/>
            <p:cNvSpPr>
              <a:spLocks/>
            </p:cNvSpPr>
            <p:nvPr/>
          </p:nvSpPr>
          <p:spPr bwMode="auto">
            <a:xfrm>
              <a:off x="-2054225" y="4632325"/>
              <a:ext cx="1200150" cy="815975"/>
            </a:xfrm>
            <a:custGeom>
              <a:avLst/>
              <a:gdLst>
                <a:gd name="T0" fmla="*/ 756 w 756"/>
                <a:gd name="T1" fmla="*/ 514 h 514"/>
                <a:gd name="T2" fmla="*/ 0 w 756"/>
                <a:gd name="T3" fmla="*/ 178 h 514"/>
                <a:gd name="T4" fmla="*/ 756 w 756"/>
                <a:gd name="T5" fmla="*/ 0 h 514"/>
                <a:gd name="T6" fmla="*/ 756 w 756"/>
                <a:gd name="T7" fmla="*/ 514 h 514"/>
              </a:gdLst>
              <a:ahLst/>
              <a:cxnLst>
                <a:cxn ang="0">
                  <a:pos x="T0" y="T1"/>
                </a:cxn>
                <a:cxn ang="0">
                  <a:pos x="T2" y="T3"/>
                </a:cxn>
                <a:cxn ang="0">
                  <a:pos x="T4" y="T5"/>
                </a:cxn>
                <a:cxn ang="0">
                  <a:pos x="T6" y="T7"/>
                </a:cxn>
              </a:cxnLst>
              <a:rect l="0" t="0" r="r" b="b"/>
              <a:pathLst>
                <a:path w="756" h="514">
                  <a:moveTo>
                    <a:pt x="756" y="514"/>
                  </a:moveTo>
                  <a:lnTo>
                    <a:pt x="0" y="178"/>
                  </a:lnTo>
                  <a:lnTo>
                    <a:pt x="756" y="0"/>
                  </a:lnTo>
                  <a:lnTo>
                    <a:pt x="756" y="514"/>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36" name="Freeform 501"/>
            <p:cNvSpPr>
              <a:spLocks/>
            </p:cNvSpPr>
            <p:nvPr/>
          </p:nvSpPr>
          <p:spPr bwMode="auto">
            <a:xfrm>
              <a:off x="-2298700" y="6824662"/>
              <a:ext cx="1377950" cy="835025"/>
            </a:xfrm>
            <a:custGeom>
              <a:avLst/>
              <a:gdLst>
                <a:gd name="T0" fmla="*/ 661 w 868"/>
                <a:gd name="T1" fmla="*/ 526 h 526"/>
                <a:gd name="T2" fmla="*/ 0 w 868"/>
                <a:gd name="T3" fmla="*/ 526 h 526"/>
                <a:gd name="T4" fmla="*/ 868 w 868"/>
                <a:gd name="T5" fmla="*/ 0 h 526"/>
                <a:gd name="T6" fmla="*/ 661 w 868"/>
                <a:gd name="T7" fmla="*/ 526 h 526"/>
              </a:gdLst>
              <a:ahLst/>
              <a:cxnLst>
                <a:cxn ang="0">
                  <a:pos x="T0" y="T1"/>
                </a:cxn>
                <a:cxn ang="0">
                  <a:pos x="T2" y="T3"/>
                </a:cxn>
                <a:cxn ang="0">
                  <a:pos x="T4" y="T5"/>
                </a:cxn>
                <a:cxn ang="0">
                  <a:pos x="T6" y="T7"/>
                </a:cxn>
              </a:cxnLst>
              <a:rect l="0" t="0" r="r" b="b"/>
              <a:pathLst>
                <a:path w="868" h="526">
                  <a:moveTo>
                    <a:pt x="661" y="526"/>
                  </a:moveTo>
                  <a:lnTo>
                    <a:pt x="0" y="526"/>
                  </a:lnTo>
                  <a:lnTo>
                    <a:pt x="868" y="0"/>
                  </a:lnTo>
                  <a:lnTo>
                    <a:pt x="661" y="526"/>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37" name="Freeform 502"/>
            <p:cNvSpPr>
              <a:spLocks/>
            </p:cNvSpPr>
            <p:nvPr/>
          </p:nvSpPr>
          <p:spPr bwMode="auto">
            <a:xfrm>
              <a:off x="-1249363" y="6824662"/>
              <a:ext cx="395288" cy="835025"/>
            </a:xfrm>
            <a:custGeom>
              <a:avLst/>
              <a:gdLst>
                <a:gd name="T0" fmla="*/ 249 w 249"/>
                <a:gd name="T1" fmla="*/ 526 h 526"/>
                <a:gd name="T2" fmla="*/ 0 w 249"/>
                <a:gd name="T3" fmla="*/ 526 h 526"/>
                <a:gd name="T4" fmla="*/ 207 w 249"/>
                <a:gd name="T5" fmla="*/ 0 h 526"/>
                <a:gd name="T6" fmla="*/ 249 w 249"/>
                <a:gd name="T7" fmla="*/ 166 h 526"/>
                <a:gd name="T8" fmla="*/ 249 w 249"/>
                <a:gd name="T9" fmla="*/ 526 h 526"/>
              </a:gdLst>
              <a:ahLst/>
              <a:cxnLst>
                <a:cxn ang="0">
                  <a:pos x="T0" y="T1"/>
                </a:cxn>
                <a:cxn ang="0">
                  <a:pos x="T2" y="T3"/>
                </a:cxn>
                <a:cxn ang="0">
                  <a:pos x="T4" y="T5"/>
                </a:cxn>
                <a:cxn ang="0">
                  <a:pos x="T6" y="T7"/>
                </a:cxn>
                <a:cxn ang="0">
                  <a:pos x="T8" y="T9"/>
                </a:cxn>
              </a:cxnLst>
              <a:rect l="0" t="0" r="r" b="b"/>
              <a:pathLst>
                <a:path w="249" h="526">
                  <a:moveTo>
                    <a:pt x="249" y="526"/>
                  </a:moveTo>
                  <a:lnTo>
                    <a:pt x="0" y="526"/>
                  </a:lnTo>
                  <a:lnTo>
                    <a:pt x="207" y="0"/>
                  </a:lnTo>
                  <a:lnTo>
                    <a:pt x="249" y="166"/>
                  </a:lnTo>
                  <a:lnTo>
                    <a:pt x="249" y="52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38" name="Freeform 503"/>
            <p:cNvSpPr>
              <a:spLocks/>
            </p:cNvSpPr>
            <p:nvPr/>
          </p:nvSpPr>
          <p:spPr bwMode="auto">
            <a:xfrm>
              <a:off x="-920750" y="6745287"/>
              <a:ext cx="66675" cy="79375"/>
            </a:xfrm>
            <a:custGeom>
              <a:avLst/>
              <a:gdLst>
                <a:gd name="T0" fmla="*/ 0 w 42"/>
                <a:gd name="T1" fmla="*/ 50 h 50"/>
                <a:gd name="T2" fmla="*/ 0 w 42"/>
                <a:gd name="T3" fmla="*/ 50 h 50"/>
                <a:gd name="T4" fmla="*/ 42 w 42"/>
                <a:gd name="T5" fmla="*/ 0 h 50"/>
                <a:gd name="T6" fmla="*/ 42 w 42"/>
                <a:gd name="T7" fmla="*/ 47 h 50"/>
                <a:gd name="T8" fmla="*/ 0 w 42"/>
                <a:gd name="T9" fmla="*/ 50 h 50"/>
              </a:gdLst>
              <a:ahLst/>
              <a:cxnLst>
                <a:cxn ang="0">
                  <a:pos x="T0" y="T1"/>
                </a:cxn>
                <a:cxn ang="0">
                  <a:pos x="T2" y="T3"/>
                </a:cxn>
                <a:cxn ang="0">
                  <a:pos x="T4" y="T5"/>
                </a:cxn>
                <a:cxn ang="0">
                  <a:pos x="T6" y="T7"/>
                </a:cxn>
                <a:cxn ang="0">
                  <a:pos x="T8" y="T9"/>
                </a:cxn>
              </a:cxnLst>
              <a:rect l="0" t="0" r="r" b="b"/>
              <a:pathLst>
                <a:path w="42" h="50">
                  <a:moveTo>
                    <a:pt x="0" y="50"/>
                  </a:moveTo>
                  <a:lnTo>
                    <a:pt x="0" y="50"/>
                  </a:lnTo>
                  <a:lnTo>
                    <a:pt x="42" y="0"/>
                  </a:lnTo>
                  <a:lnTo>
                    <a:pt x="42" y="47"/>
                  </a:lnTo>
                  <a:lnTo>
                    <a:pt x="0" y="5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39" name="Freeform 504"/>
            <p:cNvSpPr>
              <a:spLocks/>
            </p:cNvSpPr>
            <p:nvPr/>
          </p:nvSpPr>
          <p:spPr bwMode="auto">
            <a:xfrm>
              <a:off x="-920750" y="6819900"/>
              <a:ext cx="66675" cy="268288"/>
            </a:xfrm>
            <a:custGeom>
              <a:avLst/>
              <a:gdLst>
                <a:gd name="T0" fmla="*/ 42 w 42"/>
                <a:gd name="T1" fmla="*/ 169 h 169"/>
                <a:gd name="T2" fmla="*/ 0 w 42"/>
                <a:gd name="T3" fmla="*/ 3 h 169"/>
                <a:gd name="T4" fmla="*/ 42 w 42"/>
                <a:gd name="T5" fmla="*/ 0 h 169"/>
                <a:gd name="T6" fmla="*/ 42 w 42"/>
                <a:gd name="T7" fmla="*/ 169 h 169"/>
              </a:gdLst>
              <a:ahLst/>
              <a:cxnLst>
                <a:cxn ang="0">
                  <a:pos x="T0" y="T1"/>
                </a:cxn>
                <a:cxn ang="0">
                  <a:pos x="T2" y="T3"/>
                </a:cxn>
                <a:cxn ang="0">
                  <a:pos x="T4" y="T5"/>
                </a:cxn>
                <a:cxn ang="0">
                  <a:pos x="T6" y="T7"/>
                </a:cxn>
              </a:cxnLst>
              <a:rect l="0" t="0" r="r" b="b"/>
              <a:pathLst>
                <a:path w="42" h="169">
                  <a:moveTo>
                    <a:pt x="42" y="169"/>
                  </a:moveTo>
                  <a:lnTo>
                    <a:pt x="0" y="3"/>
                  </a:lnTo>
                  <a:lnTo>
                    <a:pt x="42" y="0"/>
                  </a:lnTo>
                  <a:lnTo>
                    <a:pt x="42" y="16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grpSp>
      <p:sp>
        <p:nvSpPr>
          <p:cNvPr id="202" name="AutoShape 303"/>
          <p:cNvSpPr>
            <a:spLocks noChangeArrowheads="1" noTextEdit="1"/>
          </p:cNvSpPr>
          <p:nvPr/>
        </p:nvSpPr>
        <p:spPr bwMode="auto">
          <a:xfrm>
            <a:off x="0" y="-1"/>
            <a:ext cx="8961438" cy="6721475"/>
          </a:xfrm>
          <a:prstGeom prst="rect">
            <a:avLst/>
          </a:prstGeom>
          <a:solidFill>
            <a:schemeClr val="accent4">
              <a:alpha val="83000"/>
            </a:schemeClr>
          </a:solidFill>
          <a:ln>
            <a:noFill/>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 name="Title 1"/>
          <p:cNvSpPr>
            <a:spLocks noGrp="1"/>
          </p:cNvSpPr>
          <p:nvPr>
            <p:ph type="title"/>
          </p:nvPr>
        </p:nvSpPr>
        <p:spPr>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zh-CN" dirty="0">
                <a:solidFill>
                  <a:schemeClr val="bg1"/>
                </a:solidFill>
                <a:latin typeface="+mn-lt"/>
                <a:ea typeface="楷体" panose="02010609060101010101" pitchFamily="49" charset="-122"/>
                <a:cs typeface="SimSun"/>
              </a:rPr>
              <a:t>深度学习</a:t>
            </a:r>
            <a:r>
              <a:rPr lang="zh-CN" altLang="en-US" dirty="0">
                <a:solidFill>
                  <a:schemeClr val="bg1"/>
                </a:solidFill>
                <a:latin typeface="+mn-lt"/>
                <a:ea typeface="楷体" panose="02010609060101010101" pitchFamily="49" charset="-122"/>
                <a:cs typeface="SimSun"/>
              </a:rPr>
              <a:t>如今为何飞速发展</a:t>
            </a:r>
            <a:r>
              <a:rPr lang="zh-CN" dirty="0">
                <a:solidFill>
                  <a:schemeClr val="bg1"/>
                </a:solidFill>
                <a:latin typeface="+mn-lt"/>
                <a:ea typeface="楷体" panose="02010609060101010101" pitchFamily="49" charset="-122"/>
                <a:cs typeface="SimSun"/>
              </a:rPr>
              <a:t>？(1/3)</a:t>
            </a:r>
          </a:p>
        </p:txBody>
      </p:sp>
      <p:sp>
        <p:nvSpPr>
          <p:cNvPr id="3" name="AutoShape 250"/>
          <p:cNvSpPr>
            <a:spLocks noChangeArrowheads="1"/>
          </p:cNvSpPr>
          <p:nvPr/>
        </p:nvSpPr>
        <p:spPr bwMode="auto">
          <a:xfrm>
            <a:off x="119064" y="776540"/>
            <a:ext cx="951583" cy="234285"/>
          </a:xfrm>
          <a:prstGeom prst="leftRightArrow">
            <a:avLst>
              <a:gd name="adj1" fmla="val 100000"/>
              <a:gd name="adj2" fmla="val 0"/>
            </a:avLst>
          </a:prstGeom>
          <a:noFill/>
          <a:ln>
            <a:noFill/>
          </a:ln>
          <a:effectLst/>
        </p:spPr>
        <p:txBody>
          <a:bodyPr wrap="square" lIns="0" tIns="0" rIns="0" bIns="18659" anchor="b">
            <a:spAutoFit/>
          </a:bodyPr>
          <a:lstStyle/>
          <a:p>
            <a:pPr>
              <a:defRPr/>
            </a:pPr>
            <a:r>
              <a:rPr lang="zh-CN" sz="1400" dirty="0">
                <a:solidFill>
                  <a:srgbClr val="FFCA21"/>
                </a:solidFill>
                <a:latin typeface="+mn-lt"/>
                <a:ea typeface="楷体" panose="02010609060101010101" pitchFamily="49" charset="-122"/>
                <a:cs typeface="SimSun"/>
              </a:rPr>
              <a:t>特性</a:t>
            </a:r>
          </a:p>
        </p:txBody>
      </p:sp>
      <p:sp>
        <p:nvSpPr>
          <p:cNvPr id="5" name="AutoShape 250"/>
          <p:cNvSpPr>
            <a:spLocks noChangeArrowheads="1"/>
          </p:cNvSpPr>
          <p:nvPr/>
        </p:nvSpPr>
        <p:spPr bwMode="auto">
          <a:xfrm>
            <a:off x="1374210" y="775923"/>
            <a:ext cx="3025386" cy="234285"/>
          </a:xfrm>
          <a:prstGeom prst="leftRightArrow">
            <a:avLst>
              <a:gd name="adj1" fmla="val 100000"/>
              <a:gd name="adj2" fmla="val 0"/>
            </a:avLst>
          </a:prstGeom>
          <a:noFill/>
          <a:ln>
            <a:noFill/>
          </a:ln>
          <a:effectLst/>
        </p:spPr>
        <p:txBody>
          <a:bodyPr lIns="0" tIns="0" rIns="0" bIns="18659" anchor="b">
            <a:spAutoFit/>
          </a:bodyPr>
          <a:lstStyle/>
          <a:p>
            <a:pPr>
              <a:defRPr/>
            </a:pPr>
            <a:r>
              <a:rPr lang="zh-CN" sz="1400" dirty="0">
                <a:solidFill>
                  <a:srgbClr val="FFCA21"/>
                </a:solidFill>
                <a:latin typeface="+mn-lt"/>
                <a:ea typeface="楷体" panose="02010609060101010101" pitchFamily="49" charset="-122"/>
                <a:cs typeface="SimSun"/>
              </a:rPr>
              <a:t>描述</a:t>
            </a:r>
          </a:p>
        </p:txBody>
      </p:sp>
      <p:sp>
        <p:nvSpPr>
          <p:cNvPr id="13" name="Rectangle 7"/>
          <p:cNvSpPr>
            <a:spLocks noChangeArrowheads="1"/>
          </p:cNvSpPr>
          <p:nvPr>
            <p:custDataLst>
              <p:tags r:id="rId1"/>
            </p:custDataLst>
          </p:nvPr>
        </p:nvSpPr>
        <p:spPr bwMode="auto">
          <a:xfrm>
            <a:off x="3046233" y="2911475"/>
            <a:ext cx="3244789" cy="647632"/>
          </a:xfrm>
          <a:prstGeom prst="rect">
            <a:avLst/>
          </a:prstGeom>
          <a:noFill/>
          <a:ln>
            <a:noFill/>
          </a:ln>
          <a:effectLst/>
        </p:spPr>
        <p:txBody>
          <a:bodyPr wrap="square" lIns="0" tIns="0" rIns="0" bIns="0">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235199" lvl="1" indent="-233272" defTabSz="1087313">
              <a:spcBef>
                <a:spcPct val="30000"/>
              </a:spcBef>
              <a:buFont typeface="Arial" charset="0"/>
              <a:buChar char="▪"/>
              <a:defRPr/>
            </a:pPr>
            <a:endParaRPr lang="en-US" sz="1100" dirty="0">
              <a:latin typeface="+mn-lt"/>
              <a:ea typeface="楷体" panose="02010609060101010101" pitchFamily="49" charset="-122"/>
              <a:cs typeface="Times New Roman" panose="02020603050405020304" pitchFamily="18" charset="0"/>
            </a:endParaRPr>
          </a:p>
        </p:txBody>
      </p:sp>
      <p:sp>
        <p:nvSpPr>
          <p:cNvPr id="446" name="Text Placeholder 2"/>
          <p:cNvSpPr>
            <a:spLocks noGrp="1"/>
          </p:cNvSpPr>
          <p:nvPr>
            <p:custDataLst>
              <p:tags r:id="rId2"/>
            </p:custDataLst>
          </p:nvPr>
        </p:nvSpPr>
        <p:spPr bwMode="gray">
          <a:xfrm>
            <a:off x="3916363" y="5149850"/>
            <a:ext cx="360363"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dirty="0">
                <a:ea typeface="楷体" panose="02010609060101010101" pitchFamily="49" charset="-122"/>
                <a:cs typeface="SimSun"/>
              </a:rPr>
              <a:t> </a:t>
            </a:r>
            <a:fld id="{C8947FCE-9E3B-4B4F-837D-A60B7FD23A2A}" type="datetime'''''6''''''''''0''''''''''X'">
              <a:rPr lang="en-US" altLang="en-US" sz="1100">
                <a:solidFill>
                  <a:schemeClr val="bg1"/>
                </a:solidFill>
                <a:ea typeface="楷体" panose="02010609060101010101" pitchFamily="49" charset="-122"/>
                <a:sym typeface="+mn-lt"/>
              </a:rPr>
              <a:pPr algn="ctr"/>
              <a:t>60X</a:t>
            </a:fld>
            <a:r>
              <a:rPr lang="zh-CN" dirty="0">
                <a:ea typeface="楷体" panose="02010609060101010101" pitchFamily="49" charset="-122"/>
                <a:cs typeface="SimSun"/>
              </a:rPr>
              <a:t> </a:t>
            </a:r>
            <a:endParaRPr lang="zh-CN" sz="1100" dirty="0">
              <a:solidFill>
                <a:schemeClr val="bg1"/>
              </a:solidFill>
              <a:ea typeface="楷体" panose="02010609060101010101" pitchFamily="49" charset="-122"/>
              <a:sym typeface="+mn-lt"/>
            </a:endParaRPr>
          </a:p>
        </p:txBody>
      </p:sp>
      <p:sp>
        <p:nvSpPr>
          <p:cNvPr id="65" name="Text Placeholder 2"/>
          <p:cNvSpPr>
            <a:spLocks noGrp="1"/>
          </p:cNvSpPr>
          <p:nvPr>
            <p:custDataLst>
              <p:tags r:id="rId3"/>
            </p:custDataLst>
          </p:nvPr>
        </p:nvSpPr>
        <p:spPr bwMode="auto">
          <a:xfrm>
            <a:off x="2424113" y="6081713"/>
            <a:ext cx="323850"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zh-CN" altLang="en-US" sz="1100" dirty="0">
                <a:solidFill>
                  <a:schemeClr val="bg1"/>
                </a:solidFill>
                <a:ea typeface="楷体" panose="02010609060101010101" pitchFamily="49" charset="-122"/>
                <a:cs typeface="SimSun"/>
                <a:sym typeface="+mn-lt"/>
              </a:rPr>
              <a:t>20</a:t>
            </a:r>
            <a:fld id="{875BBCCA-A87A-4CA9-AC81-CD9E84CC8D9B}" type="datetime'''''1''''''''''''''''''''''''4'''''''''''''''''''''''''''">
              <a:rPr lang="en-US" altLang="en-US" sz="1100">
                <a:solidFill>
                  <a:schemeClr val="bg1"/>
                </a:solidFill>
                <a:ea typeface="楷体" panose="02010609060101010101" pitchFamily="49" charset="-122"/>
                <a:sym typeface="+mn-lt"/>
              </a:rPr>
              <a:pPr/>
              <a:t>14</a:t>
            </a:fld>
            <a:endParaRPr lang="zh-CN" sz="1100" dirty="0">
              <a:solidFill>
                <a:schemeClr val="bg1"/>
              </a:solidFill>
              <a:ea typeface="楷体" panose="02010609060101010101" pitchFamily="49" charset="-122"/>
              <a:sym typeface="+mn-lt"/>
            </a:endParaRPr>
          </a:p>
        </p:txBody>
      </p:sp>
      <p:sp>
        <p:nvSpPr>
          <p:cNvPr id="444" name="Text Placeholder 2"/>
          <p:cNvSpPr>
            <a:spLocks noGrp="1"/>
          </p:cNvSpPr>
          <p:nvPr>
            <p:custDataLst>
              <p:tags r:id="rId4"/>
            </p:custDataLst>
          </p:nvPr>
        </p:nvSpPr>
        <p:spPr bwMode="gray">
          <a:xfrm>
            <a:off x="2444750" y="5788025"/>
            <a:ext cx="2825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dirty="0">
                <a:ea typeface="楷体" panose="02010609060101010101" pitchFamily="49" charset="-122"/>
                <a:cs typeface="SimSun"/>
              </a:rPr>
              <a:t> </a:t>
            </a:r>
            <a:fld id="{720E1565-691B-4E53-8AA9-2CC960B93F90}" type="datetime'''''''''''''''''2''''''''''''''''X'''''''''''''''">
              <a:rPr lang="en-US" altLang="en-US" sz="1100">
                <a:solidFill>
                  <a:schemeClr val="bg1"/>
                </a:solidFill>
                <a:ea typeface="楷体" panose="02010609060101010101" pitchFamily="49" charset="-122"/>
                <a:sym typeface="+mn-lt"/>
              </a:rPr>
              <a:pPr algn="ctr"/>
              <a:t>2X</a:t>
            </a:fld>
            <a:r>
              <a:rPr lang="zh-CN" dirty="0">
                <a:ea typeface="楷体" panose="02010609060101010101" pitchFamily="49" charset="-122"/>
                <a:cs typeface="SimSun"/>
              </a:rPr>
              <a:t> </a:t>
            </a:r>
            <a:endParaRPr lang="zh-CN" sz="1100" dirty="0">
              <a:solidFill>
                <a:schemeClr val="bg1"/>
              </a:solidFill>
              <a:ea typeface="楷体" panose="02010609060101010101" pitchFamily="49" charset="-122"/>
              <a:sym typeface="+mn-lt"/>
            </a:endParaRPr>
          </a:p>
        </p:txBody>
      </p:sp>
      <p:sp>
        <p:nvSpPr>
          <p:cNvPr id="67" name="Text Placeholder 2"/>
          <p:cNvSpPr>
            <a:spLocks noGrp="1"/>
          </p:cNvSpPr>
          <p:nvPr>
            <p:custDataLst>
              <p:tags r:id="rId5"/>
            </p:custDataLst>
          </p:nvPr>
        </p:nvSpPr>
        <p:spPr bwMode="auto">
          <a:xfrm>
            <a:off x="3259138" y="6081713"/>
            <a:ext cx="168275"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9D4BEAB3-AE15-4123-8F50-66EA66E15A74}" type="datetime'''''''''''''''''''1''''''''''5'''''''''''''''''''''''''''">
              <a:rPr lang="en-US" altLang="en-US" sz="1100">
                <a:solidFill>
                  <a:schemeClr val="bg1"/>
                </a:solidFill>
                <a:ea typeface="楷体" panose="02010609060101010101" pitchFamily="49" charset="-122"/>
                <a:sym typeface="+mn-lt"/>
              </a:rPr>
              <a:pPr/>
              <a:t>15</a:t>
            </a:fld>
            <a:endParaRPr lang="zh-CN" sz="1100" dirty="0">
              <a:solidFill>
                <a:schemeClr val="bg1"/>
              </a:solidFill>
              <a:ea typeface="楷体" panose="02010609060101010101" pitchFamily="49" charset="-122"/>
              <a:sym typeface="+mn-lt"/>
            </a:endParaRPr>
          </a:p>
        </p:txBody>
      </p:sp>
      <p:sp>
        <p:nvSpPr>
          <p:cNvPr id="64" name="Text Placeholder 2"/>
          <p:cNvSpPr>
            <a:spLocks noGrp="1"/>
          </p:cNvSpPr>
          <p:nvPr>
            <p:custDataLst>
              <p:tags r:id="rId6"/>
            </p:custDataLst>
          </p:nvPr>
        </p:nvSpPr>
        <p:spPr bwMode="auto">
          <a:xfrm>
            <a:off x="1666875" y="6081713"/>
            <a:ext cx="323850"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D6DCD5B9-BC4A-4AAA-8039-64BE4FCC0344}" type="datetime'''''''2''''''''''''''''''''''0''13'''">
              <a:rPr lang="en-US" altLang="en-US" sz="1100">
                <a:solidFill>
                  <a:schemeClr val="bg1"/>
                </a:solidFill>
                <a:ea typeface="楷体" panose="02010609060101010101" pitchFamily="49" charset="-122"/>
                <a:sym typeface="+mn-lt"/>
              </a:rPr>
              <a:pPr/>
              <a:t>2013</a:t>
            </a:fld>
            <a:endParaRPr lang="zh-CN" sz="1100" dirty="0">
              <a:solidFill>
                <a:schemeClr val="bg1"/>
              </a:solidFill>
              <a:ea typeface="楷体" panose="02010609060101010101" pitchFamily="49" charset="-122"/>
              <a:sym typeface="+mn-lt"/>
            </a:endParaRPr>
          </a:p>
        </p:txBody>
      </p:sp>
      <p:sp>
        <p:nvSpPr>
          <p:cNvPr id="445" name="Text Placeholder 2"/>
          <p:cNvSpPr>
            <a:spLocks noGrp="1"/>
          </p:cNvSpPr>
          <p:nvPr>
            <p:custDataLst>
              <p:tags r:id="rId7"/>
            </p:custDataLst>
          </p:nvPr>
        </p:nvSpPr>
        <p:spPr bwMode="gray">
          <a:xfrm>
            <a:off x="3163888" y="5702300"/>
            <a:ext cx="360363"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dirty="0">
                <a:ea typeface="楷体" panose="02010609060101010101" pitchFamily="49" charset="-122"/>
                <a:cs typeface="SimSun"/>
              </a:rPr>
              <a:t> </a:t>
            </a:r>
            <a:fld id="{2D0E7B1D-C914-4F60-B1E2-5B48530B0395}" type="datetime'''''''''''''10''''''''''''''''''''''''''''''''''''''''''X'''''">
              <a:rPr lang="en-US" altLang="en-US" sz="1100">
                <a:solidFill>
                  <a:schemeClr val="bg1"/>
                </a:solidFill>
                <a:ea typeface="楷体" panose="02010609060101010101" pitchFamily="49" charset="-122"/>
                <a:sym typeface="+mn-lt"/>
              </a:rPr>
              <a:pPr algn="ctr"/>
              <a:t>10X</a:t>
            </a:fld>
            <a:r>
              <a:rPr lang="zh-CN" dirty="0">
                <a:ea typeface="楷体" panose="02010609060101010101" pitchFamily="49" charset="-122"/>
                <a:cs typeface="SimSun"/>
              </a:rPr>
              <a:t> </a:t>
            </a:r>
            <a:endParaRPr lang="zh-CN" sz="1100" dirty="0">
              <a:solidFill>
                <a:schemeClr val="bg1"/>
              </a:solidFill>
              <a:ea typeface="楷体" panose="02010609060101010101" pitchFamily="49" charset="-122"/>
              <a:sym typeface="+mn-lt"/>
            </a:endParaRPr>
          </a:p>
        </p:txBody>
      </p:sp>
      <p:sp>
        <p:nvSpPr>
          <p:cNvPr id="72" name="Text Placeholder 2"/>
          <p:cNvSpPr>
            <a:spLocks noGrp="1"/>
          </p:cNvSpPr>
          <p:nvPr>
            <p:custDataLst>
              <p:tags r:id="rId8"/>
            </p:custDataLst>
          </p:nvPr>
        </p:nvSpPr>
        <p:spPr bwMode="auto">
          <a:xfrm>
            <a:off x="3933825" y="6081713"/>
            <a:ext cx="323850"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1FD527A6-4DE5-487E-BECC-0C10E3D41FDC}" type="datetime'''''''''''''''''''''2''''''''''01''''''''''''''''''''''''6'">
              <a:rPr lang="en-US" altLang="en-US" sz="1100">
                <a:solidFill>
                  <a:schemeClr val="bg1"/>
                </a:solidFill>
                <a:ea typeface="楷体" panose="02010609060101010101" pitchFamily="49" charset="-122"/>
                <a:sym typeface="+mn-lt"/>
              </a:rPr>
              <a:pPr/>
              <a:t>2016</a:t>
            </a:fld>
            <a:endParaRPr lang="zh-CN" sz="1100" dirty="0">
              <a:solidFill>
                <a:schemeClr val="bg1"/>
              </a:solidFill>
              <a:ea typeface="楷体" panose="02010609060101010101" pitchFamily="49" charset="-122"/>
              <a:sym typeface="+mn-lt"/>
            </a:endParaRPr>
          </a:p>
        </p:txBody>
      </p:sp>
      <p:sp>
        <p:nvSpPr>
          <p:cNvPr id="443" name="Text Placeholder 2"/>
          <p:cNvSpPr>
            <a:spLocks noGrp="1"/>
          </p:cNvSpPr>
          <p:nvPr>
            <p:custDataLst>
              <p:tags r:id="rId9"/>
            </p:custDataLst>
          </p:nvPr>
        </p:nvSpPr>
        <p:spPr bwMode="gray">
          <a:xfrm>
            <a:off x="1687513" y="5797550"/>
            <a:ext cx="2825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dirty="0">
                <a:ea typeface="楷体" panose="02010609060101010101" pitchFamily="49" charset="-122"/>
                <a:cs typeface="SimSun"/>
              </a:rPr>
              <a:t> </a:t>
            </a:r>
            <a:fld id="{20D67E7C-AFDC-4287-9FFA-2872F2025A3A}" type="datetime'''''''''''''''1''''''''''''''''''''''''''''''''''''X'">
              <a:rPr lang="en-US" altLang="en-US" sz="1100" smtClean="0">
                <a:solidFill>
                  <a:schemeClr val="bg1"/>
                </a:solidFill>
                <a:ea typeface="楷体" panose="02010609060101010101" pitchFamily="49" charset="-122"/>
                <a:sym typeface="+mn-lt"/>
              </a:rPr>
              <a:pPr algn="ctr"/>
              <a:t>1X</a:t>
            </a:fld>
            <a:r>
              <a:rPr lang="zh-CN" dirty="0">
                <a:ea typeface="楷体" panose="02010609060101010101" pitchFamily="49" charset="-122"/>
                <a:cs typeface="SimSun"/>
              </a:rPr>
              <a:t> </a:t>
            </a:r>
            <a:endParaRPr lang="zh-CN" sz="1100" dirty="0">
              <a:solidFill>
                <a:schemeClr val="bg1"/>
              </a:solidFill>
              <a:ea typeface="楷体" panose="02010609060101010101" pitchFamily="49" charset="-122"/>
              <a:sym typeface="+mn-lt"/>
            </a:endParaRPr>
          </a:p>
        </p:txBody>
      </p:sp>
      <p:sp>
        <p:nvSpPr>
          <p:cNvPr id="75" name="TextBox 74"/>
          <p:cNvSpPr txBox="1">
            <a:spLocks/>
          </p:cNvSpPr>
          <p:nvPr/>
        </p:nvSpPr>
        <p:spPr>
          <a:xfrm>
            <a:off x="1374211" y="4841875"/>
            <a:ext cx="3025386" cy="234285"/>
          </a:xfrm>
          <a:prstGeom prst="rect">
            <a:avLst/>
          </a:prstGeom>
          <a:noFill/>
          <a:ln>
            <a:noFill/>
          </a:ln>
          <a:effectLst/>
        </p:spPr>
        <p:txBody>
          <a:bodyPr lIns="0" tIns="0" rIns="0" bIns="18659" anchor="b">
            <a:spAutoFit/>
          </a:bodyPr>
          <a:lstStyle>
            <a:defPPr>
              <a:defRPr lang="en-US"/>
            </a:defPPr>
            <a:lvl1pPr>
              <a:defRPr sz="1400">
                <a:solidFill>
                  <a:srgbClr val="FFCA21"/>
                </a:solidFill>
                <a:latin typeface="Georgia" panose="02040502050405020303" pitchFamily="18" charset="0"/>
                <a:cs typeface="Times New Roman" panose="02020603050405020304" pitchFamily="18" charset="0"/>
              </a:defRPr>
            </a:lvl1pPr>
          </a:lstStyle>
          <a:p>
            <a:r>
              <a:rPr lang="zh-CN" dirty="0">
                <a:latin typeface="+mn-lt"/>
                <a:ea typeface="楷体" panose="02010609060101010101" pitchFamily="49" charset="-122"/>
                <a:cs typeface="SimSun"/>
              </a:rPr>
              <a:t>GPU图像/第二次训练速度</a:t>
            </a:r>
          </a:p>
        </p:txBody>
      </p:sp>
      <p:grpSp>
        <p:nvGrpSpPr>
          <p:cNvPr id="27" name="Group 26"/>
          <p:cNvGrpSpPr/>
          <p:nvPr/>
        </p:nvGrpSpPr>
        <p:grpSpPr>
          <a:xfrm>
            <a:off x="119063" y="1168400"/>
            <a:ext cx="951584" cy="1279562"/>
            <a:chOff x="119063" y="1541728"/>
            <a:chExt cx="951584" cy="1279562"/>
          </a:xfrm>
        </p:grpSpPr>
        <p:sp>
          <p:nvSpPr>
            <p:cNvPr id="77" name="Freeform 1362"/>
            <p:cNvSpPr>
              <a:spLocks noEditPoints="1"/>
            </p:cNvSpPr>
            <p:nvPr/>
          </p:nvSpPr>
          <p:spPr bwMode="auto">
            <a:xfrm>
              <a:off x="119063" y="1541728"/>
              <a:ext cx="543904" cy="544757"/>
            </a:xfrm>
            <a:custGeom>
              <a:avLst/>
              <a:gdLst>
                <a:gd name="T0" fmla="*/ 127 w 1268"/>
                <a:gd name="T1" fmla="*/ 710 h 1270"/>
                <a:gd name="T2" fmla="*/ 0 w 1268"/>
                <a:gd name="T3" fmla="*/ 846 h 1270"/>
                <a:gd name="T4" fmla="*/ 0 w 1268"/>
                <a:gd name="T5" fmla="*/ 807 h 1270"/>
                <a:gd name="T6" fmla="*/ 127 w 1268"/>
                <a:gd name="T7" fmla="*/ 654 h 1270"/>
                <a:gd name="T8" fmla="*/ 0 w 1268"/>
                <a:gd name="T9" fmla="*/ 654 h 1270"/>
                <a:gd name="T10" fmla="*/ 127 w 1268"/>
                <a:gd name="T11" fmla="*/ 518 h 1270"/>
                <a:gd name="T12" fmla="*/ 325 w 1268"/>
                <a:gd name="T13" fmla="*/ 1270 h 1270"/>
                <a:gd name="T14" fmla="*/ 325 w 1268"/>
                <a:gd name="T15" fmla="*/ 1141 h 1270"/>
                <a:gd name="T16" fmla="*/ 127 w 1268"/>
                <a:gd name="T17" fmla="*/ 463 h 1270"/>
                <a:gd name="T18" fmla="*/ 0 w 1268"/>
                <a:gd name="T19" fmla="*/ 463 h 1270"/>
                <a:gd name="T20" fmla="*/ 127 w 1268"/>
                <a:gd name="T21" fmla="*/ 325 h 1270"/>
                <a:gd name="T22" fmla="*/ 847 w 1268"/>
                <a:gd name="T23" fmla="*/ 0 h 1270"/>
                <a:gd name="T24" fmla="*/ 847 w 1268"/>
                <a:gd name="T25" fmla="*/ 126 h 1270"/>
                <a:gd name="T26" fmla="*/ 902 w 1268"/>
                <a:gd name="T27" fmla="*/ 0 h 1270"/>
                <a:gd name="T28" fmla="*/ 943 w 1268"/>
                <a:gd name="T29" fmla="*/ 0 h 1270"/>
                <a:gd name="T30" fmla="*/ 711 w 1268"/>
                <a:gd name="T31" fmla="*/ 126 h 1270"/>
                <a:gd name="T32" fmla="*/ 558 w 1268"/>
                <a:gd name="T33" fmla="*/ 0 h 1270"/>
                <a:gd name="T34" fmla="*/ 558 w 1268"/>
                <a:gd name="T35" fmla="*/ 126 h 1270"/>
                <a:gd name="T36" fmla="*/ 422 w 1268"/>
                <a:gd name="T37" fmla="*/ 0 h 1270"/>
                <a:gd name="T38" fmla="*/ 461 w 1268"/>
                <a:gd name="T39" fmla="*/ 0 h 1270"/>
                <a:gd name="T40" fmla="*/ 325 w 1268"/>
                <a:gd name="T41" fmla="*/ 126 h 1270"/>
                <a:gd name="T42" fmla="*/ 654 w 1268"/>
                <a:gd name="T43" fmla="*/ 0 h 1270"/>
                <a:gd name="T44" fmla="*/ 654 w 1268"/>
                <a:gd name="T45" fmla="*/ 126 h 1270"/>
                <a:gd name="T46" fmla="*/ 127 w 1268"/>
                <a:gd name="T47" fmla="*/ 943 h 1270"/>
                <a:gd name="T48" fmla="*/ 0 w 1268"/>
                <a:gd name="T49" fmla="*/ 943 h 1270"/>
                <a:gd name="T50" fmla="*/ 1268 w 1268"/>
                <a:gd name="T51" fmla="*/ 614 h 1270"/>
                <a:gd name="T52" fmla="*/ 1142 w 1268"/>
                <a:gd name="T53" fmla="*/ 750 h 1270"/>
                <a:gd name="T54" fmla="*/ 1142 w 1268"/>
                <a:gd name="T55" fmla="*/ 710 h 1270"/>
                <a:gd name="T56" fmla="*/ 1268 w 1268"/>
                <a:gd name="T57" fmla="*/ 846 h 1270"/>
                <a:gd name="T58" fmla="*/ 1142 w 1268"/>
                <a:gd name="T59" fmla="*/ 846 h 1270"/>
                <a:gd name="T60" fmla="*/ 1268 w 1268"/>
                <a:gd name="T61" fmla="*/ 903 h 1270"/>
                <a:gd name="T62" fmla="*/ 1142 w 1268"/>
                <a:gd name="T63" fmla="*/ 325 h 1270"/>
                <a:gd name="T64" fmla="*/ 1268 w 1268"/>
                <a:gd name="T65" fmla="*/ 325 h 1270"/>
                <a:gd name="T66" fmla="*/ 1268 w 1268"/>
                <a:gd name="T67" fmla="*/ 559 h 1270"/>
                <a:gd name="T68" fmla="*/ 1142 w 1268"/>
                <a:gd name="T69" fmla="*/ 559 h 1270"/>
                <a:gd name="T70" fmla="*/ 461 w 1268"/>
                <a:gd name="T71" fmla="*/ 1141 h 1270"/>
                <a:gd name="T72" fmla="*/ 1142 w 1268"/>
                <a:gd name="T73" fmla="*/ 463 h 1270"/>
                <a:gd name="T74" fmla="*/ 1142 w 1268"/>
                <a:gd name="T75" fmla="*/ 421 h 1270"/>
                <a:gd name="T76" fmla="*/ 751 w 1268"/>
                <a:gd name="T77" fmla="*/ 1270 h 1270"/>
                <a:gd name="T78" fmla="*/ 711 w 1268"/>
                <a:gd name="T79" fmla="*/ 1270 h 1270"/>
                <a:gd name="T80" fmla="*/ 654 w 1268"/>
                <a:gd name="T81" fmla="*/ 1141 h 1270"/>
                <a:gd name="T82" fmla="*/ 518 w 1268"/>
                <a:gd name="T83" fmla="*/ 1270 h 1270"/>
                <a:gd name="T84" fmla="*/ 518 w 1268"/>
                <a:gd name="T85" fmla="*/ 1141 h 1270"/>
                <a:gd name="T86" fmla="*/ 847 w 1268"/>
                <a:gd name="T87" fmla="*/ 1270 h 1270"/>
                <a:gd name="T88" fmla="*/ 805 w 1268"/>
                <a:gd name="T89" fmla="*/ 1270 h 1270"/>
                <a:gd name="T90" fmla="*/ 1094 w 1268"/>
                <a:gd name="T91" fmla="*/ 174 h 1270"/>
                <a:gd name="T92" fmla="*/ 475 w 1268"/>
                <a:gd name="T93" fmla="*/ 474 h 1270"/>
                <a:gd name="T94" fmla="*/ 475 w 1268"/>
                <a:gd name="T95" fmla="*/ 793 h 1270"/>
                <a:gd name="T96" fmla="*/ 943 w 1268"/>
                <a:gd name="T97" fmla="*/ 1270 h 1270"/>
                <a:gd name="T98" fmla="*/ 902 w 1268"/>
                <a:gd name="T99" fmla="*/ 127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68" h="1270">
                  <a:moveTo>
                    <a:pt x="0" y="750"/>
                  </a:moveTo>
                  <a:lnTo>
                    <a:pt x="127" y="750"/>
                  </a:lnTo>
                  <a:lnTo>
                    <a:pt x="127" y="710"/>
                  </a:lnTo>
                  <a:lnTo>
                    <a:pt x="0" y="710"/>
                  </a:lnTo>
                  <a:lnTo>
                    <a:pt x="0" y="750"/>
                  </a:lnTo>
                  <a:close/>
                  <a:moveTo>
                    <a:pt x="0" y="846"/>
                  </a:moveTo>
                  <a:lnTo>
                    <a:pt x="127" y="846"/>
                  </a:lnTo>
                  <a:lnTo>
                    <a:pt x="127" y="807"/>
                  </a:lnTo>
                  <a:lnTo>
                    <a:pt x="0" y="807"/>
                  </a:lnTo>
                  <a:lnTo>
                    <a:pt x="0" y="846"/>
                  </a:lnTo>
                  <a:close/>
                  <a:moveTo>
                    <a:pt x="0" y="654"/>
                  </a:moveTo>
                  <a:lnTo>
                    <a:pt x="127" y="654"/>
                  </a:lnTo>
                  <a:lnTo>
                    <a:pt x="127" y="614"/>
                  </a:lnTo>
                  <a:lnTo>
                    <a:pt x="0" y="614"/>
                  </a:lnTo>
                  <a:lnTo>
                    <a:pt x="0" y="654"/>
                  </a:lnTo>
                  <a:close/>
                  <a:moveTo>
                    <a:pt x="0" y="559"/>
                  </a:moveTo>
                  <a:lnTo>
                    <a:pt x="127" y="559"/>
                  </a:lnTo>
                  <a:lnTo>
                    <a:pt x="127" y="518"/>
                  </a:lnTo>
                  <a:lnTo>
                    <a:pt x="0" y="518"/>
                  </a:lnTo>
                  <a:lnTo>
                    <a:pt x="0" y="559"/>
                  </a:lnTo>
                  <a:close/>
                  <a:moveTo>
                    <a:pt x="325" y="1270"/>
                  </a:moveTo>
                  <a:lnTo>
                    <a:pt x="367" y="1270"/>
                  </a:lnTo>
                  <a:lnTo>
                    <a:pt x="367" y="1141"/>
                  </a:lnTo>
                  <a:lnTo>
                    <a:pt x="325" y="1141"/>
                  </a:lnTo>
                  <a:lnTo>
                    <a:pt x="325" y="1270"/>
                  </a:lnTo>
                  <a:close/>
                  <a:moveTo>
                    <a:pt x="0" y="463"/>
                  </a:moveTo>
                  <a:lnTo>
                    <a:pt x="127" y="463"/>
                  </a:lnTo>
                  <a:lnTo>
                    <a:pt x="127" y="421"/>
                  </a:lnTo>
                  <a:lnTo>
                    <a:pt x="0" y="421"/>
                  </a:lnTo>
                  <a:lnTo>
                    <a:pt x="0" y="463"/>
                  </a:lnTo>
                  <a:close/>
                  <a:moveTo>
                    <a:pt x="0" y="366"/>
                  </a:moveTo>
                  <a:lnTo>
                    <a:pt x="127" y="366"/>
                  </a:lnTo>
                  <a:lnTo>
                    <a:pt x="127" y="325"/>
                  </a:lnTo>
                  <a:lnTo>
                    <a:pt x="0" y="325"/>
                  </a:lnTo>
                  <a:lnTo>
                    <a:pt x="0" y="366"/>
                  </a:lnTo>
                  <a:close/>
                  <a:moveTo>
                    <a:pt x="847" y="0"/>
                  </a:moveTo>
                  <a:lnTo>
                    <a:pt x="805" y="0"/>
                  </a:lnTo>
                  <a:lnTo>
                    <a:pt x="805" y="126"/>
                  </a:lnTo>
                  <a:lnTo>
                    <a:pt x="847" y="126"/>
                  </a:lnTo>
                  <a:lnTo>
                    <a:pt x="847" y="0"/>
                  </a:lnTo>
                  <a:close/>
                  <a:moveTo>
                    <a:pt x="943" y="0"/>
                  </a:moveTo>
                  <a:lnTo>
                    <a:pt x="902" y="0"/>
                  </a:lnTo>
                  <a:lnTo>
                    <a:pt x="902" y="126"/>
                  </a:lnTo>
                  <a:lnTo>
                    <a:pt x="943" y="126"/>
                  </a:lnTo>
                  <a:lnTo>
                    <a:pt x="943" y="0"/>
                  </a:lnTo>
                  <a:close/>
                  <a:moveTo>
                    <a:pt x="751" y="0"/>
                  </a:moveTo>
                  <a:lnTo>
                    <a:pt x="711" y="0"/>
                  </a:lnTo>
                  <a:lnTo>
                    <a:pt x="711" y="126"/>
                  </a:lnTo>
                  <a:lnTo>
                    <a:pt x="751" y="126"/>
                  </a:lnTo>
                  <a:lnTo>
                    <a:pt x="751" y="0"/>
                  </a:lnTo>
                  <a:close/>
                  <a:moveTo>
                    <a:pt x="558" y="0"/>
                  </a:moveTo>
                  <a:lnTo>
                    <a:pt x="518" y="0"/>
                  </a:lnTo>
                  <a:lnTo>
                    <a:pt x="518" y="126"/>
                  </a:lnTo>
                  <a:lnTo>
                    <a:pt x="558" y="126"/>
                  </a:lnTo>
                  <a:lnTo>
                    <a:pt x="558" y="0"/>
                  </a:lnTo>
                  <a:close/>
                  <a:moveTo>
                    <a:pt x="461" y="0"/>
                  </a:moveTo>
                  <a:lnTo>
                    <a:pt x="422" y="0"/>
                  </a:lnTo>
                  <a:lnTo>
                    <a:pt x="422" y="126"/>
                  </a:lnTo>
                  <a:lnTo>
                    <a:pt x="461" y="126"/>
                  </a:lnTo>
                  <a:lnTo>
                    <a:pt x="461" y="0"/>
                  </a:lnTo>
                  <a:close/>
                  <a:moveTo>
                    <a:pt x="367" y="0"/>
                  </a:moveTo>
                  <a:lnTo>
                    <a:pt x="325" y="0"/>
                  </a:lnTo>
                  <a:lnTo>
                    <a:pt x="325" y="126"/>
                  </a:lnTo>
                  <a:lnTo>
                    <a:pt x="367" y="126"/>
                  </a:lnTo>
                  <a:lnTo>
                    <a:pt x="367" y="0"/>
                  </a:lnTo>
                  <a:close/>
                  <a:moveTo>
                    <a:pt x="654" y="0"/>
                  </a:moveTo>
                  <a:lnTo>
                    <a:pt x="614" y="0"/>
                  </a:lnTo>
                  <a:lnTo>
                    <a:pt x="614" y="126"/>
                  </a:lnTo>
                  <a:lnTo>
                    <a:pt x="654" y="126"/>
                  </a:lnTo>
                  <a:lnTo>
                    <a:pt x="654" y="0"/>
                  </a:lnTo>
                  <a:close/>
                  <a:moveTo>
                    <a:pt x="0" y="943"/>
                  </a:moveTo>
                  <a:lnTo>
                    <a:pt x="127" y="943"/>
                  </a:lnTo>
                  <a:lnTo>
                    <a:pt x="127" y="903"/>
                  </a:lnTo>
                  <a:lnTo>
                    <a:pt x="0" y="903"/>
                  </a:lnTo>
                  <a:lnTo>
                    <a:pt x="0" y="943"/>
                  </a:lnTo>
                  <a:close/>
                  <a:moveTo>
                    <a:pt x="1142" y="654"/>
                  </a:moveTo>
                  <a:lnTo>
                    <a:pt x="1268" y="654"/>
                  </a:lnTo>
                  <a:lnTo>
                    <a:pt x="1268" y="614"/>
                  </a:lnTo>
                  <a:lnTo>
                    <a:pt x="1142" y="614"/>
                  </a:lnTo>
                  <a:lnTo>
                    <a:pt x="1142" y="654"/>
                  </a:lnTo>
                  <a:close/>
                  <a:moveTo>
                    <a:pt x="1142" y="750"/>
                  </a:moveTo>
                  <a:lnTo>
                    <a:pt x="1268" y="750"/>
                  </a:lnTo>
                  <a:lnTo>
                    <a:pt x="1268" y="710"/>
                  </a:lnTo>
                  <a:lnTo>
                    <a:pt x="1142" y="710"/>
                  </a:lnTo>
                  <a:lnTo>
                    <a:pt x="1142" y="750"/>
                  </a:lnTo>
                  <a:close/>
                  <a:moveTo>
                    <a:pt x="1142" y="846"/>
                  </a:moveTo>
                  <a:lnTo>
                    <a:pt x="1268" y="846"/>
                  </a:lnTo>
                  <a:lnTo>
                    <a:pt x="1268" y="807"/>
                  </a:lnTo>
                  <a:lnTo>
                    <a:pt x="1142" y="807"/>
                  </a:lnTo>
                  <a:lnTo>
                    <a:pt x="1142" y="846"/>
                  </a:lnTo>
                  <a:close/>
                  <a:moveTo>
                    <a:pt x="1142" y="943"/>
                  </a:moveTo>
                  <a:lnTo>
                    <a:pt x="1268" y="943"/>
                  </a:lnTo>
                  <a:lnTo>
                    <a:pt x="1268" y="903"/>
                  </a:lnTo>
                  <a:lnTo>
                    <a:pt x="1142" y="903"/>
                  </a:lnTo>
                  <a:lnTo>
                    <a:pt x="1142" y="943"/>
                  </a:lnTo>
                  <a:close/>
                  <a:moveTo>
                    <a:pt x="1142" y="325"/>
                  </a:moveTo>
                  <a:lnTo>
                    <a:pt x="1142" y="366"/>
                  </a:lnTo>
                  <a:lnTo>
                    <a:pt x="1268" y="366"/>
                  </a:lnTo>
                  <a:lnTo>
                    <a:pt x="1268" y="325"/>
                  </a:lnTo>
                  <a:lnTo>
                    <a:pt x="1142" y="325"/>
                  </a:lnTo>
                  <a:close/>
                  <a:moveTo>
                    <a:pt x="1142" y="559"/>
                  </a:moveTo>
                  <a:lnTo>
                    <a:pt x="1268" y="559"/>
                  </a:lnTo>
                  <a:lnTo>
                    <a:pt x="1268" y="518"/>
                  </a:lnTo>
                  <a:lnTo>
                    <a:pt x="1142" y="518"/>
                  </a:lnTo>
                  <a:lnTo>
                    <a:pt x="1142" y="559"/>
                  </a:lnTo>
                  <a:close/>
                  <a:moveTo>
                    <a:pt x="422" y="1270"/>
                  </a:moveTo>
                  <a:lnTo>
                    <a:pt x="461" y="1270"/>
                  </a:lnTo>
                  <a:lnTo>
                    <a:pt x="461" y="1141"/>
                  </a:lnTo>
                  <a:lnTo>
                    <a:pt x="422" y="1141"/>
                  </a:lnTo>
                  <a:lnTo>
                    <a:pt x="422" y="1270"/>
                  </a:lnTo>
                  <a:close/>
                  <a:moveTo>
                    <a:pt x="1142" y="463"/>
                  </a:moveTo>
                  <a:lnTo>
                    <a:pt x="1268" y="463"/>
                  </a:lnTo>
                  <a:lnTo>
                    <a:pt x="1268" y="421"/>
                  </a:lnTo>
                  <a:lnTo>
                    <a:pt x="1142" y="421"/>
                  </a:lnTo>
                  <a:lnTo>
                    <a:pt x="1142" y="463"/>
                  </a:lnTo>
                  <a:close/>
                  <a:moveTo>
                    <a:pt x="711" y="1270"/>
                  </a:moveTo>
                  <a:lnTo>
                    <a:pt x="751" y="1270"/>
                  </a:lnTo>
                  <a:lnTo>
                    <a:pt x="751" y="1141"/>
                  </a:lnTo>
                  <a:lnTo>
                    <a:pt x="711" y="1141"/>
                  </a:lnTo>
                  <a:lnTo>
                    <a:pt x="711" y="1270"/>
                  </a:lnTo>
                  <a:close/>
                  <a:moveTo>
                    <a:pt x="614" y="1270"/>
                  </a:moveTo>
                  <a:lnTo>
                    <a:pt x="654" y="1270"/>
                  </a:lnTo>
                  <a:lnTo>
                    <a:pt x="654" y="1141"/>
                  </a:lnTo>
                  <a:lnTo>
                    <a:pt x="614" y="1141"/>
                  </a:lnTo>
                  <a:lnTo>
                    <a:pt x="614" y="1270"/>
                  </a:lnTo>
                  <a:close/>
                  <a:moveTo>
                    <a:pt x="518" y="1270"/>
                  </a:moveTo>
                  <a:lnTo>
                    <a:pt x="558" y="1270"/>
                  </a:lnTo>
                  <a:lnTo>
                    <a:pt x="558" y="1141"/>
                  </a:lnTo>
                  <a:lnTo>
                    <a:pt x="518" y="1141"/>
                  </a:lnTo>
                  <a:lnTo>
                    <a:pt x="518" y="1270"/>
                  </a:lnTo>
                  <a:close/>
                  <a:moveTo>
                    <a:pt x="805" y="1270"/>
                  </a:moveTo>
                  <a:lnTo>
                    <a:pt x="847" y="1270"/>
                  </a:lnTo>
                  <a:lnTo>
                    <a:pt x="847" y="1141"/>
                  </a:lnTo>
                  <a:lnTo>
                    <a:pt x="805" y="1141"/>
                  </a:lnTo>
                  <a:lnTo>
                    <a:pt x="805" y="1270"/>
                  </a:lnTo>
                  <a:close/>
                  <a:moveTo>
                    <a:pt x="174" y="1096"/>
                  </a:moveTo>
                  <a:lnTo>
                    <a:pt x="1094" y="1096"/>
                  </a:lnTo>
                  <a:lnTo>
                    <a:pt x="1094" y="174"/>
                  </a:lnTo>
                  <a:lnTo>
                    <a:pt x="174" y="174"/>
                  </a:lnTo>
                  <a:lnTo>
                    <a:pt x="174" y="1096"/>
                  </a:lnTo>
                  <a:close/>
                  <a:moveTo>
                    <a:pt x="475" y="474"/>
                  </a:moveTo>
                  <a:lnTo>
                    <a:pt x="794" y="474"/>
                  </a:lnTo>
                  <a:lnTo>
                    <a:pt x="794" y="793"/>
                  </a:lnTo>
                  <a:lnTo>
                    <a:pt x="475" y="793"/>
                  </a:lnTo>
                  <a:lnTo>
                    <a:pt x="475" y="474"/>
                  </a:lnTo>
                  <a:close/>
                  <a:moveTo>
                    <a:pt x="902" y="1270"/>
                  </a:moveTo>
                  <a:lnTo>
                    <a:pt x="943" y="1270"/>
                  </a:lnTo>
                  <a:lnTo>
                    <a:pt x="943" y="1141"/>
                  </a:lnTo>
                  <a:lnTo>
                    <a:pt x="902" y="1141"/>
                  </a:lnTo>
                  <a:lnTo>
                    <a:pt x="902" y="1270"/>
                  </a:lnTo>
                  <a:close/>
                </a:path>
              </a:pathLst>
            </a:custGeom>
            <a:solidFill>
              <a:srgbClr val="FFCA2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solidFill>
                  <a:schemeClr val="bg1"/>
                </a:solidFill>
                <a:latin typeface="+mn-lt"/>
                <a:ea typeface="楷体" panose="02010609060101010101" pitchFamily="49" charset="-122"/>
              </a:endParaRPr>
            </a:p>
          </p:txBody>
        </p:sp>
        <p:sp>
          <p:nvSpPr>
            <p:cNvPr id="78" name="TextBox 77"/>
            <p:cNvSpPr txBox="1">
              <a:spLocks/>
            </p:cNvSpPr>
            <p:nvPr/>
          </p:nvSpPr>
          <p:spPr>
            <a:xfrm>
              <a:off x="119064" y="2371562"/>
              <a:ext cx="951583" cy="449728"/>
            </a:xfrm>
            <a:prstGeom prst="rect">
              <a:avLst/>
            </a:prstGeom>
            <a:noFill/>
            <a:ln>
              <a:noFill/>
            </a:ln>
            <a:effectLst/>
          </p:spPr>
          <p:txBody>
            <a:bodyPr wrap="square" lIns="0" tIns="0" rIns="0" bIns="18659" anchor="b">
              <a:spAutoFit/>
            </a:bodyPr>
            <a:lstStyle>
              <a:defPPr>
                <a:defRPr lang="en-US"/>
              </a:defPPr>
              <a:lvl1pPr>
                <a:defRPr sz="1300">
                  <a:solidFill>
                    <a:srgbClr val="FFCA21"/>
                  </a:solidFill>
                  <a:latin typeface="Georgia" panose="02040502050405020303" pitchFamily="18" charset="0"/>
                  <a:cs typeface="Times New Roman" panose="02020603050405020304" pitchFamily="18" charset="0"/>
                </a:defRPr>
              </a:lvl1pPr>
            </a:lstStyle>
            <a:p>
              <a:r>
                <a:rPr lang="zh-CN" sz="1400" dirty="0">
                  <a:latin typeface="+mn-lt"/>
                  <a:ea typeface="楷体" panose="02010609060101010101" pitchFamily="49" charset="-122"/>
                  <a:cs typeface="SimSun"/>
                </a:rPr>
                <a:t>更好的专业化硬件</a:t>
              </a:r>
            </a:p>
          </p:txBody>
        </p:sp>
      </p:grpSp>
      <p:sp>
        <p:nvSpPr>
          <p:cNvPr id="79" name="TextBox 78"/>
          <p:cNvSpPr txBox="1">
            <a:spLocks/>
          </p:cNvSpPr>
          <p:nvPr/>
        </p:nvSpPr>
        <p:spPr>
          <a:xfrm>
            <a:off x="5026381" y="1162050"/>
            <a:ext cx="3772179" cy="43088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buClr>
                <a:srgbClr val="002960"/>
              </a:buClr>
              <a:defRPr/>
            </a:pPr>
            <a:r>
              <a:rPr lang="zh-CN" dirty="0">
                <a:solidFill>
                  <a:srgbClr val="FFCA21"/>
                </a:solidFill>
                <a:ea typeface="楷体" panose="02010609060101010101" pitchFamily="49" charset="-122"/>
                <a:cs typeface="SimSun"/>
              </a:rPr>
              <a:t>中央处理器（CPU）和图形处理器（GPU）架构比较</a:t>
            </a:r>
          </a:p>
        </p:txBody>
      </p:sp>
      <p:grpSp>
        <p:nvGrpSpPr>
          <p:cNvPr id="82" name="Group 81"/>
          <p:cNvGrpSpPr>
            <a:grpSpLocks/>
          </p:cNvGrpSpPr>
          <p:nvPr/>
        </p:nvGrpSpPr>
        <p:grpSpPr>
          <a:xfrm>
            <a:off x="5026381" y="1592937"/>
            <a:ext cx="3772179" cy="1703720"/>
            <a:chOff x="5014119" y="1314311"/>
            <a:chExt cx="3423752" cy="1726442"/>
          </a:xfrm>
        </p:grpSpPr>
        <p:sp>
          <p:nvSpPr>
            <p:cNvPr id="83" name="Rectangle 82"/>
            <p:cNvSpPr/>
            <p:nvPr/>
          </p:nvSpPr>
          <p:spPr>
            <a:xfrm>
              <a:off x="5014119" y="1314311"/>
              <a:ext cx="1381836" cy="1726442"/>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27432" rtlCol="0" anchor="t"/>
            <a:lstStyle/>
            <a:p>
              <a:pPr algn="ctr"/>
              <a:r>
                <a:rPr lang="zh-CN" sz="1100" b="1" dirty="0">
                  <a:solidFill>
                    <a:schemeClr val="accent4"/>
                  </a:solidFill>
                  <a:ea typeface="楷体" panose="02010609060101010101" pitchFamily="49" charset="-122"/>
                  <a:cs typeface="SimSun"/>
                </a:rPr>
                <a:t>CPU</a:t>
              </a:r>
            </a:p>
          </p:txBody>
        </p:sp>
        <p:sp>
          <p:nvSpPr>
            <p:cNvPr id="84" name="Rectangle 83"/>
            <p:cNvSpPr/>
            <p:nvPr/>
          </p:nvSpPr>
          <p:spPr>
            <a:xfrm>
              <a:off x="5100703" y="1689625"/>
              <a:ext cx="528851" cy="52885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0" rtlCol="0" anchor="t"/>
            <a:lstStyle/>
            <a:p>
              <a:pPr algn="ctr"/>
              <a:r>
                <a:rPr lang="zh-CN" sz="1000" dirty="0">
                  <a:solidFill>
                    <a:srgbClr val="FFFFFF"/>
                  </a:solidFill>
                  <a:ea typeface="楷体" panose="02010609060101010101" pitchFamily="49" charset="-122"/>
                  <a:cs typeface="SimSun"/>
                </a:rPr>
                <a:t>核心1</a:t>
              </a:r>
            </a:p>
          </p:txBody>
        </p:sp>
        <p:sp>
          <p:nvSpPr>
            <p:cNvPr id="85" name="Rectangle 84"/>
            <p:cNvSpPr/>
            <p:nvPr/>
          </p:nvSpPr>
          <p:spPr>
            <a:xfrm>
              <a:off x="5780521" y="1689625"/>
              <a:ext cx="528851" cy="52885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algn="ctr"/>
              <a:r>
                <a:rPr lang="zh-CN" sz="1000" dirty="0">
                  <a:solidFill>
                    <a:srgbClr val="FFFFFF"/>
                  </a:solidFill>
                  <a:ea typeface="楷体" panose="02010609060101010101" pitchFamily="49" charset="-122"/>
                  <a:cs typeface="SimSun"/>
                </a:rPr>
                <a:t>核心2</a:t>
              </a:r>
            </a:p>
          </p:txBody>
        </p:sp>
        <p:sp>
          <p:nvSpPr>
            <p:cNvPr id="86" name="Rectangle 85"/>
            <p:cNvSpPr/>
            <p:nvPr/>
          </p:nvSpPr>
          <p:spPr>
            <a:xfrm>
              <a:off x="5100703" y="2394735"/>
              <a:ext cx="528851" cy="52885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algn="ctr"/>
              <a:r>
                <a:rPr lang="zh-CN" sz="1000" dirty="0">
                  <a:solidFill>
                    <a:srgbClr val="FFFFFF"/>
                  </a:solidFill>
                  <a:ea typeface="楷体" panose="02010609060101010101" pitchFamily="49" charset="-122"/>
                  <a:cs typeface="SimSun"/>
                </a:rPr>
                <a:t>核心3</a:t>
              </a:r>
            </a:p>
          </p:txBody>
        </p:sp>
        <p:sp>
          <p:nvSpPr>
            <p:cNvPr id="87" name="Rectangle 86"/>
            <p:cNvSpPr/>
            <p:nvPr/>
          </p:nvSpPr>
          <p:spPr>
            <a:xfrm>
              <a:off x="5780521" y="2394735"/>
              <a:ext cx="528851" cy="52885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algn="ctr"/>
              <a:r>
                <a:rPr lang="zh-CN" sz="1000" dirty="0">
                  <a:solidFill>
                    <a:srgbClr val="FFFFFF"/>
                  </a:solidFill>
                  <a:ea typeface="楷体" panose="02010609060101010101" pitchFamily="49" charset="-122"/>
                  <a:cs typeface="SimSun"/>
                </a:rPr>
                <a:t>核心4</a:t>
              </a:r>
            </a:p>
          </p:txBody>
        </p:sp>
        <p:sp>
          <p:nvSpPr>
            <p:cNvPr id="88" name="Rectangle 87"/>
            <p:cNvSpPr/>
            <p:nvPr/>
          </p:nvSpPr>
          <p:spPr>
            <a:xfrm>
              <a:off x="6585187" y="1314311"/>
              <a:ext cx="1852684" cy="1726442"/>
            </a:xfrm>
            <a:prstGeom prst="rect">
              <a:avLst/>
            </a:prstGeom>
            <a:solidFill>
              <a:srgbClr val="D4ECBA"/>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27432" rtlCol="0" anchor="t"/>
            <a:lstStyle/>
            <a:p>
              <a:pPr algn="ctr"/>
              <a:r>
                <a:rPr lang="zh-CN" sz="1100" b="1" dirty="0">
                  <a:solidFill>
                    <a:schemeClr val="accent4"/>
                  </a:solidFill>
                  <a:ea typeface="楷体" panose="02010609060101010101" pitchFamily="49" charset="-122"/>
                  <a:cs typeface="SimSun"/>
                </a:rPr>
                <a:t>GPU</a:t>
              </a:r>
              <a:endParaRPr lang="zh-CN" sz="1100" b="1" dirty="0">
                <a:solidFill>
                  <a:schemeClr val="accent4"/>
                </a:solidFill>
                <a:ea typeface="楷体" panose="02010609060101010101" pitchFamily="49" charset="-122"/>
              </a:endParaRPr>
            </a:p>
          </p:txBody>
        </p:sp>
        <p:sp>
          <p:nvSpPr>
            <p:cNvPr id="89" name="Rectangle 88"/>
            <p:cNvSpPr/>
            <p:nvPr/>
          </p:nvSpPr>
          <p:spPr>
            <a:xfrm>
              <a:off x="7562057" y="1632786"/>
              <a:ext cx="804922" cy="334394"/>
            </a:xfrm>
            <a:prstGeom prst="rect">
              <a:avLst/>
            </a:prstGeom>
            <a:solidFill>
              <a:srgbClr val="E8FFB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algn="ctr"/>
              <a:r>
                <a:rPr lang="zh-CN" sz="500" dirty="0">
                  <a:solidFill>
                    <a:srgbClr val="000000"/>
                  </a:solidFill>
                  <a:ea typeface="楷体" panose="02010609060101010101" pitchFamily="49" charset="-122"/>
                  <a:cs typeface="SimSun"/>
                </a:rPr>
                <a:t>微处理器2</a:t>
              </a:r>
            </a:p>
          </p:txBody>
        </p:sp>
        <p:sp>
          <p:nvSpPr>
            <p:cNvPr id="90" name="Rectangle 89"/>
            <p:cNvSpPr/>
            <p:nvPr/>
          </p:nvSpPr>
          <p:spPr>
            <a:xfrm>
              <a:off x="7562057" y="2016181"/>
              <a:ext cx="804922" cy="334394"/>
            </a:xfrm>
            <a:prstGeom prst="rect">
              <a:avLst/>
            </a:prstGeom>
            <a:solidFill>
              <a:srgbClr val="E8FFB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algn="ctr"/>
              <a:r>
                <a:rPr lang="zh-CN" sz="500" dirty="0">
                  <a:solidFill>
                    <a:srgbClr val="000000"/>
                  </a:solidFill>
                  <a:ea typeface="楷体" panose="02010609060101010101" pitchFamily="49" charset="-122"/>
                  <a:cs typeface="SimSun"/>
                </a:rPr>
                <a:t>微处理器4</a:t>
              </a:r>
            </a:p>
          </p:txBody>
        </p:sp>
        <p:sp>
          <p:nvSpPr>
            <p:cNvPr id="91" name="Rectangle 90"/>
            <p:cNvSpPr/>
            <p:nvPr/>
          </p:nvSpPr>
          <p:spPr>
            <a:xfrm>
              <a:off x="7562057" y="2646494"/>
              <a:ext cx="804922" cy="334394"/>
            </a:xfrm>
            <a:prstGeom prst="rect">
              <a:avLst/>
            </a:prstGeom>
            <a:solidFill>
              <a:srgbClr val="E8FFB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algn="ctr"/>
              <a:r>
                <a:rPr lang="zh-CN" sz="500" dirty="0">
                  <a:solidFill>
                    <a:srgbClr val="000000"/>
                  </a:solidFill>
                  <a:ea typeface="楷体" panose="02010609060101010101" pitchFamily="49" charset="-122"/>
                  <a:cs typeface="SimSun"/>
                </a:rPr>
                <a:t>微处理器14</a:t>
              </a:r>
            </a:p>
          </p:txBody>
        </p:sp>
        <p:grpSp>
          <p:nvGrpSpPr>
            <p:cNvPr id="92" name="Group 91"/>
            <p:cNvGrpSpPr/>
            <p:nvPr/>
          </p:nvGrpSpPr>
          <p:grpSpPr>
            <a:xfrm>
              <a:off x="7641556" y="1724250"/>
              <a:ext cx="645925" cy="214173"/>
              <a:chOff x="7641556" y="1852002"/>
              <a:chExt cx="645925" cy="214173"/>
            </a:xfrm>
          </p:grpSpPr>
          <p:sp>
            <p:nvSpPr>
              <p:cNvPr id="183" name="Rectangle 182"/>
              <p:cNvSpPr/>
              <p:nvPr/>
            </p:nvSpPr>
            <p:spPr>
              <a:xfrm>
                <a:off x="7641556" y="1854233"/>
                <a:ext cx="645925" cy="211942"/>
              </a:xfrm>
              <a:prstGeom prst="rect">
                <a:avLst/>
              </a:prstGeom>
              <a:solidFill>
                <a:srgbClr val="48F94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cxnSp>
            <p:nvCxnSpPr>
              <p:cNvPr id="184" name="Straight Connector 183"/>
              <p:cNvCxnSpPr/>
              <p:nvPr/>
            </p:nvCxnSpPr>
            <p:spPr>
              <a:xfrm>
                <a:off x="7641556" y="1907219"/>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7641556" y="2013190"/>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7641556" y="2066175"/>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7641556" y="1854233"/>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a:cxnSpLocks/>
              </p:cNvCxnSpPr>
              <p:nvPr/>
            </p:nvCxnSpPr>
            <p:spPr>
              <a:xfrm>
                <a:off x="7641556"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a:cxnSpLocks/>
              </p:cNvCxnSpPr>
              <p:nvPr/>
            </p:nvCxnSpPr>
            <p:spPr>
              <a:xfrm>
                <a:off x="7722297"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a:cxnSpLocks/>
              </p:cNvCxnSpPr>
              <p:nvPr/>
            </p:nvCxnSpPr>
            <p:spPr>
              <a:xfrm>
                <a:off x="7803037"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a:cxnSpLocks/>
              </p:cNvCxnSpPr>
              <p:nvPr/>
            </p:nvCxnSpPr>
            <p:spPr>
              <a:xfrm>
                <a:off x="7883778"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a:cxnSpLocks/>
              </p:cNvCxnSpPr>
              <p:nvPr/>
            </p:nvCxnSpPr>
            <p:spPr>
              <a:xfrm>
                <a:off x="7964519"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a:cxnSpLocks/>
              </p:cNvCxnSpPr>
              <p:nvPr/>
            </p:nvCxnSpPr>
            <p:spPr>
              <a:xfrm>
                <a:off x="8045259"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a:cxnSpLocks/>
              </p:cNvCxnSpPr>
              <p:nvPr/>
            </p:nvCxnSpPr>
            <p:spPr>
              <a:xfrm>
                <a:off x="8126000"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a:cxnSpLocks/>
              </p:cNvCxnSpPr>
              <p:nvPr/>
            </p:nvCxnSpPr>
            <p:spPr>
              <a:xfrm>
                <a:off x="8206740"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a:cxnSpLocks/>
              </p:cNvCxnSpPr>
              <p:nvPr/>
            </p:nvCxnSpPr>
            <p:spPr>
              <a:xfrm>
                <a:off x="8287481"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a:xfrm>
                <a:off x="7641556" y="1960204"/>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sp>
            <p:nvSpPr>
              <p:cNvPr id="198" name="TextBox 197"/>
              <p:cNvSpPr txBox="1"/>
              <p:nvPr/>
            </p:nvSpPr>
            <p:spPr>
              <a:xfrm>
                <a:off x="7712271" y="1915396"/>
                <a:ext cx="504497" cy="10595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zh-CN" sz="700" dirty="0">
                    <a:solidFill>
                      <a:srgbClr val="000000"/>
                    </a:solidFill>
                    <a:ea typeface="楷体" panose="02010609060101010101" pitchFamily="49" charset="-122"/>
                    <a:cs typeface="SimSun"/>
                  </a:rPr>
                  <a:t>（32核）</a:t>
                </a:r>
              </a:p>
            </p:txBody>
          </p:sp>
        </p:grpSp>
        <p:grpSp>
          <p:nvGrpSpPr>
            <p:cNvPr id="93" name="Group 92"/>
            <p:cNvGrpSpPr/>
            <p:nvPr/>
          </p:nvGrpSpPr>
          <p:grpSpPr>
            <a:xfrm>
              <a:off x="7641556" y="2111822"/>
              <a:ext cx="645925" cy="214173"/>
              <a:chOff x="7641556" y="1852002"/>
              <a:chExt cx="645925" cy="214173"/>
            </a:xfrm>
          </p:grpSpPr>
          <p:sp>
            <p:nvSpPr>
              <p:cNvPr id="167" name="Rectangle 166"/>
              <p:cNvSpPr/>
              <p:nvPr/>
            </p:nvSpPr>
            <p:spPr>
              <a:xfrm>
                <a:off x="7641556" y="1854233"/>
                <a:ext cx="645925" cy="211942"/>
              </a:xfrm>
              <a:prstGeom prst="rect">
                <a:avLst/>
              </a:prstGeom>
              <a:solidFill>
                <a:srgbClr val="48F94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cxnSp>
            <p:nvCxnSpPr>
              <p:cNvPr id="168" name="Straight Connector 167"/>
              <p:cNvCxnSpPr/>
              <p:nvPr/>
            </p:nvCxnSpPr>
            <p:spPr>
              <a:xfrm>
                <a:off x="7641556" y="1907219"/>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a:off x="7641556" y="2013190"/>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a:off x="7641556" y="2066175"/>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7641556" y="1854233"/>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a:cxnSpLocks/>
              </p:cNvCxnSpPr>
              <p:nvPr/>
            </p:nvCxnSpPr>
            <p:spPr>
              <a:xfrm>
                <a:off x="7641556"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a:cxnSpLocks/>
              </p:cNvCxnSpPr>
              <p:nvPr/>
            </p:nvCxnSpPr>
            <p:spPr>
              <a:xfrm>
                <a:off x="7722297"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a:cxnSpLocks/>
              </p:cNvCxnSpPr>
              <p:nvPr/>
            </p:nvCxnSpPr>
            <p:spPr>
              <a:xfrm>
                <a:off x="7803037"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a:cxnSpLocks/>
              </p:cNvCxnSpPr>
              <p:nvPr/>
            </p:nvCxnSpPr>
            <p:spPr>
              <a:xfrm>
                <a:off x="7883778"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a:cxnSpLocks/>
              </p:cNvCxnSpPr>
              <p:nvPr/>
            </p:nvCxnSpPr>
            <p:spPr>
              <a:xfrm>
                <a:off x="7964519"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a:cxnSpLocks/>
              </p:cNvCxnSpPr>
              <p:nvPr/>
            </p:nvCxnSpPr>
            <p:spPr>
              <a:xfrm>
                <a:off x="8045259"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a:cxnSpLocks/>
              </p:cNvCxnSpPr>
              <p:nvPr/>
            </p:nvCxnSpPr>
            <p:spPr>
              <a:xfrm>
                <a:off x="8126000"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a:cxnSpLocks/>
              </p:cNvCxnSpPr>
              <p:nvPr/>
            </p:nvCxnSpPr>
            <p:spPr>
              <a:xfrm>
                <a:off x="8206740"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a:cxnSpLocks/>
              </p:cNvCxnSpPr>
              <p:nvPr/>
            </p:nvCxnSpPr>
            <p:spPr>
              <a:xfrm>
                <a:off x="8287481"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7641556" y="1960204"/>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sp>
            <p:nvSpPr>
              <p:cNvPr id="182" name="TextBox 181"/>
              <p:cNvSpPr txBox="1"/>
              <p:nvPr/>
            </p:nvSpPr>
            <p:spPr>
              <a:xfrm>
                <a:off x="7712271" y="1915396"/>
                <a:ext cx="504497" cy="10595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zh-CN" sz="700" dirty="0">
                    <a:solidFill>
                      <a:srgbClr val="000000"/>
                    </a:solidFill>
                    <a:ea typeface="楷体" panose="02010609060101010101" pitchFamily="49" charset="-122"/>
                    <a:cs typeface="SimSun"/>
                  </a:rPr>
                  <a:t>（32核）</a:t>
                </a:r>
              </a:p>
            </p:txBody>
          </p:sp>
        </p:grpSp>
        <p:grpSp>
          <p:nvGrpSpPr>
            <p:cNvPr id="94" name="Group 93"/>
            <p:cNvGrpSpPr/>
            <p:nvPr/>
          </p:nvGrpSpPr>
          <p:grpSpPr>
            <a:xfrm>
              <a:off x="7641556" y="2741841"/>
              <a:ext cx="645925" cy="214173"/>
              <a:chOff x="7641556" y="1852002"/>
              <a:chExt cx="645925" cy="214173"/>
            </a:xfrm>
          </p:grpSpPr>
          <p:sp>
            <p:nvSpPr>
              <p:cNvPr id="151" name="Rectangle 150"/>
              <p:cNvSpPr/>
              <p:nvPr/>
            </p:nvSpPr>
            <p:spPr>
              <a:xfrm>
                <a:off x="7641556" y="1854233"/>
                <a:ext cx="645925" cy="211942"/>
              </a:xfrm>
              <a:prstGeom prst="rect">
                <a:avLst/>
              </a:prstGeom>
              <a:solidFill>
                <a:srgbClr val="48F94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cxnSp>
            <p:nvCxnSpPr>
              <p:cNvPr id="152" name="Straight Connector 151"/>
              <p:cNvCxnSpPr/>
              <p:nvPr/>
            </p:nvCxnSpPr>
            <p:spPr>
              <a:xfrm>
                <a:off x="7641556" y="1907219"/>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7641556" y="2013190"/>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7641556" y="2066175"/>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7641556" y="1854233"/>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cxnSpLocks/>
              </p:cNvCxnSpPr>
              <p:nvPr/>
            </p:nvCxnSpPr>
            <p:spPr>
              <a:xfrm>
                <a:off x="7641556"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a:cxnSpLocks/>
              </p:cNvCxnSpPr>
              <p:nvPr/>
            </p:nvCxnSpPr>
            <p:spPr>
              <a:xfrm>
                <a:off x="7722297"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a:cxnSpLocks/>
              </p:cNvCxnSpPr>
              <p:nvPr/>
            </p:nvCxnSpPr>
            <p:spPr>
              <a:xfrm>
                <a:off x="7803037"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a:cxnSpLocks/>
              </p:cNvCxnSpPr>
              <p:nvPr/>
            </p:nvCxnSpPr>
            <p:spPr>
              <a:xfrm>
                <a:off x="7883778"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a:cxnSpLocks/>
              </p:cNvCxnSpPr>
              <p:nvPr/>
            </p:nvCxnSpPr>
            <p:spPr>
              <a:xfrm>
                <a:off x="7964519"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a:cxnSpLocks/>
              </p:cNvCxnSpPr>
              <p:nvPr/>
            </p:nvCxnSpPr>
            <p:spPr>
              <a:xfrm>
                <a:off x="8045259"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a:cxnSpLocks/>
              </p:cNvCxnSpPr>
              <p:nvPr/>
            </p:nvCxnSpPr>
            <p:spPr>
              <a:xfrm>
                <a:off x="8126000"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a:cxnSpLocks/>
              </p:cNvCxnSpPr>
              <p:nvPr/>
            </p:nvCxnSpPr>
            <p:spPr>
              <a:xfrm>
                <a:off x="8206740"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a:cxnSpLocks/>
              </p:cNvCxnSpPr>
              <p:nvPr/>
            </p:nvCxnSpPr>
            <p:spPr>
              <a:xfrm>
                <a:off x="8287481"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a:off x="7641556" y="1960204"/>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sp>
            <p:nvSpPr>
              <p:cNvPr id="166" name="TextBox 165"/>
              <p:cNvSpPr txBox="1"/>
              <p:nvPr/>
            </p:nvSpPr>
            <p:spPr>
              <a:xfrm>
                <a:off x="7712271" y="1915396"/>
                <a:ext cx="504497" cy="10595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zh-CN" sz="700" dirty="0">
                    <a:solidFill>
                      <a:srgbClr val="000000"/>
                    </a:solidFill>
                    <a:ea typeface="楷体" panose="02010609060101010101" pitchFamily="49" charset="-122"/>
                    <a:cs typeface="SimSun"/>
                  </a:rPr>
                  <a:t>（32核）</a:t>
                </a:r>
              </a:p>
            </p:txBody>
          </p:sp>
        </p:grpSp>
        <p:sp>
          <p:nvSpPr>
            <p:cNvPr id="95" name="Rectangle 94"/>
            <p:cNvSpPr/>
            <p:nvPr/>
          </p:nvSpPr>
          <p:spPr>
            <a:xfrm>
              <a:off x="6650327" y="1632786"/>
              <a:ext cx="804922" cy="334394"/>
            </a:xfrm>
            <a:prstGeom prst="rect">
              <a:avLst/>
            </a:prstGeom>
            <a:solidFill>
              <a:srgbClr val="E8FFB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algn="ctr"/>
              <a:r>
                <a:rPr lang="zh-CN" sz="500" dirty="0">
                  <a:solidFill>
                    <a:srgbClr val="000000"/>
                  </a:solidFill>
                  <a:ea typeface="楷体" panose="02010609060101010101" pitchFamily="49" charset="-122"/>
                  <a:cs typeface="SimSun"/>
                </a:rPr>
                <a:t>微处理器1</a:t>
              </a:r>
            </a:p>
          </p:txBody>
        </p:sp>
        <p:sp>
          <p:nvSpPr>
            <p:cNvPr id="96" name="Rectangle 95"/>
            <p:cNvSpPr/>
            <p:nvPr/>
          </p:nvSpPr>
          <p:spPr>
            <a:xfrm>
              <a:off x="6650327" y="2016181"/>
              <a:ext cx="804922" cy="334394"/>
            </a:xfrm>
            <a:prstGeom prst="rect">
              <a:avLst/>
            </a:prstGeom>
            <a:solidFill>
              <a:srgbClr val="E8FFB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algn="ctr"/>
              <a:r>
                <a:rPr lang="zh-CN" sz="500" dirty="0">
                  <a:solidFill>
                    <a:srgbClr val="000000"/>
                  </a:solidFill>
                  <a:ea typeface="楷体" panose="02010609060101010101" pitchFamily="49" charset="-122"/>
                  <a:cs typeface="SimSun"/>
                </a:rPr>
                <a:t>微处理器3</a:t>
              </a:r>
            </a:p>
          </p:txBody>
        </p:sp>
        <p:sp>
          <p:nvSpPr>
            <p:cNvPr id="97" name="Rectangle 96"/>
            <p:cNvSpPr/>
            <p:nvPr/>
          </p:nvSpPr>
          <p:spPr>
            <a:xfrm>
              <a:off x="6650327" y="2646494"/>
              <a:ext cx="804922" cy="334394"/>
            </a:xfrm>
            <a:prstGeom prst="rect">
              <a:avLst/>
            </a:prstGeom>
            <a:solidFill>
              <a:srgbClr val="E8FFB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 rIns="0" bIns="0" numCol="1" spcCol="0" rtlCol="0" fromWordArt="0" anchor="t" anchorCtr="0" forceAA="0" compatLnSpc="1">
              <a:prstTxWarp prst="textNoShape">
                <a:avLst/>
              </a:prstTxWarp>
              <a:noAutofit/>
            </a:bodyPr>
            <a:lstStyle/>
            <a:p>
              <a:pPr algn="ctr"/>
              <a:r>
                <a:rPr lang="zh-CN" sz="500" dirty="0">
                  <a:solidFill>
                    <a:srgbClr val="000000"/>
                  </a:solidFill>
                  <a:ea typeface="楷体" panose="02010609060101010101" pitchFamily="49" charset="-122"/>
                  <a:cs typeface="SimSun"/>
                </a:rPr>
                <a:t>微处理器13</a:t>
              </a:r>
            </a:p>
          </p:txBody>
        </p:sp>
        <p:grpSp>
          <p:nvGrpSpPr>
            <p:cNvPr id="98" name="Group 97"/>
            <p:cNvGrpSpPr/>
            <p:nvPr/>
          </p:nvGrpSpPr>
          <p:grpSpPr>
            <a:xfrm>
              <a:off x="6729826" y="1724250"/>
              <a:ext cx="645925" cy="214173"/>
              <a:chOff x="7641556" y="1852002"/>
              <a:chExt cx="645925" cy="214173"/>
            </a:xfrm>
          </p:grpSpPr>
          <p:sp>
            <p:nvSpPr>
              <p:cNvPr id="135" name="Rectangle 134"/>
              <p:cNvSpPr/>
              <p:nvPr/>
            </p:nvSpPr>
            <p:spPr>
              <a:xfrm>
                <a:off x="7641556" y="1854233"/>
                <a:ext cx="645925" cy="211942"/>
              </a:xfrm>
              <a:prstGeom prst="rect">
                <a:avLst/>
              </a:prstGeom>
              <a:solidFill>
                <a:srgbClr val="48F94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cxnSp>
            <p:nvCxnSpPr>
              <p:cNvPr id="136" name="Straight Connector 135"/>
              <p:cNvCxnSpPr/>
              <p:nvPr/>
            </p:nvCxnSpPr>
            <p:spPr>
              <a:xfrm>
                <a:off x="7641556" y="1907219"/>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7641556" y="2013190"/>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7641556" y="2066175"/>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7641556" y="1854233"/>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a:cxnSpLocks/>
              </p:cNvCxnSpPr>
              <p:nvPr/>
            </p:nvCxnSpPr>
            <p:spPr>
              <a:xfrm>
                <a:off x="7641556"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a:cxnSpLocks/>
              </p:cNvCxnSpPr>
              <p:nvPr/>
            </p:nvCxnSpPr>
            <p:spPr>
              <a:xfrm>
                <a:off x="7722297"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a:cxnSpLocks/>
              </p:cNvCxnSpPr>
              <p:nvPr/>
            </p:nvCxnSpPr>
            <p:spPr>
              <a:xfrm>
                <a:off x="7803037"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a:cxnSpLocks/>
              </p:cNvCxnSpPr>
              <p:nvPr/>
            </p:nvCxnSpPr>
            <p:spPr>
              <a:xfrm>
                <a:off x="7883778"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a:cxnSpLocks/>
              </p:cNvCxnSpPr>
              <p:nvPr/>
            </p:nvCxnSpPr>
            <p:spPr>
              <a:xfrm>
                <a:off x="7964519"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a:cxnSpLocks/>
              </p:cNvCxnSpPr>
              <p:nvPr/>
            </p:nvCxnSpPr>
            <p:spPr>
              <a:xfrm>
                <a:off x="8045259"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cxnSpLocks/>
              </p:cNvCxnSpPr>
              <p:nvPr/>
            </p:nvCxnSpPr>
            <p:spPr>
              <a:xfrm>
                <a:off x="8126000"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a:cxnSpLocks/>
              </p:cNvCxnSpPr>
              <p:nvPr/>
            </p:nvCxnSpPr>
            <p:spPr>
              <a:xfrm>
                <a:off x="8206740"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cxnSpLocks/>
              </p:cNvCxnSpPr>
              <p:nvPr/>
            </p:nvCxnSpPr>
            <p:spPr>
              <a:xfrm>
                <a:off x="8287481"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7641556" y="1960204"/>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sp>
            <p:nvSpPr>
              <p:cNvPr id="150" name="TextBox 149"/>
              <p:cNvSpPr txBox="1"/>
              <p:nvPr/>
            </p:nvSpPr>
            <p:spPr>
              <a:xfrm>
                <a:off x="7712271" y="1915396"/>
                <a:ext cx="504497" cy="10595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zh-CN" sz="700" dirty="0">
                    <a:solidFill>
                      <a:srgbClr val="000000"/>
                    </a:solidFill>
                    <a:ea typeface="楷体" panose="02010609060101010101" pitchFamily="49" charset="-122"/>
                    <a:cs typeface="SimSun"/>
                  </a:rPr>
                  <a:t>（32核）</a:t>
                </a:r>
              </a:p>
            </p:txBody>
          </p:sp>
        </p:grpSp>
        <p:grpSp>
          <p:nvGrpSpPr>
            <p:cNvPr id="99" name="Group 98"/>
            <p:cNvGrpSpPr/>
            <p:nvPr/>
          </p:nvGrpSpPr>
          <p:grpSpPr>
            <a:xfrm>
              <a:off x="6729826" y="2111822"/>
              <a:ext cx="645925" cy="214173"/>
              <a:chOff x="7641556" y="1852002"/>
              <a:chExt cx="645925" cy="214173"/>
            </a:xfrm>
          </p:grpSpPr>
          <p:sp>
            <p:nvSpPr>
              <p:cNvPr id="119" name="Rectangle 118"/>
              <p:cNvSpPr/>
              <p:nvPr/>
            </p:nvSpPr>
            <p:spPr>
              <a:xfrm>
                <a:off x="7641556" y="1854233"/>
                <a:ext cx="645925" cy="211942"/>
              </a:xfrm>
              <a:prstGeom prst="rect">
                <a:avLst/>
              </a:prstGeom>
              <a:solidFill>
                <a:srgbClr val="48F94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cxnSp>
            <p:nvCxnSpPr>
              <p:cNvPr id="120" name="Straight Connector 119"/>
              <p:cNvCxnSpPr/>
              <p:nvPr/>
            </p:nvCxnSpPr>
            <p:spPr>
              <a:xfrm>
                <a:off x="7641556" y="1907219"/>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7641556" y="2013190"/>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7641556" y="2066175"/>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7641556" y="1854233"/>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a:cxnSpLocks/>
              </p:cNvCxnSpPr>
              <p:nvPr/>
            </p:nvCxnSpPr>
            <p:spPr>
              <a:xfrm>
                <a:off x="7641556"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a:cxnSpLocks/>
              </p:cNvCxnSpPr>
              <p:nvPr/>
            </p:nvCxnSpPr>
            <p:spPr>
              <a:xfrm>
                <a:off x="7722297"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cxnSpLocks/>
              </p:cNvCxnSpPr>
              <p:nvPr/>
            </p:nvCxnSpPr>
            <p:spPr>
              <a:xfrm>
                <a:off x="7803037"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a:cxnSpLocks/>
              </p:cNvCxnSpPr>
              <p:nvPr/>
            </p:nvCxnSpPr>
            <p:spPr>
              <a:xfrm>
                <a:off x="7883778"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a:cxnSpLocks/>
              </p:cNvCxnSpPr>
              <p:nvPr/>
            </p:nvCxnSpPr>
            <p:spPr>
              <a:xfrm>
                <a:off x="7964519"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a:cxnSpLocks/>
              </p:cNvCxnSpPr>
              <p:nvPr/>
            </p:nvCxnSpPr>
            <p:spPr>
              <a:xfrm>
                <a:off x="8045259"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cxnSpLocks/>
              </p:cNvCxnSpPr>
              <p:nvPr/>
            </p:nvCxnSpPr>
            <p:spPr>
              <a:xfrm>
                <a:off x="8126000"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a:cxnSpLocks/>
              </p:cNvCxnSpPr>
              <p:nvPr/>
            </p:nvCxnSpPr>
            <p:spPr>
              <a:xfrm>
                <a:off x="8206740"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cxnSpLocks/>
              </p:cNvCxnSpPr>
              <p:nvPr/>
            </p:nvCxnSpPr>
            <p:spPr>
              <a:xfrm>
                <a:off x="8287481"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7641556" y="1960204"/>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sp>
            <p:nvSpPr>
              <p:cNvPr id="134" name="TextBox 133"/>
              <p:cNvSpPr txBox="1"/>
              <p:nvPr/>
            </p:nvSpPr>
            <p:spPr>
              <a:xfrm>
                <a:off x="7712271" y="1915396"/>
                <a:ext cx="504497" cy="10595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zh-CN" sz="700" dirty="0">
                    <a:solidFill>
                      <a:srgbClr val="000000"/>
                    </a:solidFill>
                    <a:ea typeface="楷体" panose="02010609060101010101" pitchFamily="49" charset="-122"/>
                    <a:cs typeface="SimSun"/>
                  </a:rPr>
                  <a:t>（32核）</a:t>
                </a:r>
              </a:p>
            </p:txBody>
          </p:sp>
        </p:grpSp>
        <p:grpSp>
          <p:nvGrpSpPr>
            <p:cNvPr id="100" name="Group 99"/>
            <p:cNvGrpSpPr/>
            <p:nvPr/>
          </p:nvGrpSpPr>
          <p:grpSpPr>
            <a:xfrm>
              <a:off x="6729826" y="2741841"/>
              <a:ext cx="645925" cy="214173"/>
              <a:chOff x="7641556" y="1852002"/>
              <a:chExt cx="645925" cy="214173"/>
            </a:xfrm>
          </p:grpSpPr>
          <p:sp>
            <p:nvSpPr>
              <p:cNvPr id="103" name="Rectangle 102"/>
              <p:cNvSpPr/>
              <p:nvPr/>
            </p:nvSpPr>
            <p:spPr>
              <a:xfrm>
                <a:off x="7641556" y="1854233"/>
                <a:ext cx="645925" cy="211942"/>
              </a:xfrm>
              <a:prstGeom prst="rect">
                <a:avLst/>
              </a:prstGeom>
              <a:solidFill>
                <a:srgbClr val="48F94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cxnSp>
            <p:nvCxnSpPr>
              <p:cNvPr id="104" name="Straight Connector 103"/>
              <p:cNvCxnSpPr/>
              <p:nvPr/>
            </p:nvCxnSpPr>
            <p:spPr>
              <a:xfrm>
                <a:off x="7641556" y="1907219"/>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7641556" y="2013190"/>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7641556" y="2066175"/>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7641556" y="1854233"/>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a:cxnSpLocks/>
              </p:cNvCxnSpPr>
              <p:nvPr/>
            </p:nvCxnSpPr>
            <p:spPr>
              <a:xfrm>
                <a:off x="7641556"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a:cxnSpLocks/>
              </p:cNvCxnSpPr>
              <p:nvPr/>
            </p:nvCxnSpPr>
            <p:spPr>
              <a:xfrm>
                <a:off x="7722297"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a:cxnSpLocks/>
              </p:cNvCxnSpPr>
              <p:nvPr/>
            </p:nvCxnSpPr>
            <p:spPr>
              <a:xfrm>
                <a:off x="7803037"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cxnSpLocks/>
              </p:cNvCxnSpPr>
              <p:nvPr/>
            </p:nvCxnSpPr>
            <p:spPr>
              <a:xfrm>
                <a:off x="7883778"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cxnSpLocks/>
              </p:cNvCxnSpPr>
              <p:nvPr/>
            </p:nvCxnSpPr>
            <p:spPr>
              <a:xfrm>
                <a:off x="7964519"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a:cxnSpLocks/>
              </p:cNvCxnSpPr>
              <p:nvPr/>
            </p:nvCxnSpPr>
            <p:spPr>
              <a:xfrm>
                <a:off x="8045259"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a:cxnSpLocks/>
              </p:cNvCxnSpPr>
              <p:nvPr/>
            </p:nvCxnSpPr>
            <p:spPr>
              <a:xfrm>
                <a:off x="8126000"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a:cxnSpLocks/>
              </p:cNvCxnSpPr>
              <p:nvPr/>
            </p:nvCxnSpPr>
            <p:spPr>
              <a:xfrm>
                <a:off x="8206740"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a:cxnSpLocks/>
              </p:cNvCxnSpPr>
              <p:nvPr/>
            </p:nvCxnSpPr>
            <p:spPr>
              <a:xfrm>
                <a:off x="8287481" y="1852002"/>
                <a:ext cx="0" cy="213335"/>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7641556" y="1960204"/>
                <a:ext cx="645925"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sp>
            <p:nvSpPr>
              <p:cNvPr id="118" name="TextBox 117"/>
              <p:cNvSpPr txBox="1"/>
              <p:nvPr/>
            </p:nvSpPr>
            <p:spPr>
              <a:xfrm>
                <a:off x="7712271" y="1915396"/>
                <a:ext cx="504497" cy="10595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zh-CN" sz="700" dirty="0">
                    <a:solidFill>
                      <a:srgbClr val="000000"/>
                    </a:solidFill>
                    <a:ea typeface="楷体" panose="02010609060101010101" pitchFamily="49" charset="-122"/>
                    <a:cs typeface="SimSun"/>
                  </a:rPr>
                  <a:t>（32核）</a:t>
                </a:r>
              </a:p>
            </p:txBody>
          </p:sp>
        </p:grpSp>
        <p:cxnSp>
          <p:nvCxnSpPr>
            <p:cNvPr id="101" name="Straight Connector 100"/>
            <p:cNvCxnSpPr/>
            <p:nvPr/>
          </p:nvCxnSpPr>
          <p:spPr>
            <a:xfrm>
              <a:off x="7964518" y="2384235"/>
              <a:ext cx="0" cy="228600"/>
            </a:xfrm>
            <a:prstGeom prst="line">
              <a:avLst/>
            </a:prstGeom>
            <a:ln w="381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7052788" y="2384235"/>
              <a:ext cx="0" cy="228600"/>
            </a:xfrm>
            <a:prstGeom prst="line">
              <a:avLst/>
            </a:prstGeom>
            <a:ln w="381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199" name="5. Source"/>
          <p:cNvSpPr>
            <a:spLocks noChangeArrowheads="1"/>
          </p:cNvSpPr>
          <p:nvPr/>
        </p:nvSpPr>
        <p:spPr bwMode="gray">
          <a:xfrm>
            <a:off x="119063" y="6514746"/>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zh-CN" sz="800" dirty="0">
                <a:solidFill>
                  <a:srgbClr val="808080"/>
                </a:solidFill>
                <a:latin typeface="+mn-lt"/>
                <a:ea typeface="楷体" panose="02010609060101010101" pitchFamily="49" charset="-122"/>
                <a:cs typeface="SimSun"/>
              </a:rPr>
              <a:t>资料来源：英伟达</a:t>
            </a:r>
            <a:endParaRPr lang="zh-CN" sz="800" dirty="0">
              <a:solidFill>
                <a:srgbClr val="808080"/>
              </a:solidFill>
              <a:latin typeface="+mn-lt"/>
              <a:ea typeface="楷体" panose="02010609060101010101" pitchFamily="49" charset="-122"/>
            </a:endParaRPr>
          </a:p>
        </p:txBody>
      </p:sp>
      <p:sp>
        <p:nvSpPr>
          <p:cNvPr id="12" name="Rectangle 7"/>
          <p:cNvSpPr>
            <a:spLocks noChangeArrowheads="1"/>
          </p:cNvSpPr>
          <p:nvPr>
            <p:custDataLst>
              <p:tags r:id="rId10"/>
            </p:custDataLst>
          </p:nvPr>
        </p:nvSpPr>
        <p:spPr bwMode="auto">
          <a:xfrm>
            <a:off x="1374210" y="1168400"/>
            <a:ext cx="3025386" cy="2492990"/>
          </a:xfrm>
          <a:prstGeom prst="rect">
            <a:avLst/>
          </a:prstGeom>
          <a:noFill/>
          <a:ln>
            <a:noFill/>
          </a:ln>
          <a:effectLst/>
        </p:spPr>
        <p:txBody>
          <a:bodyPr wrap="square" lIns="0" tIns="0" rIns="0" bIns="0">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lvl="1">
              <a:spcBef>
                <a:spcPts val="0"/>
              </a:spcBef>
              <a:spcAft>
                <a:spcPts val="600"/>
              </a:spcAft>
              <a:buClr>
                <a:schemeClr val="bg1"/>
              </a:buClr>
            </a:pPr>
            <a:r>
              <a:rPr lang="zh-CN" sz="1100" b="1" dirty="0">
                <a:solidFill>
                  <a:schemeClr val="bg1"/>
                </a:solidFill>
                <a:latin typeface="+mn-lt"/>
                <a:ea typeface="楷体" panose="02010609060101010101" pitchFamily="49" charset="-122"/>
                <a:cs typeface="SimSun"/>
              </a:rPr>
              <a:t>CPU</a:t>
            </a:r>
            <a:r>
              <a:rPr lang="zh-CN" sz="1100" dirty="0">
                <a:solidFill>
                  <a:schemeClr val="bg1"/>
                </a:solidFill>
                <a:latin typeface="+mn-lt"/>
                <a:ea typeface="楷体" panose="02010609060101010101" pitchFamily="49" charset="-122"/>
                <a:cs typeface="SimSun"/>
              </a:rPr>
              <a:t>执行所有运算，而</a:t>
            </a:r>
            <a:r>
              <a:rPr lang="zh-CN" sz="1100" b="1" dirty="0">
                <a:solidFill>
                  <a:schemeClr val="bg1"/>
                </a:solidFill>
                <a:latin typeface="+mn-lt"/>
                <a:ea typeface="楷体" panose="02010609060101010101" pitchFamily="49" charset="-122"/>
                <a:cs typeface="SimSun"/>
              </a:rPr>
              <a:t>显卡</a:t>
            </a:r>
            <a:r>
              <a:rPr lang="zh-CN" sz="1100" dirty="0">
                <a:solidFill>
                  <a:schemeClr val="bg1"/>
                </a:solidFill>
                <a:latin typeface="+mn-lt"/>
                <a:ea typeface="楷体" panose="02010609060101010101" pitchFamily="49" charset="-122"/>
                <a:cs typeface="SimSun"/>
              </a:rPr>
              <a:t>用于图形显示和游戏目的</a:t>
            </a:r>
          </a:p>
          <a:p>
            <a:pPr lvl="1">
              <a:spcBef>
                <a:spcPts val="0"/>
              </a:spcBef>
              <a:spcAft>
                <a:spcPts val="600"/>
              </a:spcAft>
              <a:buClr>
                <a:schemeClr val="bg1"/>
              </a:buClr>
            </a:pPr>
            <a:r>
              <a:rPr lang="zh-CN" sz="1100" dirty="0">
                <a:solidFill>
                  <a:schemeClr val="bg1"/>
                </a:solidFill>
                <a:latin typeface="+mn-lt"/>
                <a:ea typeface="楷体" panose="02010609060101010101" pitchFamily="49" charset="-122"/>
                <a:cs typeface="SimSun"/>
              </a:rPr>
              <a:t>训练神经元需要广泛使用矩阵运算</a:t>
            </a:r>
          </a:p>
          <a:p>
            <a:pPr lvl="1">
              <a:spcBef>
                <a:spcPts val="0"/>
              </a:spcBef>
              <a:spcAft>
                <a:spcPts val="600"/>
              </a:spcAft>
              <a:buClr>
                <a:schemeClr val="bg1"/>
              </a:buClr>
            </a:pPr>
            <a:r>
              <a:rPr lang="zh-CN" sz="1100" dirty="0">
                <a:solidFill>
                  <a:schemeClr val="bg1"/>
                </a:solidFill>
                <a:latin typeface="+mn-lt"/>
                <a:ea typeface="楷体" panose="02010609060101010101" pitchFamily="49" charset="-122"/>
                <a:cs typeface="SimSun"/>
              </a:rPr>
              <a:t>老式CPU只有单一核心处理器</a:t>
            </a:r>
          </a:p>
          <a:p>
            <a:pPr lvl="2">
              <a:spcBef>
                <a:spcPts val="0"/>
              </a:spcBef>
              <a:spcAft>
                <a:spcPts val="600"/>
              </a:spcAft>
              <a:buClr>
                <a:schemeClr val="bg1"/>
              </a:buClr>
            </a:pPr>
            <a:r>
              <a:rPr lang="zh-CN" sz="1100" dirty="0">
                <a:solidFill>
                  <a:schemeClr val="bg1"/>
                </a:solidFill>
                <a:latin typeface="+mn-lt"/>
                <a:ea typeface="楷体" panose="02010609060101010101" pitchFamily="49" charset="-122"/>
                <a:cs typeface="SimSun"/>
              </a:rPr>
              <a:t>现代CPU（如英特尔® 酷睿™ i7）最多有</a:t>
            </a:r>
            <a:r>
              <a:rPr lang="zh-CN" sz="1100" b="1" dirty="0">
                <a:solidFill>
                  <a:schemeClr val="bg1"/>
                </a:solidFill>
                <a:latin typeface="+mn-lt"/>
                <a:ea typeface="楷体" panose="02010609060101010101" pitchFamily="49" charset="-122"/>
                <a:cs typeface="SimSun"/>
              </a:rPr>
              <a:t>8个核心</a:t>
            </a:r>
          </a:p>
          <a:p>
            <a:pPr lvl="1">
              <a:spcBef>
                <a:spcPts val="0"/>
              </a:spcBef>
              <a:spcAft>
                <a:spcPts val="600"/>
              </a:spcAft>
              <a:buClr>
                <a:schemeClr val="bg1"/>
              </a:buClr>
            </a:pPr>
            <a:r>
              <a:rPr lang="zh-CN" sz="1100" dirty="0">
                <a:solidFill>
                  <a:schemeClr val="bg1"/>
                </a:solidFill>
                <a:latin typeface="+mn-lt"/>
                <a:ea typeface="楷体" panose="02010609060101010101" pitchFamily="49" charset="-122"/>
                <a:cs typeface="SimSun"/>
              </a:rPr>
              <a:t>现代GPU拥有约2000–3000个</a:t>
            </a:r>
            <a:r>
              <a:rPr lang="zh-CN" sz="1100" b="1" dirty="0">
                <a:solidFill>
                  <a:schemeClr val="bg1"/>
                </a:solidFill>
                <a:latin typeface="+mn-lt"/>
                <a:ea typeface="楷体" panose="02010609060101010101" pitchFamily="49" charset="-122"/>
                <a:cs typeface="SimSun"/>
              </a:rPr>
              <a:t>平行核心</a:t>
            </a:r>
            <a:r>
              <a:rPr lang="zh-CN" sz="1100" dirty="0">
                <a:solidFill>
                  <a:schemeClr val="bg1"/>
                </a:solidFill>
                <a:latin typeface="+mn-lt"/>
                <a:ea typeface="楷体" panose="02010609060101010101" pitchFamily="49" charset="-122"/>
                <a:cs typeface="SimSun"/>
              </a:rPr>
              <a:t>，</a:t>
            </a:r>
            <a:r>
              <a:rPr lang="zh-CN" altLang="en-US" sz="1100" dirty="0">
                <a:solidFill>
                  <a:schemeClr val="bg1"/>
                </a:solidFill>
                <a:latin typeface="+mn-lt"/>
                <a:ea typeface="楷体" panose="02010609060101010101" pitchFamily="49" charset="-122"/>
                <a:cs typeface="SimSun"/>
              </a:rPr>
              <a:t>使</a:t>
            </a:r>
            <a:r>
              <a:rPr lang="zh-CN" sz="1100" dirty="0">
                <a:solidFill>
                  <a:schemeClr val="bg1"/>
                </a:solidFill>
                <a:latin typeface="+mn-lt"/>
                <a:ea typeface="楷体" panose="02010609060101010101" pitchFamily="49" charset="-122"/>
                <a:cs typeface="SimSun"/>
              </a:rPr>
              <a:t>CPU性能大幅提升</a:t>
            </a:r>
          </a:p>
          <a:p>
            <a:pPr lvl="1">
              <a:spcBef>
                <a:spcPts val="0"/>
              </a:spcBef>
              <a:spcAft>
                <a:spcPts val="600"/>
              </a:spcAft>
              <a:buClr>
                <a:schemeClr val="bg1"/>
              </a:buClr>
            </a:pPr>
            <a:r>
              <a:rPr lang="zh-CN" sz="1100" dirty="0">
                <a:solidFill>
                  <a:schemeClr val="bg1"/>
                </a:solidFill>
                <a:latin typeface="+mn-lt"/>
                <a:ea typeface="楷体" panose="02010609060101010101" pitchFamily="49" charset="-122"/>
                <a:cs typeface="SimSun"/>
              </a:rPr>
              <a:t>麦肯锡</a:t>
            </a:r>
            <a:r>
              <a:rPr lang="zh-CN" altLang="en-US" sz="1100" dirty="0">
                <a:solidFill>
                  <a:schemeClr val="bg1"/>
                </a:solidFill>
                <a:latin typeface="+mn-lt"/>
                <a:ea typeface="楷体" panose="02010609060101010101" pitchFamily="49" charset="-122"/>
                <a:cs typeface="SimSun"/>
              </a:rPr>
              <a:t>是首批拥有</a:t>
            </a:r>
            <a:r>
              <a:rPr lang="zh-CN" sz="1100" dirty="0">
                <a:solidFill>
                  <a:schemeClr val="bg1"/>
                </a:solidFill>
                <a:latin typeface="+mn-lt"/>
                <a:ea typeface="楷体" panose="02010609060101010101" pitchFamily="49" charset="-122"/>
                <a:cs typeface="SimSun"/>
              </a:rPr>
              <a:t>以GPU为支持的深度学习超级计算机的公司之一</a:t>
            </a:r>
          </a:p>
          <a:p>
            <a:pPr lvl="2">
              <a:spcBef>
                <a:spcPts val="0"/>
              </a:spcBef>
              <a:spcAft>
                <a:spcPts val="600"/>
              </a:spcAft>
              <a:buClr>
                <a:schemeClr val="bg1"/>
              </a:buClr>
            </a:pPr>
            <a:r>
              <a:rPr lang="zh-CN" sz="1100" dirty="0">
                <a:solidFill>
                  <a:schemeClr val="bg1"/>
                </a:solidFill>
                <a:latin typeface="+mn-lt"/>
                <a:ea typeface="楷体" panose="02010609060101010101" pitchFamily="49" charset="-122"/>
                <a:cs typeface="SimSun"/>
              </a:rPr>
              <a:t>有28,672个核心，可提供每秒170万亿次浮点计算（10位标记）的计算能力</a:t>
            </a:r>
          </a:p>
        </p:txBody>
      </p:sp>
      <p:grpSp>
        <p:nvGrpSpPr>
          <p:cNvPr id="24" name="Group 23"/>
          <p:cNvGrpSpPr/>
          <p:nvPr/>
        </p:nvGrpSpPr>
        <p:grpSpPr>
          <a:xfrm>
            <a:off x="5037730" y="3978275"/>
            <a:ext cx="3948416" cy="2226206"/>
            <a:chOff x="4976769" y="3883194"/>
            <a:chExt cx="3948416" cy="2226206"/>
          </a:xfrm>
        </p:grpSpPr>
        <p:sp>
          <p:nvSpPr>
            <p:cNvPr id="275" name="TextBox 274"/>
            <p:cNvSpPr txBox="1">
              <a:spLocks/>
            </p:cNvSpPr>
            <p:nvPr/>
          </p:nvSpPr>
          <p:spPr>
            <a:xfrm>
              <a:off x="4976769" y="4363875"/>
              <a:ext cx="1430546" cy="1000274"/>
            </a:xfrm>
            <a:prstGeom prst="rect">
              <a:avLst/>
            </a:prstGeom>
            <a:noFill/>
            <a:ln>
              <a:noFill/>
            </a:ln>
            <a:effectLst/>
          </p:spPr>
          <p:txBody>
            <a:bodyPr wrap="square" lIns="0" tIns="0" rIns="0" bIns="0">
              <a:spAutoFit/>
            </a:bodyPr>
            <a:lstStyle>
              <a:defPPr>
                <a:defRPr lang="en-US"/>
              </a:defPPr>
              <a:lvl1pPr defTabSz="895350">
                <a:buClr>
                  <a:schemeClr val="tx2"/>
                </a:buClr>
                <a:defRPr>
                  <a:latin typeface="Arial" pitchFamily="34" charset="0"/>
                </a:defRPr>
              </a:lvl1pPr>
              <a:lvl2pPr marL="193675" lvl="1" indent="-192088" defTabSz="895350">
                <a:spcBef>
                  <a:spcPct val="100000"/>
                </a:spcBef>
                <a:buClr>
                  <a:schemeClr val="bg1"/>
                </a:buClr>
                <a:buSzPct val="125000"/>
                <a:buFont typeface="Arial" pitchFamily="34" charset="0"/>
                <a:buChar char="▪"/>
                <a:defRPr sz="1100">
                  <a:solidFill>
                    <a:schemeClr val="bg1"/>
                  </a:solidFill>
                  <a:latin typeface="+mn-lt"/>
                </a:defRPr>
              </a:lvl2pPr>
              <a:lvl3pPr marL="457200" lvl="2" indent="-261938" defTabSz="895350">
                <a:spcBef>
                  <a:spcPct val="50000"/>
                </a:spcBef>
                <a:buClr>
                  <a:schemeClr val="bg1"/>
                </a:buClr>
                <a:buSzPct val="120000"/>
                <a:buFont typeface="Arial" pitchFamily="34" charset="0"/>
                <a:buChar char="–"/>
                <a:defRPr sz="1100">
                  <a:solidFill>
                    <a:schemeClr val="bg1"/>
                  </a:solidFill>
                  <a:latin typeface="+mn-lt"/>
                </a:defRPr>
              </a:lvl3pPr>
              <a:lvl4pPr marL="614363" indent="-155575" defTabSz="895350">
                <a:buClr>
                  <a:schemeClr val="tx2"/>
                </a:buClr>
                <a:buSzPct val="120000"/>
                <a:buFont typeface="Arial" pitchFamily="34" charset="0"/>
                <a:buChar char="▫"/>
                <a:defRPr>
                  <a:latin typeface="Arial" pitchFamily="34" charset="0"/>
                </a:defRPr>
              </a:lvl4pPr>
              <a:lvl5pPr marL="746125" indent="-130175" defTabSz="895350">
                <a:buClr>
                  <a:schemeClr val="tx2"/>
                </a:buClr>
                <a:buSzPct val="89000"/>
                <a:buFont typeface="Arial" pitchFamily="34" charset="0"/>
                <a:buChar char="-"/>
                <a:defRPr>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a:latin typeface="Arial" pitchFamily="34" charset="0"/>
                </a:defRPr>
              </a:lvl9pPr>
            </a:lstStyle>
            <a:p>
              <a:pPr lvl="1">
                <a:spcBef>
                  <a:spcPts val="0"/>
                </a:spcBef>
                <a:spcAft>
                  <a:spcPts val="300"/>
                </a:spcAft>
              </a:pPr>
              <a:r>
                <a:rPr lang="zh-CN" dirty="0">
                  <a:ea typeface="楷体" panose="02010609060101010101" pitchFamily="49" charset="-122"/>
                  <a:cs typeface="SimSun"/>
                </a:rPr>
                <a:t>1,000</a:t>
              </a:r>
              <a:r>
                <a:rPr lang="zh-CN" altLang="en-US" dirty="0">
                  <a:ea typeface="楷体" panose="02010609060101010101" pitchFamily="49" charset="-122"/>
                  <a:cs typeface="SimSun"/>
                </a:rPr>
                <a:t>个</a:t>
              </a:r>
              <a:r>
                <a:rPr lang="zh-CN" dirty="0">
                  <a:ea typeface="楷体" panose="02010609060101010101" pitchFamily="49" charset="-122"/>
                  <a:cs typeface="SimSun"/>
                </a:rPr>
                <a:t>CPU服务器</a:t>
              </a:r>
            </a:p>
            <a:p>
              <a:pPr lvl="1">
                <a:spcBef>
                  <a:spcPts val="0"/>
                </a:spcBef>
                <a:spcAft>
                  <a:spcPts val="300"/>
                </a:spcAft>
              </a:pPr>
              <a:r>
                <a:rPr lang="zh-CN" dirty="0">
                  <a:ea typeface="楷体" panose="02010609060101010101" pitchFamily="49" charset="-122"/>
                  <a:cs typeface="SimSun"/>
                </a:rPr>
                <a:t>2,000个CPU</a:t>
              </a:r>
            </a:p>
            <a:p>
              <a:pPr lvl="1">
                <a:spcBef>
                  <a:spcPts val="0"/>
                </a:spcBef>
                <a:spcAft>
                  <a:spcPts val="300"/>
                </a:spcAft>
              </a:pPr>
              <a:r>
                <a:rPr lang="zh-CN" dirty="0">
                  <a:ea typeface="楷体" panose="02010609060101010101" pitchFamily="49" charset="-122"/>
                  <a:cs typeface="SimSun"/>
                </a:rPr>
                <a:t>16,000个核心</a:t>
              </a:r>
            </a:p>
            <a:p>
              <a:pPr lvl="1">
                <a:spcBef>
                  <a:spcPts val="0"/>
                </a:spcBef>
                <a:spcAft>
                  <a:spcPts val="300"/>
                </a:spcAft>
              </a:pPr>
              <a:r>
                <a:rPr lang="zh-CN" b="1" dirty="0">
                  <a:solidFill>
                    <a:srgbClr val="FF0000"/>
                  </a:solidFill>
                  <a:ea typeface="楷体" panose="02010609060101010101" pitchFamily="49" charset="-122"/>
                  <a:cs typeface="SimSun"/>
                </a:rPr>
                <a:t>600千瓦</a:t>
              </a:r>
            </a:p>
            <a:p>
              <a:pPr lvl="1">
                <a:spcBef>
                  <a:spcPts val="0"/>
                </a:spcBef>
                <a:spcAft>
                  <a:spcPts val="300"/>
                </a:spcAft>
              </a:pPr>
              <a:r>
                <a:rPr lang="zh-CN" b="1" dirty="0">
                  <a:solidFill>
                    <a:srgbClr val="FF0000"/>
                  </a:solidFill>
                  <a:ea typeface="楷体" panose="02010609060101010101" pitchFamily="49" charset="-122"/>
                  <a:cs typeface="SimSun"/>
                </a:rPr>
                <a:t>5,000,000美元</a:t>
              </a:r>
            </a:p>
          </p:txBody>
        </p:sp>
        <p:sp>
          <p:nvSpPr>
            <p:cNvPr id="278" name="TextBox 277"/>
            <p:cNvSpPr txBox="1">
              <a:spLocks/>
            </p:cNvSpPr>
            <p:nvPr/>
          </p:nvSpPr>
          <p:spPr>
            <a:xfrm>
              <a:off x="7575315" y="3883194"/>
              <a:ext cx="1162285" cy="1000274"/>
            </a:xfrm>
            <a:prstGeom prst="rect">
              <a:avLst/>
            </a:prstGeom>
            <a:noFill/>
            <a:ln>
              <a:noFill/>
            </a:ln>
            <a:effectLst/>
          </p:spPr>
          <p:txBody>
            <a:bodyPr wrap="square" lIns="0" tIns="0" rIns="0" bIns="0">
              <a:spAutoFit/>
            </a:bodyPr>
            <a:lstStyle>
              <a:defPPr>
                <a:defRPr lang="en-US"/>
              </a:defPPr>
              <a:lvl1pPr defTabSz="895350">
                <a:buClr>
                  <a:schemeClr val="tx2"/>
                </a:buClr>
                <a:defRPr>
                  <a:latin typeface="Arial" pitchFamily="34" charset="0"/>
                </a:defRPr>
              </a:lvl1pPr>
              <a:lvl2pPr marL="193675" lvl="1" indent="-192088" defTabSz="895350">
                <a:spcBef>
                  <a:spcPct val="100000"/>
                </a:spcBef>
                <a:buClr>
                  <a:schemeClr val="bg1"/>
                </a:buClr>
                <a:buSzPct val="125000"/>
                <a:buFont typeface="Arial" pitchFamily="34" charset="0"/>
                <a:buChar char="▪"/>
                <a:defRPr sz="1100">
                  <a:solidFill>
                    <a:schemeClr val="bg1"/>
                  </a:solidFill>
                  <a:latin typeface="+mn-lt"/>
                </a:defRPr>
              </a:lvl2pPr>
              <a:lvl3pPr marL="457200" lvl="2" indent="-261938" defTabSz="895350">
                <a:spcBef>
                  <a:spcPct val="50000"/>
                </a:spcBef>
                <a:buClr>
                  <a:schemeClr val="bg1"/>
                </a:buClr>
                <a:buSzPct val="120000"/>
                <a:buFont typeface="Arial" pitchFamily="34" charset="0"/>
                <a:buChar char="–"/>
                <a:defRPr sz="1100">
                  <a:solidFill>
                    <a:schemeClr val="bg1"/>
                  </a:solidFill>
                  <a:latin typeface="+mn-lt"/>
                </a:defRPr>
              </a:lvl3pPr>
              <a:lvl4pPr marL="614363" indent="-155575" defTabSz="895350">
                <a:buClr>
                  <a:schemeClr val="tx2"/>
                </a:buClr>
                <a:buSzPct val="120000"/>
                <a:buFont typeface="Arial" pitchFamily="34" charset="0"/>
                <a:buChar char="▫"/>
                <a:defRPr>
                  <a:latin typeface="Arial" pitchFamily="34" charset="0"/>
                </a:defRPr>
              </a:lvl4pPr>
              <a:lvl5pPr marL="746125" indent="-130175" defTabSz="895350">
                <a:buClr>
                  <a:schemeClr val="tx2"/>
                </a:buClr>
                <a:buSzPct val="89000"/>
                <a:buFont typeface="Arial" pitchFamily="34" charset="0"/>
                <a:buChar char="-"/>
                <a:defRPr>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a:latin typeface="Arial" pitchFamily="34" charset="0"/>
                </a:defRPr>
              </a:lvl9pPr>
            </a:lstStyle>
            <a:p>
              <a:pPr lvl="1">
                <a:spcBef>
                  <a:spcPts val="0"/>
                </a:spcBef>
                <a:spcAft>
                  <a:spcPts val="300"/>
                </a:spcAft>
              </a:pPr>
              <a:r>
                <a:rPr lang="zh-CN" dirty="0">
                  <a:ea typeface="楷体" panose="02010609060101010101" pitchFamily="49" charset="-122"/>
                  <a:cs typeface="SimSun"/>
                </a:rPr>
                <a:t>3</a:t>
              </a:r>
              <a:r>
                <a:rPr lang="zh-CN" altLang="en-US" dirty="0">
                  <a:ea typeface="楷体" panose="02010609060101010101" pitchFamily="49" charset="-122"/>
                  <a:cs typeface="SimSun"/>
                </a:rPr>
                <a:t>个</a:t>
              </a:r>
              <a:r>
                <a:rPr lang="zh-CN" dirty="0">
                  <a:ea typeface="楷体" panose="02010609060101010101" pitchFamily="49" charset="-122"/>
                  <a:cs typeface="SimSun"/>
                </a:rPr>
                <a:t>GPU服务器</a:t>
              </a:r>
            </a:p>
            <a:p>
              <a:pPr lvl="1">
                <a:spcBef>
                  <a:spcPts val="0"/>
                </a:spcBef>
                <a:spcAft>
                  <a:spcPts val="300"/>
                </a:spcAft>
              </a:pPr>
              <a:r>
                <a:rPr lang="zh-CN" dirty="0">
                  <a:ea typeface="楷体" panose="02010609060101010101" pitchFamily="49" charset="-122"/>
                  <a:cs typeface="SimSun"/>
                </a:rPr>
                <a:t>12个GPU</a:t>
              </a:r>
              <a:endParaRPr lang="zh-CN" dirty="0">
                <a:ea typeface="楷体" panose="02010609060101010101" pitchFamily="49" charset="-122"/>
              </a:endParaRPr>
            </a:p>
            <a:p>
              <a:pPr lvl="1">
                <a:spcBef>
                  <a:spcPts val="0"/>
                </a:spcBef>
                <a:spcAft>
                  <a:spcPts val="300"/>
                </a:spcAft>
              </a:pPr>
              <a:r>
                <a:rPr lang="zh-CN" dirty="0">
                  <a:ea typeface="楷体" panose="02010609060101010101" pitchFamily="49" charset="-122"/>
                  <a:cs typeface="SimSun"/>
                </a:rPr>
                <a:t>18,432个核心</a:t>
              </a:r>
            </a:p>
            <a:p>
              <a:pPr lvl="1">
                <a:spcBef>
                  <a:spcPts val="0"/>
                </a:spcBef>
                <a:spcAft>
                  <a:spcPts val="300"/>
                </a:spcAft>
              </a:pPr>
              <a:r>
                <a:rPr lang="zh-CN" b="1" dirty="0">
                  <a:solidFill>
                    <a:srgbClr val="00B050"/>
                  </a:solidFill>
                  <a:ea typeface="楷体" panose="02010609060101010101" pitchFamily="49" charset="-122"/>
                  <a:cs typeface="SimSun"/>
                </a:rPr>
                <a:t>4千瓦</a:t>
              </a:r>
            </a:p>
            <a:p>
              <a:pPr lvl="1">
                <a:spcBef>
                  <a:spcPts val="0"/>
                </a:spcBef>
                <a:spcAft>
                  <a:spcPts val="300"/>
                </a:spcAft>
              </a:pPr>
              <a:r>
                <a:rPr lang="zh-CN" b="1" dirty="0">
                  <a:solidFill>
                    <a:srgbClr val="00B050"/>
                  </a:solidFill>
                  <a:ea typeface="楷体" panose="02010609060101010101" pitchFamily="49" charset="-122"/>
                  <a:cs typeface="SimSun"/>
                </a:rPr>
                <a:t>33,000美元</a:t>
              </a:r>
            </a:p>
          </p:txBody>
        </p:sp>
        <p:sp>
          <p:nvSpPr>
            <p:cNvPr id="270" name="Freeform 269"/>
            <p:cNvSpPr>
              <a:spLocks/>
            </p:cNvSpPr>
            <p:nvPr/>
          </p:nvSpPr>
          <p:spPr bwMode="auto">
            <a:xfrm>
              <a:off x="5486428" y="5627898"/>
              <a:ext cx="144058" cy="309724"/>
            </a:xfrm>
            <a:custGeom>
              <a:avLst/>
              <a:gdLst>
                <a:gd name="T0" fmla="*/ 132 w 132"/>
                <a:gd name="T1" fmla="*/ 0 h 258"/>
                <a:gd name="T2" fmla="*/ 0 w 132"/>
                <a:gd name="T3" fmla="*/ 0 h 258"/>
                <a:gd name="T4" fmla="*/ 0 w 132"/>
                <a:gd name="T5" fmla="*/ 193 h 258"/>
                <a:gd name="T6" fmla="*/ 0 w 132"/>
                <a:gd name="T7" fmla="*/ 193 h 258"/>
                <a:gd name="T8" fmla="*/ 0 w 132"/>
                <a:gd name="T9" fmla="*/ 194 h 258"/>
                <a:gd name="T10" fmla="*/ 4 w 132"/>
                <a:gd name="T11" fmla="*/ 214 h 258"/>
                <a:gd name="T12" fmla="*/ 13 w 132"/>
                <a:gd name="T13" fmla="*/ 232 h 258"/>
                <a:gd name="T14" fmla="*/ 26 w 132"/>
                <a:gd name="T15" fmla="*/ 246 h 258"/>
                <a:gd name="T16" fmla="*/ 45 w 132"/>
                <a:gd name="T17" fmla="*/ 255 h 258"/>
                <a:gd name="T18" fmla="*/ 66 w 132"/>
                <a:gd name="T19" fmla="*/ 258 h 258"/>
                <a:gd name="T20" fmla="*/ 86 w 132"/>
                <a:gd name="T21" fmla="*/ 255 h 258"/>
                <a:gd name="T22" fmla="*/ 105 w 132"/>
                <a:gd name="T23" fmla="*/ 246 h 258"/>
                <a:gd name="T24" fmla="*/ 118 w 132"/>
                <a:gd name="T25" fmla="*/ 232 h 258"/>
                <a:gd name="T26" fmla="*/ 127 w 132"/>
                <a:gd name="T27" fmla="*/ 214 h 258"/>
                <a:gd name="T28" fmla="*/ 131 w 132"/>
                <a:gd name="T29" fmla="*/ 194 h 258"/>
                <a:gd name="T30" fmla="*/ 131 w 132"/>
                <a:gd name="T31" fmla="*/ 193 h 258"/>
                <a:gd name="T32" fmla="*/ 132 w 132"/>
                <a:gd name="T33" fmla="*/ 193 h 258"/>
                <a:gd name="T34" fmla="*/ 132 w 132"/>
                <a:gd name="T3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258">
                  <a:moveTo>
                    <a:pt x="132" y="0"/>
                  </a:moveTo>
                  <a:lnTo>
                    <a:pt x="0" y="0"/>
                  </a:lnTo>
                  <a:lnTo>
                    <a:pt x="0" y="193"/>
                  </a:lnTo>
                  <a:lnTo>
                    <a:pt x="0" y="193"/>
                  </a:lnTo>
                  <a:lnTo>
                    <a:pt x="0" y="194"/>
                  </a:lnTo>
                  <a:lnTo>
                    <a:pt x="4" y="214"/>
                  </a:lnTo>
                  <a:lnTo>
                    <a:pt x="13" y="232"/>
                  </a:lnTo>
                  <a:lnTo>
                    <a:pt x="26" y="246"/>
                  </a:lnTo>
                  <a:lnTo>
                    <a:pt x="45" y="255"/>
                  </a:lnTo>
                  <a:lnTo>
                    <a:pt x="66" y="258"/>
                  </a:lnTo>
                  <a:lnTo>
                    <a:pt x="86" y="255"/>
                  </a:lnTo>
                  <a:lnTo>
                    <a:pt x="105" y="246"/>
                  </a:lnTo>
                  <a:lnTo>
                    <a:pt x="118" y="232"/>
                  </a:lnTo>
                  <a:lnTo>
                    <a:pt x="127" y="214"/>
                  </a:lnTo>
                  <a:lnTo>
                    <a:pt x="131" y="194"/>
                  </a:lnTo>
                  <a:lnTo>
                    <a:pt x="131" y="193"/>
                  </a:lnTo>
                  <a:lnTo>
                    <a:pt x="132" y="193"/>
                  </a:lnTo>
                  <a:lnTo>
                    <a:pt x="132" y="0"/>
                  </a:lnTo>
                  <a:close/>
                </a:path>
              </a:pathLst>
            </a:custGeom>
            <a:solidFill>
              <a:schemeClr val="accent6">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srgbClr val="000000"/>
                </a:solidFill>
                <a:latin typeface="+mn-lt"/>
                <a:ea typeface="楷体" panose="02010609060101010101" pitchFamily="49" charset="-122"/>
              </a:endParaRPr>
            </a:p>
          </p:txBody>
        </p:sp>
        <p:sp>
          <p:nvSpPr>
            <p:cNvPr id="271" name="Freeform 270"/>
            <p:cNvSpPr>
              <a:spLocks/>
            </p:cNvSpPr>
            <p:nvPr/>
          </p:nvSpPr>
          <p:spPr bwMode="auto">
            <a:xfrm>
              <a:off x="4976769" y="5623097"/>
              <a:ext cx="1161194" cy="39617"/>
            </a:xfrm>
            <a:custGeom>
              <a:avLst/>
              <a:gdLst>
                <a:gd name="T0" fmla="*/ 1038 w 1064"/>
                <a:gd name="T1" fmla="*/ 33 h 33"/>
                <a:gd name="T2" fmla="*/ 1048 w 1064"/>
                <a:gd name="T3" fmla="*/ 31 h 33"/>
                <a:gd name="T4" fmla="*/ 1055 w 1064"/>
                <a:gd name="T5" fmla="*/ 26 h 33"/>
                <a:gd name="T6" fmla="*/ 1060 w 1064"/>
                <a:gd name="T7" fmla="*/ 20 h 33"/>
                <a:gd name="T8" fmla="*/ 1063 w 1064"/>
                <a:gd name="T9" fmla="*/ 13 h 33"/>
                <a:gd name="T10" fmla="*/ 1064 w 1064"/>
                <a:gd name="T11" fmla="*/ 7 h 33"/>
                <a:gd name="T12" fmla="*/ 1064 w 1064"/>
                <a:gd name="T13" fmla="*/ 2 h 33"/>
                <a:gd name="T14" fmla="*/ 1064 w 1064"/>
                <a:gd name="T15" fmla="*/ 0 h 33"/>
                <a:gd name="T16" fmla="*/ 0 w 1064"/>
                <a:gd name="T17" fmla="*/ 0 h 33"/>
                <a:gd name="T18" fmla="*/ 0 w 1064"/>
                <a:gd name="T19" fmla="*/ 2 h 33"/>
                <a:gd name="T20" fmla="*/ 1 w 1064"/>
                <a:gd name="T21" fmla="*/ 7 h 33"/>
                <a:gd name="T22" fmla="*/ 2 w 1064"/>
                <a:gd name="T23" fmla="*/ 13 h 33"/>
                <a:gd name="T24" fmla="*/ 6 w 1064"/>
                <a:gd name="T25" fmla="*/ 20 h 33"/>
                <a:gd name="T26" fmla="*/ 10 w 1064"/>
                <a:gd name="T27" fmla="*/ 26 h 33"/>
                <a:gd name="T28" fmla="*/ 17 w 1064"/>
                <a:gd name="T29" fmla="*/ 31 h 33"/>
                <a:gd name="T30" fmla="*/ 27 w 1064"/>
                <a:gd name="T31" fmla="*/ 33 h 33"/>
                <a:gd name="T32" fmla="*/ 1038 w 1064"/>
                <a:gd name="T3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4" h="33">
                  <a:moveTo>
                    <a:pt x="1038" y="33"/>
                  </a:moveTo>
                  <a:lnTo>
                    <a:pt x="1048" y="31"/>
                  </a:lnTo>
                  <a:lnTo>
                    <a:pt x="1055" y="26"/>
                  </a:lnTo>
                  <a:lnTo>
                    <a:pt x="1060" y="20"/>
                  </a:lnTo>
                  <a:lnTo>
                    <a:pt x="1063" y="13"/>
                  </a:lnTo>
                  <a:lnTo>
                    <a:pt x="1064" y="7"/>
                  </a:lnTo>
                  <a:lnTo>
                    <a:pt x="1064" y="2"/>
                  </a:lnTo>
                  <a:lnTo>
                    <a:pt x="1064" y="0"/>
                  </a:lnTo>
                  <a:lnTo>
                    <a:pt x="0" y="0"/>
                  </a:lnTo>
                  <a:lnTo>
                    <a:pt x="0" y="2"/>
                  </a:lnTo>
                  <a:lnTo>
                    <a:pt x="1" y="7"/>
                  </a:lnTo>
                  <a:lnTo>
                    <a:pt x="2" y="13"/>
                  </a:lnTo>
                  <a:lnTo>
                    <a:pt x="6" y="20"/>
                  </a:lnTo>
                  <a:lnTo>
                    <a:pt x="10" y="26"/>
                  </a:lnTo>
                  <a:lnTo>
                    <a:pt x="17" y="31"/>
                  </a:lnTo>
                  <a:lnTo>
                    <a:pt x="27" y="33"/>
                  </a:lnTo>
                  <a:lnTo>
                    <a:pt x="1038" y="33"/>
                  </a:lnTo>
                  <a:close/>
                </a:path>
              </a:pathLst>
            </a:custGeom>
            <a:solidFill>
              <a:schemeClr val="accent6">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srgbClr val="000000"/>
                </a:solidFill>
                <a:latin typeface="+mn-lt"/>
                <a:ea typeface="楷体" panose="02010609060101010101" pitchFamily="49" charset="-122"/>
              </a:endParaRPr>
            </a:p>
          </p:txBody>
        </p:sp>
        <p:sp>
          <p:nvSpPr>
            <p:cNvPr id="272" name="Freeform 271"/>
            <p:cNvSpPr>
              <a:spLocks/>
            </p:cNvSpPr>
            <p:nvPr/>
          </p:nvSpPr>
          <p:spPr bwMode="auto">
            <a:xfrm>
              <a:off x="5496251" y="5792364"/>
              <a:ext cx="124414" cy="135656"/>
            </a:xfrm>
            <a:custGeom>
              <a:avLst/>
              <a:gdLst>
                <a:gd name="T0" fmla="*/ 0 w 114"/>
                <a:gd name="T1" fmla="*/ 57 h 113"/>
                <a:gd name="T2" fmla="*/ 4 w 114"/>
                <a:gd name="T3" fmla="*/ 39 h 113"/>
                <a:gd name="T4" fmla="*/ 12 w 114"/>
                <a:gd name="T5" fmla="*/ 23 h 113"/>
                <a:gd name="T6" fmla="*/ 24 w 114"/>
                <a:gd name="T7" fmla="*/ 11 h 113"/>
                <a:gd name="T8" fmla="*/ 39 w 114"/>
                <a:gd name="T9" fmla="*/ 3 h 113"/>
                <a:gd name="T10" fmla="*/ 57 w 114"/>
                <a:gd name="T11" fmla="*/ 0 h 113"/>
                <a:gd name="T12" fmla="*/ 75 w 114"/>
                <a:gd name="T13" fmla="*/ 3 h 113"/>
                <a:gd name="T14" fmla="*/ 91 w 114"/>
                <a:gd name="T15" fmla="*/ 11 h 113"/>
                <a:gd name="T16" fmla="*/ 104 w 114"/>
                <a:gd name="T17" fmla="*/ 23 h 113"/>
                <a:gd name="T18" fmla="*/ 112 w 114"/>
                <a:gd name="T19" fmla="*/ 39 h 113"/>
                <a:gd name="T20" fmla="*/ 114 w 114"/>
                <a:gd name="T21" fmla="*/ 57 h 113"/>
                <a:gd name="T22" fmla="*/ 112 w 114"/>
                <a:gd name="T23" fmla="*/ 75 h 113"/>
                <a:gd name="T24" fmla="*/ 104 w 114"/>
                <a:gd name="T25" fmla="*/ 90 h 113"/>
                <a:gd name="T26" fmla="*/ 91 w 114"/>
                <a:gd name="T27" fmla="*/ 102 h 113"/>
                <a:gd name="T28" fmla="*/ 75 w 114"/>
                <a:gd name="T29" fmla="*/ 110 h 113"/>
                <a:gd name="T30" fmla="*/ 57 w 114"/>
                <a:gd name="T31" fmla="*/ 113 h 113"/>
                <a:gd name="T32" fmla="*/ 39 w 114"/>
                <a:gd name="T33" fmla="*/ 110 h 113"/>
                <a:gd name="T34" fmla="*/ 24 w 114"/>
                <a:gd name="T35" fmla="*/ 102 h 113"/>
                <a:gd name="T36" fmla="*/ 12 w 114"/>
                <a:gd name="T37" fmla="*/ 90 h 113"/>
                <a:gd name="T38" fmla="*/ 4 w 114"/>
                <a:gd name="T39" fmla="*/ 75 h 113"/>
                <a:gd name="T40" fmla="*/ 0 w 114"/>
                <a:gd name="T41" fmla="*/ 5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4" h="113">
                  <a:moveTo>
                    <a:pt x="0" y="57"/>
                  </a:moveTo>
                  <a:lnTo>
                    <a:pt x="4" y="39"/>
                  </a:lnTo>
                  <a:lnTo>
                    <a:pt x="12" y="23"/>
                  </a:lnTo>
                  <a:lnTo>
                    <a:pt x="24" y="11"/>
                  </a:lnTo>
                  <a:lnTo>
                    <a:pt x="39" y="3"/>
                  </a:lnTo>
                  <a:lnTo>
                    <a:pt x="57" y="0"/>
                  </a:lnTo>
                  <a:lnTo>
                    <a:pt x="75" y="3"/>
                  </a:lnTo>
                  <a:lnTo>
                    <a:pt x="91" y="11"/>
                  </a:lnTo>
                  <a:lnTo>
                    <a:pt x="104" y="23"/>
                  </a:lnTo>
                  <a:lnTo>
                    <a:pt x="112" y="39"/>
                  </a:lnTo>
                  <a:lnTo>
                    <a:pt x="114" y="57"/>
                  </a:lnTo>
                  <a:lnTo>
                    <a:pt x="112" y="75"/>
                  </a:lnTo>
                  <a:lnTo>
                    <a:pt x="104" y="90"/>
                  </a:lnTo>
                  <a:lnTo>
                    <a:pt x="91" y="102"/>
                  </a:lnTo>
                  <a:lnTo>
                    <a:pt x="75" y="110"/>
                  </a:lnTo>
                  <a:lnTo>
                    <a:pt x="57" y="113"/>
                  </a:lnTo>
                  <a:lnTo>
                    <a:pt x="39" y="110"/>
                  </a:lnTo>
                  <a:lnTo>
                    <a:pt x="24" y="102"/>
                  </a:lnTo>
                  <a:lnTo>
                    <a:pt x="12" y="90"/>
                  </a:lnTo>
                  <a:lnTo>
                    <a:pt x="4" y="75"/>
                  </a:lnTo>
                  <a:lnTo>
                    <a:pt x="0" y="57"/>
                  </a:lnTo>
                  <a:close/>
                </a:path>
              </a:pathLst>
            </a:custGeom>
            <a:solidFill>
              <a:schemeClr val="accent6">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srgbClr val="000000"/>
                </a:solidFill>
                <a:latin typeface="+mn-lt"/>
                <a:ea typeface="楷体" panose="02010609060101010101" pitchFamily="49" charset="-122"/>
              </a:endParaRPr>
            </a:p>
          </p:txBody>
        </p:sp>
        <p:sp>
          <p:nvSpPr>
            <p:cNvPr id="274" name="Freeform 273"/>
            <p:cNvSpPr>
              <a:spLocks/>
            </p:cNvSpPr>
            <p:nvPr/>
          </p:nvSpPr>
          <p:spPr bwMode="auto">
            <a:xfrm>
              <a:off x="5542088" y="5841584"/>
              <a:ext cx="32741" cy="34815"/>
            </a:xfrm>
            <a:custGeom>
              <a:avLst/>
              <a:gdLst>
                <a:gd name="T0" fmla="*/ 0 w 30"/>
                <a:gd name="T1" fmla="*/ 15 h 29"/>
                <a:gd name="T2" fmla="*/ 0 w 30"/>
                <a:gd name="T3" fmla="*/ 9 h 29"/>
                <a:gd name="T4" fmla="*/ 3 w 30"/>
                <a:gd name="T5" fmla="*/ 5 h 29"/>
                <a:gd name="T6" fmla="*/ 6 w 30"/>
                <a:gd name="T7" fmla="*/ 2 h 29"/>
                <a:gd name="T8" fmla="*/ 11 w 30"/>
                <a:gd name="T9" fmla="*/ 0 h 29"/>
                <a:gd name="T10" fmla="*/ 15 w 30"/>
                <a:gd name="T11" fmla="*/ 0 h 29"/>
                <a:gd name="T12" fmla="*/ 20 w 30"/>
                <a:gd name="T13" fmla="*/ 0 h 29"/>
                <a:gd name="T14" fmla="*/ 23 w 30"/>
                <a:gd name="T15" fmla="*/ 2 h 29"/>
                <a:gd name="T16" fmla="*/ 26 w 30"/>
                <a:gd name="T17" fmla="*/ 5 h 29"/>
                <a:gd name="T18" fmla="*/ 29 w 30"/>
                <a:gd name="T19" fmla="*/ 9 h 29"/>
                <a:gd name="T20" fmla="*/ 30 w 30"/>
                <a:gd name="T21" fmla="*/ 15 h 29"/>
                <a:gd name="T22" fmla="*/ 29 w 30"/>
                <a:gd name="T23" fmla="*/ 19 h 29"/>
                <a:gd name="T24" fmla="*/ 26 w 30"/>
                <a:gd name="T25" fmla="*/ 23 h 29"/>
                <a:gd name="T26" fmla="*/ 23 w 30"/>
                <a:gd name="T27" fmla="*/ 26 h 29"/>
                <a:gd name="T28" fmla="*/ 20 w 30"/>
                <a:gd name="T29" fmla="*/ 28 h 29"/>
                <a:gd name="T30" fmla="*/ 15 w 30"/>
                <a:gd name="T31" fmla="*/ 29 h 29"/>
                <a:gd name="T32" fmla="*/ 11 w 30"/>
                <a:gd name="T33" fmla="*/ 28 h 29"/>
                <a:gd name="T34" fmla="*/ 6 w 30"/>
                <a:gd name="T35" fmla="*/ 26 h 29"/>
                <a:gd name="T36" fmla="*/ 3 w 30"/>
                <a:gd name="T37" fmla="*/ 23 h 29"/>
                <a:gd name="T38" fmla="*/ 0 w 30"/>
                <a:gd name="T39" fmla="*/ 19 h 29"/>
                <a:gd name="T40" fmla="*/ 0 w 30"/>
                <a:gd name="T41"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29">
                  <a:moveTo>
                    <a:pt x="0" y="15"/>
                  </a:moveTo>
                  <a:lnTo>
                    <a:pt x="0" y="9"/>
                  </a:lnTo>
                  <a:lnTo>
                    <a:pt x="3" y="5"/>
                  </a:lnTo>
                  <a:lnTo>
                    <a:pt x="6" y="2"/>
                  </a:lnTo>
                  <a:lnTo>
                    <a:pt x="11" y="0"/>
                  </a:lnTo>
                  <a:lnTo>
                    <a:pt x="15" y="0"/>
                  </a:lnTo>
                  <a:lnTo>
                    <a:pt x="20" y="0"/>
                  </a:lnTo>
                  <a:lnTo>
                    <a:pt x="23" y="2"/>
                  </a:lnTo>
                  <a:lnTo>
                    <a:pt x="26" y="5"/>
                  </a:lnTo>
                  <a:lnTo>
                    <a:pt x="29" y="9"/>
                  </a:lnTo>
                  <a:lnTo>
                    <a:pt x="30" y="15"/>
                  </a:lnTo>
                  <a:lnTo>
                    <a:pt x="29" y="19"/>
                  </a:lnTo>
                  <a:lnTo>
                    <a:pt x="26" y="23"/>
                  </a:lnTo>
                  <a:lnTo>
                    <a:pt x="23" y="26"/>
                  </a:lnTo>
                  <a:lnTo>
                    <a:pt x="20" y="28"/>
                  </a:lnTo>
                  <a:lnTo>
                    <a:pt x="15" y="29"/>
                  </a:lnTo>
                  <a:lnTo>
                    <a:pt x="11" y="28"/>
                  </a:lnTo>
                  <a:lnTo>
                    <a:pt x="6" y="26"/>
                  </a:lnTo>
                  <a:lnTo>
                    <a:pt x="3" y="23"/>
                  </a:lnTo>
                  <a:lnTo>
                    <a:pt x="0" y="19"/>
                  </a:lnTo>
                  <a:lnTo>
                    <a:pt x="0" y="15"/>
                  </a:lnTo>
                  <a:close/>
                </a:path>
              </a:pathLst>
            </a:custGeom>
            <a:solidFill>
              <a:schemeClr val="accent6">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srgbClr val="000000"/>
                </a:solidFill>
                <a:latin typeface="+mn-lt"/>
                <a:ea typeface="楷体" panose="02010609060101010101" pitchFamily="49" charset="-122"/>
              </a:endParaRPr>
            </a:p>
          </p:txBody>
        </p:sp>
        <p:sp>
          <p:nvSpPr>
            <p:cNvPr id="250" name="Freeform 249"/>
            <p:cNvSpPr>
              <a:spLocks/>
            </p:cNvSpPr>
            <p:nvPr/>
          </p:nvSpPr>
          <p:spPr bwMode="auto">
            <a:xfrm>
              <a:off x="8084973" y="5110029"/>
              <a:ext cx="141874" cy="309724"/>
            </a:xfrm>
            <a:custGeom>
              <a:avLst/>
              <a:gdLst>
                <a:gd name="T0" fmla="*/ 0 w 130"/>
                <a:gd name="T1" fmla="*/ 0 h 258"/>
                <a:gd name="T2" fmla="*/ 130 w 130"/>
                <a:gd name="T3" fmla="*/ 0 h 258"/>
                <a:gd name="T4" fmla="*/ 130 w 130"/>
                <a:gd name="T5" fmla="*/ 193 h 258"/>
                <a:gd name="T6" fmla="*/ 130 w 130"/>
                <a:gd name="T7" fmla="*/ 193 h 258"/>
                <a:gd name="T8" fmla="*/ 130 w 130"/>
                <a:gd name="T9" fmla="*/ 194 h 258"/>
                <a:gd name="T10" fmla="*/ 127 w 130"/>
                <a:gd name="T11" fmla="*/ 214 h 258"/>
                <a:gd name="T12" fmla="*/ 118 w 130"/>
                <a:gd name="T13" fmla="*/ 232 h 258"/>
                <a:gd name="T14" fmla="*/ 104 w 130"/>
                <a:gd name="T15" fmla="*/ 246 h 258"/>
                <a:gd name="T16" fmla="*/ 86 w 130"/>
                <a:gd name="T17" fmla="*/ 255 h 258"/>
                <a:gd name="T18" fmla="*/ 65 w 130"/>
                <a:gd name="T19" fmla="*/ 258 h 258"/>
                <a:gd name="T20" fmla="*/ 44 w 130"/>
                <a:gd name="T21" fmla="*/ 255 h 258"/>
                <a:gd name="T22" fmla="*/ 26 w 130"/>
                <a:gd name="T23" fmla="*/ 246 h 258"/>
                <a:gd name="T24" fmla="*/ 12 w 130"/>
                <a:gd name="T25" fmla="*/ 232 h 258"/>
                <a:gd name="T26" fmla="*/ 3 w 130"/>
                <a:gd name="T27" fmla="*/ 214 h 258"/>
                <a:gd name="T28" fmla="*/ 0 w 130"/>
                <a:gd name="T29" fmla="*/ 194 h 258"/>
                <a:gd name="T30" fmla="*/ 0 w 130"/>
                <a:gd name="T31" fmla="*/ 193 h 258"/>
                <a:gd name="T32" fmla="*/ 0 w 130"/>
                <a:gd name="T33" fmla="*/ 193 h 258"/>
                <a:gd name="T34" fmla="*/ 0 w 130"/>
                <a:gd name="T3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 h="258">
                  <a:moveTo>
                    <a:pt x="0" y="0"/>
                  </a:moveTo>
                  <a:lnTo>
                    <a:pt x="130" y="0"/>
                  </a:lnTo>
                  <a:lnTo>
                    <a:pt x="130" y="193"/>
                  </a:lnTo>
                  <a:lnTo>
                    <a:pt x="130" y="193"/>
                  </a:lnTo>
                  <a:lnTo>
                    <a:pt x="130" y="194"/>
                  </a:lnTo>
                  <a:lnTo>
                    <a:pt x="127" y="214"/>
                  </a:lnTo>
                  <a:lnTo>
                    <a:pt x="118" y="232"/>
                  </a:lnTo>
                  <a:lnTo>
                    <a:pt x="104" y="246"/>
                  </a:lnTo>
                  <a:lnTo>
                    <a:pt x="86" y="255"/>
                  </a:lnTo>
                  <a:lnTo>
                    <a:pt x="65" y="258"/>
                  </a:lnTo>
                  <a:lnTo>
                    <a:pt x="44" y="255"/>
                  </a:lnTo>
                  <a:lnTo>
                    <a:pt x="26" y="246"/>
                  </a:lnTo>
                  <a:lnTo>
                    <a:pt x="12" y="232"/>
                  </a:lnTo>
                  <a:lnTo>
                    <a:pt x="3" y="214"/>
                  </a:lnTo>
                  <a:lnTo>
                    <a:pt x="0" y="194"/>
                  </a:lnTo>
                  <a:lnTo>
                    <a:pt x="0" y="193"/>
                  </a:lnTo>
                  <a:lnTo>
                    <a:pt x="0" y="193"/>
                  </a:lnTo>
                  <a:lnTo>
                    <a:pt x="0" y="0"/>
                  </a:lnTo>
                  <a:close/>
                </a:path>
              </a:pathLst>
            </a:custGeom>
            <a:solidFill>
              <a:schemeClr val="accent6">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srgbClr val="000000"/>
                </a:solidFill>
                <a:latin typeface="+mn-lt"/>
                <a:ea typeface="楷体" panose="02010609060101010101" pitchFamily="49" charset="-122"/>
              </a:endParaRPr>
            </a:p>
          </p:txBody>
        </p:sp>
        <p:sp>
          <p:nvSpPr>
            <p:cNvPr id="251" name="Freeform 250"/>
            <p:cNvSpPr>
              <a:spLocks/>
            </p:cNvSpPr>
            <p:nvPr/>
          </p:nvSpPr>
          <p:spPr bwMode="auto">
            <a:xfrm>
              <a:off x="7575315" y="5105226"/>
              <a:ext cx="1162285" cy="39617"/>
            </a:xfrm>
            <a:custGeom>
              <a:avLst/>
              <a:gdLst>
                <a:gd name="T0" fmla="*/ 26 w 1065"/>
                <a:gd name="T1" fmla="*/ 33 h 33"/>
                <a:gd name="T2" fmla="*/ 16 w 1065"/>
                <a:gd name="T3" fmla="*/ 31 h 33"/>
                <a:gd name="T4" fmla="*/ 9 w 1065"/>
                <a:gd name="T5" fmla="*/ 26 h 33"/>
                <a:gd name="T6" fmla="*/ 5 w 1065"/>
                <a:gd name="T7" fmla="*/ 20 h 33"/>
                <a:gd name="T8" fmla="*/ 3 w 1065"/>
                <a:gd name="T9" fmla="*/ 13 h 33"/>
                <a:gd name="T10" fmla="*/ 0 w 1065"/>
                <a:gd name="T11" fmla="*/ 7 h 33"/>
                <a:gd name="T12" fmla="*/ 0 w 1065"/>
                <a:gd name="T13" fmla="*/ 2 h 33"/>
                <a:gd name="T14" fmla="*/ 0 w 1065"/>
                <a:gd name="T15" fmla="*/ 0 h 33"/>
                <a:gd name="T16" fmla="*/ 1065 w 1065"/>
                <a:gd name="T17" fmla="*/ 0 h 33"/>
                <a:gd name="T18" fmla="*/ 1065 w 1065"/>
                <a:gd name="T19" fmla="*/ 2 h 33"/>
                <a:gd name="T20" fmla="*/ 1063 w 1065"/>
                <a:gd name="T21" fmla="*/ 7 h 33"/>
                <a:gd name="T22" fmla="*/ 1062 w 1065"/>
                <a:gd name="T23" fmla="*/ 13 h 33"/>
                <a:gd name="T24" fmla="*/ 1060 w 1065"/>
                <a:gd name="T25" fmla="*/ 20 h 33"/>
                <a:gd name="T26" fmla="*/ 1054 w 1065"/>
                <a:gd name="T27" fmla="*/ 26 h 33"/>
                <a:gd name="T28" fmla="*/ 1048 w 1065"/>
                <a:gd name="T29" fmla="*/ 31 h 33"/>
                <a:gd name="T30" fmla="*/ 1037 w 1065"/>
                <a:gd name="T31" fmla="*/ 33 h 33"/>
                <a:gd name="T32" fmla="*/ 26 w 1065"/>
                <a:gd name="T3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5" h="33">
                  <a:moveTo>
                    <a:pt x="26" y="33"/>
                  </a:moveTo>
                  <a:lnTo>
                    <a:pt x="16" y="31"/>
                  </a:lnTo>
                  <a:lnTo>
                    <a:pt x="9" y="26"/>
                  </a:lnTo>
                  <a:lnTo>
                    <a:pt x="5" y="20"/>
                  </a:lnTo>
                  <a:lnTo>
                    <a:pt x="3" y="13"/>
                  </a:lnTo>
                  <a:lnTo>
                    <a:pt x="0" y="7"/>
                  </a:lnTo>
                  <a:lnTo>
                    <a:pt x="0" y="2"/>
                  </a:lnTo>
                  <a:lnTo>
                    <a:pt x="0" y="0"/>
                  </a:lnTo>
                  <a:lnTo>
                    <a:pt x="1065" y="0"/>
                  </a:lnTo>
                  <a:lnTo>
                    <a:pt x="1065" y="2"/>
                  </a:lnTo>
                  <a:lnTo>
                    <a:pt x="1063" y="7"/>
                  </a:lnTo>
                  <a:lnTo>
                    <a:pt x="1062" y="13"/>
                  </a:lnTo>
                  <a:lnTo>
                    <a:pt x="1060" y="20"/>
                  </a:lnTo>
                  <a:lnTo>
                    <a:pt x="1054" y="26"/>
                  </a:lnTo>
                  <a:lnTo>
                    <a:pt x="1048" y="31"/>
                  </a:lnTo>
                  <a:lnTo>
                    <a:pt x="1037" y="33"/>
                  </a:lnTo>
                  <a:lnTo>
                    <a:pt x="26" y="33"/>
                  </a:lnTo>
                  <a:close/>
                </a:path>
              </a:pathLst>
            </a:custGeom>
            <a:solidFill>
              <a:schemeClr val="accent6">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srgbClr val="000000"/>
                </a:solidFill>
                <a:latin typeface="+mn-lt"/>
                <a:ea typeface="楷体" panose="02010609060101010101" pitchFamily="49" charset="-122"/>
              </a:endParaRPr>
            </a:p>
          </p:txBody>
        </p:sp>
        <p:sp>
          <p:nvSpPr>
            <p:cNvPr id="252" name="Freeform 251"/>
            <p:cNvSpPr>
              <a:spLocks/>
            </p:cNvSpPr>
            <p:nvPr/>
          </p:nvSpPr>
          <p:spPr bwMode="auto">
            <a:xfrm>
              <a:off x="8091443" y="5292303"/>
              <a:ext cx="123322" cy="135656"/>
            </a:xfrm>
            <a:custGeom>
              <a:avLst/>
              <a:gdLst>
                <a:gd name="T0" fmla="*/ 113 w 113"/>
                <a:gd name="T1" fmla="*/ 57 h 113"/>
                <a:gd name="T2" fmla="*/ 110 w 113"/>
                <a:gd name="T3" fmla="*/ 39 h 113"/>
                <a:gd name="T4" fmla="*/ 102 w 113"/>
                <a:gd name="T5" fmla="*/ 23 h 113"/>
                <a:gd name="T6" fmla="*/ 89 w 113"/>
                <a:gd name="T7" fmla="*/ 11 h 113"/>
                <a:gd name="T8" fmla="*/ 75 w 113"/>
                <a:gd name="T9" fmla="*/ 3 h 113"/>
                <a:gd name="T10" fmla="*/ 56 w 113"/>
                <a:gd name="T11" fmla="*/ 0 h 113"/>
                <a:gd name="T12" fmla="*/ 38 w 113"/>
                <a:gd name="T13" fmla="*/ 3 h 113"/>
                <a:gd name="T14" fmla="*/ 22 w 113"/>
                <a:gd name="T15" fmla="*/ 11 h 113"/>
                <a:gd name="T16" fmla="*/ 11 w 113"/>
                <a:gd name="T17" fmla="*/ 23 h 113"/>
                <a:gd name="T18" fmla="*/ 3 w 113"/>
                <a:gd name="T19" fmla="*/ 39 h 113"/>
                <a:gd name="T20" fmla="*/ 0 w 113"/>
                <a:gd name="T21" fmla="*/ 57 h 113"/>
                <a:gd name="T22" fmla="*/ 3 w 113"/>
                <a:gd name="T23" fmla="*/ 75 h 113"/>
                <a:gd name="T24" fmla="*/ 11 w 113"/>
                <a:gd name="T25" fmla="*/ 90 h 113"/>
                <a:gd name="T26" fmla="*/ 22 w 113"/>
                <a:gd name="T27" fmla="*/ 102 h 113"/>
                <a:gd name="T28" fmla="*/ 38 w 113"/>
                <a:gd name="T29" fmla="*/ 110 h 113"/>
                <a:gd name="T30" fmla="*/ 56 w 113"/>
                <a:gd name="T31" fmla="*/ 113 h 113"/>
                <a:gd name="T32" fmla="*/ 75 w 113"/>
                <a:gd name="T33" fmla="*/ 110 h 113"/>
                <a:gd name="T34" fmla="*/ 89 w 113"/>
                <a:gd name="T35" fmla="*/ 102 h 113"/>
                <a:gd name="T36" fmla="*/ 102 w 113"/>
                <a:gd name="T37" fmla="*/ 90 h 113"/>
                <a:gd name="T38" fmla="*/ 110 w 113"/>
                <a:gd name="T39" fmla="*/ 75 h 113"/>
                <a:gd name="T40" fmla="*/ 113 w 113"/>
                <a:gd name="T41" fmla="*/ 5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3" h="113">
                  <a:moveTo>
                    <a:pt x="113" y="57"/>
                  </a:moveTo>
                  <a:lnTo>
                    <a:pt x="110" y="39"/>
                  </a:lnTo>
                  <a:lnTo>
                    <a:pt x="102" y="23"/>
                  </a:lnTo>
                  <a:lnTo>
                    <a:pt x="89" y="11"/>
                  </a:lnTo>
                  <a:lnTo>
                    <a:pt x="75" y="3"/>
                  </a:lnTo>
                  <a:lnTo>
                    <a:pt x="56" y="0"/>
                  </a:lnTo>
                  <a:lnTo>
                    <a:pt x="38" y="3"/>
                  </a:lnTo>
                  <a:lnTo>
                    <a:pt x="22" y="11"/>
                  </a:lnTo>
                  <a:lnTo>
                    <a:pt x="11" y="23"/>
                  </a:lnTo>
                  <a:lnTo>
                    <a:pt x="3" y="39"/>
                  </a:lnTo>
                  <a:lnTo>
                    <a:pt x="0" y="57"/>
                  </a:lnTo>
                  <a:lnTo>
                    <a:pt x="3" y="75"/>
                  </a:lnTo>
                  <a:lnTo>
                    <a:pt x="11" y="90"/>
                  </a:lnTo>
                  <a:lnTo>
                    <a:pt x="22" y="102"/>
                  </a:lnTo>
                  <a:lnTo>
                    <a:pt x="38" y="110"/>
                  </a:lnTo>
                  <a:lnTo>
                    <a:pt x="56" y="113"/>
                  </a:lnTo>
                  <a:lnTo>
                    <a:pt x="75" y="110"/>
                  </a:lnTo>
                  <a:lnTo>
                    <a:pt x="89" y="102"/>
                  </a:lnTo>
                  <a:lnTo>
                    <a:pt x="102" y="90"/>
                  </a:lnTo>
                  <a:lnTo>
                    <a:pt x="110" y="75"/>
                  </a:lnTo>
                  <a:lnTo>
                    <a:pt x="113" y="57"/>
                  </a:lnTo>
                  <a:close/>
                </a:path>
              </a:pathLst>
            </a:custGeom>
            <a:solidFill>
              <a:schemeClr val="accent6">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srgbClr val="000000"/>
                </a:solidFill>
                <a:latin typeface="+mn-lt"/>
                <a:ea typeface="楷体" panose="02010609060101010101" pitchFamily="49" charset="-122"/>
              </a:endParaRPr>
            </a:p>
          </p:txBody>
        </p:sp>
        <p:sp>
          <p:nvSpPr>
            <p:cNvPr id="273" name="Freeform 272"/>
            <p:cNvSpPr>
              <a:spLocks/>
            </p:cNvSpPr>
            <p:nvPr/>
          </p:nvSpPr>
          <p:spPr bwMode="auto">
            <a:xfrm rot="20830622">
              <a:off x="5517379" y="5684005"/>
              <a:ext cx="1299796" cy="208884"/>
            </a:xfrm>
            <a:custGeom>
              <a:avLst/>
              <a:gdLst>
                <a:gd name="T0" fmla="*/ 1191 w 1191"/>
                <a:gd name="T1" fmla="*/ 174 h 174"/>
                <a:gd name="T2" fmla="*/ 1191 w 1191"/>
                <a:gd name="T3" fmla="*/ 0 h 174"/>
                <a:gd name="T4" fmla="*/ 1187 w 1191"/>
                <a:gd name="T5" fmla="*/ 0 h 174"/>
                <a:gd name="T6" fmla="*/ 1174 w 1191"/>
                <a:gd name="T7" fmla="*/ 0 h 174"/>
                <a:gd name="T8" fmla="*/ 1154 w 1191"/>
                <a:gd name="T9" fmla="*/ 0 h 174"/>
                <a:gd name="T10" fmla="*/ 1127 w 1191"/>
                <a:gd name="T11" fmla="*/ 0 h 174"/>
                <a:gd name="T12" fmla="*/ 1093 w 1191"/>
                <a:gd name="T13" fmla="*/ 0 h 174"/>
                <a:gd name="T14" fmla="*/ 1053 w 1191"/>
                <a:gd name="T15" fmla="*/ 0 h 174"/>
                <a:gd name="T16" fmla="*/ 1009 w 1191"/>
                <a:gd name="T17" fmla="*/ 0 h 174"/>
                <a:gd name="T18" fmla="*/ 960 w 1191"/>
                <a:gd name="T19" fmla="*/ 0 h 174"/>
                <a:gd name="T20" fmla="*/ 907 w 1191"/>
                <a:gd name="T21" fmla="*/ 0 h 174"/>
                <a:gd name="T22" fmla="*/ 851 w 1191"/>
                <a:gd name="T23" fmla="*/ 0 h 174"/>
                <a:gd name="T24" fmla="*/ 792 w 1191"/>
                <a:gd name="T25" fmla="*/ 0 h 174"/>
                <a:gd name="T26" fmla="*/ 732 w 1191"/>
                <a:gd name="T27" fmla="*/ 0 h 174"/>
                <a:gd name="T28" fmla="*/ 671 w 1191"/>
                <a:gd name="T29" fmla="*/ 0 h 174"/>
                <a:gd name="T30" fmla="*/ 608 w 1191"/>
                <a:gd name="T31" fmla="*/ 0 h 174"/>
                <a:gd name="T32" fmla="*/ 546 w 1191"/>
                <a:gd name="T33" fmla="*/ 0 h 174"/>
                <a:gd name="T34" fmla="*/ 483 w 1191"/>
                <a:gd name="T35" fmla="*/ 0 h 174"/>
                <a:gd name="T36" fmla="*/ 423 w 1191"/>
                <a:gd name="T37" fmla="*/ 0 h 174"/>
                <a:gd name="T38" fmla="*/ 364 w 1191"/>
                <a:gd name="T39" fmla="*/ 0 h 174"/>
                <a:gd name="T40" fmla="*/ 309 w 1191"/>
                <a:gd name="T41" fmla="*/ 0 h 174"/>
                <a:gd name="T42" fmla="*/ 255 w 1191"/>
                <a:gd name="T43" fmla="*/ 0 h 174"/>
                <a:gd name="T44" fmla="*/ 207 w 1191"/>
                <a:gd name="T45" fmla="*/ 0 h 174"/>
                <a:gd name="T46" fmla="*/ 162 w 1191"/>
                <a:gd name="T47" fmla="*/ 0 h 174"/>
                <a:gd name="T48" fmla="*/ 123 w 1191"/>
                <a:gd name="T49" fmla="*/ 0 h 174"/>
                <a:gd name="T50" fmla="*/ 89 w 1191"/>
                <a:gd name="T51" fmla="*/ 0 h 174"/>
                <a:gd name="T52" fmla="*/ 61 w 1191"/>
                <a:gd name="T53" fmla="*/ 0 h 174"/>
                <a:gd name="T54" fmla="*/ 41 w 1191"/>
                <a:gd name="T55" fmla="*/ 0 h 174"/>
                <a:gd name="T56" fmla="*/ 28 w 1191"/>
                <a:gd name="T57" fmla="*/ 0 h 174"/>
                <a:gd name="T58" fmla="*/ 24 w 1191"/>
                <a:gd name="T59" fmla="*/ 0 h 174"/>
                <a:gd name="T60" fmla="*/ 15 w 1191"/>
                <a:gd name="T61" fmla="*/ 1 h 174"/>
                <a:gd name="T62" fmla="*/ 7 w 1191"/>
                <a:gd name="T63" fmla="*/ 6 h 174"/>
                <a:gd name="T64" fmla="*/ 1 w 1191"/>
                <a:gd name="T65" fmla="*/ 14 h 174"/>
                <a:gd name="T66" fmla="*/ 0 w 1191"/>
                <a:gd name="T67" fmla="*/ 25 h 174"/>
                <a:gd name="T68" fmla="*/ 2 w 1191"/>
                <a:gd name="T69" fmla="*/ 36 h 174"/>
                <a:gd name="T70" fmla="*/ 10 w 1191"/>
                <a:gd name="T71" fmla="*/ 45 h 174"/>
                <a:gd name="T72" fmla="*/ 22 w 1191"/>
                <a:gd name="T73" fmla="*/ 48 h 174"/>
                <a:gd name="T74" fmla="*/ 22 w 1191"/>
                <a:gd name="T75" fmla="*/ 48 h 174"/>
                <a:gd name="T76" fmla="*/ 1191 w 1191"/>
                <a:gd name="T77"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91" h="174">
                  <a:moveTo>
                    <a:pt x="1191" y="174"/>
                  </a:moveTo>
                  <a:lnTo>
                    <a:pt x="1191" y="0"/>
                  </a:lnTo>
                  <a:lnTo>
                    <a:pt x="1187" y="0"/>
                  </a:lnTo>
                  <a:lnTo>
                    <a:pt x="1174" y="0"/>
                  </a:lnTo>
                  <a:lnTo>
                    <a:pt x="1154" y="0"/>
                  </a:lnTo>
                  <a:lnTo>
                    <a:pt x="1127" y="0"/>
                  </a:lnTo>
                  <a:lnTo>
                    <a:pt x="1093" y="0"/>
                  </a:lnTo>
                  <a:lnTo>
                    <a:pt x="1053" y="0"/>
                  </a:lnTo>
                  <a:lnTo>
                    <a:pt x="1009" y="0"/>
                  </a:lnTo>
                  <a:lnTo>
                    <a:pt x="960" y="0"/>
                  </a:lnTo>
                  <a:lnTo>
                    <a:pt x="907" y="0"/>
                  </a:lnTo>
                  <a:lnTo>
                    <a:pt x="851" y="0"/>
                  </a:lnTo>
                  <a:lnTo>
                    <a:pt x="792" y="0"/>
                  </a:lnTo>
                  <a:lnTo>
                    <a:pt x="732" y="0"/>
                  </a:lnTo>
                  <a:lnTo>
                    <a:pt x="671" y="0"/>
                  </a:lnTo>
                  <a:lnTo>
                    <a:pt x="608" y="0"/>
                  </a:lnTo>
                  <a:lnTo>
                    <a:pt x="546" y="0"/>
                  </a:lnTo>
                  <a:lnTo>
                    <a:pt x="483" y="0"/>
                  </a:lnTo>
                  <a:lnTo>
                    <a:pt x="423" y="0"/>
                  </a:lnTo>
                  <a:lnTo>
                    <a:pt x="364" y="0"/>
                  </a:lnTo>
                  <a:lnTo>
                    <a:pt x="309" y="0"/>
                  </a:lnTo>
                  <a:lnTo>
                    <a:pt x="255" y="0"/>
                  </a:lnTo>
                  <a:lnTo>
                    <a:pt x="207" y="0"/>
                  </a:lnTo>
                  <a:lnTo>
                    <a:pt x="162" y="0"/>
                  </a:lnTo>
                  <a:lnTo>
                    <a:pt x="123" y="0"/>
                  </a:lnTo>
                  <a:lnTo>
                    <a:pt x="89" y="0"/>
                  </a:lnTo>
                  <a:lnTo>
                    <a:pt x="61" y="0"/>
                  </a:lnTo>
                  <a:lnTo>
                    <a:pt x="41" y="0"/>
                  </a:lnTo>
                  <a:lnTo>
                    <a:pt x="28" y="0"/>
                  </a:lnTo>
                  <a:lnTo>
                    <a:pt x="24" y="0"/>
                  </a:lnTo>
                  <a:lnTo>
                    <a:pt x="15" y="1"/>
                  </a:lnTo>
                  <a:lnTo>
                    <a:pt x="7" y="6"/>
                  </a:lnTo>
                  <a:lnTo>
                    <a:pt x="1" y="14"/>
                  </a:lnTo>
                  <a:lnTo>
                    <a:pt x="0" y="25"/>
                  </a:lnTo>
                  <a:lnTo>
                    <a:pt x="2" y="36"/>
                  </a:lnTo>
                  <a:lnTo>
                    <a:pt x="10" y="45"/>
                  </a:lnTo>
                  <a:lnTo>
                    <a:pt x="22" y="48"/>
                  </a:lnTo>
                  <a:lnTo>
                    <a:pt x="22" y="48"/>
                  </a:lnTo>
                  <a:lnTo>
                    <a:pt x="1191" y="174"/>
                  </a:lnTo>
                  <a:close/>
                </a:path>
              </a:pathLst>
            </a:custGeom>
            <a:solidFill>
              <a:schemeClr val="accent6">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srgbClr val="000000"/>
                </a:solidFill>
                <a:latin typeface="+mn-lt"/>
                <a:ea typeface="楷体" panose="02010609060101010101" pitchFamily="49" charset="-122"/>
              </a:endParaRPr>
            </a:p>
          </p:txBody>
        </p:sp>
        <p:sp>
          <p:nvSpPr>
            <p:cNvPr id="253" name="Freeform 252"/>
            <p:cNvSpPr>
              <a:spLocks/>
            </p:cNvSpPr>
            <p:nvPr/>
          </p:nvSpPr>
          <p:spPr bwMode="auto">
            <a:xfrm rot="21158467">
              <a:off x="6898543" y="5414895"/>
              <a:ext cx="1299796" cy="208884"/>
            </a:xfrm>
            <a:custGeom>
              <a:avLst/>
              <a:gdLst>
                <a:gd name="T0" fmla="*/ 0 w 1191"/>
                <a:gd name="T1" fmla="*/ 174 h 174"/>
                <a:gd name="T2" fmla="*/ 0 w 1191"/>
                <a:gd name="T3" fmla="*/ 0 h 174"/>
                <a:gd name="T4" fmla="*/ 4 w 1191"/>
                <a:gd name="T5" fmla="*/ 0 h 174"/>
                <a:gd name="T6" fmla="*/ 16 w 1191"/>
                <a:gd name="T7" fmla="*/ 0 h 174"/>
                <a:gd name="T8" fmla="*/ 36 w 1191"/>
                <a:gd name="T9" fmla="*/ 0 h 174"/>
                <a:gd name="T10" fmla="*/ 64 w 1191"/>
                <a:gd name="T11" fmla="*/ 0 h 174"/>
                <a:gd name="T12" fmla="*/ 98 w 1191"/>
                <a:gd name="T13" fmla="*/ 0 h 174"/>
                <a:gd name="T14" fmla="*/ 137 w 1191"/>
                <a:gd name="T15" fmla="*/ 0 h 174"/>
                <a:gd name="T16" fmla="*/ 182 w 1191"/>
                <a:gd name="T17" fmla="*/ 0 h 174"/>
                <a:gd name="T18" fmla="*/ 230 w 1191"/>
                <a:gd name="T19" fmla="*/ 0 h 174"/>
                <a:gd name="T20" fmla="*/ 284 w 1191"/>
                <a:gd name="T21" fmla="*/ 0 h 174"/>
                <a:gd name="T22" fmla="*/ 339 w 1191"/>
                <a:gd name="T23" fmla="*/ 0 h 174"/>
                <a:gd name="T24" fmla="*/ 398 w 1191"/>
                <a:gd name="T25" fmla="*/ 0 h 174"/>
                <a:gd name="T26" fmla="*/ 459 w 1191"/>
                <a:gd name="T27" fmla="*/ 0 h 174"/>
                <a:gd name="T28" fmla="*/ 521 w 1191"/>
                <a:gd name="T29" fmla="*/ 0 h 174"/>
                <a:gd name="T30" fmla="*/ 583 w 1191"/>
                <a:gd name="T31" fmla="*/ 0 h 174"/>
                <a:gd name="T32" fmla="*/ 646 w 1191"/>
                <a:gd name="T33" fmla="*/ 0 h 174"/>
                <a:gd name="T34" fmla="*/ 707 w 1191"/>
                <a:gd name="T35" fmla="*/ 0 h 174"/>
                <a:gd name="T36" fmla="*/ 767 w 1191"/>
                <a:gd name="T37" fmla="*/ 0 h 174"/>
                <a:gd name="T38" fmla="*/ 826 w 1191"/>
                <a:gd name="T39" fmla="*/ 0 h 174"/>
                <a:gd name="T40" fmla="*/ 882 w 1191"/>
                <a:gd name="T41" fmla="*/ 0 h 174"/>
                <a:gd name="T42" fmla="*/ 935 w 1191"/>
                <a:gd name="T43" fmla="*/ 0 h 174"/>
                <a:gd name="T44" fmla="*/ 984 w 1191"/>
                <a:gd name="T45" fmla="*/ 0 h 174"/>
                <a:gd name="T46" fmla="*/ 1028 w 1191"/>
                <a:gd name="T47" fmla="*/ 0 h 174"/>
                <a:gd name="T48" fmla="*/ 1068 w 1191"/>
                <a:gd name="T49" fmla="*/ 0 h 174"/>
                <a:gd name="T50" fmla="*/ 1102 w 1191"/>
                <a:gd name="T51" fmla="*/ 0 h 174"/>
                <a:gd name="T52" fmla="*/ 1129 w 1191"/>
                <a:gd name="T53" fmla="*/ 0 h 174"/>
                <a:gd name="T54" fmla="*/ 1149 w 1191"/>
                <a:gd name="T55" fmla="*/ 0 h 174"/>
                <a:gd name="T56" fmla="*/ 1162 w 1191"/>
                <a:gd name="T57" fmla="*/ 0 h 174"/>
                <a:gd name="T58" fmla="*/ 1166 w 1191"/>
                <a:gd name="T59" fmla="*/ 0 h 174"/>
                <a:gd name="T60" fmla="*/ 1176 w 1191"/>
                <a:gd name="T61" fmla="*/ 1 h 174"/>
                <a:gd name="T62" fmla="*/ 1184 w 1191"/>
                <a:gd name="T63" fmla="*/ 6 h 174"/>
                <a:gd name="T64" fmla="*/ 1189 w 1191"/>
                <a:gd name="T65" fmla="*/ 14 h 174"/>
                <a:gd name="T66" fmla="*/ 1191 w 1191"/>
                <a:gd name="T67" fmla="*/ 25 h 174"/>
                <a:gd name="T68" fmla="*/ 1188 w 1191"/>
                <a:gd name="T69" fmla="*/ 36 h 174"/>
                <a:gd name="T70" fmla="*/ 1180 w 1191"/>
                <a:gd name="T71" fmla="*/ 45 h 174"/>
                <a:gd name="T72" fmla="*/ 1169 w 1191"/>
                <a:gd name="T73" fmla="*/ 48 h 174"/>
                <a:gd name="T74" fmla="*/ 1169 w 1191"/>
                <a:gd name="T75" fmla="*/ 48 h 174"/>
                <a:gd name="T76" fmla="*/ 0 w 1191"/>
                <a:gd name="T77"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91" h="174">
                  <a:moveTo>
                    <a:pt x="0" y="174"/>
                  </a:moveTo>
                  <a:lnTo>
                    <a:pt x="0" y="0"/>
                  </a:lnTo>
                  <a:lnTo>
                    <a:pt x="4" y="0"/>
                  </a:lnTo>
                  <a:lnTo>
                    <a:pt x="16" y="0"/>
                  </a:lnTo>
                  <a:lnTo>
                    <a:pt x="36" y="0"/>
                  </a:lnTo>
                  <a:lnTo>
                    <a:pt x="64" y="0"/>
                  </a:lnTo>
                  <a:lnTo>
                    <a:pt x="98" y="0"/>
                  </a:lnTo>
                  <a:lnTo>
                    <a:pt x="137" y="0"/>
                  </a:lnTo>
                  <a:lnTo>
                    <a:pt x="182" y="0"/>
                  </a:lnTo>
                  <a:lnTo>
                    <a:pt x="230" y="0"/>
                  </a:lnTo>
                  <a:lnTo>
                    <a:pt x="284" y="0"/>
                  </a:lnTo>
                  <a:lnTo>
                    <a:pt x="339" y="0"/>
                  </a:lnTo>
                  <a:lnTo>
                    <a:pt x="398" y="0"/>
                  </a:lnTo>
                  <a:lnTo>
                    <a:pt x="459" y="0"/>
                  </a:lnTo>
                  <a:lnTo>
                    <a:pt x="521" y="0"/>
                  </a:lnTo>
                  <a:lnTo>
                    <a:pt x="583" y="0"/>
                  </a:lnTo>
                  <a:lnTo>
                    <a:pt x="646" y="0"/>
                  </a:lnTo>
                  <a:lnTo>
                    <a:pt x="707" y="0"/>
                  </a:lnTo>
                  <a:lnTo>
                    <a:pt x="767" y="0"/>
                  </a:lnTo>
                  <a:lnTo>
                    <a:pt x="826" y="0"/>
                  </a:lnTo>
                  <a:lnTo>
                    <a:pt x="882" y="0"/>
                  </a:lnTo>
                  <a:lnTo>
                    <a:pt x="935" y="0"/>
                  </a:lnTo>
                  <a:lnTo>
                    <a:pt x="984" y="0"/>
                  </a:lnTo>
                  <a:lnTo>
                    <a:pt x="1028" y="0"/>
                  </a:lnTo>
                  <a:lnTo>
                    <a:pt x="1068" y="0"/>
                  </a:lnTo>
                  <a:lnTo>
                    <a:pt x="1102" y="0"/>
                  </a:lnTo>
                  <a:lnTo>
                    <a:pt x="1129" y="0"/>
                  </a:lnTo>
                  <a:lnTo>
                    <a:pt x="1149" y="0"/>
                  </a:lnTo>
                  <a:lnTo>
                    <a:pt x="1162" y="0"/>
                  </a:lnTo>
                  <a:lnTo>
                    <a:pt x="1166" y="0"/>
                  </a:lnTo>
                  <a:lnTo>
                    <a:pt x="1176" y="1"/>
                  </a:lnTo>
                  <a:lnTo>
                    <a:pt x="1184" y="6"/>
                  </a:lnTo>
                  <a:lnTo>
                    <a:pt x="1189" y="14"/>
                  </a:lnTo>
                  <a:lnTo>
                    <a:pt x="1191" y="25"/>
                  </a:lnTo>
                  <a:lnTo>
                    <a:pt x="1188" y="36"/>
                  </a:lnTo>
                  <a:lnTo>
                    <a:pt x="1180" y="45"/>
                  </a:lnTo>
                  <a:lnTo>
                    <a:pt x="1169" y="48"/>
                  </a:lnTo>
                  <a:lnTo>
                    <a:pt x="1169" y="48"/>
                  </a:lnTo>
                  <a:lnTo>
                    <a:pt x="0" y="174"/>
                  </a:lnTo>
                  <a:close/>
                </a:path>
              </a:pathLst>
            </a:custGeom>
            <a:solidFill>
              <a:schemeClr val="accent6">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srgbClr val="000000"/>
                </a:solidFill>
                <a:latin typeface="+mn-lt"/>
                <a:ea typeface="楷体" panose="02010609060101010101" pitchFamily="49" charset="-122"/>
              </a:endParaRPr>
            </a:p>
          </p:txBody>
        </p:sp>
        <p:sp>
          <p:nvSpPr>
            <p:cNvPr id="269" name="Freeform 268"/>
            <p:cNvSpPr>
              <a:spLocks/>
            </p:cNvSpPr>
            <p:nvPr/>
          </p:nvSpPr>
          <p:spPr bwMode="auto">
            <a:xfrm>
              <a:off x="8137280" y="5341523"/>
              <a:ext cx="32741" cy="34815"/>
            </a:xfrm>
            <a:custGeom>
              <a:avLst/>
              <a:gdLst>
                <a:gd name="T0" fmla="*/ 30 w 30"/>
                <a:gd name="T1" fmla="*/ 15 h 29"/>
                <a:gd name="T2" fmla="*/ 29 w 30"/>
                <a:gd name="T3" fmla="*/ 9 h 29"/>
                <a:gd name="T4" fmla="*/ 27 w 30"/>
                <a:gd name="T5" fmla="*/ 5 h 29"/>
                <a:gd name="T6" fmla="*/ 23 w 30"/>
                <a:gd name="T7" fmla="*/ 2 h 29"/>
                <a:gd name="T8" fmla="*/ 20 w 30"/>
                <a:gd name="T9" fmla="*/ 0 h 29"/>
                <a:gd name="T10" fmla="*/ 14 w 30"/>
                <a:gd name="T11" fmla="*/ 0 h 29"/>
                <a:gd name="T12" fmla="*/ 10 w 30"/>
                <a:gd name="T13" fmla="*/ 0 h 29"/>
                <a:gd name="T14" fmla="*/ 6 w 30"/>
                <a:gd name="T15" fmla="*/ 2 h 29"/>
                <a:gd name="T16" fmla="*/ 3 w 30"/>
                <a:gd name="T17" fmla="*/ 5 h 29"/>
                <a:gd name="T18" fmla="*/ 1 w 30"/>
                <a:gd name="T19" fmla="*/ 9 h 29"/>
                <a:gd name="T20" fmla="*/ 0 w 30"/>
                <a:gd name="T21" fmla="*/ 15 h 29"/>
                <a:gd name="T22" fmla="*/ 1 w 30"/>
                <a:gd name="T23" fmla="*/ 19 h 29"/>
                <a:gd name="T24" fmla="*/ 3 w 30"/>
                <a:gd name="T25" fmla="*/ 23 h 29"/>
                <a:gd name="T26" fmla="*/ 6 w 30"/>
                <a:gd name="T27" fmla="*/ 26 h 29"/>
                <a:gd name="T28" fmla="*/ 10 w 30"/>
                <a:gd name="T29" fmla="*/ 28 h 29"/>
                <a:gd name="T30" fmla="*/ 14 w 30"/>
                <a:gd name="T31" fmla="*/ 29 h 29"/>
                <a:gd name="T32" fmla="*/ 20 w 30"/>
                <a:gd name="T33" fmla="*/ 28 h 29"/>
                <a:gd name="T34" fmla="*/ 23 w 30"/>
                <a:gd name="T35" fmla="*/ 26 h 29"/>
                <a:gd name="T36" fmla="*/ 27 w 30"/>
                <a:gd name="T37" fmla="*/ 23 h 29"/>
                <a:gd name="T38" fmla="*/ 29 w 30"/>
                <a:gd name="T39" fmla="*/ 19 h 29"/>
                <a:gd name="T40" fmla="*/ 30 w 30"/>
                <a:gd name="T41"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29">
                  <a:moveTo>
                    <a:pt x="30" y="15"/>
                  </a:moveTo>
                  <a:lnTo>
                    <a:pt x="29" y="9"/>
                  </a:lnTo>
                  <a:lnTo>
                    <a:pt x="27" y="5"/>
                  </a:lnTo>
                  <a:lnTo>
                    <a:pt x="23" y="2"/>
                  </a:lnTo>
                  <a:lnTo>
                    <a:pt x="20" y="0"/>
                  </a:lnTo>
                  <a:lnTo>
                    <a:pt x="14" y="0"/>
                  </a:lnTo>
                  <a:lnTo>
                    <a:pt x="10" y="0"/>
                  </a:lnTo>
                  <a:lnTo>
                    <a:pt x="6" y="2"/>
                  </a:lnTo>
                  <a:lnTo>
                    <a:pt x="3" y="5"/>
                  </a:lnTo>
                  <a:lnTo>
                    <a:pt x="1" y="9"/>
                  </a:lnTo>
                  <a:lnTo>
                    <a:pt x="0" y="15"/>
                  </a:lnTo>
                  <a:lnTo>
                    <a:pt x="1" y="19"/>
                  </a:lnTo>
                  <a:lnTo>
                    <a:pt x="3" y="23"/>
                  </a:lnTo>
                  <a:lnTo>
                    <a:pt x="6" y="26"/>
                  </a:lnTo>
                  <a:lnTo>
                    <a:pt x="10" y="28"/>
                  </a:lnTo>
                  <a:lnTo>
                    <a:pt x="14" y="29"/>
                  </a:lnTo>
                  <a:lnTo>
                    <a:pt x="20" y="28"/>
                  </a:lnTo>
                  <a:lnTo>
                    <a:pt x="23" y="26"/>
                  </a:lnTo>
                  <a:lnTo>
                    <a:pt x="27" y="23"/>
                  </a:lnTo>
                  <a:lnTo>
                    <a:pt x="29" y="19"/>
                  </a:lnTo>
                  <a:lnTo>
                    <a:pt x="30" y="15"/>
                  </a:lnTo>
                  <a:close/>
                </a:path>
              </a:pathLst>
            </a:custGeom>
            <a:solidFill>
              <a:schemeClr val="accent6">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800">
                <a:solidFill>
                  <a:srgbClr val="000000"/>
                </a:solidFill>
                <a:latin typeface="+mn-lt"/>
                <a:ea typeface="楷体" panose="02010609060101010101" pitchFamily="49" charset="-122"/>
              </a:endParaRPr>
            </a:p>
          </p:txBody>
        </p:sp>
        <p:sp>
          <p:nvSpPr>
            <p:cNvPr id="281" name="Rectangle 280"/>
            <p:cNvSpPr>
              <a:spLocks/>
            </p:cNvSpPr>
            <p:nvPr/>
          </p:nvSpPr>
          <p:spPr>
            <a:xfrm>
              <a:off x="7310187" y="4909634"/>
              <a:ext cx="1614998" cy="188118"/>
            </a:xfrm>
            <a:prstGeom prst="rect">
              <a:avLst/>
            </a:prstGeom>
            <a:noFill/>
            <a:ln>
              <a:noFill/>
            </a:ln>
            <a:effectLst/>
          </p:spPr>
          <p:txBody>
            <a:bodyPr wrap="square" lIns="0" tIns="0" rIns="0" bIns="18659" anchor="b">
              <a:spAutoFit/>
            </a:bodyPr>
            <a:lstStyle/>
            <a:p>
              <a:pPr algn="ctr"/>
              <a:r>
                <a:rPr lang="zh-CN" sz="1100" dirty="0">
                  <a:solidFill>
                    <a:srgbClr val="FFCA21"/>
                  </a:solidFill>
                  <a:latin typeface="+mn-lt"/>
                  <a:ea typeface="楷体" panose="02010609060101010101" pitchFamily="49" charset="-122"/>
                  <a:cs typeface="SimSun"/>
                </a:rPr>
                <a:t>斯坦福人工智能实验室</a:t>
              </a:r>
            </a:p>
          </p:txBody>
        </p:sp>
        <p:sp>
          <p:nvSpPr>
            <p:cNvPr id="282" name="Rectangle 281"/>
            <p:cNvSpPr>
              <a:spLocks/>
            </p:cNvSpPr>
            <p:nvPr/>
          </p:nvSpPr>
          <p:spPr>
            <a:xfrm>
              <a:off x="4976769" y="5402205"/>
              <a:ext cx="1161194" cy="188118"/>
            </a:xfrm>
            <a:prstGeom prst="rect">
              <a:avLst/>
            </a:prstGeom>
            <a:noFill/>
            <a:ln>
              <a:noFill/>
            </a:ln>
            <a:effectLst/>
          </p:spPr>
          <p:txBody>
            <a:bodyPr lIns="0" tIns="0" rIns="0" bIns="18659" anchor="b">
              <a:spAutoFit/>
            </a:bodyPr>
            <a:lstStyle/>
            <a:p>
              <a:r>
                <a:rPr lang="zh-CN" sz="1100" dirty="0">
                  <a:solidFill>
                    <a:srgbClr val="FFCA21"/>
                  </a:solidFill>
                  <a:latin typeface="+mn-lt"/>
                  <a:ea typeface="楷体" panose="02010609060101010101" pitchFamily="49" charset="-122"/>
                  <a:cs typeface="SimSun"/>
                </a:rPr>
                <a:t>谷歌数据中心</a:t>
              </a:r>
            </a:p>
          </p:txBody>
        </p:sp>
        <p:grpSp>
          <p:nvGrpSpPr>
            <p:cNvPr id="23" name="Group 22"/>
            <p:cNvGrpSpPr/>
            <p:nvPr/>
          </p:nvGrpSpPr>
          <p:grpSpPr>
            <a:xfrm>
              <a:off x="6402102" y="5438272"/>
              <a:ext cx="903895" cy="671128"/>
              <a:chOff x="6402102" y="5438272"/>
              <a:chExt cx="903895" cy="671128"/>
            </a:xfrm>
          </p:grpSpPr>
          <p:sp>
            <p:nvSpPr>
              <p:cNvPr id="254" name="Line 75"/>
              <p:cNvSpPr>
                <a:spLocks noChangeShapeType="1"/>
              </p:cNvSpPr>
              <p:nvPr/>
            </p:nvSpPr>
            <p:spPr bwMode="auto">
              <a:xfrm>
                <a:off x="6890199" y="5741488"/>
                <a:ext cx="1581" cy="285875"/>
              </a:xfrm>
              <a:prstGeom prst="line">
                <a:avLst/>
              </a:prstGeom>
              <a:noFill/>
              <a:ln w="82550" cap="rnd">
                <a:solidFill>
                  <a:schemeClr val="accent2"/>
                </a:solidFill>
                <a:round/>
                <a:headEnd/>
                <a:tailEnd/>
              </a:ln>
            </p:spPr>
            <p:txBody>
              <a:bodyPr/>
              <a:lstStyle/>
              <a:p>
                <a:endParaRPr lang="en-US" sz="1100">
                  <a:solidFill>
                    <a:srgbClr val="000000"/>
                  </a:solidFill>
                  <a:latin typeface="+mn-lt"/>
                  <a:ea typeface="楷体" panose="02010609060101010101" pitchFamily="49" charset="-122"/>
                </a:endParaRPr>
              </a:p>
            </p:txBody>
          </p:sp>
          <p:grpSp>
            <p:nvGrpSpPr>
              <p:cNvPr id="255" name="Group 254"/>
              <p:cNvGrpSpPr>
                <a:grpSpLocks/>
              </p:cNvGrpSpPr>
              <p:nvPr/>
            </p:nvGrpSpPr>
            <p:grpSpPr>
              <a:xfrm>
                <a:off x="6402102" y="6032470"/>
                <a:ext cx="903895" cy="76930"/>
                <a:chOff x="3380173" y="4897799"/>
                <a:chExt cx="2202458" cy="255180"/>
              </a:xfrm>
            </p:grpSpPr>
            <p:sp>
              <p:nvSpPr>
                <p:cNvPr id="256" name="Rectangle 255"/>
                <p:cNvSpPr>
                  <a:spLocks noChangeArrowheads="1"/>
                </p:cNvSpPr>
                <p:nvPr/>
              </p:nvSpPr>
              <p:spPr bwMode="auto">
                <a:xfrm>
                  <a:off x="3389725" y="4996050"/>
                  <a:ext cx="2181989" cy="20469"/>
                </a:xfrm>
                <a:prstGeom prst="rect">
                  <a:avLst/>
                </a:prstGeom>
                <a:solidFill>
                  <a:schemeClr val="accent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latin typeface="+mn-lt"/>
                    <a:ea typeface="楷体" panose="02010609060101010101" pitchFamily="49" charset="-122"/>
                  </a:endParaRPr>
                </a:p>
              </p:txBody>
            </p:sp>
            <p:sp>
              <p:nvSpPr>
                <p:cNvPr id="257" name="Freeform 256"/>
                <p:cNvSpPr>
                  <a:spLocks/>
                </p:cNvSpPr>
                <p:nvPr/>
              </p:nvSpPr>
              <p:spPr bwMode="auto">
                <a:xfrm>
                  <a:off x="3380173" y="4897799"/>
                  <a:ext cx="2201093" cy="100980"/>
                </a:xfrm>
                <a:custGeom>
                  <a:avLst/>
                  <a:gdLst>
                    <a:gd name="T0" fmla="*/ 1613 w 1613"/>
                    <a:gd name="T1" fmla="*/ 74 h 74"/>
                    <a:gd name="T2" fmla="*/ 1611 w 1613"/>
                    <a:gd name="T3" fmla="*/ 57 h 74"/>
                    <a:gd name="T4" fmla="*/ 1603 w 1613"/>
                    <a:gd name="T5" fmla="*/ 40 h 74"/>
                    <a:gd name="T6" fmla="*/ 1590 w 1613"/>
                    <a:gd name="T7" fmla="*/ 25 h 74"/>
                    <a:gd name="T8" fmla="*/ 1574 w 1613"/>
                    <a:gd name="T9" fmla="*/ 12 h 74"/>
                    <a:gd name="T10" fmla="*/ 1555 w 1613"/>
                    <a:gd name="T11" fmla="*/ 3 h 74"/>
                    <a:gd name="T12" fmla="*/ 1532 w 1613"/>
                    <a:gd name="T13" fmla="*/ 0 h 74"/>
                    <a:gd name="T14" fmla="*/ 80 w 1613"/>
                    <a:gd name="T15" fmla="*/ 0 h 74"/>
                    <a:gd name="T16" fmla="*/ 57 w 1613"/>
                    <a:gd name="T17" fmla="*/ 3 h 74"/>
                    <a:gd name="T18" fmla="*/ 38 w 1613"/>
                    <a:gd name="T19" fmla="*/ 12 h 74"/>
                    <a:gd name="T20" fmla="*/ 22 w 1613"/>
                    <a:gd name="T21" fmla="*/ 25 h 74"/>
                    <a:gd name="T22" fmla="*/ 10 w 1613"/>
                    <a:gd name="T23" fmla="*/ 40 h 74"/>
                    <a:gd name="T24" fmla="*/ 2 w 1613"/>
                    <a:gd name="T25" fmla="*/ 57 h 74"/>
                    <a:gd name="T26" fmla="*/ 0 w 1613"/>
                    <a:gd name="T27" fmla="*/ 74 h 74"/>
                    <a:gd name="T28" fmla="*/ 1613 w 1613"/>
                    <a:gd name="T2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13" h="74">
                      <a:moveTo>
                        <a:pt x="1613" y="74"/>
                      </a:moveTo>
                      <a:lnTo>
                        <a:pt x="1611" y="57"/>
                      </a:lnTo>
                      <a:lnTo>
                        <a:pt x="1603" y="40"/>
                      </a:lnTo>
                      <a:lnTo>
                        <a:pt x="1590" y="25"/>
                      </a:lnTo>
                      <a:lnTo>
                        <a:pt x="1574" y="12"/>
                      </a:lnTo>
                      <a:lnTo>
                        <a:pt x="1555" y="3"/>
                      </a:lnTo>
                      <a:lnTo>
                        <a:pt x="1532" y="0"/>
                      </a:lnTo>
                      <a:lnTo>
                        <a:pt x="80" y="0"/>
                      </a:lnTo>
                      <a:lnTo>
                        <a:pt x="57" y="3"/>
                      </a:lnTo>
                      <a:lnTo>
                        <a:pt x="38" y="12"/>
                      </a:lnTo>
                      <a:lnTo>
                        <a:pt x="22" y="25"/>
                      </a:lnTo>
                      <a:lnTo>
                        <a:pt x="10" y="40"/>
                      </a:lnTo>
                      <a:lnTo>
                        <a:pt x="2" y="57"/>
                      </a:lnTo>
                      <a:lnTo>
                        <a:pt x="0" y="74"/>
                      </a:lnTo>
                      <a:lnTo>
                        <a:pt x="1613" y="74"/>
                      </a:lnTo>
                      <a:close/>
                    </a:path>
                  </a:pathLst>
                </a:custGeom>
                <a:solidFill>
                  <a:schemeClr val="accent6">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latin typeface="+mn-lt"/>
                    <a:ea typeface="楷体" panose="02010609060101010101" pitchFamily="49" charset="-122"/>
                  </a:endParaRPr>
                </a:p>
              </p:txBody>
            </p:sp>
            <p:sp>
              <p:nvSpPr>
                <p:cNvPr id="258" name="Rectangle 257"/>
                <p:cNvSpPr>
                  <a:spLocks noChangeArrowheads="1"/>
                </p:cNvSpPr>
                <p:nvPr/>
              </p:nvSpPr>
              <p:spPr bwMode="auto">
                <a:xfrm>
                  <a:off x="3380173" y="5013790"/>
                  <a:ext cx="2202458" cy="139189"/>
                </a:xfrm>
                <a:prstGeom prst="rect">
                  <a:avLst/>
                </a:prstGeom>
                <a:solidFill>
                  <a:schemeClr val="accent6">
                    <a:lumMod val="40000"/>
                    <a:lumOff val="6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latin typeface="+mn-lt"/>
                    <a:ea typeface="楷体" panose="02010609060101010101" pitchFamily="49" charset="-122"/>
                  </a:endParaRPr>
                </a:p>
              </p:txBody>
            </p:sp>
            <p:sp>
              <p:nvSpPr>
                <p:cNvPr id="259" name="Freeform 258"/>
                <p:cNvSpPr>
                  <a:spLocks/>
                </p:cNvSpPr>
                <p:nvPr/>
              </p:nvSpPr>
              <p:spPr bwMode="auto">
                <a:xfrm>
                  <a:off x="5156877" y="4897799"/>
                  <a:ext cx="296118" cy="100980"/>
                </a:xfrm>
                <a:custGeom>
                  <a:avLst/>
                  <a:gdLst>
                    <a:gd name="T0" fmla="*/ 0 w 217"/>
                    <a:gd name="T1" fmla="*/ 0 h 74"/>
                    <a:gd name="T2" fmla="*/ 22 w 217"/>
                    <a:gd name="T3" fmla="*/ 3 h 74"/>
                    <a:gd name="T4" fmla="*/ 41 w 217"/>
                    <a:gd name="T5" fmla="*/ 12 h 74"/>
                    <a:gd name="T6" fmla="*/ 57 w 217"/>
                    <a:gd name="T7" fmla="*/ 25 h 74"/>
                    <a:gd name="T8" fmla="*/ 69 w 217"/>
                    <a:gd name="T9" fmla="*/ 40 h 74"/>
                    <a:gd name="T10" fmla="*/ 77 w 217"/>
                    <a:gd name="T11" fmla="*/ 57 h 74"/>
                    <a:gd name="T12" fmla="*/ 79 w 217"/>
                    <a:gd name="T13" fmla="*/ 74 h 74"/>
                    <a:gd name="T14" fmla="*/ 217 w 217"/>
                    <a:gd name="T15" fmla="*/ 74 h 74"/>
                    <a:gd name="T16" fmla="*/ 213 w 217"/>
                    <a:gd name="T17" fmla="*/ 57 h 74"/>
                    <a:gd name="T18" fmla="*/ 205 w 217"/>
                    <a:gd name="T19" fmla="*/ 40 h 74"/>
                    <a:gd name="T20" fmla="*/ 194 w 217"/>
                    <a:gd name="T21" fmla="*/ 25 h 74"/>
                    <a:gd name="T22" fmla="*/ 177 w 217"/>
                    <a:gd name="T23" fmla="*/ 12 h 74"/>
                    <a:gd name="T24" fmla="*/ 158 w 217"/>
                    <a:gd name="T25" fmla="*/ 3 h 74"/>
                    <a:gd name="T26" fmla="*/ 136 w 217"/>
                    <a:gd name="T27" fmla="*/ 0 h 74"/>
                    <a:gd name="T28" fmla="*/ 0 w 217"/>
                    <a:gd name="T2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74">
                      <a:moveTo>
                        <a:pt x="0" y="0"/>
                      </a:moveTo>
                      <a:lnTo>
                        <a:pt x="22" y="3"/>
                      </a:lnTo>
                      <a:lnTo>
                        <a:pt x="41" y="12"/>
                      </a:lnTo>
                      <a:lnTo>
                        <a:pt x="57" y="25"/>
                      </a:lnTo>
                      <a:lnTo>
                        <a:pt x="69" y="40"/>
                      </a:lnTo>
                      <a:lnTo>
                        <a:pt x="77" y="57"/>
                      </a:lnTo>
                      <a:lnTo>
                        <a:pt x="79" y="74"/>
                      </a:lnTo>
                      <a:lnTo>
                        <a:pt x="217" y="74"/>
                      </a:lnTo>
                      <a:lnTo>
                        <a:pt x="213" y="57"/>
                      </a:lnTo>
                      <a:lnTo>
                        <a:pt x="205" y="40"/>
                      </a:lnTo>
                      <a:lnTo>
                        <a:pt x="194" y="25"/>
                      </a:lnTo>
                      <a:lnTo>
                        <a:pt x="177" y="12"/>
                      </a:lnTo>
                      <a:lnTo>
                        <a:pt x="158" y="3"/>
                      </a:lnTo>
                      <a:lnTo>
                        <a:pt x="136" y="0"/>
                      </a:lnTo>
                      <a:lnTo>
                        <a:pt x="0" y="0"/>
                      </a:lnTo>
                      <a:close/>
                    </a:path>
                  </a:pathLst>
                </a:custGeom>
                <a:solidFill>
                  <a:schemeClr val="accent6">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latin typeface="+mn-lt"/>
                    <a:ea typeface="楷体" panose="02010609060101010101" pitchFamily="49" charset="-122"/>
                  </a:endParaRPr>
                </a:p>
              </p:txBody>
            </p:sp>
            <p:sp>
              <p:nvSpPr>
                <p:cNvPr id="260" name="Rectangle 259"/>
                <p:cNvSpPr>
                  <a:spLocks noChangeArrowheads="1"/>
                </p:cNvSpPr>
                <p:nvPr/>
              </p:nvSpPr>
              <p:spPr bwMode="auto">
                <a:xfrm>
                  <a:off x="5267409" y="5013790"/>
                  <a:ext cx="185585" cy="139189"/>
                </a:xfrm>
                <a:prstGeom prst="rect">
                  <a:avLst/>
                </a:prstGeom>
                <a:solidFill>
                  <a:schemeClr val="accent6">
                    <a:lumMod val="60000"/>
                    <a:lumOff val="4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latin typeface="+mn-lt"/>
                    <a:ea typeface="楷体" panose="02010609060101010101" pitchFamily="49" charset="-122"/>
                  </a:endParaRPr>
                </a:p>
              </p:txBody>
            </p:sp>
          </p:grpSp>
          <p:grpSp>
            <p:nvGrpSpPr>
              <p:cNvPr id="261" name="Group 260"/>
              <p:cNvGrpSpPr/>
              <p:nvPr/>
            </p:nvGrpSpPr>
            <p:grpSpPr>
              <a:xfrm>
                <a:off x="6662518" y="5438272"/>
                <a:ext cx="383063" cy="596436"/>
                <a:chOff x="3983209" y="4398693"/>
                <a:chExt cx="993567" cy="1547001"/>
              </a:xfrm>
            </p:grpSpPr>
            <p:sp>
              <p:nvSpPr>
                <p:cNvPr id="262" name="Freeform 261"/>
                <p:cNvSpPr>
                  <a:spLocks/>
                </p:cNvSpPr>
                <p:nvPr/>
              </p:nvSpPr>
              <p:spPr bwMode="auto">
                <a:xfrm>
                  <a:off x="3983209" y="4398693"/>
                  <a:ext cx="993567" cy="1547001"/>
                </a:xfrm>
                <a:custGeom>
                  <a:avLst/>
                  <a:gdLst>
                    <a:gd name="T0" fmla="*/ 0 w 684"/>
                    <a:gd name="T1" fmla="*/ 1065 h 1065"/>
                    <a:gd name="T2" fmla="*/ 0 w 684"/>
                    <a:gd name="T3" fmla="*/ 341 h 1065"/>
                    <a:gd name="T4" fmla="*/ 3 w 684"/>
                    <a:gd name="T5" fmla="*/ 295 h 1065"/>
                    <a:gd name="T6" fmla="*/ 12 w 684"/>
                    <a:gd name="T7" fmla="*/ 250 h 1065"/>
                    <a:gd name="T8" fmla="*/ 27 w 684"/>
                    <a:gd name="T9" fmla="*/ 208 h 1065"/>
                    <a:gd name="T10" fmla="*/ 46 w 684"/>
                    <a:gd name="T11" fmla="*/ 169 h 1065"/>
                    <a:gd name="T12" fmla="*/ 71 w 684"/>
                    <a:gd name="T13" fmla="*/ 132 h 1065"/>
                    <a:gd name="T14" fmla="*/ 99 w 684"/>
                    <a:gd name="T15" fmla="*/ 99 h 1065"/>
                    <a:gd name="T16" fmla="*/ 132 w 684"/>
                    <a:gd name="T17" fmla="*/ 71 h 1065"/>
                    <a:gd name="T18" fmla="*/ 170 w 684"/>
                    <a:gd name="T19" fmla="*/ 46 h 1065"/>
                    <a:gd name="T20" fmla="*/ 208 w 684"/>
                    <a:gd name="T21" fmla="*/ 27 h 1065"/>
                    <a:gd name="T22" fmla="*/ 251 w 684"/>
                    <a:gd name="T23" fmla="*/ 12 h 1065"/>
                    <a:gd name="T24" fmla="*/ 296 w 684"/>
                    <a:gd name="T25" fmla="*/ 3 h 1065"/>
                    <a:gd name="T26" fmla="*/ 342 w 684"/>
                    <a:gd name="T27" fmla="*/ 0 h 1065"/>
                    <a:gd name="T28" fmla="*/ 389 w 684"/>
                    <a:gd name="T29" fmla="*/ 3 h 1065"/>
                    <a:gd name="T30" fmla="*/ 433 w 684"/>
                    <a:gd name="T31" fmla="*/ 12 h 1065"/>
                    <a:gd name="T32" fmla="*/ 475 w 684"/>
                    <a:gd name="T33" fmla="*/ 27 h 1065"/>
                    <a:gd name="T34" fmla="*/ 515 w 684"/>
                    <a:gd name="T35" fmla="*/ 46 h 1065"/>
                    <a:gd name="T36" fmla="*/ 551 w 684"/>
                    <a:gd name="T37" fmla="*/ 71 h 1065"/>
                    <a:gd name="T38" fmla="*/ 584 w 684"/>
                    <a:gd name="T39" fmla="*/ 99 h 1065"/>
                    <a:gd name="T40" fmla="*/ 612 w 684"/>
                    <a:gd name="T41" fmla="*/ 132 h 1065"/>
                    <a:gd name="T42" fmla="*/ 637 w 684"/>
                    <a:gd name="T43" fmla="*/ 169 h 1065"/>
                    <a:gd name="T44" fmla="*/ 658 w 684"/>
                    <a:gd name="T45" fmla="*/ 208 h 1065"/>
                    <a:gd name="T46" fmla="*/ 671 w 684"/>
                    <a:gd name="T47" fmla="*/ 250 h 1065"/>
                    <a:gd name="T48" fmla="*/ 681 w 684"/>
                    <a:gd name="T49" fmla="*/ 295 h 1065"/>
                    <a:gd name="T50" fmla="*/ 684 w 684"/>
                    <a:gd name="T51" fmla="*/ 341 h 1065"/>
                    <a:gd name="T52" fmla="*/ 684 w 684"/>
                    <a:gd name="T53" fmla="*/ 1065 h 1065"/>
                    <a:gd name="T54" fmla="*/ 0 w 684"/>
                    <a:gd name="T55" fmla="*/ 1065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4" h="1065">
                      <a:moveTo>
                        <a:pt x="0" y="1065"/>
                      </a:moveTo>
                      <a:lnTo>
                        <a:pt x="0" y="341"/>
                      </a:lnTo>
                      <a:lnTo>
                        <a:pt x="3" y="295"/>
                      </a:lnTo>
                      <a:lnTo>
                        <a:pt x="12" y="250"/>
                      </a:lnTo>
                      <a:lnTo>
                        <a:pt x="27" y="208"/>
                      </a:lnTo>
                      <a:lnTo>
                        <a:pt x="46" y="169"/>
                      </a:lnTo>
                      <a:lnTo>
                        <a:pt x="71" y="132"/>
                      </a:lnTo>
                      <a:lnTo>
                        <a:pt x="99" y="99"/>
                      </a:lnTo>
                      <a:lnTo>
                        <a:pt x="132" y="71"/>
                      </a:lnTo>
                      <a:lnTo>
                        <a:pt x="170" y="46"/>
                      </a:lnTo>
                      <a:lnTo>
                        <a:pt x="208" y="27"/>
                      </a:lnTo>
                      <a:lnTo>
                        <a:pt x="251" y="12"/>
                      </a:lnTo>
                      <a:lnTo>
                        <a:pt x="296" y="3"/>
                      </a:lnTo>
                      <a:lnTo>
                        <a:pt x="342" y="0"/>
                      </a:lnTo>
                      <a:lnTo>
                        <a:pt x="389" y="3"/>
                      </a:lnTo>
                      <a:lnTo>
                        <a:pt x="433" y="12"/>
                      </a:lnTo>
                      <a:lnTo>
                        <a:pt x="475" y="27"/>
                      </a:lnTo>
                      <a:lnTo>
                        <a:pt x="515" y="46"/>
                      </a:lnTo>
                      <a:lnTo>
                        <a:pt x="551" y="71"/>
                      </a:lnTo>
                      <a:lnTo>
                        <a:pt x="584" y="99"/>
                      </a:lnTo>
                      <a:lnTo>
                        <a:pt x="612" y="132"/>
                      </a:lnTo>
                      <a:lnTo>
                        <a:pt x="637" y="169"/>
                      </a:lnTo>
                      <a:lnTo>
                        <a:pt x="658" y="208"/>
                      </a:lnTo>
                      <a:lnTo>
                        <a:pt x="671" y="250"/>
                      </a:lnTo>
                      <a:lnTo>
                        <a:pt x="681" y="295"/>
                      </a:lnTo>
                      <a:lnTo>
                        <a:pt x="684" y="341"/>
                      </a:lnTo>
                      <a:lnTo>
                        <a:pt x="684" y="1065"/>
                      </a:lnTo>
                      <a:lnTo>
                        <a:pt x="0" y="1065"/>
                      </a:lnTo>
                      <a:close/>
                    </a:path>
                  </a:pathLst>
                </a:custGeom>
                <a:solidFill>
                  <a:schemeClr val="accent6">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latin typeface="+mn-lt"/>
                    <a:ea typeface="楷体" panose="02010609060101010101" pitchFamily="49" charset="-122"/>
                  </a:endParaRPr>
                </a:p>
              </p:txBody>
            </p:sp>
            <p:sp>
              <p:nvSpPr>
                <p:cNvPr id="263" name="Freeform 262"/>
                <p:cNvSpPr>
                  <a:spLocks/>
                </p:cNvSpPr>
                <p:nvPr/>
              </p:nvSpPr>
              <p:spPr bwMode="auto">
                <a:xfrm>
                  <a:off x="4747268" y="5172919"/>
                  <a:ext cx="137996" cy="743723"/>
                </a:xfrm>
                <a:custGeom>
                  <a:avLst/>
                  <a:gdLst>
                    <a:gd name="T0" fmla="*/ 95 w 95"/>
                    <a:gd name="T1" fmla="*/ 0 h 512"/>
                    <a:gd name="T2" fmla="*/ 95 w 95"/>
                    <a:gd name="T3" fmla="*/ 512 h 512"/>
                    <a:gd name="T4" fmla="*/ 0 w 95"/>
                    <a:gd name="T5" fmla="*/ 512 h 512"/>
                    <a:gd name="T6" fmla="*/ 0 w 95"/>
                    <a:gd name="T7" fmla="*/ 93 h 512"/>
                    <a:gd name="T8" fmla="*/ 35 w 95"/>
                    <a:gd name="T9" fmla="*/ 66 h 512"/>
                    <a:gd name="T10" fmla="*/ 67 w 95"/>
                    <a:gd name="T11" fmla="*/ 35 h 512"/>
                    <a:gd name="T12" fmla="*/ 95 w 95"/>
                    <a:gd name="T13" fmla="*/ 0 h 512"/>
                  </a:gdLst>
                  <a:ahLst/>
                  <a:cxnLst>
                    <a:cxn ang="0">
                      <a:pos x="T0" y="T1"/>
                    </a:cxn>
                    <a:cxn ang="0">
                      <a:pos x="T2" y="T3"/>
                    </a:cxn>
                    <a:cxn ang="0">
                      <a:pos x="T4" y="T5"/>
                    </a:cxn>
                    <a:cxn ang="0">
                      <a:pos x="T6" y="T7"/>
                    </a:cxn>
                    <a:cxn ang="0">
                      <a:pos x="T8" y="T9"/>
                    </a:cxn>
                    <a:cxn ang="0">
                      <a:pos x="T10" y="T11"/>
                    </a:cxn>
                    <a:cxn ang="0">
                      <a:pos x="T12" y="T13"/>
                    </a:cxn>
                  </a:cxnLst>
                  <a:rect l="0" t="0" r="r" b="b"/>
                  <a:pathLst>
                    <a:path w="95" h="512">
                      <a:moveTo>
                        <a:pt x="95" y="0"/>
                      </a:moveTo>
                      <a:lnTo>
                        <a:pt x="95" y="512"/>
                      </a:lnTo>
                      <a:lnTo>
                        <a:pt x="0" y="512"/>
                      </a:lnTo>
                      <a:lnTo>
                        <a:pt x="0" y="93"/>
                      </a:lnTo>
                      <a:lnTo>
                        <a:pt x="35" y="66"/>
                      </a:lnTo>
                      <a:lnTo>
                        <a:pt x="67" y="35"/>
                      </a:lnTo>
                      <a:lnTo>
                        <a:pt x="95" y="0"/>
                      </a:lnTo>
                      <a:close/>
                    </a:path>
                  </a:pathLst>
                </a:custGeom>
                <a:solidFill>
                  <a:schemeClr val="accent6">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latin typeface="+mn-lt"/>
                    <a:ea typeface="楷体" panose="02010609060101010101" pitchFamily="49" charset="-122"/>
                  </a:endParaRPr>
                </a:p>
              </p:txBody>
            </p:sp>
          </p:grpSp>
          <p:sp>
            <p:nvSpPr>
              <p:cNvPr id="264" name="Freeform 263"/>
              <p:cNvSpPr>
                <a:spLocks/>
              </p:cNvSpPr>
              <p:nvPr/>
            </p:nvSpPr>
            <p:spPr bwMode="auto">
              <a:xfrm>
                <a:off x="6707322" y="5486171"/>
                <a:ext cx="294577" cy="295698"/>
              </a:xfrm>
              <a:custGeom>
                <a:avLst/>
                <a:gdLst>
                  <a:gd name="T0" fmla="*/ 0 w 526"/>
                  <a:gd name="T1" fmla="*/ 263 h 528"/>
                  <a:gd name="T2" fmla="*/ 3 w 526"/>
                  <a:gd name="T3" fmla="*/ 221 h 528"/>
                  <a:gd name="T4" fmla="*/ 12 w 526"/>
                  <a:gd name="T5" fmla="*/ 180 h 528"/>
                  <a:gd name="T6" fmla="*/ 29 w 526"/>
                  <a:gd name="T7" fmla="*/ 143 h 528"/>
                  <a:gd name="T8" fmla="*/ 50 w 526"/>
                  <a:gd name="T9" fmla="*/ 108 h 528"/>
                  <a:gd name="T10" fmla="*/ 77 w 526"/>
                  <a:gd name="T11" fmla="*/ 77 h 528"/>
                  <a:gd name="T12" fmla="*/ 108 w 526"/>
                  <a:gd name="T13" fmla="*/ 51 h 528"/>
                  <a:gd name="T14" fmla="*/ 142 w 526"/>
                  <a:gd name="T15" fmla="*/ 29 h 528"/>
                  <a:gd name="T16" fmla="*/ 179 w 526"/>
                  <a:gd name="T17" fmla="*/ 13 h 528"/>
                  <a:gd name="T18" fmla="*/ 220 w 526"/>
                  <a:gd name="T19" fmla="*/ 3 h 528"/>
                  <a:gd name="T20" fmla="*/ 263 w 526"/>
                  <a:gd name="T21" fmla="*/ 0 h 528"/>
                  <a:gd name="T22" fmla="*/ 306 w 526"/>
                  <a:gd name="T23" fmla="*/ 3 h 528"/>
                  <a:gd name="T24" fmla="*/ 346 w 526"/>
                  <a:gd name="T25" fmla="*/ 13 h 528"/>
                  <a:gd name="T26" fmla="*/ 385 w 526"/>
                  <a:gd name="T27" fmla="*/ 29 h 528"/>
                  <a:gd name="T28" fmla="*/ 419 w 526"/>
                  <a:gd name="T29" fmla="*/ 51 h 528"/>
                  <a:gd name="T30" fmla="*/ 449 w 526"/>
                  <a:gd name="T31" fmla="*/ 77 h 528"/>
                  <a:gd name="T32" fmla="*/ 475 w 526"/>
                  <a:gd name="T33" fmla="*/ 108 h 528"/>
                  <a:gd name="T34" fmla="*/ 497 w 526"/>
                  <a:gd name="T35" fmla="*/ 143 h 528"/>
                  <a:gd name="T36" fmla="*/ 513 w 526"/>
                  <a:gd name="T37" fmla="*/ 180 h 528"/>
                  <a:gd name="T38" fmla="*/ 523 w 526"/>
                  <a:gd name="T39" fmla="*/ 221 h 528"/>
                  <a:gd name="T40" fmla="*/ 526 w 526"/>
                  <a:gd name="T41" fmla="*/ 263 h 528"/>
                  <a:gd name="T42" fmla="*/ 523 w 526"/>
                  <a:gd name="T43" fmla="*/ 306 h 528"/>
                  <a:gd name="T44" fmla="*/ 513 w 526"/>
                  <a:gd name="T45" fmla="*/ 347 h 528"/>
                  <a:gd name="T46" fmla="*/ 497 w 526"/>
                  <a:gd name="T47" fmla="*/ 385 h 528"/>
                  <a:gd name="T48" fmla="*/ 475 w 526"/>
                  <a:gd name="T49" fmla="*/ 420 h 528"/>
                  <a:gd name="T50" fmla="*/ 449 w 526"/>
                  <a:gd name="T51" fmla="*/ 450 h 528"/>
                  <a:gd name="T52" fmla="*/ 419 w 526"/>
                  <a:gd name="T53" fmla="*/ 477 h 528"/>
                  <a:gd name="T54" fmla="*/ 385 w 526"/>
                  <a:gd name="T55" fmla="*/ 498 h 528"/>
                  <a:gd name="T56" fmla="*/ 346 w 526"/>
                  <a:gd name="T57" fmla="*/ 514 h 528"/>
                  <a:gd name="T58" fmla="*/ 306 w 526"/>
                  <a:gd name="T59" fmla="*/ 524 h 528"/>
                  <a:gd name="T60" fmla="*/ 263 w 526"/>
                  <a:gd name="T61" fmla="*/ 528 h 528"/>
                  <a:gd name="T62" fmla="*/ 220 w 526"/>
                  <a:gd name="T63" fmla="*/ 524 h 528"/>
                  <a:gd name="T64" fmla="*/ 179 w 526"/>
                  <a:gd name="T65" fmla="*/ 514 h 528"/>
                  <a:gd name="T66" fmla="*/ 142 w 526"/>
                  <a:gd name="T67" fmla="*/ 498 h 528"/>
                  <a:gd name="T68" fmla="*/ 108 w 526"/>
                  <a:gd name="T69" fmla="*/ 477 h 528"/>
                  <a:gd name="T70" fmla="*/ 77 w 526"/>
                  <a:gd name="T71" fmla="*/ 450 h 528"/>
                  <a:gd name="T72" fmla="*/ 50 w 526"/>
                  <a:gd name="T73" fmla="*/ 420 h 528"/>
                  <a:gd name="T74" fmla="*/ 29 w 526"/>
                  <a:gd name="T75" fmla="*/ 385 h 528"/>
                  <a:gd name="T76" fmla="*/ 12 w 526"/>
                  <a:gd name="T77" fmla="*/ 347 h 528"/>
                  <a:gd name="T78" fmla="*/ 3 w 526"/>
                  <a:gd name="T79" fmla="*/ 306 h 528"/>
                  <a:gd name="T80" fmla="*/ 0 w 526"/>
                  <a:gd name="T81" fmla="*/ 263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6" h="528">
                    <a:moveTo>
                      <a:pt x="0" y="263"/>
                    </a:moveTo>
                    <a:lnTo>
                      <a:pt x="3" y="221"/>
                    </a:lnTo>
                    <a:lnTo>
                      <a:pt x="12" y="180"/>
                    </a:lnTo>
                    <a:lnTo>
                      <a:pt x="29" y="143"/>
                    </a:lnTo>
                    <a:lnTo>
                      <a:pt x="50" y="108"/>
                    </a:lnTo>
                    <a:lnTo>
                      <a:pt x="77" y="77"/>
                    </a:lnTo>
                    <a:lnTo>
                      <a:pt x="108" y="51"/>
                    </a:lnTo>
                    <a:lnTo>
                      <a:pt x="142" y="29"/>
                    </a:lnTo>
                    <a:lnTo>
                      <a:pt x="179" y="13"/>
                    </a:lnTo>
                    <a:lnTo>
                      <a:pt x="220" y="3"/>
                    </a:lnTo>
                    <a:lnTo>
                      <a:pt x="263" y="0"/>
                    </a:lnTo>
                    <a:lnTo>
                      <a:pt x="306" y="3"/>
                    </a:lnTo>
                    <a:lnTo>
                      <a:pt x="346" y="13"/>
                    </a:lnTo>
                    <a:lnTo>
                      <a:pt x="385" y="29"/>
                    </a:lnTo>
                    <a:lnTo>
                      <a:pt x="419" y="51"/>
                    </a:lnTo>
                    <a:lnTo>
                      <a:pt x="449" y="77"/>
                    </a:lnTo>
                    <a:lnTo>
                      <a:pt x="475" y="108"/>
                    </a:lnTo>
                    <a:lnTo>
                      <a:pt x="497" y="143"/>
                    </a:lnTo>
                    <a:lnTo>
                      <a:pt x="513" y="180"/>
                    </a:lnTo>
                    <a:lnTo>
                      <a:pt x="523" y="221"/>
                    </a:lnTo>
                    <a:lnTo>
                      <a:pt x="526" y="263"/>
                    </a:lnTo>
                    <a:lnTo>
                      <a:pt x="523" y="306"/>
                    </a:lnTo>
                    <a:lnTo>
                      <a:pt x="513" y="347"/>
                    </a:lnTo>
                    <a:lnTo>
                      <a:pt x="497" y="385"/>
                    </a:lnTo>
                    <a:lnTo>
                      <a:pt x="475" y="420"/>
                    </a:lnTo>
                    <a:lnTo>
                      <a:pt x="449" y="450"/>
                    </a:lnTo>
                    <a:lnTo>
                      <a:pt x="419" y="477"/>
                    </a:lnTo>
                    <a:lnTo>
                      <a:pt x="385" y="498"/>
                    </a:lnTo>
                    <a:lnTo>
                      <a:pt x="346" y="514"/>
                    </a:lnTo>
                    <a:lnTo>
                      <a:pt x="306" y="524"/>
                    </a:lnTo>
                    <a:lnTo>
                      <a:pt x="263" y="528"/>
                    </a:lnTo>
                    <a:lnTo>
                      <a:pt x="220" y="524"/>
                    </a:lnTo>
                    <a:lnTo>
                      <a:pt x="179" y="514"/>
                    </a:lnTo>
                    <a:lnTo>
                      <a:pt x="142" y="498"/>
                    </a:lnTo>
                    <a:lnTo>
                      <a:pt x="108" y="477"/>
                    </a:lnTo>
                    <a:lnTo>
                      <a:pt x="77" y="450"/>
                    </a:lnTo>
                    <a:lnTo>
                      <a:pt x="50" y="420"/>
                    </a:lnTo>
                    <a:lnTo>
                      <a:pt x="29" y="385"/>
                    </a:lnTo>
                    <a:lnTo>
                      <a:pt x="12" y="347"/>
                    </a:lnTo>
                    <a:lnTo>
                      <a:pt x="3" y="306"/>
                    </a:lnTo>
                    <a:lnTo>
                      <a:pt x="0" y="263"/>
                    </a:lnTo>
                    <a:close/>
                  </a:path>
                </a:pathLst>
              </a:custGeom>
              <a:solidFill>
                <a:srgbClr val="3380C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latin typeface="+mn-lt"/>
                  <a:ea typeface="楷体" panose="02010609060101010101" pitchFamily="49" charset="-122"/>
                </a:endParaRPr>
              </a:p>
            </p:txBody>
          </p:sp>
          <p:sp>
            <p:nvSpPr>
              <p:cNvPr id="265" name="Freeform 264"/>
              <p:cNvSpPr>
                <a:spLocks/>
              </p:cNvSpPr>
              <p:nvPr/>
            </p:nvSpPr>
            <p:spPr bwMode="auto">
              <a:xfrm>
                <a:off x="6680999" y="5460409"/>
                <a:ext cx="346101" cy="346101"/>
              </a:xfrm>
              <a:custGeom>
                <a:avLst/>
                <a:gdLst>
                  <a:gd name="T0" fmla="*/ 0 w 618"/>
                  <a:gd name="T1" fmla="*/ 309 h 618"/>
                  <a:gd name="T2" fmla="*/ 4 w 618"/>
                  <a:gd name="T3" fmla="*/ 264 h 618"/>
                  <a:gd name="T4" fmla="*/ 14 w 618"/>
                  <a:gd name="T5" fmla="*/ 220 h 618"/>
                  <a:gd name="T6" fmla="*/ 29 w 618"/>
                  <a:gd name="T7" fmla="*/ 179 h 618"/>
                  <a:gd name="T8" fmla="*/ 50 w 618"/>
                  <a:gd name="T9" fmla="*/ 141 h 618"/>
                  <a:gd name="T10" fmla="*/ 76 w 618"/>
                  <a:gd name="T11" fmla="*/ 106 h 618"/>
                  <a:gd name="T12" fmla="*/ 107 w 618"/>
                  <a:gd name="T13" fmla="*/ 76 h 618"/>
                  <a:gd name="T14" fmla="*/ 141 w 618"/>
                  <a:gd name="T15" fmla="*/ 50 h 618"/>
                  <a:gd name="T16" fmla="*/ 179 w 618"/>
                  <a:gd name="T17" fmla="*/ 29 h 618"/>
                  <a:gd name="T18" fmla="*/ 219 w 618"/>
                  <a:gd name="T19" fmla="*/ 13 h 618"/>
                  <a:gd name="T20" fmla="*/ 264 w 618"/>
                  <a:gd name="T21" fmla="*/ 4 h 618"/>
                  <a:gd name="T22" fmla="*/ 309 w 618"/>
                  <a:gd name="T23" fmla="*/ 0 h 618"/>
                  <a:gd name="T24" fmla="*/ 354 w 618"/>
                  <a:gd name="T25" fmla="*/ 4 h 618"/>
                  <a:gd name="T26" fmla="*/ 399 w 618"/>
                  <a:gd name="T27" fmla="*/ 13 h 618"/>
                  <a:gd name="T28" fmla="*/ 440 w 618"/>
                  <a:gd name="T29" fmla="*/ 29 h 618"/>
                  <a:gd name="T30" fmla="*/ 477 w 618"/>
                  <a:gd name="T31" fmla="*/ 50 h 618"/>
                  <a:gd name="T32" fmla="*/ 511 w 618"/>
                  <a:gd name="T33" fmla="*/ 76 h 618"/>
                  <a:gd name="T34" fmla="*/ 542 w 618"/>
                  <a:gd name="T35" fmla="*/ 106 h 618"/>
                  <a:gd name="T36" fmla="*/ 568 w 618"/>
                  <a:gd name="T37" fmla="*/ 141 h 618"/>
                  <a:gd name="T38" fmla="*/ 589 w 618"/>
                  <a:gd name="T39" fmla="*/ 179 h 618"/>
                  <a:gd name="T40" fmla="*/ 604 w 618"/>
                  <a:gd name="T41" fmla="*/ 220 h 618"/>
                  <a:gd name="T42" fmla="*/ 614 w 618"/>
                  <a:gd name="T43" fmla="*/ 264 h 618"/>
                  <a:gd name="T44" fmla="*/ 618 w 618"/>
                  <a:gd name="T45" fmla="*/ 309 h 618"/>
                  <a:gd name="T46" fmla="*/ 614 w 618"/>
                  <a:gd name="T47" fmla="*/ 355 h 618"/>
                  <a:gd name="T48" fmla="*/ 604 w 618"/>
                  <a:gd name="T49" fmla="*/ 398 h 618"/>
                  <a:gd name="T50" fmla="*/ 589 w 618"/>
                  <a:gd name="T51" fmla="*/ 439 h 618"/>
                  <a:gd name="T52" fmla="*/ 568 w 618"/>
                  <a:gd name="T53" fmla="*/ 477 h 618"/>
                  <a:gd name="T54" fmla="*/ 542 w 618"/>
                  <a:gd name="T55" fmla="*/ 511 h 618"/>
                  <a:gd name="T56" fmla="*/ 511 w 618"/>
                  <a:gd name="T57" fmla="*/ 542 h 618"/>
                  <a:gd name="T58" fmla="*/ 477 w 618"/>
                  <a:gd name="T59" fmla="*/ 568 h 618"/>
                  <a:gd name="T60" fmla="*/ 440 w 618"/>
                  <a:gd name="T61" fmla="*/ 588 h 618"/>
                  <a:gd name="T62" fmla="*/ 399 w 618"/>
                  <a:gd name="T63" fmla="*/ 604 h 618"/>
                  <a:gd name="T64" fmla="*/ 354 w 618"/>
                  <a:gd name="T65" fmla="*/ 615 h 618"/>
                  <a:gd name="T66" fmla="*/ 309 w 618"/>
                  <a:gd name="T67" fmla="*/ 618 h 618"/>
                  <a:gd name="T68" fmla="*/ 264 w 618"/>
                  <a:gd name="T69" fmla="*/ 615 h 618"/>
                  <a:gd name="T70" fmla="*/ 219 w 618"/>
                  <a:gd name="T71" fmla="*/ 604 h 618"/>
                  <a:gd name="T72" fmla="*/ 179 w 618"/>
                  <a:gd name="T73" fmla="*/ 588 h 618"/>
                  <a:gd name="T74" fmla="*/ 141 w 618"/>
                  <a:gd name="T75" fmla="*/ 568 h 618"/>
                  <a:gd name="T76" fmla="*/ 107 w 618"/>
                  <a:gd name="T77" fmla="*/ 542 h 618"/>
                  <a:gd name="T78" fmla="*/ 76 w 618"/>
                  <a:gd name="T79" fmla="*/ 511 h 618"/>
                  <a:gd name="T80" fmla="*/ 50 w 618"/>
                  <a:gd name="T81" fmla="*/ 477 h 618"/>
                  <a:gd name="T82" fmla="*/ 29 w 618"/>
                  <a:gd name="T83" fmla="*/ 439 h 618"/>
                  <a:gd name="T84" fmla="*/ 14 w 618"/>
                  <a:gd name="T85" fmla="*/ 398 h 618"/>
                  <a:gd name="T86" fmla="*/ 4 w 618"/>
                  <a:gd name="T87" fmla="*/ 355 h 618"/>
                  <a:gd name="T88" fmla="*/ 0 w 618"/>
                  <a:gd name="T89" fmla="*/ 309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8" h="618">
                    <a:moveTo>
                      <a:pt x="0" y="309"/>
                    </a:moveTo>
                    <a:lnTo>
                      <a:pt x="4" y="264"/>
                    </a:lnTo>
                    <a:lnTo>
                      <a:pt x="14" y="220"/>
                    </a:lnTo>
                    <a:lnTo>
                      <a:pt x="29" y="179"/>
                    </a:lnTo>
                    <a:lnTo>
                      <a:pt x="50" y="141"/>
                    </a:lnTo>
                    <a:lnTo>
                      <a:pt x="76" y="106"/>
                    </a:lnTo>
                    <a:lnTo>
                      <a:pt x="107" y="76"/>
                    </a:lnTo>
                    <a:lnTo>
                      <a:pt x="141" y="50"/>
                    </a:lnTo>
                    <a:lnTo>
                      <a:pt x="179" y="29"/>
                    </a:lnTo>
                    <a:lnTo>
                      <a:pt x="219" y="13"/>
                    </a:lnTo>
                    <a:lnTo>
                      <a:pt x="264" y="4"/>
                    </a:lnTo>
                    <a:lnTo>
                      <a:pt x="309" y="0"/>
                    </a:lnTo>
                    <a:lnTo>
                      <a:pt x="354" y="4"/>
                    </a:lnTo>
                    <a:lnTo>
                      <a:pt x="399" y="13"/>
                    </a:lnTo>
                    <a:lnTo>
                      <a:pt x="440" y="29"/>
                    </a:lnTo>
                    <a:lnTo>
                      <a:pt x="477" y="50"/>
                    </a:lnTo>
                    <a:lnTo>
                      <a:pt x="511" y="76"/>
                    </a:lnTo>
                    <a:lnTo>
                      <a:pt x="542" y="106"/>
                    </a:lnTo>
                    <a:lnTo>
                      <a:pt x="568" y="141"/>
                    </a:lnTo>
                    <a:lnTo>
                      <a:pt x="589" y="179"/>
                    </a:lnTo>
                    <a:lnTo>
                      <a:pt x="604" y="220"/>
                    </a:lnTo>
                    <a:lnTo>
                      <a:pt x="614" y="264"/>
                    </a:lnTo>
                    <a:lnTo>
                      <a:pt x="618" y="309"/>
                    </a:lnTo>
                    <a:lnTo>
                      <a:pt x="614" y="355"/>
                    </a:lnTo>
                    <a:lnTo>
                      <a:pt x="604" y="398"/>
                    </a:lnTo>
                    <a:lnTo>
                      <a:pt x="589" y="439"/>
                    </a:lnTo>
                    <a:lnTo>
                      <a:pt x="568" y="477"/>
                    </a:lnTo>
                    <a:lnTo>
                      <a:pt x="542" y="511"/>
                    </a:lnTo>
                    <a:lnTo>
                      <a:pt x="511" y="542"/>
                    </a:lnTo>
                    <a:lnTo>
                      <a:pt x="477" y="568"/>
                    </a:lnTo>
                    <a:lnTo>
                      <a:pt x="440" y="588"/>
                    </a:lnTo>
                    <a:lnTo>
                      <a:pt x="399" y="604"/>
                    </a:lnTo>
                    <a:lnTo>
                      <a:pt x="354" y="615"/>
                    </a:lnTo>
                    <a:lnTo>
                      <a:pt x="309" y="618"/>
                    </a:lnTo>
                    <a:lnTo>
                      <a:pt x="264" y="615"/>
                    </a:lnTo>
                    <a:lnTo>
                      <a:pt x="219" y="604"/>
                    </a:lnTo>
                    <a:lnTo>
                      <a:pt x="179" y="588"/>
                    </a:lnTo>
                    <a:lnTo>
                      <a:pt x="141" y="568"/>
                    </a:lnTo>
                    <a:lnTo>
                      <a:pt x="107" y="542"/>
                    </a:lnTo>
                    <a:lnTo>
                      <a:pt x="76" y="511"/>
                    </a:lnTo>
                    <a:lnTo>
                      <a:pt x="50" y="477"/>
                    </a:lnTo>
                    <a:lnTo>
                      <a:pt x="29" y="439"/>
                    </a:lnTo>
                    <a:lnTo>
                      <a:pt x="14" y="398"/>
                    </a:lnTo>
                    <a:lnTo>
                      <a:pt x="4" y="355"/>
                    </a:lnTo>
                    <a:lnTo>
                      <a:pt x="0" y="309"/>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latin typeface="+mn-lt"/>
                  <a:ea typeface="楷体" panose="02010609060101010101" pitchFamily="49" charset="-122"/>
                </a:endParaRPr>
              </a:p>
            </p:txBody>
          </p:sp>
          <p:sp>
            <p:nvSpPr>
              <p:cNvPr id="266" name="Freeform 265"/>
              <p:cNvSpPr>
                <a:spLocks/>
              </p:cNvSpPr>
              <p:nvPr/>
            </p:nvSpPr>
            <p:spPr bwMode="auto">
              <a:xfrm>
                <a:off x="6722441" y="5501852"/>
                <a:ext cx="263776" cy="263776"/>
              </a:xfrm>
              <a:custGeom>
                <a:avLst/>
                <a:gdLst>
                  <a:gd name="T0" fmla="*/ 0 w 471"/>
                  <a:gd name="T1" fmla="*/ 235 h 471"/>
                  <a:gd name="T2" fmla="*/ 4 w 471"/>
                  <a:gd name="T3" fmla="*/ 198 h 471"/>
                  <a:gd name="T4" fmla="*/ 13 w 471"/>
                  <a:gd name="T5" fmla="*/ 161 h 471"/>
                  <a:gd name="T6" fmla="*/ 26 w 471"/>
                  <a:gd name="T7" fmla="*/ 127 h 471"/>
                  <a:gd name="T8" fmla="*/ 46 w 471"/>
                  <a:gd name="T9" fmla="*/ 97 h 471"/>
                  <a:gd name="T10" fmla="*/ 69 w 471"/>
                  <a:gd name="T11" fmla="*/ 69 h 471"/>
                  <a:gd name="T12" fmla="*/ 97 w 471"/>
                  <a:gd name="T13" fmla="*/ 46 h 471"/>
                  <a:gd name="T14" fmla="*/ 127 w 471"/>
                  <a:gd name="T15" fmla="*/ 26 h 471"/>
                  <a:gd name="T16" fmla="*/ 161 w 471"/>
                  <a:gd name="T17" fmla="*/ 12 h 471"/>
                  <a:gd name="T18" fmla="*/ 198 w 471"/>
                  <a:gd name="T19" fmla="*/ 4 h 471"/>
                  <a:gd name="T20" fmla="*/ 236 w 471"/>
                  <a:gd name="T21" fmla="*/ 0 h 471"/>
                  <a:gd name="T22" fmla="*/ 275 w 471"/>
                  <a:gd name="T23" fmla="*/ 4 h 471"/>
                  <a:gd name="T24" fmla="*/ 310 w 471"/>
                  <a:gd name="T25" fmla="*/ 12 h 471"/>
                  <a:gd name="T26" fmla="*/ 344 w 471"/>
                  <a:gd name="T27" fmla="*/ 26 h 471"/>
                  <a:gd name="T28" fmla="*/ 375 w 471"/>
                  <a:gd name="T29" fmla="*/ 46 h 471"/>
                  <a:gd name="T30" fmla="*/ 403 w 471"/>
                  <a:gd name="T31" fmla="*/ 69 h 471"/>
                  <a:gd name="T32" fmla="*/ 426 w 471"/>
                  <a:gd name="T33" fmla="*/ 97 h 471"/>
                  <a:gd name="T34" fmla="*/ 445 w 471"/>
                  <a:gd name="T35" fmla="*/ 127 h 471"/>
                  <a:gd name="T36" fmla="*/ 460 w 471"/>
                  <a:gd name="T37" fmla="*/ 161 h 471"/>
                  <a:gd name="T38" fmla="*/ 469 w 471"/>
                  <a:gd name="T39" fmla="*/ 198 h 471"/>
                  <a:gd name="T40" fmla="*/ 471 w 471"/>
                  <a:gd name="T41" fmla="*/ 235 h 471"/>
                  <a:gd name="T42" fmla="*/ 469 w 471"/>
                  <a:gd name="T43" fmla="*/ 274 h 471"/>
                  <a:gd name="T44" fmla="*/ 460 w 471"/>
                  <a:gd name="T45" fmla="*/ 310 h 471"/>
                  <a:gd name="T46" fmla="*/ 445 w 471"/>
                  <a:gd name="T47" fmla="*/ 344 h 471"/>
                  <a:gd name="T48" fmla="*/ 426 w 471"/>
                  <a:gd name="T49" fmla="*/ 375 h 471"/>
                  <a:gd name="T50" fmla="*/ 403 w 471"/>
                  <a:gd name="T51" fmla="*/ 402 h 471"/>
                  <a:gd name="T52" fmla="*/ 375 w 471"/>
                  <a:gd name="T53" fmla="*/ 426 h 471"/>
                  <a:gd name="T54" fmla="*/ 344 w 471"/>
                  <a:gd name="T55" fmla="*/ 445 h 471"/>
                  <a:gd name="T56" fmla="*/ 310 w 471"/>
                  <a:gd name="T57" fmla="*/ 460 h 471"/>
                  <a:gd name="T58" fmla="*/ 275 w 471"/>
                  <a:gd name="T59" fmla="*/ 468 h 471"/>
                  <a:gd name="T60" fmla="*/ 236 w 471"/>
                  <a:gd name="T61" fmla="*/ 471 h 471"/>
                  <a:gd name="T62" fmla="*/ 198 w 471"/>
                  <a:gd name="T63" fmla="*/ 468 h 471"/>
                  <a:gd name="T64" fmla="*/ 161 w 471"/>
                  <a:gd name="T65" fmla="*/ 460 h 471"/>
                  <a:gd name="T66" fmla="*/ 127 w 471"/>
                  <a:gd name="T67" fmla="*/ 445 h 471"/>
                  <a:gd name="T68" fmla="*/ 97 w 471"/>
                  <a:gd name="T69" fmla="*/ 426 h 471"/>
                  <a:gd name="T70" fmla="*/ 69 w 471"/>
                  <a:gd name="T71" fmla="*/ 402 h 471"/>
                  <a:gd name="T72" fmla="*/ 46 w 471"/>
                  <a:gd name="T73" fmla="*/ 375 h 471"/>
                  <a:gd name="T74" fmla="*/ 26 w 471"/>
                  <a:gd name="T75" fmla="*/ 344 h 471"/>
                  <a:gd name="T76" fmla="*/ 13 w 471"/>
                  <a:gd name="T77" fmla="*/ 310 h 471"/>
                  <a:gd name="T78" fmla="*/ 4 w 471"/>
                  <a:gd name="T79" fmla="*/ 274 h 471"/>
                  <a:gd name="T80" fmla="*/ 0 w 471"/>
                  <a:gd name="T81" fmla="*/ 235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1" h="471">
                    <a:moveTo>
                      <a:pt x="0" y="235"/>
                    </a:moveTo>
                    <a:lnTo>
                      <a:pt x="4" y="198"/>
                    </a:lnTo>
                    <a:lnTo>
                      <a:pt x="13" y="161"/>
                    </a:lnTo>
                    <a:lnTo>
                      <a:pt x="26" y="127"/>
                    </a:lnTo>
                    <a:lnTo>
                      <a:pt x="46" y="97"/>
                    </a:lnTo>
                    <a:lnTo>
                      <a:pt x="69" y="69"/>
                    </a:lnTo>
                    <a:lnTo>
                      <a:pt x="97" y="46"/>
                    </a:lnTo>
                    <a:lnTo>
                      <a:pt x="127" y="26"/>
                    </a:lnTo>
                    <a:lnTo>
                      <a:pt x="161" y="12"/>
                    </a:lnTo>
                    <a:lnTo>
                      <a:pt x="198" y="4"/>
                    </a:lnTo>
                    <a:lnTo>
                      <a:pt x="236" y="0"/>
                    </a:lnTo>
                    <a:lnTo>
                      <a:pt x="275" y="4"/>
                    </a:lnTo>
                    <a:lnTo>
                      <a:pt x="310" y="12"/>
                    </a:lnTo>
                    <a:lnTo>
                      <a:pt x="344" y="26"/>
                    </a:lnTo>
                    <a:lnTo>
                      <a:pt x="375" y="46"/>
                    </a:lnTo>
                    <a:lnTo>
                      <a:pt x="403" y="69"/>
                    </a:lnTo>
                    <a:lnTo>
                      <a:pt x="426" y="97"/>
                    </a:lnTo>
                    <a:lnTo>
                      <a:pt x="445" y="127"/>
                    </a:lnTo>
                    <a:lnTo>
                      <a:pt x="460" y="161"/>
                    </a:lnTo>
                    <a:lnTo>
                      <a:pt x="469" y="198"/>
                    </a:lnTo>
                    <a:lnTo>
                      <a:pt x="471" y="235"/>
                    </a:lnTo>
                    <a:lnTo>
                      <a:pt x="469" y="274"/>
                    </a:lnTo>
                    <a:lnTo>
                      <a:pt x="460" y="310"/>
                    </a:lnTo>
                    <a:lnTo>
                      <a:pt x="445" y="344"/>
                    </a:lnTo>
                    <a:lnTo>
                      <a:pt x="426" y="375"/>
                    </a:lnTo>
                    <a:lnTo>
                      <a:pt x="403" y="402"/>
                    </a:lnTo>
                    <a:lnTo>
                      <a:pt x="375" y="426"/>
                    </a:lnTo>
                    <a:lnTo>
                      <a:pt x="344" y="445"/>
                    </a:lnTo>
                    <a:lnTo>
                      <a:pt x="310" y="460"/>
                    </a:lnTo>
                    <a:lnTo>
                      <a:pt x="275" y="468"/>
                    </a:lnTo>
                    <a:lnTo>
                      <a:pt x="236" y="471"/>
                    </a:lnTo>
                    <a:lnTo>
                      <a:pt x="198" y="468"/>
                    </a:lnTo>
                    <a:lnTo>
                      <a:pt x="161" y="460"/>
                    </a:lnTo>
                    <a:lnTo>
                      <a:pt x="127" y="445"/>
                    </a:lnTo>
                    <a:lnTo>
                      <a:pt x="97" y="426"/>
                    </a:lnTo>
                    <a:lnTo>
                      <a:pt x="69" y="402"/>
                    </a:lnTo>
                    <a:lnTo>
                      <a:pt x="46" y="375"/>
                    </a:lnTo>
                    <a:lnTo>
                      <a:pt x="26" y="344"/>
                    </a:lnTo>
                    <a:lnTo>
                      <a:pt x="13" y="310"/>
                    </a:lnTo>
                    <a:lnTo>
                      <a:pt x="4" y="274"/>
                    </a:lnTo>
                    <a:lnTo>
                      <a:pt x="0" y="235"/>
                    </a:ln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latin typeface="+mn-lt"/>
                  <a:ea typeface="楷体" panose="02010609060101010101" pitchFamily="49" charset="-122"/>
                </a:endParaRPr>
              </a:p>
            </p:txBody>
          </p:sp>
          <p:sp>
            <p:nvSpPr>
              <p:cNvPr id="267" name="Freeform 266"/>
              <p:cNvSpPr>
                <a:spLocks/>
              </p:cNvSpPr>
              <p:nvPr/>
            </p:nvSpPr>
            <p:spPr bwMode="auto">
              <a:xfrm>
                <a:off x="6829409" y="5608258"/>
                <a:ext cx="51523" cy="51523"/>
              </a:xfrm>
              <a:custGeom>
                <a:avLst/>
                <a:gdLst>
                  <a:gd name="T0" fmla="*/ 0 w 92"/>
                  <a:gd name="T1" fmla="*/ 45 h 92"/>
                  <a:gd name="T2" fmla="*/ 2 w 92"/>
                  <a:gd name="T3" fmla="*/ 32 h 92"/>
                  <a:gd name="T4" fmla="*/ 9 w 92"/>
                  <a:gd name="T5" fmla="*/ 19 h 92"/>
                  <a:gd name="T6" fmla="*/ 18 w 92"/>
                  <a:gd name="T7" fmla="*/ 9 h 92"/>
                  <a:gd name="T8" fmla="*/ 30 w 92"/>
                  <a:gd name="T9" fmla="*/ 2 h 92"/>
                  <a:gd name="T10" fmla="*/ 45 w 92"/>
                  <a:gd name="T11" fmla="*/ 0 h 92"/>
                  <a:gd name="T12" fmla="*/ 60 w 92"/>
                  <a:gd name="T13" fmla="*/ 2 h 92"/>
                  <a:gd name="T14" fmla="*/ 72 w 92"/>
                  <a:gd name="T15" fmla="*/ 9 h 92"/>
                  <a:gd name="T16" fmla="*/ 83 w 92"/>
                  <a:gd name="T17" fmla="*/ 19 h 92"/>
                  <a:gd name="T18" fmla="*/ 89 w 92"/>
                  <a:gd name="T19" fmla="*/ 32 h 92"/>
                  <a:gd name="T20" fmla="*/ 92 w 92"/>
                  <a:gd name="T21" fmla="*/ 45 h 92"/>
                  <a:gd name="T22" fmla="*/ 89 w 92"/>
                  <a:gd name="T23" fmla="*/ 60 h 92"/>
                  <a:gd name="T24" fmla="*/ 83 w 92"/>
                  <a:gd name="T25" fmla="*/ 72 h 92"/>
                  <a:gd name="T26" fmla="*/ 72 w 92"/>
                  <a:gd name="T27" fmla="*/ 83 h 92"/>
                  <a:gd name="T28" fmla="*/ 60 w 92"/>
                  <a:gd name="T29" fmla="*/ 89 h 92"/>
                  <a:gd name="T30" fmla="*/ 45 w 92"/>
                  <a:gd name="T31" fmla="*/ 92 h 92"/>
                  <a:gd name="T32" fmla="*/ 30 w 92"/>
                  <a:gd name="T33" fmla="*/ 89 h 92"/>
                  <a:gd name="T34" fmla="*/ 18 w 92"/>
                  <a:gd name="T35" fmla="*/ 83 h 92"/>
                  <a:gd name="T36" fmla="*/ 9 w 92"/>
                  <a:gd name="T37" fmla="*/ 72 h 92"/>
                  <a:gd name="T38" fmla="*/ 2 w 92"/>
                  <a:gd name="T39" fmla="*/ 60 h 92"/>
                  <a:gd name="T40" fmla="*/ 0 w 92"/>
                  <a:gd name="T41" fmla="*/ 4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92">
                    <a:moveTo>
                      <a:pt x="0" y="45"/>
                    </a:moveTo>
                    <a:lnTo>
                      <a:pt x="2" y="32"/>
                    </a:lnTo>
                    <a:lnTo>
                      <a:pt x="9" y="19"/>
                    </a:lnTo>
                    <a:lnTo>
                      <a:pt x="18" y="9"/>
                    </a:lnTo>
                    <a:lnTo>
                      <a:pt x="30" y="2"/>
                    </a:lnTo>
                    <a:lnTo>
                      <a:pt x="45" y="0"/>
                    </a:lnTo>
                    <a:lnTo>
                      <a:pt x="60" y="2"/>
                    </a:lnTo>
                    <a:lnTo>
                      <a:pt x="72" y="9"/>
                    </a:lnTo>
                    <a:lnTo>
                      <a:pt x="83" y="19"/>
                    </a:lnTo>
                    <a:lnTo>
                      <a:pt x="89" y="32"/>
                    </a:lnTo>
                    <a:lnTo>
                      <a:pt x="92" y="45"/>
                    </a:lnTo>
                    <a:lnTo>
                      <a:pt x="89" y="60"/>
                    </a:lnTo>
                    <a:lnTo>
                      <a:pt x="83" y="72"/>
                    </a:lnTo>
                    <a:lnTo>
                      <a:pt x="72" y="83"/>
                    </a:lnTo>
                    <a:lnTo>
                      <a:pt x="60" y="89"/>
                    </a:lnTo>
                    <a:lnTo>
                      <a:pt x="45" y="92"/>
                    </a:lnTo>
                    <a:lnTo>
                      <a:pt x="30" y="89"/>
                    </a:lnTo>
                    <a:lnTo>
                      <a:pt x="18" y="83"/>
                    </a:lnTo>
                    <a:lnTo>
                      <a:pt x="9" y="72"/>
                    </a:lnTo>
                    <a:lnTo>
                      <a:pt x="2" y="60"/>
                    </a:lnTo>
                    <a:lnTo>
                      <a:pt x="0" y="45"/>
                    </a:lnTo>
                    <a:close/>
                  </a:path>
                </a:pathLst>
              </a:custGeom>
              <a:solidFill>
                <a:schemeClr val="accent6">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latin typeface="+mn-lt"/>
                  <a:ea typeface="楷体" panose="02010609060101010101" pitchFamily="49" charset="-122"/>
                </a:endParaRPr>
              </a:p>
            </p:txBody>
          </p:sp>
          <p:sp>
            <p:nvSpPr>
              <p:cNvPr id="268" name="Freeform 267"/>
              <p:cNvSpPr>
                <a:spLocks/>
              </p:cNvSpPr>
              <p:nvPr/>
            </p:nvSpPr>
            <p:spPr bwMode="auto">
              <a:xfrm>
                <a:off x="6840610" y="5619459"/>
                <a:ext cx="28001" cy="28001"/>
              </a:xfrm>
              <a:custGeom>
                <a:avLst/>
                <a:gdLst>
                  <a:gd name="T0" fmla="*/ 0 w 50"/>
                  <a:gd name="T1" fmla="*/ 25 h 50"/>
                  <a:gd name="T2" fmla="*/ 3 w 50"/>
                  <a:gd name="T3" fmla="*/ 16 h 50"/>
                  <a:gd name="T4" fmla="*/ 8 w 50"/>
                  <a:gd name="T5" fmla="*/ 8 h 50"/>
                  <a:gd name="T6" fmla="*/ 16 w 50"/>
                  <a:gd name="T7" fmla="*/ 2 h 50"/>
                  <a:gd name="T8" fmla="*/ 25 w 50"/>
                  <a:gd name="T9" fmla="*/ 0 h 50"/>
                  <a:gd name="T10" fmla="*/ 35 w 50"/>
                  <a:gd name="T11" fmla="*/ 2 h 50"/>
                  <a:gd name="T12" fmla="*/ 43 w 50"/>
                  <a:gd name="T13" fmla="*/ 8 h 50"/>
                  <a:gd name="T14" fmla="*/ 48 w 50"/>
                  <a:gd name="T15" fmla="*/ 16 h 50"/>
                  <a:gd name="T16" fmla="*/ 50 w 50"/>
                  <a:gd name="T17" fmla="*/ 25 h 50"/>
                  <a:gd name="T18" fmla="*/ 48 w 50"/>
                  <a:gd name="T19" fmla="*/ 35 h 50"/>
                  <a:gd name="T20" fmla="*/ 43 w 50"/>
                  <a:gd name="T21" fmla="*/ 43 h 50"/>
                  <a:gd name="T22" fmla="*/ 35 w 50"/>
                  <a:gd name="T23" fmla="*/ 49 h 50"/>
                  <a:gd name="T24" fmla="*/ 25 w 50"/>
                  <a:gd name="T25" fmla="*/ 50 h 50"/>
                  <a:gd name="T26" fmla="*/ 16 w 50"/>
                  <a:gd name="T27" fmla="*/ 49 h 50"/>
                  <a:gd name="T28" fmla="*/ 8 w 50"/>
                  <a:gd name="T29" fmla="*/ 43 h 50"/>
                  <a:gd name="T30" fmla="*/ 3 w 50"/>
                  <a:gd name="T31" fmla="*/ 35 h 50"/>
                  <a:gd name="T32" fmla="*/ 0 w 50"/>
                  <a:gd name="T33"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50">
                    <a:moveTo>
                      <a:pt x="0" y="25"/>
                    </a:moveTo>
                    <a:lnTo>
                      <a:pt x="3" y="16"/>
                    </a:lnTo>
                    <a:lnTo>
                      <a:pt x="8" y="8"/>
                    </a:lnTo>
                    <a:lnTo>
                      <a:pt x="16" y="2"/>
                    </a:lnTo>
                    <a:lnTo>
                      <a:pt x="25" y="0"/>
                    </a:lnTo>
                    <a:lnTo>
                      <a:pt x="35" y="2"/>
                    </a:lnTo>
                    <a:lnTo>
                      <a:pt x="43" y="8"/>
                    </a:lnTo>
                    <a:lnTo>
                      <a:pt x="48" y="16"/>
                    </a:lnTo>
                    <a:lnTo>
                      <a:pt x="50" y="25"/>
                    </a:lnTo>
                    <a:lnTo>
                      <a:pt x="48" y="35"/>
                    </a:lnTo>
                    <a:lnTo>
                      <a:pt x="43" y="43"/>
                    </a:lnTo>
                    <a:lnTo>
                      <a:pt x="35" y="49"/>
                    </a:lnTo>
                    <a:lnTo>
                      <a:pt x="25" y="50"/>
                    </a:lnTo>
                    <a:lnTo>
                      <a:pt x="16" y="49"/>
                    </a:lnTo>
                    <a:lnTo>
                      <a:pt x="8" y="43"/>
                    </a:lnTo>
                    <a:lnTo>
                      <a:pt x="3" y="35"/>
                    </a:lnTo>
                    <a:lnTo>
                      <a:pt x="0" y="25"/>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latin typeface="+mn-lt"/>
                  <a:ea typeface="楷体" panose="02010609060101010101" pitchFamily="49" charset="-122"/>
                </a:endParaRPr>
              </a:p>
            </p:txBody>
          </p:sp>
        </p:grpSp>
      </p:grpSp>
      <p:cxnSp>
        <p:nvCxnSpPr>
          <p:cNvPr id="447" name="Straight Connector 446"/>
          <p:cNvCxnSpPr>
            <a:cxnSpLocks/>
          </p:cNvCxnSpPr>
          <p:nvPr/>
        </p:nvCxnSpPr>
        <p:spPr>
          <a:xfrm>
            <a:off x="4712989" y="1168400"/>
            <a:ext cx="0" cy="5036301"/>
          </a:xfrm>
          <a:prstGeom prst="line">
            <a:avLst/>
          </a:prstGeom>
          <a:ln w="9525">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p:nvCxnSpPr>
        <p:spPr>
          <a:xfrm>
            <a:off x="1374211" y="4591050"/>
            <a:ext cx="3025386" cy="0"/>
          </a:xfrm>
          <a:prstGeom prst="line">
            <a:avLst/>
          </a:prstGeom>
          <a:ln w="9525">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448" name="Straight Connector 447"/>
          <p:cNvCxnSpPr>
            <a:cxnSpLocks/>
          </p:cNvCxnSpPr>
          <p:nvPr/>
        </p:nvCxnSpPr>
        <p:spPr>
          <a:xfrm>
            <a:off x="5026381" y="3638550"/>
            <a:ext cx="3772179" cy="0"/>
          </a:xfrm>
          <a:prstGeom prst="line">
            <a:avLst/>
          </a:prstGeom>
          <a:ln w="9525">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28" name="Rectangle 27"/>
          <p:cNvSpPr>
            <a:spLocks/>
          </p:cNvSpPr>
          <p:nvPr/>
        </p:nvSpPr>
        <p:spPr>
          <a:xfrm>
            <a:off x="1265291" y="1093059"/>
            <a:ext cx="7533269" cy="5230260"/>
          </a:xfrm>
          <a:custGeom>
            <a:avLst/>
            <a:gdLst>
              <a:gd name="connsiteX0" fmla="*/ 0 w 930255"/>
              <a:gd name="connsiteY0" fmla="*/ 0 h 614332"/>
              <a:gd name="connsiteX1" fmla="*/ 930255 w 930255"/>
              <a:gd name="connsiteY1" fmla="*/ 0 h 614332"/>
              <a:gd name="connsiteX2" fmla="*/ 930255 w 930255"/>
              <a:gd name="connsiteY2" fmla="*/ 614332 h 614332"/>
              <a:gd name="connsiteX3" fmla="*/ 0 w 930255"/>
              <a:gd name="connsiteY3" fmla="*/ 614332 h 614332"/>
              <a:gd name="connsiteX4" fmla="*/ 0 w 930255"/>
              <a:gd name="connsiteY4" fmla="*/ 0 h 614332"/>
              <a:gd name="connsiteX0" fmla="*/ 930255 w 1021695"/>
              <a:gd name="connsiteY0" fmla="*/ 614332 h 705772"/>
              <a:gd name="connsiteX1" fmla="*/ 0 w 1021695"/>
              <a:gd name="connsiteY1" fmla="*/ 614332 h 705772"/>
              <a:gd name="connsiteX2" fmla="*/ 0 w 1021695"/>
              <a:gd name="connsiteY2" fmla="*/ 0 h 705772"/>
              <a:gd name="connsiteX3" fmla="*/ 930255 w 1021695"/>
              <a:gd name="connsiteY3" fmla="*/ 0 h 705772"/>
              <a:gd name="connsiteX4" fmla="*/ 1021695 w 1021695"/>
              <a:gd name="connsiteY4" fmla="*/ 705772 h 705772"/>
              <a:gd name="connsiteX0" fmla="*/ 930255 w 930255"/>
              <a:gd name="connsiteY0" fmla="*/ 614332 h 614332"/>
              <a:gd name="connsiteX1" fmla="*/ 0 w 930255"/>
              <a:gd name="connsiteY1" fmla="*/ 614332 h 614332"/>
              <a:gd name="connsiteX2" fmla="*/ 0 w 930255"/>
              <a:gd name="connsiteY2" fmla="*/ 0 h 614332"/>
              <a:gd name="connsiteX3" fmla="*/ 930255 w 930255"/>
              <a:gd name="connsiteY3" fmla="*/ 0 h 614332"/>
              <a:gd name="connsiteX0" fmla="*/ 0 w 930255"/>
              <a:gd name="connsiteY0" fmla="*/ 614332 h 614332"/>
              <a:gd name="connsiteX1" fmla="*/ 0 w 930255"/>
              <a:gd name="connsiteY1" fmla="*/ 0 h 614332"/>
              <a:gd name="connsiteX2" fmla="*/ 930255 w 930255"/>
              <a:gd name="connsiteY2" fmla="*/ 0 h 614332"/>
            </a:gdLst>
            <a:ahLst/>
            <a:cxnLst>
              <a:cxn ang="0">
                <a:pos x="connsiteX0" y="connsiteY0"/>
              </a:cxn>
              <a:cxn ang="0">
                <a:pos x="connsiteX1" y="connsiteY1"/>
              </a:cxn>
              <a:cxn ang="0">
                <a:pos x="connsiteX2" y="connsiteY2"/>
              </a:cxn>
            </a:cxnLst>
            <a:rect l="l" t="t" r="r" b="b"/>
            <a:pathLst>
              <a:path w="930255" h="614332">
                <a:moveTo>
                  <a:pt x="0" y="614332"/>
                </a:moveTo>
                <a:lnTo>
                  <a:pt x="0" y="0"/>
                </a:lnTo>
                <a:lnTo>
                  <a:pt x="930255" y="0"/>
                </a:lnTo>
              </a:path>
            </a:pathLst>
          </a:custGeom>
          <a:ln w="3175">
            <a:solidFill>
              <a:srgbClr val="FFCA2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err="1">
              <a:solidFill>
                <a:schemeClr val="tx1"/>
              </a:solidFill>
              <a:ea typeface="楷体" panose="02010609060101010101" pitchFamily="49" charset="-122"/>
            </a:endParaRPr>
          </a:p>
        </p:txBody>
      </p:sp>
      <p:sp>
        <p:nvSpPr>
          <p:cNvPr id="449" name="Slide Number"/>
          <p:cNvSpPr txBox="1">
            <a:spLocks/>
          </p:cNvSpPr>
          <p:nvPr/>
        </p:nvSpPr>
        <p:spPr bwMode="auto">
          <a:xfrm>
            <a:off x="8564563" y="6508272"/>
            <a:ext cx="57708"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r>
              <a:rPr lang="zh-CN" sz="800" baseline="0" dirty="0">
                <a:solidFill>
                  <a:schemeClr val="bg1"/>
                </a:solidFill>
                <a:ea typeface="楷体" panose="02010609060101010101" pitchFamily="49" charset="-122"/>
                <a:cs typeface="SimSun"/>
              </a:rPr>
              <a:t>9</a:t>
            </a:r>
          </a:p>
        </p:txBody>
      </p:sp>
      <p:sp>
        <p:nvSpPr>
          <p:cNvPr id="450" name="SlideLogoText"/>
          <p:cNvSpPr>
            <a:spLocks noChangeArrowheads="1"/>
          </p:cNvSpPr>
          <p:nvPr>
            <p:custDataLst>
              <p:tags r:id="rId11"/>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zh-CN" sz="800" baseline="0" dirty="0">
                <a:solidFill>
                  <a:schemeClr val="bg1"/>
                </a:solidFill>
                <a:latin typeface="+mn-lt"/>
                <a:ea typeface="楷体" panose="02010609060101010101" pitchFamily="49" charset="-122"/>
                <a:cs typeface="SimSun"/>
              </a:rPr>
              <a:t>McKinsey &amp; Company</a:t>
            </a:r>
          </a:p>
        </p:txBody>
      </p:sp>
      <p:pic>
        <p:nvPicPr>
          <p:cNvPr id="306184" name="Picture 8"/>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333500" y="5219700"/>
            <a:ext cx="32512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428065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3" name="Group 82"/>
          <p:cNvGrpSpPr>
            <a:grpSpLocks/>
          </p:cNvGrpSpPr>
          <p:nvPr/>
        </p:nvGrpSpPr>
        <p:grpSpPr>
          <a:xfrm>
            <a:off x="0" y="-1"/>
            <a:ext cx="8961438" cy="6721475"/>
            <a:chOff x="749301" y="-1"/>
            <a:chExt cx="8961438" cy="6721475"/>
          </a:xfrm>
        </p:grpSpPr>
        <p:grpSp>
          <p:nvGrpSpPr>
            <p:cNvPr id="84" name="Group 83"/>
            <p:cNvGrpSpPr>
              <a:grpSpLocks/>
            </p:cNvGrpSpPr>
            <p:nvPr/>
          </p:nvGrpSpPr>
          <p:grpSpPr>
            <a:xfrm>
              <a:off x="749301" y="-1"/>
              <a:ext cx="8961438" cy="6721475"/>
              <a:chOff x="-12625388" y="-4110038"/>
              <a:chExt cx="11771313" cy="11769726"/>
            </a:xfrm>
          </p:grpSpPr>
          <p:sp>
            <p:nvSpPr>
              <p:cNvPr id="86" name="Freeform 305"/>
              <p:cNvSpPr>
                <a:spLocks noEditPoints="1"/>
              </p:cNvSpPr>
              <p:nvPr/>
            </p:nvSpPr>
            <p:spPr bwMode="auto">
              <a:xfrm>
                <a:off x="-12625388" y="-4110038"/>
                <a:ext cx="11771313" cy="11769725"/>
              </a:xfrm>
              <a:custGeom>
                <a:avLst/>
                <a:gdLst>
                  <a:gd name="T0" fmla="*/ 15360 w 15446"/>
                  <a:gd name="T1" fmla="*/ 14351 h 15446"/>
                  <a:gd name="T2" fmla="*/ 11037 w 15446"/>
                  <a:gd name="T3" fmla="*/ 13656 h 15446"/>
                  <a:gd name="T4" fmla="*/ 5936 w 15446"/>
                  <a:gd name="T5" fmla="*/ 12632 h 15446"/>
                  <a:gd name="T6" fmla="*/ 13164 w 15446"/>
                  <a:gd name="T7" fmla="*/ 15446 h 15446"/>
                  <a:gd name="T8" fmla="*/ 7984 w 15446"/>
                  <a:gd name="T9" fmla="*/ 14465 h 15446"/>
                  <a:gd name="T10" fmla="*/ 4300 w 15446"/>
                  <a:gd name="T11" fmla="*/ 15446 h 15446"/>
                  <a:gd name="T12" fmla="*/ 750 w 15446"/>
                  <a:gd name="T13" fmla="*/ 12746 h 15446"/>
                  <a:gd name="T14" fmla="*/ 750 w 15446"/>
                  <a:gd name="T15" fmla="*/ 12746 h 15446"/>
                  <a:gd name="T16" fmla="*/ 750 w 15446"/>
                  <a:gd name="T17" fmla="*/ 12746 h 15446"/>
                  <a:gd name="T18" fmla="*/ 371 w 15446"/>
                  <a:gd name="T19" fmla="*/ 15010 h 15446"/>
                  <a:gd name="T20" fmla="*/ 14542 w 15446"/>
                  <a:gd name="T21" fmla="*/ 0 h 15446"/>
                  <a:gd name="T22" fmla="*/ 7468 w 15446"/>
                  <a:gd name="T23" fmla="*/ 1574 h 15446"/>
                  <a:gd name="T24" fmla="*/ 7468 w 15446"/>
                  <a:gd name="T25" fmla="*/ 1574 h 15446"/>
                  <a:gd name="T26" fmla="*/ 3502 w 15446"/>
                  <a:gd name="T27" fmla="*/ 2789 h 15446"/>
                  <a:gd name="T28" fmla="*/ 1065 w 15446"/>
                  <a:gd name="T29" fmla="*/ 1273 h 15446"/>
                  <a:gd name="T30" fmla="*/ 120 w 15446"/>
                  <a:gd name="T31" fmla="*/ 3894 h 15446"/>
                  <a:gd name="T32" fmla="*/ 1145 w 15446"/>
                  <a:gd name="T33" fmla="*/ 6872 h 15446"/>
                  <a:gd name="T34" fmla="*/ 0 w 15446"/>
                  <a:gd name="T35" fmla="*/ 7970 h 15446"/>
                  <a:gd name="T36" fmla="*/ 2324 w 15446"/>
                  <a:gd name="T37" fmla="*/ 8914 h 15446"/>
                  <a:gd name="T38" fmla="*/ 3502 w 15446"/>
                  <a:gd name="T39" fmla="*/ 10955 h 15446"/>
                  <a:gd name="T40" fmla="*/ 2324 w 15446"/>
                  <a:gd name="T41" fmla="*/ 8914 h 15446"/>
                  <a:gd name="T42" fmla="*/ 586 w 15446"/>
                  <a:gd name="T43" fmla="*/ 11428 h 15446"/>
                  <a:gd name="T44" fmla="*/ 3502 w 15446"/>
                  <a:gd name="T45" fmla="*/ 10956 h 15446"/>
                  <a:gd name="T46" fmla="*/ 4943 w 15446"/>
                  <a:gd name="T47" fmla="*/ 15446 h 15446"/>
                  <a:gd name="T48" fmla="*/ 901 w 15446"/>
                  <a:gd name="T49" fmla="*/ 1246 h 15446"/>
                  <a:gd name="T50" fmla="*/ 2324 w 15446"/>
                  <a:gd name="T51" fmla="*/ 748 h 15446"/>
                  <a:gd name="T52" fmla="*/ 45 w 15446"/>
                  <a:gd name="T53" fmla="*/ 0 h 15446"/>
                  <a:gd name="T54" fmla="*/ 3737 w 15446"/>
                  <a:gd name="T55" fmla="*/ 15446 h 15446"/>
                  <a:gd name="T56" fmla="*/ 11037 w 15446"/>
                  <a:gd name="T57" fmla="*/ 13656 h 15446"/>
                  <a:gd name="T58" fmla="*/ 8413 w 15446"/>
                  <a:gd name="T59" fmla="*/ 8879 h 15446"/>
                  <a:gd name="T60" fmla="*/ 10777 w 15446"/>
                  <a:gd name="T61" fmla="*/ 9480 h 15446"/>
                  <a:gd name="T62" fmla="*/ 14110 w 15446"/>
                  <a:gd name="T63" fmla="*/ 8914 h 15446"/>
                  <a:gd name="T64" fmla="*/ 12931 w 15446"/>
                  <a:gd name="T65" fmla="*/ 10955 h 15446"/>
                  <a:gd name="T66" fmla="*/ 14110 w 15446"/>
                  <a:gd name="T67" fmla="*/ 12997 h 15446"/>
                  <a:gd name="T68" fmla="*/ 2324 w 15446"/>
                  <a:gd name="T69" fmla="*/ 12997 h 15446"/>
                  <a:gd name="T70" fmla="*/ 5935 w 15446"/>
                  <a:gd name="T71" fmla="*/ 12631 h 15446"/>
                  <a:gd name="T72" fmla="*/ 5936 w 15446"/>
                  <a:gd name="T73" fmla="*/ 12632 h 15446"/>
                  <a:gd name="T74" fmla="*/ 12931 w 15446"/>
                  <a:gd name="T75" fmla="*/ 6872 h 15446"/>
                  <a:gd name="T76" fmla="*/ 12931 w 15446"/>
                  <a:gd name="T77" fmla="*/ 6872 h 15446"/>
                  <a:gd name="T78" fmla="*/ 5860 w 15446"/>
                  <a:gd name="T79" fmla="*/ 6872 h 15446"/>
                  <a:gd name="T80" fmla="*/ 7038 w 15446"/>
                  <a:gd name="T81" fmla="*/ 8914 h 15446"/>
                  <a:gd name="T82" fmla="*/ 15446 w 15446"/>
                  <a:gd name="T83" fmla="*/ 8914 h 15446"/>
                  <a:gd name="T84" fmla="*/ 8217 w 15446"/>
                  <a:gd name="T85" fmla="*/ 6872 h 15446"/>
                  <a:gd name="T86" fmla="*/ 4159 w 15446"/>
                  <a:gd name="T87" fmla="*/ 4109 h 15446"/>
                  <a:gd name="T88" fmla="*/ 4159 w 15446"/>
                  <a:gd name="T89" fmla="*/ 4109 h 15446"/>
                  <a:gd name="T90" fmla="*/ 2557 w 15446"/>
                  <a:gd name="T91" fmla="*/ 7302 h 15446"/>
                  <a:gd name="T92" fmla="*/ 5860 w 15446"/>
                  <a:gd name="T93" fmla="*/ 6872 h 15446"/>
                  <a:gd name="T94" fmla="*/ 15446 w 15446"/>
                  <a:gd name="T95" fmla="*/ 7072 h 15446"/>
                  <a:gd name="T96" fmla="*/ 10574 w 15446"/>
                  <a:gd name="T97" fmla="*/ 6872 h 15446"/>
                  <a:gd name="T98" fmla="*/ 10574 w 15446"/>
                  <a:gd name="T99" fmla="*/ 6872 h 15446"/>
                  <a:gd name="T100" fmla="*/ 9316 w 15446"/>
                  <a:gd name="T101" fmla="*/ 6257 h 15446"/>
                  <a:gd name="T102" fmla="*/ 12655 w 15446"/>
                  <a:gd name="T103" fmla="*/ 5604 h 15446"/>
                  <a:gd name="T104" fmla="*/ 9316 w 15446"/>
                  <a:gd name="T105" fmla="*/ 6257 h 15446"/>
                  <a:gd name="T106" fmla="*/ 12655 w 15446"/>
                  <a:gd name="T107" fmla="*/ 5604 h 15446"/>
                  <a:gd name="T108" fmla="*/ 8410 w 15446"/>
                  <a:gd name="T109" fmla="*/ 2581 h 15446"/>
                  <a:gd name="T110" fmla="*/ 7038 w 15446"/>
                  <a:gd name="T111" fmla="*/ 4831 h 15446"/>
                  <a:gd name="T112" fmla="*/ 14110 w 15446"/>
                  <a:gd name="T113" fmla="*/ 4831 h 15446"/>
                  <a:gd name="T114" fmla="*/ 14110 w 15446"/>
                  <a:gd name="T115" fmla="*/ 4831 h 15446"/>
                  <a:gd name="T116" fmla="*/ 4603 w 15446"/>
                  <a:gd name="T117" fmla="*/ 3765 h 15446"/>
                  <a:gd name="T118" fmla="*/ 9396 w 15446"/>
                  <a:gd name="T119" fmla="*/ 748 h 15446"/>
                  <a:gd name="T120" fmla="*/ 5859 w 15446"/>
                  <a:gd name="T121" fmla="*/ 2790 h 15446"/>
                  <a:gd name="T122" fmla="*/ 15446 w 15446"/>
                  <a:gd name="T123" fmla="*/ 1876 h 15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46" h="15446">
                    <a:moveTo>
                      <a:pt x="14929" y="15446"/>
                    </a:moveTo>
                    <a:lnTo>
                      <a:pt x="14929" y="15446"/>
                    </a:lnTo>
                    <a:lnTo>
                      <a:pt x="15360" y="14351"/>
                    </a:lnTo>
                    <a:lnTo>
                      <a:pt x="13552" y="15446"/>
                    </a:lnTo>
                    <a:lnTo>
                      <a:pt x="15360" y="14351"/>
                    </a:lnTo>
                    <a:lnTo>
                      <a:pt x="14710" y="13647"/>
                    </a:lnTo>
                    <a:lnTo>
                      <a:pt x="15360" y="14351"/>
                    </a:lnTo>
                    <a:lnTo>
                      <a:pt x="15446" y="14344"/>
                    </a:lnTo>
                    <a:lnTo>
                      <a:pt x="15446" y="14344"/>
                    </a:lnTo>
                    <a:lnTo>
                      <a:pt x="15360" y="14351"/>
                    </a:lnTo>
                    <a:lnTo>
                      <a:pt x="14929" y="15446"/>
                    </a:lnTo>
                    <a:moveTo>
                      <a:pt x="13164" y="15446"/>
                    </a:moveTo>
                    <a:lnTo>
                      <a:pt x="13164" y="15446"/>
                    </a:lnTo>
                    <a:lnTo>
                      <a:pt x="11037" y="13656"/>
                    </a:lnTo>
                    <a:lnTo>
                      <a:pt x="11394" y="15446"/>
                    </a:lnTo>
                    <a:lnTo>
                      <a:pt x="11394" y="15446"/>
                    </a:lnTo>
                    <a:lnTo>
                      <a:pt x="11037" y="13656"/>
                    </a:lnTo>
                    <a:lnTo>
                      <a:pt x="9396" y="12997"/>
                    </a:lnTo>
                    <a:lnTo>
                      <a:pt x="9395" y="12997"/>
                    </a:lnTo>
                    <a:lnTo>
                      <a:pt x="9396" y="12997"/>
                    </a:lnTo>
                    <a:lnTo>
                      <a:pt x="5936" y="12632"/>
                    </a:lnTo>
                    <a:lnTo>
                      <a:pt x="9395" y="12997"/>
                    </a:lnTo>
                    <a:lnTo>
                      <a:pt x="9395" y="12997"/>
                    </a:lnTo>
                    <a:lnTo>
                      <a:pt x="11037" y="13656"/>
                    </a:lnTo>
                    <a:lnTo>
                      <a:pt x="11037" y="13656"/>
                    </a:lnTo>
                    <a:lnTo>
                      <a:pt x="11037" y="13656"/>
                    </a:lnTo>
                    <a:lnTo>
                      <a:pt x="11037" y="13656"/>
                    </a:lnTo>
                    <a:lnTo>
                      <a:pt x="13164" y="15446"/>
                    </a:lnTo>
                    <a:moveTo>
                      <a:pt x="8513" y="15446"/>
                    </a:moveTo>
                    <a:lnTo>
                      <a:pt x="6538" y="15446"/>
                    </a:lnTo>
                    <a:lnTo>
                      <a:pt x="7984" y="14465"/>
                    </a:lnTo>
                    <a:lnTo>
                      <a:pt x="6538" y="15446"/>
                    </a:lnTo>
                    <a:lnTo>
                      <a:pt x="7984" y="14465"/>
                    </a:lnTo>
                    <a:lnTo>
                      <a:pt x="7376" y="13922"/>
                    </a:lnTo>
                    <a:lnTo>
                      <a:pt x="7984" y="14465"/>
                    </a:lnTo>
                    <a:lnTo>
                      <a:pt x="8513" y="15446"/>
                    </a:lnTo>
                    <a:moveTo>
                      <a:pt x="4943" y="15446"/>
                    </a:moveTo>
                    <a:lnTo>
                      <a:pt x="4943" y="15446"/>
                    </a:lnTo>
                    <a:lnTo>
                      <a:pt x="3564" y="14028"/>
                    </a:lnTo>
                    <a:lnTo>
                      <a:pt x="3502" y="15039"/>
                    </a:lnTo>
                    <a:lnTo>
                      <a:pt x="4300" y="15446"/>
                    </a:lnTo>
                    <a:lnTo>
                      <a:pt x="4300" y="15446"/>
                    </a:lnTo>
                    <a:lnTo>
                      <a:pt x="3502" y="15039"/>
                    </a:lnTo>
                    <a:lnTo>
                      <a:pt x="3502" y="15039"/>
                    </a:lnTo>
                    <a:lnTo>
                      <a:pt x="3502" y="15039"/>
                    </a:lnTo>
                    <a:lnTo>
                      <a:pt x="3564" y="14028"/>
                    </a:lnTo>
                    <a:lnTo>
                      <a:pt x="2324" y="12997"/>
                    </a:lnTo>
                    <a:lnTo>
                      <a:pt x="2324" y="12997"/>
                    </a:lnTo>
                    <a:lnTo>
                      <a:pt x="750" y="12746"/>
                    </a:lnTo>
                    <a:lnTo>
                      <a:pt x="750" y="12746"/>
                    </a:lnTo>
                    <a:lnTo>
                      <a:pt x="750" y="12746"/>
                    </a:lnTo>
                    <a:lnTo>
                      <a:pt x="750" y="12746"/>
                    </a:lnTo>
                    <a:lnTo>
                      <a:pt x="586" y="11428"/>
                    </a:lnTo>
                    <a:lnTo>
                      <a:pt x="0" y="11274"/>
                    </a:lnTo>
                    <a:lnTo>
                      <a:pt x="0" y="12062"/>
                    </a:lnTo>
                    <a:lnTo>
                      <a:pt x="750" y="12746"/>
                    </a:lnTo>
                    <a:lnTo>
                      <a:pt x="750" y="12746"/>
                    </a:lnTo>
                    <a:lnTo>
                      <a:pt x="0" y="12062"/>
                    </a:lnTo>
                    <a:lnTo>
                      <a:pt x="750" y="12746"/>
                    </a:lnTo>
                    <a:lnTo>
                      <a:pt x="0" y="13667"/>
                    </a:lnTo>
                    <a:lnTo>
                      <a:pt x="0" y="15111"/>
                    </a:lnTo>
                    <a:lnTo>
                      <a:pt x="371" y="15010"/>
                    </a:lnTo>
                    <a:lnTo>
                      <a:pt x="750" y="12746"/>
                    </a:lnTo>
                    <a:lnTo>
                      <a:pt x="750" y="12746"/>
                    </a:lnTo>
                    <a:lnTo>
                      <a:pt x="372" y="15010"/>
                    </a:lnTo>
                    <a:lnTo>
                      <a:pt x="1152" y="14205"/>
                    </a:lnTo>
                    <a:lnTo>
                      <a:pt x="372" y="15010"/>
                    </a:lnTo>
                    <a:lnTo>
                      <a:pt x="482" y="15446"/>
                    </a:lnTo>
                    <a:lnTo>
                      <a:pt x="482" y="15446"/>
                    </a:lnTo>
                    <a:lnTo>
                      <a:pt x="371" y="15010"/>
                    </a:lnTo>
                    <a:lnTo>
                      <a:pt x="0" y="15111"/>
                    </a:lnTo>
                    <a:lnTo>
                      <a:pt x="0" y="15446"/>
                    </a:lnTo>
                    <a:lnTo>
                      <a:pt x="0" y="0"/>
                    </a:lnTo>
                    <a:lnTo>
                      <a:pt x="15446" y="0"/>
                    </a:lnTo>
                    <a:lnTo>
                      <a:pt x="14542" y="0"/>
                    </a:lnTo>
                    <a:lnTo>
                      <a:pt x="14110" y="748"/>
                    </a:lnTo>
                    <a:lnTo>
                      <a:pt x="14542" y="0"/>
                    </a:lnTo>
                    <a:lnTo>
                      <a:pt x="8964" y="0"/>
                    </a:lnTo>
                    <a:lnTo>
                      <a:pt x="9395" y="747"/>
                    </a:lnTo>
                    <a:lnTo>
                      <a:pt x="9395" y="747"/>
                    </a:lnTo>
                    <a:lnTo>
                      <a:pt x="8964" y="0"/>
                    </a:lnTo>
                    <a:lnTo>
                      <a:pt x="7879" y="0"/>
                    </a:lnTo>
                    <a:lnTo>
                      <a:pt x="7468" y="1574"/>
                    </a:lnTo>
                    <a:lnTo>
                      <a:pt x="7468" y="1574"/>
                    </a:lnTo>
                    <a:lnTo>
                      <a:pt x="7879" y="0"/>
                    </a:lnTo>
                    <a:lnTo>
                      <a:pt x="6111" y="0"/>
                    </a:lnTo>
                    <a:lnTo>
                      <a:pt x="7468" y="1574"/>
                    </a:lnTo>
                    <a:lnTo>
                      <a:pt x="6111" y="0"/>
                    </a:lnTo>
                    <a:lnTo>
                      <a:pt x="4249" y="0"/>
                    </a:lnTo>
                    <a:lnTo>
                      <a:pt x="4681" y="748"/>
                    </a:lnTo>
                    <a:lnTo>
                      <a:pt x="7468" y="1574"/>
                    </a:lnTo>
                    <a:lnTo>
                      <a:pt x="7468" y="1574"/>
                    </a:lnTo>
                    <a:lnTo>
                      <a:pt x="4681" y="748"/>
                    </a:lnTo>
                    <a:lnTo>
                      <a:pt x="5860" y="2789"/>
                    </a:lnTo>
                    <a:lnTo>
                      <a:pt x="5859" y="2789"/>
                    </a:lnTo>
                    <a:lnTo>
                      <a:pt x="4681" y="748"/>
                    </a:lnTo>
                    <a:lnTo>
                      <a:pt x="3502" y="2790"/>
                    </a:lnTo>
                    <a:lnTo>
                      <a:pt x="3502" y="2789"/>
                    </a:lnTo>
                    <a:lnTo>
                      <a:pt x="4681" y="748"/>
                    </a:lnTo>
                    <a:lnTo>
                      <a:pt x="2324" y="748"/>
                    </a:lnTo>
                    <a:lnTo>
                      <a:pt x="3502" y="2789"/>
                    </a:lnTo>
                    <a:lnTo>
                      <a:pt x="3502" y="2789"/>
                    </a:lnTo>
                    <a:lnTo>
                      <a:pt x="2324" y="748"/>
                    </a:lnTo>
                    <a:lnTo>
                      <a:pt x="1065" y="1273"/>
                    </a:lnTo>
                    <a:lnTo>
                      <a:pt x="1065" y="1273"/>
                    </a:lnTo>
                    <a:lnTo>
                      <a:pt x="1065" y="1273"/>
                    </a:lnTo>
                    <a:lnTo>
                      <a:pt x="1065" y="1273"/>
                    </a:lnTo>
                    <a:lnTo>
                      <a:pt x="120" y="3894"/>
                    </a:lnTo>
                    <a:lnTo>
                      <a:pt x="2324" y="4831"/>
                    </a:lnTo>
                    <a:lnTo>
                      <a:pt x="2324" y="4831"/>
                    </a:lnTo>
                    <a:lnTo>
                      <a:pt x="120" y="3894"/>
                    </a:lnTo>
                    <a:lnTo>
                      <a:pt x="120" y="3894"/>
                    </a:lnTo>
                    <a:lnTo>
                      <a:pt x="1065" y="1273"/>
                    </a:lnTo>
                    <a:lnTo>
                      <a:pt x="0" y="1982"/>
                    </a:lnTo>
                    <a:lnTo>
                      <a:pt x="0" y="3795"/>
                    </a:lnTo>
                    <a:lnTo>
                      <a:pt x="120" y="3894"/>
                    </a:lnTo>
                    <a:lnTo>
                      <a:pt x="120" y="3894"/>
                    </a:lnTo>
                    <a:lnTo>
                      <a:pt x="270" y="4331"/>
                    </a:lnTo>
                    <a:lnTo>
                      <a:pt x="1145" y="6872"/>
                    </a:lnTo>
                    <a:lnTo>
                      <a:pt x="270" y="4331"/>
                    </a:lnTo>
                    <a:lnTo>
                      <a:pt x="1145" y="6872"/>
                    </a:lnTo>
                    <a:lnTo>
                      <a:pt x="2088" y="5239"/>
                    </a:lnTo>
                    <a:lnTo>
                      <a:pt x="1145" y="6872"/>
                    </a:lnTo>
                    <a:lnTo>
                      <a:pt x="1145" y="6872"/>
                    </a:lnTo>
                    <a:lnTo>
                      <a:pt x="1109" y="6907"/>
                    </a:lnTo>
                    <a:lnTo>
                      <a:pt x="0" y="7970"/>
                    </a:lnTo>
                    <a:lnTo>
                      <a:pt x="1109" y="6907"/>
                    </a:lnTo>
                    <a:lnTo>
                      <a:pt x="0" y="7970"/>
                    </a:lnTo>
                    <a:lnTo>
                      <a:pt x="0" y="8978"/>
                    </a:lnTo>
                    <a:lnTo>
                      <a:pt x="2324" y="8914"/>
                    </a:lnTo>
                    <a:lnTo>
                      <a:pt x="1145" y="6872"/>
                    </a:lnTo>
                    <a:lnTo>
                      <a:pt x="2324" y="8914"/>
                    </a:lnTo>
                    <a:lnTo>
                      <a:pt x="2324" y="8914"/>
                    </a:lnTo>
                    <a:lnTo>
                      <a:pt x="4116" y="9609"/>
                    </a:lnTo>
                    <a:lnTo>
                      <a:pt x="3114" y="8126"/>
                    </a:lnTo>
                    <a:lnTo>
                      <a:pt x="4116" y="9609"/>
                    </a:lnTo>
                    <a:lnTo>
                      <a:pt x="5860" y="10955"/>
                    </a:lnTo>
                    <a:lnTo>
                      <a:pt x="5859" y="10955"/>
                    </a:lnTo>
                    <a:lnTo>
                      <a:pt x="4116" y="9609"/>
                    </a:lnTo>
                    <a:lnTo>
                      <a:pt x="3502" y="10955"/>
                    </a:lnTo>
                    <a:lnTo>
                      <a:pt x="3502" y="10955"/>
                    </a:lnTo>
                    <a:lnTo>
                      <a:pt x="3502" y="10955"/>
                    </a:lnTo>
                    <a:lnTo>
                      <a:pt x="3502" y="10955"/>
                    </a:lnTo>
                    <a:lnTo>
                      <a:pt x="4116" y="9609"/>
                    </a:lnTo>
                    <a:lnTo>
                      <a:pt x="2324" y="8914"/>
                    </a:lnTo>
                    <a:lnTo>
                      <a:pt x="2324" y="8914"/>
                    </a:lnTo>
                    <a:lnTo>
                      <a:pt x="2324" y="8914"/>
                    </a:lnTo>
                    <a:lnTo>
                      <a:pt x="2324" y="8914"/>
                    </a:lnTo>
                    <a:lnTo>
                      <a:pt x="2324" y="8914"/>
                    </a:lnTo>
                    <a:lnTo>
                      <a:pt x="0" y="8978"/>
                    </a:lnTo>
                    <a:lnTo>
                      <a:pt x="0" y="11274"/>
                    </a:lnTo>
                    <a:lnTo>
                      <a:pt x="586" y="11428"/>
                    </a:lnTo>
                    <a:lnTo>
                      <a:pt x="1542" y="10045"/>
                    </a:lnTo>
                    <a:lnTo>
                      <a:pt x="586" y="11428"/>
                    </a:lnTo>
                    <a:lnTo>
                      <a:pt x="3502" y="10955"/>
                    </a:lnTo>
                    <a:lnTo>
                      <a:pt x="586" y="11428"/>
                    </a:lnTo>
                    <a:lnTo>
                      <a:pt x="750" y="12746"/>
                    </a:lnTo>
                    <a:lnTo>
                      <a:pt x="2324" y="12997"/>
                    </a:lnTo>
                    <a:lnTo>
                      <a:pt x="2324" y="12997"/>
                    </a:lnTo>
                    <a:lnTo>
                      <a:pt x="3564" y="14028"/>
                    </a:lnTo>
                    <a:lnTo>
                      <a:pt x="3502" y="10956"/>
                    </a:lnTo>
                    <a:lnTo>
                      <a:pt x="3564" y="14028"/>
                    </a:lnTo>
                    <a:lnTo>
                      <a:pt x="5860" y="10956"/>
                    </a:lnTo>
                    <a:lnTo>
                      <a:pt x="5860" y="10956"/>
                    </a:lnTo>
                    <a:lnTo>
                      <a:pt x="3564" y="14028"/>
                    </a:lnTo>
                    <a:lnTo>
                      <a:pt x="3564" y="14028"/>
                    </a:lnTo>
                    <a:lnTo>
                      <a:pt x="3564" y="14028"/>
                    </a:lnTo>
                    <a:lnTo>
                      <a:pt x="4943" y="15446"/>
                    </a:lnTo>
                    <a:moveTo>
                      <a:pt x="0" y="3795"/>
                    </a:moveTo>
                    <a:lnTo>
                      <a:pt x="120" y="3894"/>
                    </a:lnTo>
                    <a:lnTo>
                      <a:pt x="0" y="3795"/>
                    </a:lnTo>
                    <a:moveTo>
                      <a:pt x="0" y="1099"/>
                    </a:moveTo>
                    <a:lnTo>
                      <a:pt x="0" y="1982"/>
                    </a:lnTo>
                    <a:lnTo>
                      <a:pt x="1065" y="1273"/>
                    </a:lnTo>
                    <a:lnTo>
                      <a:pt x="901" y="1246"/>
                    </a:lnTo>
                    <a:lnTo>
                      <a:pt x="1065" y="1273"/>
                    </a:lnTo>
                    <a:lnTo>
                      <a:pt x="2324" y="748"/>
                    </a:lnTo>
                    <a:lnTo>
                      <a:pt x="0" y="916"/>
                    </a:lnTo>
                    <a:lnTo>
                      <a:pt x="0" y="1099"/>
                    </a:lnTo>
                    <a:moveTo>
                      <a:pt x="0" y="52"/>
                    </a:moveTo>
                    <a:lnTo>
                      <a:pt x="0" y="916"/>
                    </a:lnTo>
                    <a:lnTo>
                      <a:pt x="2324" y="748"/>
                    </a:lnTo>
                    <a:lnTo>
                      <a:pt x="4681" y="748"/>
                    </a:lnTo>
                    <a:lnTo>
                      <a:pt x="4249" y="0"/>
                    </a:lnTo>
                    <a:lnTo>
                      <a:pt x="1892" y="0"/>
                    </a:lnTo>
                    <a:lnTo>
                      <a:pt x="2324" y="748"/>
                    </a:lnTo>
                    <a:lnTo>
                      <a:pt x="2324" y="748"/>
                    </a:lnTo>
                    <a:lnTo>
                      <a:pt x="1892" y="0"/>
                    </a:lnTo>
                    <a:lnTo>
                      <a:pt x="45" y="0"/>
                    </a:lnTo>
                    <a:lnTo>
                      <a:pt x="0" y="52"/>
                    </a:lnTo>
                    <a:moveTo>
                      <a:pt x="0" y="0"/>
                    </a:moveTo>
                    <a:lnTo>
                      <a:pt x="0" y="52"/>
                    </a:lnTo>
                    <a:lnTo>
                      <a:pt x="44" y="0"/>
                    </a:lnTo>
                    <a:lnTo>
                      <a:pt x="0" y="0"/>
                    </a:lnTo>
                    <a:moveTo>
                      <a:pt x="3737" y="15446"/>
                    </a:moveTo>
                    <a:lnTo>
                      <a:pt x="3737" y="15446"/>
                    </a:lnTo>
                    <a:lnTo>
                      <a:pt x="3502" y="15039"/>
                    </a:lnTo>
                    <a:lnTo>
                      <a:pt x="3737" y="15446"/>
                    </a:lnTo>
                    <a:moveTo>
                      <a:pt x="1074" y="15446"/>
                    </a:moveTo>
                    <a:lnTo>
                      <a:pt x="1074" y="15446"/>
                    </a:lnTo>
                    <a:lnTo>
                      <a:pt x="800" y="15275"/>
                    </a:lnTo>
                    <a:lnTo>
                      <a:pt x="1074" y="15446"/>
                    </a:lnTo>
                    <a:moveTo>
                      <a:pt x="11037" y="13656"/>
                    </a:moveTo>
                    <a:lnTo>
                      <a:pt x="12931" y="10955"/>
                    </a:lnTo>
                    <a:lnTo>
                      <a:pt x="10777" y="9480"/>
                    </a:lnTo>
                    <a:lnTo>
                      <a:pt x="10433" y="11715"/>
                    </a:lnTo>
                    <a:lnTo>
                      <a:pt x="10433" y="11715"/>
                    </a:lnTo>
                    <a:lnTo>
                      <a:pt x="10433" y="11715"/>
                    </a:lnTo>
                    <a:lnTo>
                      <a:pt x="10777" y="9480"/>
                    </a:lnTo>
                    <a:lnTo>
                      <a:pt x="8413" y="8879"/>
                    </a:lnTo>
                    <a:lnTo>
                      <a:pt x="8413" y="8879"/>
                    </a:lnTo>
                    <a:lnTo>
                      <a:pt x="8413" y="8879"/>
                    </a:lnTo>
                    <a:lnTo>
                      <a:pt x="8413" y="8879"/>
                    </a:lnTo>
                    <a:lnTo>
                      <a:pt x="7038" y="8914"/>
                    </a:lnTo>
                    <a:lnTo>
                      <a:pt x="7038" y="8914"/>
                    </a:lnTo>
                    <a:lnTo>
                      <a:pt x="8413" y="8879"/>
                    </a:lnTo>
                    <a:lnTo>
                      <a:pt x="10777" y="9480"/>
                    </a:lnTo>
                    <a:lnTo>
                      <a:pt x="10777" y="9480"/>
                    </a:lnTo>
                    <a:lnTo>
                      <a:pt x="10777" y="9480"/>
                    </a:lnTo>
                    <a:lnTo>
                      <a:pt x="10777" y="9480"/>
                    </a:lnTo>
                    <a:lnTo>
                      <a:pt x="12931" y="10955"/>
                    </a:lnTo>
                    <a:lnTo>
                      <a:pt x="13871" y="11844"/>
                    </a:lnTo>
                    <a:lnTo>
                      <a:pt x="14110" y="8914"/>
                    </a:lnTo>
                    <a:lnTo>
                      <a:pt x="14110" y="8914"/>
                    </a:lnTo>
                    <a:lnTo>
                      <a:pt x="13871" y="11844"/>
                    </a:lnTo>
                    <a:lnTo>
                      <a:pt x="15446" y="11473"/>
                    </a:lnTo>
                    <a:lnTo>
                      <a:pt x="15446" y="11473"/>
                    </a:lnTo>
                    <a:lnTo>
                      <a:pt x="13871" y="11844"/>
                    </a:lnTo>
                    <a:lnTo>
                      <a:pt x="14069" y="12799"/>
                    </a:lnTo>
                    <a:lnTo>
                      <a:pt x="13871" y="11844"/>
                    </a:lnTo>
                    <a:lnTo>
                      <a:pt x="12931" y="10955"/>
                    </a:lnTo>
                    <a:lnTo>
                      <a:pt x="14110" y="12997"/>
                    </a:lnTo>
                    <a:lnTo>
                      <a:pt x="14110" y="12997"/>
                    </a:lnTo>
                    <a:lnTo>
                      <a:pt x="14110" y="12997"/>
                    </a:lnTo>
                    <a:lnTo>
                      <a:pt x="12931" y="10955"/>
                    </a:lnTo>
                    <a:lnTo>
                      <a:pt x="11037" y="13656"/>
                    </a:lnTo>
                    <a:moveTo>
                      <a:pt x="15446" y="12997"/>
                    </a:moveTo>
                    <a:lnTo>
                      <a:pt x="14110" y="12997"/>
                    </a:lnTo>
                    <a:lnTo>
                      <a:pt x="14110" y="12997"/>
                    </a:lnTo>
                    <a:lnTo>
                      <a:pt x="15446" y="12997"/>
                    </a:lnTo>
                    <a:lnTo>
                      <a:pt x="15446" y="12997"/>
                    </a:lnTo>
                    <a:moveTo>
                      <a:pt x="2324" y="12997"/>
                    </a:moveTo>
                    <a:lnTo>
                      <a:pt x="586" y="11428"/>
                    </a:lnTo>
                    <a:lnTo>
                      <a:pt x="2324" y="12997"/>
                    </a:lnTo>
                    <a:lnTo>
                      <a:pt x="2324" y="12997"/>
                    </a:lnTo>
                    <a:moveTo>
                      <a:pt x="750" y="12746"/>
                    </a:moveTo>
                    <a:lnTo>
                      <a:pt x="750" y="12746"/>
                    </a:lnTo>
                    <a:lnTo>
                      <a:pt x="750" y="12746"/>
                    </a:lnTo>
                    <a:lnTo>
                      <a:pt x="750" y="12746"/>
                    </a:lnTo>
                    <a:lnTo>
                      <a:pt x="750" y="12746"/>
                    </a:lnTo>
                    <a:moveTo>
                      <a:pt x="5936" y="12632"/>
                    </a:moveTo>
                    <a:lnTo>
                      <a:pt x="5935" y="12631"/>
                    </a:lnTo>
                    <a:lnTo>
                      <a:pt x="7357" y="11428"/>
                    </a:lnTo>
                    <a:lnTo>
                      <a:pt x="5860" y="10955"/>
                    </a:lnTo>
                    <a:lnTo>
                      <a:pt x="5860" y="10955"/>
                    </a:lnTo>
                    <a:lnTo>
                      <a:pt x="7357" y="11428"/>
                    </a:lnTo>
                    <a:lnTo>
                      <a:pt x="7093" y="9346"/>
                    </a:lnTo>
                    <a:lnTo>
                      <a:pt x="7357" y="11428"/>
                    </a:lnTo>
                    <a:lnTo>
                      <a:pt x="5936" y="12632"/>
                    </a:lnTo>
                    <a:moveTo>
                      <a:pt x="5935" y="12632"/>
                    </a:moveTo>
                    <a:lnTo>
                      <a:pt x="5927" y="12440"/>
                    </a:lnTo>
                    <a:lnTo>
                      <a:pt x="5935" y="12631"/>
                    </a:lnTo>
                    <a:moveTo>
                      <a:pt x="10777" y="9480"/>
                    </a:moveTo>
                    <a:lnTo>
                      <a:pt x="12931" y="6872"/>
                    </a:lnTo>
                    <a:lnTo>
                      <a:pt x="10574" y="6872"/>
                    </a:lnTo>
                    <a:lnTo>
                      <a:pt x="12931" y="6872"/>
                    </a:lnTo>
                    <a:lnTo>
                      <a:pt x="12818" y="6352"/>
                    </a:lnTo>
                    <a:lnTo>
                      <a:pt x="12931" y="6872"/>
                    </a:lnTo>
                    <a:lnTo>
                      <a:pt x="15446" y="7725"/>
                    </a:lnTo>
                    <a:lnTo>
                      <a:pt x="15446" y="7725"/>
                    </a:lnTo>
                    <a:lnTo>
                      <a:pt x="12931" y="6872"/>
                    </a:lnTo>
                    <a:lnTo>
                      <a:pt x="14110" y="8914"/>
                    </a:lnTo>
                    <a:lnTo>
                      <a:pt x="12931" y="6872"/>
                    </a:lnTo>
                    <a:lnTo>
                      <a:pt x="10777" y="9480"/>
                    </a:lnTo>
                    <a:lnTo>
                      <a:pt x="10777" y="9480"/>
                    </a:lnTo>
                    <a:moveTo>
                      <a:pt x="7038" y="8914"/>
                    </a:moveTo>
                    <a:lnTo>
                      <a:pt x="7038" y="8914"/>
                    </a:lnTo>
                    <a:lnTo>
                      <a:pt x="8217" y="6872"/>
                    </a:lnTo>
                    <a:lnTo>
                      <a:pt x="5860" y="6872"/>
                    </a:lnTo>
                    <a:lnTo>
                      <a:pt x="5860" y="6872"/>
                    </a:lnTo>
                    <a:lnTo>
                      <a:pt x="8217" y="6872"/>
                    </a:lnTo>
                    <a:lnTo>
                      <a:pt x="7366" y="5398"/>
                    </a:lnTo>
                    <a:lnTo>
                      <a:pt x="8217" y="6872"/>
                    </a:lnTo>
                    <a:lnTo>
                      <a:pt x="9050" y="6406"/>
                    </a:lnTo>
                    <a:lnTo>
                      <a:pt x="8217" y="6872"/>
                    </a:lnTo>
                    <a:lnTo>
                      <a:pt x="8217" y="6872"/>
                    </a:lnTo>
                    <a:lnTo>
                      <a:pt x="7038" y="8914"/>
                    </a:lnTo>
                    <a:moveTo>
                      <a:pt x="7038" y="8914"/>
                    </a:moveTo>
                    <a:lnTo>
                      <a:pt x="5868" y="6886"/>
                    </a:lnTo>
                    <a:lnTo>
                      <a:pt x="7038" y="8914"/>
                    </a:lnTo>
                    <a:lnTo>
                      <a:pt x="7038" y="8914"/>
                    </a:lnTo>
                    <a:moveTo>
                      <a:pt x="15446" y="8914"/>
                    </a:moveTo>
                    <a:lnTo>
                      <a:pt x="14110" y="8914"/>
                    </a:lnTo>
                    <a:lnTo>
                      <a:pt x="15446" y="8914"/>
                    </a:lnTo>
                    <a:lnTo>
                      <a:pt x="15446" y="8914"/>
                    </a:lnTo>
                    <a:moveTo>
                      <a:pt x="14110" y="8914"/>
                    </a:moveTo>
                    <a:lnTo>
                      <a:pt x="14110" y="8914"/>
                    </a:lnTo>
                    <a:lnTo>
                      <a:pt x="14874" y="8485"/>
                    </a:lnTo>
                    <a:lnTo>
                      <a:pt x="14110" y="8914"/>
                    </a:lnTo>
                    <a:moveTo>
                      <a:pt x="8413" y="8878"/>
                    </a:moveTo>
                    <a:lnTo>
                      <a:pt x="8217" y="6872"/>
                    </a:lnTo>
                    <a:lnTo>
                      <a:pt x="8217" y="6872"/>
                    </a:lnTo>
                    <a:lnTo>
                      <a:pt x="8413" y="8878"/>
                    </a:lnTo>
                    <a:lnTo>
                      <a:pt x="8413" y="8878"/>
                    </a:lnTo>
                    <a:moveTo>
                      <a:pt x="2557" y="7302"/>
                    </a:moveTo>
                    <a:lnTo>
                      <a:pt x="2557" y="7302"/>
                    </a:lnTo>
                    <a:lnTo>
                      <a:pt x="2557" y="7302"/>
                    </a:lnTo>
                    <a:lnTo>
                      <a:pt x="4159" y="4109"/>
                    </a:lnTo>
                    <a:lnTo>
                      <a:pt x="2324" y="4831"/>
                    </a:lnTo>
                    <a:lnTo>
                      <a:pt x="2324" y="4831"/>
                    </a:lnTo>
                    <a:lnTo>
                      <a:pt x="2324" y="4831"/>
                    </a:lnTo>
                    <a:lnTo>
                      <a:pt x="2324" y="4831"/>
                    </a:lnTo>
                    <a:lnTo>
                      <a:pt x="2324" y="4831"/>
                    </a:lnTo>
                    <a:lnTo>
                      <a:pt x="4159" y="4109"/>
                    </a:lnTo>
                    <a:lnTo>
                      <a:pt x="4159" y="4109"/>
                    </a:lnTo>
                    <a:lnTo>
                      <a:pt x="4159" y="4109"/>
                    </a:lnTo>
                    <a:lnTo>
                      <a:pt x="4159" y="4109"/>
                    </a:lnTo>
                    <a:lnTo>
                      <a:pt x="4159" y="4109"/>
                    </a:lnTo>
                    <a:lnTo>
                      <a:pt x="5860" y="6872"/>
                    </a:lnTo>
                    <a:lnTo>
                      <a:pt x="5859" y="6872"/>
                    </a:lnTo>
                    <a:lnTo>
                      <a:pt x="4159" y="4109"/>
                    </a:lnTo>
                    <a:lnTo>
                      <a:pt x="2557" y="7302"/>
                    </a:lnTo>
                    <a:lnTo>
                      <a:pt x="2557" y="7302"/>
                    </a:lnTo>
                    <a:moveTo>
                      <a:pt x="2557" y="7302"/>
                    </a:moveTo>
                    <a:lnTo>
                      <a:pt x="2324" y="4831"/>
                    </a:lnTo>
                    <a:lnTo>
                      <a:pt x="2324" y="4831"/>
                    </a:lnTo>
                    <a:lnTo>
                      <a:pt x="2557" y="7302"/>
                    </a:lnTo>
                    <a:moveTo>
                      <a:pt x="2909" y="7256"/>
                    </a:moveTo>
                    <a:lnTo>
                      <a:pt x="5860" y="6872"/>
                    </a:lnTo>
                    <a:lnTo>
                      <a:pt x="5860" y="6872"/>
                    </a:lnTo>
                    <a:lnTo>
                      <a:pt x="5860" y="6872"/>
                    </a:lnTo>
                    <a:lnTo>
                      <a:pt x="2909" y="7256"/>
                    </a:lnTo>
                    <a:moveTo>
                      <a:pt x="15446" y="7072"/>
                    </a:moveTo>
                    <a:lnTo>
                      <a:pt x="15229" y="6708"/>
                    </a:lnTo>
                    <a:lnTo>
                      <a:pt x="15446" y="7072"/>
                    </a:lnTo>
                    <a:lnTo>
                      <a:pt x="15446" y="7072"/>
                    </a:lnTo>
                    <a:moveTo>
                      <a:pt x="1145" y="6872"/>
                    </a:moveTo>
                    <a:lnTo>
                      <a:pt x="1145" y="6872"/>
                    </a:lnTo>
                    <a:moveTo>
                      <a:pt x="10574" y="6872"/>
                    </a:moveTo>
                    <a:lnTo>
                      <a:pt x="10574" y="6872"/>
                    </a:lnTo>
                    <a:lnTo>
                      <a:pt x="10574" y="6872"/>
                    </a:lnTo>
                    <a:lnTo>
                      <a:pt x="12458" y="5724"/>
                    </a:lnTo>
                    <a:lnTo>
                      <a:pt x="10574" y="6872"/>
                    </a:lnTo>
                    <a:moveTo>
                      <a:pt x="8217" y="6872"/>
                    </a:moveTo>
                    <a:lnTo>
                      <a:pt x="8217" y="6872"/>
                    </a:lnTo>
                    <a:lnTo>
                      <a:pt x="8217" y="6872"/>
                    </a:lnTo>
                    <a:lnTo>
                      <a:pt x="8217" y="6872"/>
                    </a:lnTo>
                    <a:moveTo>
                      <a:pt x="10574" y="6872"/>
                    </a:moveTo>
                    <a:lnTo>
                      <a:pt x="9445" y="6321"/>
                    </a:lnTo>
                    <a:lnTo>
                      <a:pt x="10574" y="6872"/>
                    </a:lnTo>
                    <a:lnTo>
                      <a:pt x="10574" y="6872"/>
                    </a:lnTo>
                    <a:moveTo>
                      <a:pt x="9316" y="6257"/>
                    </a:moveTo>
                    <a:lnTo>
                      <a:pt x="9316" y="6257"/>
                    </a:lnTo>
                    <a:lnTo>
                      <a:pt x="9316" y="6257"/>
                    </a:lnTo>
                    <a:lnTo>
                      <a:pt x="9316" y="6257"/>
                    </a:lnTo>
                    <a:lnTo>
                      <a:pt x="9316" y="6257"/>
                    </a:lnTo>
                    <a:lnTo>
                      <a:pt x="9316" y="6257"/>
                    </a:lnTo>
                    <a:lnTo>
                      <a:pt x="12655" y="5604"/>
                    </a:lnTo>
                    <a:lnTo>
                      <a:pt x="12655" y="5604"/>
                    </a:lnTo>
                    <a:lnTo>
                      <a:pt x="12655" y="5604"/>
                    </a:lnTo>
                    <a:lnTo>
                      <a:pt x="12655" y="5604"/>
                    </a:lnTo>
                    <a:lnTo>
                      <a:pt x="14110" y="4831"/>
                    </a:lnTo>
                    <a:lnTo>
                      <a:pt x="12655" y="5604"/>
                    </a:lnTo>
                    <a:lnTo>
                      <a:pt x="12655" y="5604"/>
                    </a:lnTo>
                    <a:lnTo>
                      <a:pt x="12655" y="5604"/>
                    </a:lnTo>
                    <a:lnTo>
                      <a:pt x="9316" y="6257"/>
                    </a:lnTo>
                    <a:moveTo>
                      <a:pt x="9316" y="6257"/>
                    </a:moveTo>
                    <a:lnTo>
                      <a:pt x="7038" y="4831"/>
                    </a:lnTo>
                    <a:lnTo>
                      <a:pt x="7038" y="4831"/>
                    </a:lnTo>
                    <a:lnTo>
                      <a:pt x="9316" y="6257"/>
                    </a:lnTo>
                    <a:lnTo>
                      <a:pt x="9316" y="6257"/>
                    </a:lnTo>
                    <a:moveTo>
                      <a:pt x="9316" y="6257"/>
                    </a:moveTo>
                    <a:lnTo>
                      <a:pt x="9316" y="3550"/>
                    </a:lnTo>
                    <a:lnTo>
                      <a:pt x="9316" y="6257"/>
                    </a:lnTo>
                    <a:moveTo>
                      <a:pt x="12655" y="5604"/>
                    </a:moveTo>
                    <a:lnTo>
                      <a:pt x="12655" y="5604"/>
                    </a:lnTo>
                    <a:lnTo>
                      <a:pt x="12201" y="3434"/>
                    </a:lnTo>
                    <a:lnTo>
                      <a:pt x="12655" y="5604"/>
                    </a:lnTo>
                    <a:moveTo>
                      <a:pt x="7038" y="4831"/>
                    </a:moveTo>
                    <a:lnTo>
                      <a:pt x="7038" y="4831"/>
                    </a:lnTo>
                    <a:lnTo>
                      <a:pt x="9316" y="3550"/>
                    </a:lnTo>
                    <a:lnTo>
                      <a:pt x="5859" y="2789"/>
                    </a:lnTo>
                    <a:lnTo>
                      <a:pt x="5860" y="2789"/>
                    </a:lnTo>
                    <a:lnTo>
                      <a:pt x="9316" y="3550"/>
                    </a:lnTo>
                    <a:lnTo>
                      <a:pt x="8410" y="2581"/>
                    </a:lnTo>
                    <a:lnTo>
                      <a:pt x="9316" y="3550"/>
                    </a:lnTo>
                    <a:lnTo>
                      <a:pt x="9319" y="3444"/>
                    </a:lnTo>
                    <a:lnTo>
                      <a:pt x="9316" y="3550"/>
                    </a:lnTo>
                    <a:lnTo>
                      <a:pt x="10574" y="2789"/>
                    </a:lnTo>
                    <a:lnTo>
                      <a:pt x="9316" y="3550"/>
                    </a:lnTo>
                    <a:lnTo>
                      <a:pt x="7038" y="4831"/>
                    </a:lnTo>
                    <a:moveTo>
                      <a:pt x="7038" y="4831"/>
                    </a:moveTo>
                    <a:lnTo>
                      <a:pt x="6499" y="3898"/>
                    </a:lnTo>
                    <a:lnTo>
                      <a:pt x="7038" y="4831"/>
                    </a:lnTo>
                    <a:moveTo>
                      <a:pt x="2324" y="4831"/>
                    </a:moveTo>
                    <a:lnTo>
                      <a:pt x="1405" y="2233"/>
                    </a:lnTo>
                    <a:lnTo>
                      <a:pt x="2324" y="4831"/>
                    </a:lnTo>
                    <a:lnTo>
                      <a:pt x="2324" y="4831"/>
                    </a:lnTo>
                    <a:moveTo>
                      <a:pt x="14110" y="4831"/>
                    </a:moveTo>
                    <a:lnTo>
                      <a:pt x="12201" y="3434"/>
                    </a:lnTo>
                    <a:lnTo>
                      <a:pt x="12066" y="2627"/>
                    </a:lnTo>
                    <a:lnTo>
                      <a:pt x="12201" y="3434"/>
                    </a:lnTo>
                    <a:lnTo>
                      <a:pt x="15446" y="2602"/>
                    </a:lnTo>
                    <a:lnTo>
                      <a:pt x="15446" y="2602"/>
                    </a:lnTo>
                    <a:lnTo>
                      <a:pt x="12201" y="3434"/>
                    </a:lnTo>
                    <a:lnTo>
                      <a:pt x="14110" y="4831"/>
                    </a:lnTo>
                    <a:moveTo>
                      <a:pt x="14110" y="4831"/>
                    </a:moveTo>
                    <a:lnTo>
                      <a:pt x="14110" y="4831"/>
                    </a:lnTo>
                    <a:lnTo>
                      <a:pt x="15358" y="3331"/>
                    </a:lnTo>
                    <a:lnTo>
                      <a:pt x="14110" y="4831"/>
                    </a:lnTo>
                    <a:moveTo>
                      <a:pt x="4159" y="4109"/>
                    </a:moveTo>
                    <a:lnTo>
                      <a:pt x="4159" y="4109"/>
                    </a:lnTo>
                    <a:lnTo>
                      <a:pt x="4603" y="3765"/>
                    </a:lnTo>
                    <a:lnTo>
                      <a:pt x="4159" y="4109"/>
                    </a:lnTo>
                    <a:moveTo>
                      <a:pt x="12201" y="3434"/>
                    </a:moveTo>
                    <a:lnTo>
                      <a:pt x="10574" y="2789"/>
                    </a:lnTo>
                    <a:lnTo>
                      <a:pt x="10574" y="2789"/>
                    </a:lnTo>
                    <a:lnTo>
                      <a:pt x="10574" y="2789"/>
                    </a:lnTo>
                    <a:lnTo>
                      <a:pt x="11753" y="748"/>
                    </a:lnTo>
                    <a:lnTo>
                      <a:pt x="9396" y="748"/>
                    </a:lnTo>
                    <a:lnTo>
                      <a:pt x="9396" y="748"/>
                    </a:lnTo>
                    <a:lnTo>
                      <a:pt x="11753" y="748"/>
                    </a:lnTo>
                    <a:lnTo>
                      <a:pt x="11753" y="748"/>
                    </a:lnTo>
                    <a:lnTo>
                      <a:pt x="11753" y="748"/>
                    </a:lnTo>
                    <a:lnTo>
                      <a:pt x="10574" y="2789"/>
                    </a:lnTo>
                    <a:lnTo>
                      <a:pt x="12201" y="3434"/>
                    </a:lnTo>
                    <a:moveTo>
                      <a:pt x="5859" y="2790"/>
                    </a:moveTo>
                    <a:lnTo>
                      <a:pt x="3502" y="2790"/>
                    </a:lnTo>
                    <a:lnTo>
                      <a:pt x="5860" y="2789"/>
                    </a:lnTo>
                    <a:lnTo>
                      <a:pt x="5859" y="2789"/>
                    </a:lnTo>
                    <a:lnTo>
                      <a:pt x="5859" y="2790"/>
                    </a:lnTo>
                    <a:moveTo>
                      <a:pt x="15446" y="1876"/>
                    </a:moveTo>
                    <a:lnTo>
                      <a:pt x="14110" y="748"/>
                    </a:lnTo>
                    <a:lnTo>
                      <a:pt x="15446" y="1876"/>
                    </a:lnTo>
                    <a:lnTo>
                      <a:pt x="15446" y="1876"/>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87" name="Freeform 306"/>
              <p:cNvSpPr>
                <a:spLocks/>
              </p:cNvSpPr>
              <p:nvPr/>
            </p:nvSpPr>
            <p:spPr bwMode="auto">
              <a:xfrm>
                <a:off x="-12625388" y="-3271838"/>
                <a:ext cx="811213" cy="671513"/>
              </a:xfrm>
              <a:custGeom>
                <a:avLst/>
                <a:gdLst>
                  <a:gd name="T0" fmla="*/ 0 w 511"/>
                  <a:gd name="T1" fmla="*/ 423 h 423"/>
                  <a:gd name="T2" fmla="*/ 0 w 511"/>
                  <a:gd name="T3" fmla="*/ 0 h 423"/>
                  <a:gd name="T4" fmla="*/ 433 w 511"/>
                  <a:gd name="T5" fmla="*/ 70 h 423"/>
                  <a:gd name="T6" fmla="*/ 511 w 511"/>
                  <a:gd name="T7" fmla="*/ 83 h 423"/>
                  <a:gd name="T8" fmla="*/ 0 w 511"/>
                  <a:gd name="T9" fmla="*/ 423 h 423"/>
                </a:gdLst>
                <a:ahLst/>
                <a:cxnLst>
                  <a:cxn ang="0">
                    <a:pos x="T0" y="T1"/>
                  </a:cxn>
                  <a:cxn ang="0">
                    <a:pos x="T2" y="T3"/>
                  </a:cxn>
                  <a:cxn ang="0">
                    <a:pos x="T4" y="T5"/>
                  </a:cxn>
                  <a:cxn ang="0">
                    <a:pos x="T6" y="T7"/>
                  </a:cxn>
                  <a:cxn ang="0">
                    <a:pos x="T8" y="T9"/>
                  </a:cxn>
                </a:cxnLst>
                <a:rect l="0" t="0" r="r" b="b"/>
                <a:pathLst>
                  <a:path w="511" h="423">
                    <a:moveTo>
                      <a:pt x="0" y="423"/>
                    </a:moveTo>
                    <a:lnTo>
                      <a:pt x="0" y="0"/>
                    </a:lnTo>
                    <a:lnTo>
                      <a:pt x="433" y="70"/>
                    </a:lnTo>
                    <a:lnTo>
                      <a:pt x="511" y="83"/>
                    </a:lnTo>
                    <a:lnTo>
                      <a:pt x="0" y="42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0" name="Freeform 307"/>
              <p:cNvSpPr>
                <a:spLocks/>
              </p:cNvSpPr>
              <p:nvPr/>
            </p:nvSpPr>
            <p:spPr bwMode="auto">
              <a:xfrm>
                <a:off x="-12625388" y="-4110038"/>
                <a:ext cx="33338" cy="39688"/>
              </a:xfrm>
              <a:custGeom>
                <a:avLst/>
                <a:gdLst>
                  <a:gd name="T0" fmla="*/ 0 w 21"/>
                  <a:gd name="T1" fmla="*/ 25 h 25"/>
                  <a:gd name="T2" fmla="*/ 0 w 21"/>
                  <a:gd name="T3" fmla="*/ 0 h 25"/>
                  <a:gd name="T4" fmla="*/ 21 w 21"/>
                  <a:gd name="T5" fmla="*/ 0 h 25"/>
                  <a:gd name="T6" fmla="*/ 0 w 21"/>
                  <a:gd name="T7" fmla="*/ 25 h 25"/>
                </a:gdLst>
                <a:ahLst/>
                <a:cxnLst>
                  <a:cxn ang="0">
                    <a:pos x="T0" y="T1"/>
                  </a:cxn>
                  <a:cxn ang="0">
                    <a:pos x="T2" y="T3"/>
                  </a:cxn>
                  <a:cxn ang="0">
                    <a:pos x="T4" y="T5"/>
                  </a:cxn>
                  <a:cxn ang="0">
                    <a:pos x="T6" y="T7"/>
                  </a:cxn>
                </a:cxnLst>
                <a:rect l="0" t="0" r="r" b="b"/>
                <a:pathLst>
                  <a:path w="21" h="25">
                    <a:moveTo>
                      <a:pt x="0" y="25"/>
                    </a:moveTo>
                    <a:lnTo>
                      <a:pt x="0" y="0"/>
                    </a:lnTo>
                    <a:lnTo>
                      <a:pt x="21" y="0"/>
                    </a:lnTo>
                    <a:lnTo>
                      <a:pt x="0" y="25"/>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1" name="Freeform 308"/>
              <p:cNvSpPr>
                <a:spLocks/>
              </p:cNvSpPr>
              <p:nvPr/>
            </p:nvSpPr>
            <p:spPr bwMode="auto">
              <a:xfrm>
                <a:off x="-12625388" y="-3540126"/>
                <a:ext cx="1771650" cy="400050"/>
              </a:xfrm>
              <a:custGeom>
                <a:avLst/>
                <a:gdLst>
                  <a:gd name="T0" fmla="*/ 511 w 1116"/>
                  <a:gd name="T1" fmla="*/ 252 h 252"/>
                  <a:gd name="T2" fmla="*/ 433 w 1116"/>
                  <a:gd name="T3" fmla="*/ 239 h 252"/>
                  <a:gd name="T4" fmla="*/ 0 w 1116"/>
                  <a:gd name="T5" fmla="*/ 169 h 252"/>
                  <a:gd name="T6" fmla="*/ 0 w 1116"/>
                  <a:gd name="T7" fmla="*/ 81 h 252"/>
                  <a:gd name="T8" fmla="*/ 1116 w 1116"/>
                  <a:gd name="T9" fmla="*/ 0 h 252"/>
                  <a:gd name="T10" fmla="*/ 511 w 1116"/>
                  <a:gd name="T11" fmla="*/ 252 h 252"/>
                </a:gdLst>
                <a:ahLst/>
                <a:cxnLst>
                  <a:cxn ang="0">
                    <a:pos x="T0" y="T1"/>
                  </a:cxn>
                  <a:cxn ang="0">
                    <a:pos x="T2" y="T3"/>
                  </a:cxn>
                  <a:cxn ang="0">
                    <a:pos x="T4" y="T5"/>
                  </a:cxn>
                  <a:cxn ang="0">
                    <a:pos x="T6" y="T7"/>
                  </a:cxn>
                  <a:cxn ang="0">
                    <a:pos x="T8" y="T9"/>
                  </a:cxn>
                  <a:cxn ang="0">
                    <a:pos x="T10" y="T11"/>
                  </a:cxn>
                </a:cxnLst>
                <a:rect l="0" t="0" r="r" b="b"/>
                <a:pathLst>
                  <a:path w="1116" h="252">
                    <a:moveTo>
                      <a:pt x="511" y="252"/>
                    </a:moveTo>
                    <a:lnTo>
                      <a:pt x="433" y="239"/>
                    </a:lnTo>
                    <a:lnTo>
                      <a:pt x="0" y="169"/>
                    </a:lnTo>
                    <a:lnTo>
                      <a:pt x="0" y="81"/>
                    </a:lnTo>
                    <a:lnTo>
                      <a:pt x="1116" y="0"/>
                    </a:lnTo>
                    <a:lnTo>
                      <a:pt x="511" y="25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2" name="Freeform 309"/>
              <p:cNvSpPr>
                <a:spLocks/>
              </p:cNvSpPr>
              <p:nvPr/>
            </p:nvSpPr>
            <p:spPr bwMode="auto">
              <a:xfrm>
                <a:off x="-12625388" y="-4110038"/>
                <a:ext cx="1771650" cy="698500"/>
              </a:xfrm>
              <a:custGeom>
                <a:avLst/>
                <a:gdLst>
                  <a:gd name="T0" fmla="*/ 0 w 1116"/>
                  <a:gd name="T1" fmla="*/ 440 h 440"/>
                  <a:gd name="T2" fmla="*/ 0 w 1116"/>
                  <a:gd name="T3" fmla="*/ 25 h 440"/>
                  <a:gd name="T4" fmla="*/ 22 w 1116"/>
                  <a:gd name="T5" fmla="*/ 0 h 440"/>
                  <a:gd name="T6" fmla="*/ 908 w 1116"/>
                  <a:gd name="T7" fmla="*/ 0 h 440"/>
                  <a:gd name="T8" fmla="*/ 1116 w 1116"/>
                  <a:gd name="T9" fmla="*/ 359 h 440"/>
                  <a:gd name="T10" fmla="*/ 1116 w 1116"/>
                  <a:gd name="T11" fmla="*/ 359 h 440"/>
                  <a:gd name="T12" fmla="*/ 1116 w 1116"/>
                  <a:gd name="T13" fmla="*/ 359 h 440"/>
                  <a:gd name="T14" fmla="*/ 0 w 1116"/>
                  <a:gd name="T15" fmla="*/ 440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6" h="440">
                    <a:moveTo>
                      <a:pt x="0" y="440"/>
                    </a:moveTo>
                    <a:lnTo>
                      <a:pt x="0" y="25"/>
                    </a:lnTo>
                    <a:lnTo>
                      <a:pt x="22" y="0"/>
                    </a:lnTo>
                    <a:lnTo>
                      <a:pt x="908" y="0"/>
                    </a:lnTo>
                    <a:lnTo>
                      <a:pt x="1116" y="359"/>
                    </a:lnTo>
                    <a:lnTo>
                      <a:pt x="1116" y="359"/>
                    </a:lnTo>
                    <a:lnTo>
                      <a:pt x="1116" y="359"/>
                    </a:lnTo>
                    <a:lnTo>
                      <a:pt x="0" y="440"/>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3" name="Freeform 310"/>
              <p:cNvSpPr>
                <a:spLocks noEditPoints="1"/>
              </p:cNvSpPr>
              <p:nvPr/>
            </p:nvSpPr>
            <p:spPr bwMode="auto">
              <a:xfrm>
                <a:off x="-10853738" y="-4110038"/>
                <a:ext cx="1795463" cy="569913"/>
              </a:xfrm>
              <a:custGeom>
                <a:avLst/>
                <a:gdLst>
                  <a:gd name="T0" fmla="*/ 2357 w 2357"/>
                  <a:gd name="T1" fmla="*/ 748 h 748"/>
                  <a:gd name="T2" fmla="*/ 0 w 2357"/>
                  <a:gd name="T3" fmla="*/ 748 h 748"/>
                  <a:gd name="T4" fmla="*/ 432 w 2357"/>
                  <a:gd name="T5" fmla="*/ 0 h 748"/>
                  <a:gd name="T6" fmla="*/ 1925 w 2357"/>
                  <a:gd name="T7" fmla="*/ 0 h 748"/>
                  <a:gd name="T8" fmla="*/ 2357 w 2357"/>
                  <a:gd name="T9" fmla="*/ 748 h 748"/>
                  <a:gd name="T10" fmla="*/ 0 w 2357"/>
                  <a:gd name="T11" fmla="*/ 748 h 748"/>
                  <a:gd name="T12" fmla="*/ 0 w 2357"/>
                  <a:gd name="T13" fmla="*/ 748 h 748"/>
                  <a:gd name="T14" fmla="*/ 0 w 2357"/>
                  <a:gd name="T15" fmla="*/ 748 h 748"/>
                  <a:gd name="T16" fmla="*/ 0 w 2357"/>
                  <a:gd name="T17" fmla="*/ 748 h 748"/>
                  <a:gd name="T18" fmla="*/ 0 w 2357"/>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7" h="748">
                    <a:moveTo>
                      <a:pt x="2357" y="748"/>
                    </a:moveTo>
                    <a:lnTo>
                      <a:pt x="0" y="748"/>
                    </a:lnTo>
                    <a:lnTo>
                      <a:pt x="432" y="0"/>
                    </a:lnTo>
                    <a:lnTo>
                      <a:pt x="1925" y="0"/>
                    </a:lnTo>
                    <a:lnTo>
                      <a:pt x="2357" y="748"/>
                    </a:lnTo>
                    <a:moveTo>
                      <a:pt x="0" y="748"/>
                    </a:moveTo>
                    <a:lnTo>
                      <a:pt x="0" y="748"/>
                    </a:lnTo>
                    <a:lnTo>
                      <a:pt x="0" y="748"/>
                    </a:lnTo>
                    <a:lnTo>
                      <a:pt x="0" y="748"/>
                    </a:lnTo>
                    <a:lnTo>
                      <a:pt x="0"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4" name="Freeform 311"/>
              <p:cNvSpPr>
                <a:spLocks/>
              </p:cNvSpPr>
              <p:nvPr/>
            </p:nvSpPr>
            <p:spPr bwMode="auto">
              <a:xfrm>
                <a:off x="-9386888" y="-4110038"/>
                <a:ext cx="865188" cy="569913"/>
              </a:xfrm>
              <a:custGeom>
                <a:avLst/>
                <a:gdLst>
                  <a:gd name="T0" fmla="*/ 207 w 545"/>
                  <a:gd name="T1" fmla="*/ 359 h 359"/>
                  <a:gd name="T2" fmla="*/ 0 w 545"/>
                  <a:gd name="T3" fmla="*/ 0 h 359"/>
                  <a:gd name="T4" fmla="*/ 545 w 545"/>
                  <a:gd name="T5" fmla="*/ 0 h 359"/>
                  <a:gd name="T6" fmla="*/ 207 w 545"/>
                  <a:gd name="T7" fmla="*/ 359 h 359"/>
                </a:gdLst>
                <a:ahLst/>
                <a:cxnLst>
                  <a:cxn ang="0">
                    <a:pos x="T0" y="T1"/>
                  </a:cxn>
                  <a:cxn ang="0">
                    <a:pos x="T2" y="T3"/>
                  </a:cxn>
                  <a:cxn ang="0">
                    <a:pos x="T4" y="T5"/>
                  </a:cxn>
                  <a:cxn ang="0">
                    <a:pos x="T6" y="T7"/>
                  </a:cxn>
                </a:cxnLst>
                <a:rect l="0" t="0" r="r" b="b"/>
                <a:pathLst>
                  <a:path w="545" h="359">
                    <a:moveTo>
                      <a:pt x="207" y="359"/>
                    </a:moveTo>
                    <a:lnTo>
                      <a:pt x="0" y="0"/>
                    </a:lnTo>
                    <a:lnTo>
                      <a:pt x="545" y="0"/>
                    </a:lnTo>
                    <a:lnTo>
                      <a:pt x="207"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5" name="Freeform 312"/>
              <p:cNvSpPr>
                <a:spLocks/>
              </p:cNvSpPr>
              <p:nvPr/>
            </p:nvSpPr>
            <p:spPr bwMode="auto">
              <a:xfrm>
                <a:off x="-11183938" y="-4110038"/>
                <a:ext cx="658813" cy="569913"/>
              </a:xfrm>
              <a:custGeom>
                <a:avLst/>
                <a:gdLst>
                  <a:gd name="T0" fmla="*/ 208 w 415"/>
                  <a:gd name="T1" fmla="*/ 359 h 359"/>
                  <a:gd name="T2" fmla="*/ 0 w 415"/>
                  <a:gd name="T3" fmla="*/ 0 h 359"/>
                  <a:gd name="T4" fmla="*/ 415 w 415"/>
                  <a:gd name="T5" fmla="*/ 0 h 359"/>
                  <a:gd name="T6" fmla="*/ 208 w 415"/>
                  <a:gd name="T7" fmla="*/ 359 h 359"/>
                </a:gdLst>
                <a:ahLst/>
                <a:cxnLst>
                  <a:cxn ang="0">
                    <a:pos x="T0" y="T1"/>
                  </a:cxn>
                  <a:cxn ang="0">
                    <a:pos x="T2" y="T3"/>
                  </a:cxn>
                  <a:cxn ang="0">
                    <a:pos x="T4" y="T5"/>
                  </a:cxn>
                  <a:cxn ang="0">
                    <a:pos x="T6" y="T7"/>
                  </a:cxn>
                </a:cxnLst>
                <a:rect l="0" t="0" r="r" b="b"/>
                <a:pathLst>
                  <a:path w="415" h="359">
                    <a:moveTo>
                      <a:pt x="208" y="359"/>
                    </a:moveTo>
                    <a:lnTo>
                      <a:pt x="0" y="0"/>
                    </a:lnTo>
                    <a:lnTo>
                      <a:pt x="415" y="0"/>
                    </a:lnTo>
                    <a:lnTo>
                      <a:pt x="208"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6" name="Freeform 313"/>
              <p:cNvSpPr>
                <a:spLocks/>
              </p:cNvSpPr>
              <p:nvPr/>
            </p:nvSpPr>
            <p:spPr bwMode="auto">
              <a:xfrm>
                <a:off x="-10853738" y="-4110038"/>
                <a:ext cx="328613" cy="569913"/>
              </a:xfrm>
              <a:custGeom>
                <a:avLst/>
                <a:gdLst>
                  <a:gd name="T0" fmla="*/ 0 w 207"/>
                  <a:gd name="T1" fmla="*/ 359 h 359"/>
                  <a:gd name="T2" fmla="*/ 0 w 207"/>
                  <a:gd name="T3" fmla="*/ 359 h 359"/>
                  <a:gd name="T4" fmla="*/ 0 w 207"/>
                  <a:gd name="T5" fmla="*/ 359 h 359"/>
                  <a:gd name="T6" fmla="*/ 207 w 207"/>
                  <a:gd name="T7" fmla="*/ 0 h 359"/>
                  <a:gd name="T8" fmla="*/ 207 w 207"/>
                  <a:gd name="T9" fmla="*/ 0 h 359"/>
                  <a:gd name="T10" fmla="*/ 0 w 207"/>
                  <a:gd name="T11" fmla="*/ 359 h 359"/>
                </a:gdLst>
                <a:ahLst/>
                <a:cxnLst>
                  <a:cxn ang="0">
                    <a:pos x="T0" y="T1"/>
                  </a:cxn>
                  <a:cxn ang="0">
                    <a:pos x="T2" y="T3"/>
                  </a:cxn>
                  <a:cxn ang="0">
                    <a:pos x="T4" y="T5"/>
                  </a:cxn>
                  <a:cxn ang="0">
                    <a:pos x="T6" y="T7"/>
                  </a:cxn>
                  <a:cxn ang="0">
                    <a:pos x="T8" y="T9"/>
                  </a:cxn>
                  <a:cxn ang="0">
                    <a:pos x="T10" y="T11"/>
                  </a:cxn>
                </a:cxnLst>
                <a:rect l="0" t="0" r="r" b="b"/>
                <a:pathLst>
                  <a:path w="207" h="359">
                    <a:moveTo>
                      <a:pt x="0" y="359"/>
                    </a:moveTo>
                    <a:lnTo>
                      <a:pt x="0" y="359"/>
                    </a:lnTo>
                    <a:lnTo>
                      <a:pt x="0" y="359"/>
                    </a:lnTo>
                    <a:lnTo>
                      <a:pt x="207" y="0"/>
                    </a:lnTo>
                    <a:lnTo>
                      <a:pt x="207"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7" name="Freeform 314"/>
              <p:cNvSpPr>
                <a:spLocks noEditPoints="1"/>
              </p:cNvSpPr>
              <p:nvPr/>
            </p:nvSpPr>
            <p:spPr bwMode="auto">
              <a:xfrm>
                <a:off x="-12533313" y="-1143001"/>
                <a:ext cx="781050" cy="2268538"/>
              </a:xfrm>
              <a:custGeom>
                <a:avLst/>
                <a:gdLst>
                  <a:gd name="T0" fmla="*/ 1025 w 1025"/>
                  <a:gd name="T1" fmla="*/ 2978 h 2978"/>
                  <a:gd name="T2" fmla="*/ 150 w 1025"/>
                  <a:gd name="T3" fmla="*/ 437 h 2978"/>
                  <a:gd name="T4" fmla="*/ 1025 w 1025"/>
                  <a:gd name="T5" fmla="*/ 2978 h 2978"/>
                  <a:gd name="T6" fmla="*/ 0 w 1025"/>
                  <a:gd name="T7" fmla="*/ 0 h 2978"/>
                  <a:gd name="T8" fmla="*/ 0 w 1025"/>
                  <a:gd name="T9" fmla="*/ 0 h 2978"/>
                </a:gdLst>
                <a:ahLst/>
                <a:cxnLst>
                  <a:cxn ang="0">
                    <a:pos x="T0" y="T1"/>
                  </a:cxn>
                  <a:cxn ang="0">
                    <a:pos x="T2" y="T3"/>
                  </a:cxn>
                  <a:cxn ang="0">
                    <a:pos x="T4" y="T5"/>
                  </a:cxn>
                  <a:cxn ang="0">
                    <a:pos x="T6" y="T7"/>
                  </a:cxn>
                  <a:cxn ang="0">
                    <a:pos x="T8" y="T9"/>
                  </a:cxn>
                </a:cxnLst>
                <a:rect l="0" t="0" r="r" b="b"/>
                <a:pathLst>
                  <a:path w="1025" h="2978">
                    <a:moveTo>
                      <a:pt x="1025" y="2978"/>
                    </a:moveTo>
                    <a:lnTo>
                      <a:pt x="150" y="437"/>
                    </a:lnTo>
                    <a:lnTo>
                      <a:pt x="1025" y="2978"/>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8" name="Freeform 315"/>
              <p:cNvSpPr>
                <a:spLocks/>
              </p:cNvSpPr>
              <p:nvPr/>
            </p:nvSpPr>
            <p:spPr bwMode="auto">
              <a:xfrm>
                <a:off x="-12625388" y="-3140076"/>
                <a:ext cx="811213" cy="1997075"/>
              </a:xfrm>
              <a:custGeom>
                <a:avLst/>
                <a:gdLst>
                  <a:gd name="T0" fmla="*/ 58 w 511"/>
                  <a:gd name="T1" fmla="*/ 1258 h 1258"/>
                  <a:gd name="T2" fmla="*/ 0 w 511"/>
                  <a:gd name="T3" fmla="*/ 1211 h 1258"/>
                  <a:gd name="T4" fmla="*/ 0 w 511"/>
                  <a:gd name="T5" fmla="*/ 340 h 1258"/>
                  <a:gd name="T6" fmla="*/ 511 w 511"/>
                  <a:gd name="T7" fmla="*/ 0 h 1258"/>
                  <a:gd name="T8" fmla="*/ 58 w 511"/>
                  <a:gd name="T9" fmla="*/ 1258 h 1258"/>
                </a:gdLst>
                <a:ahLst/>
                <a:cxnLst>
                  <a:cxn ang="0">
                    <a:pos x="T0" y="T1"/>
                  </a:cxn>
                  <a:cxn ang="0">
                    <a:pos x="T2" y="T3"/>
                  </a:cxn>
                  <a:cxn ang="0">
                    <a:pos x="T4" y="T5"/>
                  </a:cxn>
                  <a:cxn ang="0">
                    <a:pos x="T6" y="T7"/>
                  </a:cxn>
                  <a:cxn ang="0">
                    <a:pos x="T8" y="T9"/>
                  </a:cxn>
                </a:cxnLst>
                <a:rect l="0" t="0" r="r" b="b"/>
                <a:pathLst>
                  <a:path w="511" h="1258">
                    <a:moveTo>
                      <a:pt x="58" y="1258"/>
                    </a:moveTo>
                    <a:lnTo>
                      <a:pt x="0" y="1211"/>
                    </a:lnTo>
                    <a:lnTo>
                      <a:pt x="0" y="340"/>
                    </a:lnTo>
                    <a:lnTo>
                      <a:pt x="511" y="0"/>
                    </a:lnTo>
                    <a:lnTo>
                      <a:pt x="58" y="1258"/>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9" name="Line 316"/>
              <p:cNvSpPr>
                <a:spLocks noChangeShapeType="1"/>
              </p:cNvSpPr>
              <p:nvPr/>
            </p:nvSpPr>
            <p:spPr bwMode="auto">
              <a:xfrm>
                <a:off x="-12533313" y="-1143001"/>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9" name="Freeform 317"/>
              <p:cNvSpPr>
                <a:spLocks noEditPoints="1"/>
              </p:cNvSpPr>
              <p:nvPr/>
            </p:nvSpPr>
            <p:spPr bwMode="auto">
              <a:xfrm>
                <a:off x="-12533313" y="-1143001"/>
                <a:ext cx="1679575" cy="2268538"/>
              </a:xfrm>
              <a:custGeom>
                <a:avLst/>
                <a:gdLst>
                  <a:gd name="T0" fmla="*/ 1025 w 2204"/>
                  <a:gd name="T1" fmla="*/ 2978 h 2978"/>
                  <a:gd name="T2" fmla="*/ 150 w 2204"/>
                  <a:gd name="T3" fmla="*/ 437 h 2978"/>
                  <a:gd name="T4" fmla="*/ 0 w 2204"/>
                  <a:gd name="T5" fmla="*/ 0 h 2978"/>
                  <a:gd name="T6" fmla="*/ 2204 w 2204"/>
                  <a:gd name="T7" fmla="*/ 937 h 2978"/>
                  <a:gd name="T8" fmla="*/ 2204 w 2204"/>
                  <a:gd name="T9" fmla="*/ 937 h 2978"/>
                  <a:gd name="T10" fmla="*/ 2204 w 2204"/>
                  <a:gd name="T11" fmla="*/ 937 h 2978"/>
                  <a:gd name="T12" fmla="*/ 2204 w 2204"/>
                  <a:gd name="T13" fmla="*/ 937 h 2978"/>
                  <a:gd name="T14" fmla="*/ 2204 w 2204"/>
                  <a:gd name="T15" fmla="*/ 937 h 2978"/>
                  <a:gd name="T16" fmla="*/ 1968 w 2204"/>
                  <a:gd name="T17" fmla="*/ 1345 h 2978"/>
                  <a:gd name="T18" fmla="*/ 1025 w 2204"/>
                  <a:gd name="T19" fmla="*/ 2978 h 2978"/>
                  <a:gd name="T20" fmla="*/ 150 w 2204"/>
                  <a:gd name="T21" fmla="*/ 437 h 2978"/>
                  <a:gd name="T22" fmla="*/ 0 w 2204"/>
                  <a:gd name="T23" fmla="*/ 0 h 2978"/>
                  <a:gd name="T24" fmla="*/ 150 w 2204"/>
                  <a:gd name="T25" fmla="*/ 437 h 2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4" h="2978">
                    <a:moveTo>
                      <a:pt x="1025" y="2978"/>
                    </a:moveTo>
                    <a:lnTo>
                      <a:pt x="150" y="437"/>
                    </a:lnTo>
                    <a:lnTo>
                      <a:pt x="0" y="0"/>
                    </a:lnTo>
                    <a:lnTo>
                      <a:pt x="2204" y="937"/>
                    </a:lnTo>
                    <a:lnTo>
                      <a:pt x="2204" y="937"/>
                    </a:lnTo>
                    <a:lnTo>
                      <a:pt x="2204" y="937"/>
                    </a:lnTo>
                    <a:lnTo>
                      <a:pt x="2204" y="937"/>
                    </a:lnTo>
                    <a:lnTo>
                      <a:pt x="2204" y="937"/>
                    </a:lnTo>
                    <a:lnTo>
                      <a:pt x="1968" y="1345"/>
                    </a:lnTo>
                    <a:lnTo>
                      <a:pt x="1025" y="2978"/>
                    </a:lnTo>
                    <a:moveTo>
                      <a:pt x="150" y="437"/>
                    </a:moveTo>
                    <a:lnTo>
                      <a:pt x="0" y="0"/>
                    </a:lnTo>
                    <a:lnTo>
                      <a:pt x="150" y="437"/>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0" name="Freeform 318"/>
              <p:cNvSpPr>
                <a:spLocks/>
              </p:cNvSpPr>
              <p:nvPr/>
            </p:nvSpPr>
            <p:spPr bwMode="auto">
              <a:xfrm>
                <a:off x="-12533313" y="-1143001"/>
                <a:ext cx="114300" cy="333375"/>
              </a:xfrm>
              <a:custGeom>
                <a:avLst/>
                <a:gdLst>
                  <a:gd name="T0" fmla="*/ 72 w 72"/>
                  <a:gd name="T1" fmla="*/ 210 h 210"/>
                  <a:gd name="T2" fmla="*/ 72 w 72"/>
                  <a:gd name="T3" fmla="*/ 210 h 210"/>
                  <a:gd name="T4" fmla="*/ 0 w 72"/>
                  <a:gd name="T5" fmla="*/ 0 h 210"/>
                  <a:gd name="T6" fmla="*/ 0 w 72"/>
                  <a:gd name="T7" fmla="*/ 0 h 210"/>
                  <a:gd name="T8" fmla="*/ 72 w 72"/>
                  <a:gd name="T9" fmla="*/ 210 h 210"/>
                </a:gdLst>
                <a:ahLst/>
                <a:cxnLst>
                  <a:cxn ang="0">
                    <a:pos x="T0" y="T1"/>
                  </a:cxn>
                  <a:cxn ang="0">
                    <a:pos x="T2" y="T3"/>
                  </a:cxn>
                  <a:cxn ang="0">
                    <a:pos x="T4" y="T5"/>
                  </a:cxn>
                  <a:cxn ang="0">
                    <a:pos x="T6" y="T7"/>
                  </a:cxn>
                  <a:cxn ang="0">
                    <a:pos x="T8" y="T9"/>
                  </a:cxn>
                </a:cxnLst>
                <a:rect l="0" t="0" r="r" b="b"/>
                <a:pathLst>
                  <a:path w="72" h="210">
                    <a:moveTo>
                      <a:pt x="72" y="210"/>
                    </a:moveTo>
                    <a:lnTo>
                      <a:pt x="72" y="210"/>
                    </a:lnTo>
                    <a:lnTo>
                      <a:pt x="0" y="0"/>
                    </a:lnTo>
                    <a:lnTo>
                      <a:pt x="0" y="0"/>
                    </a:lnTo>
                    <a:lnTo>
                      <a:pt x="72" y="210"/>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1" name="Freeform 319"/>
              <p:cNvSpPr>
                <a:spLocks/>
              </p:cNvSpPr>
              <p:nvPr/>
            </p:nvSpPr>
            <p:spPr bwMode="auto">
              <a:xfrm>
                <a:off x="-12625388" y="-1217613"/>
                <a:ext cx="92075" cy="74613"/>
              </a:xfrm>
              <a:custGeom>
                <a:avLst/>
                <a:gdLst>
                  <a:gd name="T0" fmla="*/ 58 w 58"/>
                  <a:gd name="T1" fmla="*/ 47 h 47"/>
                  <a:gd name="T2" fmla="*/ 0 w 58"/>
                  <a:gd name="T3" fmla="*/ 0 h 47"/>
                  <a:gd name="T4" fmla="*/ 58 w 58"/>
                  <a:gd name="T5" fmla="*/ 47 h 47"/>
                </a:gdLst>
                <a:ahLst/>
                <a:cxnLst>
                  <a:cxn ang="0">
                    <a:pos x="T0" y="T1"/>
                  </a:cxn>
                  <a:cxn ang="0">
                    <a:pos x="T2" y="T3"/>
                  </a:cxn>
                  <a:cxn ang="0">
                    <a:pos x="T4" y="T5"/>
                  </a:cxn>
                </a:cxnLst>
                <a:rect l="0" t="0" r="r" b="b"/>
                <a:pathLst>
                  <a:path w="58" h="47">
                    <a:moveTo>
                      <a:pt x="58" y="47"/>
                    </a:moveTo>
                    <a:lnTo>
                      <a:pt x="0" y="0"/>
                    </a:lnTo>
                    <a:lnTo>
                      <a:pt x="58" y="4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2" name="Freeform 320"/>
              <p:cNvSpPr>
                <a:spLocks noEditPoints="1"/>
              </p:cNvSpPr>
              <p:nvPr/>
            </p:nvSpPr>
            <p:spPr bwMode="auto">
              <a:xfrm>
                <a:off x="-12533313" y="-3140076"/>
                <a:ext cx="1679575" cy="2711450"/>
              </a:xfrm>
              <a:custGeom>
                <a:avLst/>
                <a:gdLst>
                  <a:gd name="T0" fmla="*/ 2204 w 2204"/>
                  <a:gd name="T1" fmla="*/ 3558 h 3558"/>
                  <a:gd name="T2" fmla="*/ 0 w 2204"/>
                  <a:gd name="T3" fmla="*/ 2621 h 3558"/>
                  <a:gd name="T4" fmla="*/ 945 w 2204"/>
                  <a:gd name="T5" fmla="*/ 0 h 3558"/>
                  <a:gd name="T6" fmla="*/ 945 w 2204"/>
                  <a:gd name="T7" fmla="*/ 0 h 3558"/>
                  <a:gd name="T8" fmla="*/ 945 w 2204"/>
                  <a:gd name="T9" fmla="*/ 0 h 3558"/>
                  <a:gd name="T10" fmla="*/ 1285 w 2204"/>
                  <a:gd name="T11" fmla="*/ 960 h 3558"/>
                  <a:gd name="T12" fmla="*/ 2204 w 2204"/>
                  <a:gd name="T13" fmla="*/ 3558 h 3558"/>
                  <a:gd name="T14" fmla="*/ 2204 w 2204"/>
                  <a:gd name="T15" fmla="*/ 3558 h 3558"/>
                  <a:gd name="T16" fmla="*/ 2204 w 2204"/>
                  <a:gd name="T17" fmla="*/ 3558 h 3558"/>
                  <a:gd name="T18" fmla="*/ 2204 w 2204"/>
                  <a:gd name="T19" fmla="*/ 3558 h 3558"/>
                  <a:gd name="T20" fmla="*/ 945 w 2204"/>
                  <a:gd name="T21" fmla="*/ 0 h 3558"/>
                  <a:gd name="T22" fmla="*/ 945 w 2204"/>
                  <a:gd name="T23" fmla="*/ 0 h 3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4" h="3558">
                    <a:moveTo>
                      <a:pt x="2204" y="3558"/>
                    </a:moveTo>
                    <a:lnTo>
                      <a:pt x="0" y="2621"/>
                    </a:lnTo>
                    <a:lnTo>
                      <a:pt x="945" y="0"/>
                    </a:lnTo>
                    <a:lnTo>
                      <a:pt x="945" y="0"/>
                    </a:lnTo>
                    <a:lnTo>
                      <a:pt x="945" y="0"/>
                    </a:lnTo>
                    <a:lnTo>
                      <a:pt x="1285" y="960"/>
                    </a:lnTo>
                    <a:lnTo>
                      <a:pt x="2204" y="3558"/>
                    </a:lnTo>
                    <a:lnTo>
                      <a:pt x="2204" y="3558"/>
                    </a:lnTo>
                    <a:lnTo>
                      <a:pt x="2204" y="3558"/>
                    </a:lnTo>
                    <a:lnTo>
                      <a:pt x="2204" y="3558"/>
                    </a:lnTo>
                    <a:moveTo>
                      <a:pt x="945" y="0"/>
                    </a:moveTo>
                    <a:lnTo>
                      <a:pt x="945" y="0"/>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3" name="Rectangle 321"/>
              <p:cNvSpPr>
                <a:spLocks noChangeArrowheads="1"/>
              </p:cNvSpPr>
              <p:nvPr/>
            </p:nvSpPr>
            <p:spPr bwMode="auto">
              <a:xfrm>
                <a:off x="-10853738" y="-428626"/>
                <a:ext cx="1588" cy="1588"/>
              </a:xfrm>
              <a:prstGeom prst="rect">
                <a:avLst/>
              </a:prstGeom>
              <a:solidFill>
                <a:srgbClr val="518DB3"/>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4" name="Freeform 322"/>
              <p:cNvSpPr>
                <a:spLocks/>
              </p:cNvSpPr>
              <p:nvPr/>
            </p:nvSpPr>
            <p:spPr bwMode="auto">
              <a:xfrm>
                <a:off x="-10853738" y="-1984376"/>
                <a:ext cx="1397000" cy="1555750"/>
              </a:xfrm>
              <a:custGeom>
                <a:avLst/>
                <a:gdLst>
                  <a:gd name="T0" fmla="*/ 0 w 880"/>
                  <a:gd name="T1" fmla="*/ 980 h 980"/>
                  <a:gd name="T2" fmla="*/ 565 w 880"/>
                  <a:gd name="T3" fmla="*/ 0 h 980"/>
                  <a:gd name="T4" fmla="*/ 880 w 880"/>
                  <a:gd name="T5" fmla="*/ 633 h 980"/>
                  <a:gd name="T6" fmla="*/ 0 w 880"/>
                  <a:gd name="T7" fmla="*/ 980 h 980"/>
                </a:gdLst>
                <a:ahLst/>
                <a:cxnLst>
                  <a:cxn ang="0">
                    <a:pos x="T0" y="T1"/>
                  </a:cxn>
                  <a:cxn ang="0">
                    <a:pos x="T2" y="T3"/>
                  </a:cxn>
                  <a:cxn ang="0">
                    <a:pos x="T4" y="T5"/>
                  </a:cxn>
                  <a:cxn ang="0">
                    <a:pos x="T6" y="T7"/>
                  </a:cxn>
                </a:cxnLst>
                <a:rect l="0" t="0" r="r" b="b"/>
                <a:pathLst>
                  <a:path w="880" h="980">
                    <a:moveTo>
                      <a:pt x="0" y="980"/>
                    </a:moveTo>
                    <a:lnTo>
                      <a:pt x="565" y="0"/>
                    </a:lnTo>
                    <a:lnTo>
                      <a:pt x="880" y="633"/>
                    </a:lnTo>
                    <a:lnTo>
                      <a:pt x="0"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6" name="Freeform 323"/>
              <p:cNvSpPr>
                <a:spLocks/>
              </p:cNvSpPr>
              <p:nvPr/>
            </p:nvSpPr>
            <p:spPr bwMode="auto">
              <a:xfrm>
                <a:off x="-10853738" y="-3540126"/>
                <a:ext cx="1795463" cy="1555750"/>
              </a:xfrm>
              <a:custGeom>
                <a:avLst/>
                <a:gdLst>
                  <a:gd name="T0" fmla="*/ 565 w 1131"/>
                  <a:gd name="T1" fmla="*/ 980 h 980"/>
                  <a:gd name="T2" fmla="*/ 565 w 1131"/>
                  <a:gd name="T3" fmla="*/ 980 h 980"/>
                  <a:gd name="T4" fmla="*/ 0 w 1131"/>
                  <a:gd name="T5" fmla="*/ 0 h 980"/>
                  <a:gd name="T6" fmla="*/ 1131 w 1131"/>
                  <a:gd name="T7" fmla="*/ 0 h 980"/>
                  <a:gd name="T8" fmla="*/ 565 w 1131"/>
                  <a:gd name="T9" fmla="*/ 980 h 980"/>
                </a:gdLst>
                <a:ahLst/>
                <a:cxnLst>
                  <a:cxn ang="0">
                    <a:pos x="T0" y="T1"/>
                  </a:cxn>
                  <a:cxn ang="0">
                    <a:pos x="T2" y="T3"/>
                  </a:cxn>
                  <a:cxn ang="0">
                    <a:pos x="T4" y="T5"/>
                  </a:cxn>
                  <a:cxn ang="0">
                    <a:pos x="T6" y="T7"/>
                  </a:cxn>
                  <a:cxn ang="0">
                    <a:pos x="T8" y="T9"/>
                  </a:cxn>
                </a:cxnLst>
                <a:rect l="0" t="0" r="r" b="b"/>
                <a:pathLst>
                  <a:path w="1131" h="980">
                    <a:moveTo>
                      <a:pt x="565" y="980"/>
                    </a:moveTo>
                    <a:lnTo>
                      <a:pt x="565" y="980"/>
                    </a:lnTo>
                    <a:lnTo>
                      <a:pt x="0" y="0"/>
                    </a:lnTo>
                    <a:lnTo>
                      <a:pt x="1131" y="0"/>
                    </a:lnTo>
                    <a:lnTo>
                      <a:pt x="565"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5" name="Freeform 324"/>
              <p:cNvSpPr>
                <a:spLocks/>
              </p:cNvSpPr>
              <p:nvPr/>
            </p:nvSpPr>
            <p:spPr bwMode="auto">
              <a:xfrm>
                <a:off x="-9956800" y="-1984376"/>
                <a:ext cx="1797050" cy="1004888"/>
              </a:xfrm>
              <a:custGeom>
                <a:avLst/>
                <a:gdLst>
                  <a:gd name="T0" fmla="*/ 315 w 1132"/>
                  <a:gd name="T1" fmla="*/ 633 h 633"/>
                  <a:gd name="T2" fmla="*/ 315 w 1132"/>
                  <a:gd name="T3" fmla="*/ 633 h 633"/>
                  <a:gd name="T4" fmla="*/ 0 w 1132"/>
                  <a:gd name="T5" fmla="*/ 0 h 633"/>
                  <a:gd name="T6" fmla="*/ 0 w 1132"/>
                  <a:gd name="T7" fmla="*/ 0 h 633"/>
                  <a:gd name="T8" fmla="*/ 1132 w 1132"/>
                  <a:gd name="T9" fmla="*/ 0 h 633"/>
                  <a:gd name="T10" fmla="*/ 529 w 1132"/>
                  <a:gd name="T11" fmla="*/ 468 h 633"/>
                  <a:gd name="T12" fmla="*/ 315 w 1132"/>
                  <a:gd name="T13" fmla="*/ 633 h 633"/>
                  <a:gd name="T14" fmla="*/ 315 w 1132"/>
                  <a:gd name="T15" fmla="*/ 633 h 633"/>
                  <a:gd name="T16" fmla="*/ 315 w 1132"/>
                  <a:gd name="T17" fmla="*/ 633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2" h="633">
                    <a:moveTo>
                      <a:pt x="315" y="633"/>
                    </a:moveTo>
                    <a:lnTo>
                      <a:pt x="315" y="633"/>
                    </a:lnTo>
                    <a:lnTo>
                      <a:pt x="0" y="0"/>
                    </a:lnTo>
                    <a:lnTo>
                      <a:pt x="0" y="0"/>
                    </a:lnTo>
                    <a:lnTo>
                      <a:pt x="1132" y="0"/>
                    </a:lnTo>
                    <a:lnTo>
                      <a:pt x="529" y="468"/>
                    </a:lnTo>
                    <a:lnTo>
                      <a:pt x="315" y="633"/>
                    </a:lnTo>
                    <a:lnTo>
                      <a:pt x="315" y="633"/>
                    </a:lnTo>
                    <a:lnTo>
                      <a:pt x="315" y="633"/>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6" name="Freeform 325"/>
              <p:cNvSpPr>
                <a:spLocks/>
              </p:cNvSpPr>
              <p:nvPr/>
            </p:nvSpPr>
            <p:spPr bwMode="auto">
              <a:xfrm>
                <a:off x="-9956800" y="-1984376"/>
                <a:ext cx="500063" cy="1004888"/>
              </a:xfrm>
              <a:custGeom>
                <a:avLst/>
                <a:gdLst>
                  <a:gd name="T0" fmla="*/ 315 w 315"/>
                  <a:gd name="T1" fmla="*/ 633 h 633"/>
                  <a:gd name="T2" fmla="*/ 0 w 315"/>
                  <a:gd name="T3" fmla="*/ 0 h 633"/>
                  <a:gd name="T4" fmla="*/ 0 w 315"/>
                  <a:gd name="T5" fmla="*/ 0 h 633"/>
                  <a:gd name="T6" fmla="*/ 315 w 315"/>
                  <a:gd name="T7" fmla="*/ 633 h 633"/>
                </a:gdLst>
                <a:ahLst/>
                <a:cxnLst>
                  <a:cxn ang="0">
                    <a:pos x="T0" y="T1"/>
                  </a:cxn>
                  <a:cxn ang="0">
                    <a:pos x="T2" y="T3"/>
                  </a:cxn>
                  <a:cxn ang="0">
                    <a:pos x="T4" y="T5"/>
                  </a:cxn>
                  <a:cxn ang="0">
                    <a:pos x="T6" y="T7"/>
                  </a:cxn>
                </a:cxnLst>
                <a:rect l="0" t="0" r="r" b="b"/>
                <a:pathLst>
                  <a:path w="315" h="633">
                    <a:moveTo>
                      <a:pt x="315" y="633"/>
                    </a:moveTo>
                    <a:lnTo>
                      <a:pt x="0" y="0"/>
                    </a:lnTo>
                    <a:lnTo>
                      <a:pt x="0" y="0"/>
                    </a:lnTo>
                    <a:lnTo>
                      <a:pt x="315" y="63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7" name="Freeform 326"/>
              <p:cNvSpPr>
                <a:spLocks/>
              </p:cNvSpPr>
              <p:nvPr/>
            </p:nvSpPr>
            <p:spPr bwMode="auto">
              <a:xfrm>
                <a:off x="-11814175" y="-3540126"/>
                <a:ext cx="1857375" cy="1555750"/>
              </a:xfrm>
              <a:custGeom>
                <a:avLst/>
                <a:gdLst>
                  <a:gd name="T0" fmla="*/ 1170 w 1170"/>
                  <a:gd name="T1" fmla="*/ 980 h 980"/>
                  <a:gd name="T2" fmla="*/ 0 w 1170"/>
                  <a:gd name="T3" fmla="*/ 252 h 980"/>
                  <a:gd name="T4" fmla="*/ 605 w 1170"/>
                  <a:gd name="T5" fmla="*/ 0 h 980"/>
                  <a:gd name="T6" fmla="*/ 1170 w 1170"/>
                  <a:gd name="T7" fmla="*/ 980 h 980"/>
                </a:gdLst>
                <a:ahLst/>
                <a:cxnLst>
                  <a:cxn ang="0">
                    <a:pos x="T0" y="T1"/>
                  </a:cxn>
                  <a:cxn ang="0">
                    <a:pos x="T2" y="T3"/>
                  </a:cxn>
                  <a:cxn ang="0">
                    <a:pos x="T4" y="T5"/>
                  </a:cxn>
                  <a:cxn ang="0">
                    <a:pos x="T6" y="T7"/>
                  </a:cxn>
                </a:cxnLst>
                <a:rect l="0" t="0" r="r" b="b"/>
                <a:pathLst>
                  <a:path w="1170" h="980">
                    <a:moveTo>
                      <a:pt x="1170" y="980"/>
                    </a:moveTo>
                    <a:lnTo>
                      <a:pt x="0" y="252"/>
                    </a:lnTo>
                    <a:lnTo>
                      <a:pt x="605" y="0"/>
                    </a:lnTo>
                    <a:lnTo>
                      <a:pt x="1170"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8" name="Freeform 327"/>
              <p:cNvSpPr>
                <a:spLocks/>
              </p:cNvSpPr>
              <p:nvPr/>
            </p:nvSpPr>
            <p:spPr bwMode="auto">
              <a:xfrm>
                <a:off x="-9956800" y="-3540126"/>
                <a:ext cx="1797050" cy="1555750"/>
              </a:xfrm>
              <a:custGeom>
                <a:avLst/>
                <a:gdLst>
                  <a:gd name="T0" fmla="*/ 0 w 1132"/>
                  <a:gd name="T1" fmla="*/ 980 h 980"/>
                  <a:gd name="T2" fmla="*/ 0 w 1132"/>
                  <a:gd name="T3" fmla="*/ 980 h 980"/>
                  <a:gd name="T4" fmla="*/ 566 w 1132"/>
                  <a:gd name="T5" fmla="*/ 0 h 980"/>
                  <a:gd name="T6" fmla="*/ 1132 w 1132"/>
                  <a:gd name="T7" fmla="*/ 980 h 980"/>
                  <a:gd name="T8" fmla="*/ 1132 w 1132"/>
                  <a:gd name="T9" fmla="*/ 980 h 980"/>
                  <a:gd name="T10" fmla="*/ 1132 w 1132"/>
                  <a:gd name="T11" fmla="*/ 980 h 980"/>
                  <a:gd name="T12" fmla="*/ 1132 w 1132"/>
                  <a:gd name="T13" fmla="*/ 980 h 980"/>
                  <a:gd name="T14" fmla="*/ 0 w 1132"/>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980">
                    <a:moveTo>
                      <a:pt x="0" y="980"/>
                    </a:moveTo>
                    <a:lnTo>
                      <a:pt x="0" y="980"/>
                    </a:lnTo>
                    <a:lnTo>
                      <a:pt x="566" y="0"/>
                    </a:lnTo>
                    <a:lnTo>
                      <a:pt x="1132" y="980"/>
                    </a:lnTo>
                    <a:lnTo>
                      <a:pt x="1132" y="980"/>
                    </a:lnTo>
                    <a:lnTo>
                      <a:pt x="1132" y="980"/>
                    </a:lnTo>
                    <a:lnTo>
                      <a:pt x="1132" y="980"/>
                    </a:lnTo>
                    <a:lnTo>
                      <a:pt x="0" y="98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9" name="Freeform 328"/>
              <p:cNvSpPr>
                <a:spLocks/>
              </p:cNvSpPr>
              <p:nvPr/>
            </p:nvSpPr>
            <p:spPr bwMode="auto">
              <a:xfrm>
                <a:off x="-11814175" y="-3140076"/>
                <a:ext cx="1857375" cy="2711450"/>
              </a:xfrm>
              <a:custGeom>
                <a:avLst/>
                <a:gdLst>
                  <a:gd name="T0" fmla="*/ 605 w 1170"/>
                  <a:gd name="T1" fmla="*/ 1708 h 1708"/>
                  <a:gd name="T2" fmla="*/ 605 w 1170"/>
                  <a:gd name="T3" fmla="*/ 1708 h 1708"/>
                  <a:gd name="T4" fmla="*/ 605 w 1170"/>
                  <a:gd name="T5" fmla="*/ 1708 h 1708"/>
                  <a:gd name="T6" fmla="*/ 163 w 1170"/>
                  <a:gd name="T7" fmla="*/ 461 h 1708"/>
                  <a:gd name="T8" fmla="*/ 0 w 1170"/>
                  <a:gd name="T9" fmla="*/ 0 h 1708"/>
                  <a:gd name="T10" fmla="*/ 0 w 1170"/>
                  <a:gd name="T11" fmla="*/ 0 h 1708"/>
                  <a:gd name="T12" fmla="*/ 1170 w 1170"/>
                  <a:gd name="T13" fmla="*/ 728 h 1708"/>
                  <a:gd name="T14" fmla="*/ 1170 w 1170"/>
                  <a:gd name="T15" fmla="*/ 728 h 1708"/>
                  <a:gd name="T16" fmla="*/ 1170 w 1170"/>
                  <a:gd name="T17" fmla="*/ 728 h 1708"/>
                  <a:gd name="T18" fmla="*/ 1170 w 1170"/>
                  <a:gd name="T19" fmla="*/ 728 h 1708"/>
                  <a:gd name="T20" fmla="*/ 1170 w 1170"/>
                  <a:gd name="T21" fmla="*/ 728 h 1708"/>
                  <a:gd name="T22" fmla="*/ 1170 w 1170"/>
                  <a:gd name="T23" fmla="*/ 728 h 1708"/>
                  <a:gd name="T24" fmla="*/ 605 w 1170"/>
                  <a:gd name="T25" fmla="*/ 1708 h 1708"/>
                  <a:gd name="T26" fmla="*/ 605 w 1170"/>
                  <a:gd name="T27" fmla="*/ 1708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0" h="1708">
                    <a:moveTo>
                      <a:pt x="605" y="1708"/>
                    </a:moveTo>
                    <a:lnTo>
                      <a:pt x="605" y="1708"/>
                    </a:lnTo>
                    <a:lnTo>
                      <a:pt x="605" y="1708"/>
                    </a:lnTo>
                    <a:lnTo>
                      <a:pt x="163" y="461"/>
                    </a:lnTo>
                    <a:lnTo>
                      <a:pt x="0" y="0"/>
                    </a:lnTo>
                    <a:lnTo>
                      <a:pt x="0" y="0"/>
                    </a:lnTo>
                    <a:lnTo>
                      <a:pt x="1170" y="728"/>
                    </a:lnTo>
                    <a:lnTo>
                      <a:pt x="1170" y="728"/>
                    </a:lnTo>
                    <a:lnTo>
                      <a:pt x="1170" y="728"/>
                    </a:lnTo>
                    <a:lnTo>
                      <a:pt x="1170" y="728"/>
                    </a:lnTo>
                    <a:lnTo>
                      <a:pt x="1170" y="728"/>
                    </a:lnTo>
                    <a:lnTo>
                      <a:pt x="1170" y="728"/>
                    </a:lnTo>
                    <a:lnTo>
                      <a:pt x="605" y="1708"/>
                    </a:lnTo>
                    <a:lnTo>
                      <a:pt x="605" y="1708"/>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0" name="Freeform 329"/>
              <p:cNvSpPr>
                <a:spLocks/>
              </p:cNvSpPr>
              <p:nvPr/>
            </p:nvSpPr>
            <p:spPr bwMode="auto">
              <a:xfrm>
                <a:off x="-12625388" y="3949700"/>
                <a:ext cx="446088" cy="647700"/>
              </a:xfrm>
              <a:custGeom>
                <a:avLst/>
                <a:gdLst>
                  <a:gd name="T0" fmla="*/ 281 w 281"/>
                  <a:gd name="T1" fmla="*/ 408 h 408"/>
                  <a:gd name="T2" fmla="*/ 0 w 281"/>
                  <a:gd name="T3" fmla="*/ 334 h 408"/>
                  <a:gd name="T4" fmla="*/ 0 w 281"/>
                  <a:gd name="T5" fmla="*/ 0 h 408"/>
                  <a:gd name="T6" fmla="*/ 281 w 281"/>
                  <a:gd name="T7" fmla="*/ 408 h 408"/>
                </a:gdLst>
                <a:ahLst/>
                <a:cxnLst>
                  <a:cxn ang="0">
                    <a:pos x="T0" y="T1"/>
                  </a:cxn>
                  <a:cxn ang="0">
                    <a:pos x="T2" y="T3"/>
                  </a:cxn>
                  <a:cxn ang="0">
                    <a:pos x="T4" y="T5"/>
                  </a:cxn>
                  <a:cxn ang="0">
                    <a:pos x="T6" y="T7"/>
                  </a:cxn>
                </a:cxnLst>
                <a:rect l="0" t="0" r="r" b="b"/>
                <a:pathLst>
                  <a:path w="281" h="408">
                    <a:moveTo>
                      <a:pt x="281" y="408"/>
                    </a:moveTo>
                    <a:lnTo>
                      <a:pt x="0" y="334"/>
                    </a:lnTo>
                    <a:lnTo>
                      <a:pt x="0" y="0"/>
                    </a:lnTo>
                    <a:lnTo>
                      <a:pt x="281" y="408"/>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1" name="Freeform 330"/>
              <p:cNvSpPr>
                <a:spLocks/>
              </p:cNvSpPr>
              <p:nvPr/>
            </p:nvSpPr>
            <p:spPr bwMode="auto">
              <a:xfrm>
                <a:off x="-12625388" y="1152525"/>
                <a:ext cx="844550" cy="811213"/>
              </a:xfrm>
              <a:custGeom>
                <a:avLst/>
                <a:gdLst>
                  <a:gd name="T0" fmla="*/ 0 w 532"/>
                  <a:gd name="T1" fmla="*/ 511 h 511"/>
                  <a:gd name="T2" fmla="*/ 0 w 532"/>
                  <a:gd name="T3" fmla="*/ 511 h 511"/>
                  <a:gd name="T4" fmla="*/ 532 w 532"/>
                  <a:gd name="T5" fmla="*/ 0 h 511"/>
                  <a:gd name="T6" fmla="*/ 0 w 532"/>
                  <a:gd name="T7" fmla="*/ 511 h 511"/>
                </a:gdLst>
                <a:ahLst/>
                <a:cxnLst>
                  <a:cxn ang="0">
                    <a:pos x="T0" y="T1"/>
                  </a:cxn>
                  <a:cxn ang="0">
                    <a:pos x="T2" y="T3"/>
                  </a:cxn>
                  <a:cxn ang="0">
                    <a:pos x="T4" y="T5"/>
                  </a:cxn>
                  <a:cxn ang="0">
                    <a:pos x="T6" y="T7"/>
                  </a:cxn>
                </a:cxnLst>
                <a:rect l="0" t="0" r="r" b="b"/>
                <a:pathLst>
                  <a:path w="532" h="511">
                    <a:moveTo>
                      <a:pt x="0" y="511"/>
                    </a:moveTo>
                    <a:lnTo>
                      <a:pt x="0" y="511"/>
                    </a:lnTo>
                    <a:lnTo>
                      <a:pt x="532" y="0"/>
                    </a:lnTo>
                    <a:lnTo>
                      <a:pt x="0" y="51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2" name="Freeform 331"/>
              <p:cNvSpPr>
                <a:spLocks noEditPoints="1"/>
              </p:cNvSpPr>
              <p:nvPr/>
            </p:nvSpPr>
            <p:spPr bwMode="auto">
              <a:xfrm>
                <a:off x="-12625388" y="2682875"/>
                <a:ext cx="1771650" cy="1914525"/>
              </a:xfrm>
              <a:custGeom>
                <a:avLst/>
                <a:gdLst>
                  <a:gd name="T0" fmla="*/ 586 w 2324"/>
                  <a:gd name="T1" fmla="*/ 2514 h 2514"/>
                  <a:gd name="T2" fmla="*/ 586 w 2324"/>
                  <a:gd name="T3" fmla="*/ 2514 h 2514"/>
                  <a:gd name="T4" fmla="*/ 0 w 2324"/>
                  <a:gd name="T5" fmla="*/ 1664 h 2514"/>
                  <a:gd name="T6" fmla="*/ 0 w 2324"/>
                  <a:gd name="T7" fmla="*/ 64 h 2514"/>
                  <a:gd name="T8" fmla="*/ 2324 w 2324"/>
                  <a:gd name="T9" fmla="*/ 0 h 2514"/>
                  <a:gd name="T10" fmla="*/ 1542 w 2324"/>
                  <a:gd name="T11" fmla="*/ 1131 h 2514"/>
                  <a:gd name="T12" fmla="*/ 586 w 2324"/>
                  <a:gd name="T13" fmla="*/ 2514 h 2514"/>
                  <a:gd name="T14" fmla="*/ 2324 w 2324"/>
                  <a:gd name="T15" fmla="*/ 0 h 2514"/>
                  <a:gd name="T16" fmla="*/ 2324 w 2324"/>
                  <a:gd name="T17" fmla="*/ 0 h 2514"/>
                  <a:gd name="T18" fmla="*/ 2324 w 2324"/>
                  <a:gd name="T19"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4" h="2514">
                    <a:moveTo>
                      <a:pt x="586" y="2514"/>
                    </a:moveTo>
                    <a:lnTo>
                      <a:pt x="586" y="2514"/>
                    </a:lnTo>
                    <a:lnTo>
                      <a:pt x="0" y="1664"/>
                    </a:lnTo>
                    <a:lnTo>
                      <a:pt x="0" y="64"/>
                    </a:lnTo>
                    <a:lnTo>
                      <a:pt x="2324" y="0"/>
                    </a:lnTo>
                    <a:lnTo>
                      <a:pt x="1542" y="1131"/>
                    </a:lnTo>
                    <a:lnTo>
                      <a:pt x="586" y="2514"/>
                    </a:lnTo>
                    <a:moveTo>
                      <a:pt x="2324" y="0"/>
                    </a:moveTo>
                    <a:lnTo>
                      <a:pt x="2324" y="0"/>
                    </a:lnTo>
                    <a:lnTo>
                      <a:pt x="2324"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3" name="Freeform 332"/>
              <p:cNvSpPr>
                <a:spLocks/>
              </p:cNvSpPr>
              <p:nvPr/>
            </p:nvSpPr>
            <p:spPr bwMode="auto">
              <a:xfrm>
                <a:off x="-12625388" y="1125537"/>
                <a:ext cx="1771650" cy="1604963"/>
              </a:xfrm>
              <a:custGeom>
                <a:avLst/>
                <a:gdLst>
                  <a:gd name="T0" fmla="*/ 0 w 1116"/>
                  <a:gd name="T1" fmla="*/ 1011 h 1011"/>
                  <a:gd name="T2" fmla="*/ 0 w 1116"/>
                  <a:gd name="T3" fmla="*/ 528 h 1011"/>
                  <a:gd name="T4" fmla="*/ 532 w 1116"/>
                  <a:gd name="T5" fmla="*/ 17 h 1011"/>
                  <a:gd name="T6" fmla="*/ 550 w 1116"/>
                  <a:gd name="T7" fmla="*/ 0 h 1011"/>
                  <a:gd name="T8" fmla="*/ 532 w 1116"/>
                  <a:gd name="T9" fmla="*/ 17 h 1011"/>
                  <a:gd name="T10" fmla="*/ 550 w 1116"/>
                  <a:gd name="T11" fmla="*/ 0 h 1011"/>
                  <a:gd name="T12" fmla="*/ 550 w 1116"/>
                  <a:gd name="T13" fmla="*/ 0 h 1011"/>
                  <a:gd name="T14" fmla="*/ 550 w 1116"/>
                  <a:gd name="T15" fmla="*/ 0 h 1011"/>
                  <a:gd name="T16" fmla="*/ 1116 w 1116"/>
                  <a:gd name="T17" fmla="*/ 981 h 1011"/>
                  <a:gd name="T18" fmla="*/ 0 w 1116"/>
                  <a:gd name="T19" fmla="*/ 1011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6" h="1011">
                    <a:moveTo>
                      <a:pt x="0" y="1011"/>
                    </a:moveTo>
                    <a:lnTo>
                      <a:pt x="0" y="528"/>
                    </a:lnTo>
                    <a:lnTo>
                      <a:pt x="532" y="17"/>
                    </a:lnTo>
                    <a:lnTo>
                      <a:pt x="550" y="0"/>
                    </a:lnTo>
                    <a:lnTo>
                      <a:pt x="532" y="17"/>
                    </a:lnTo>
                    <a:lnTo>
                      <a:pt x="550" y="0"/>
                    </a:lnTo>
                    <a:lnTo>
                      <a:pt x="550" y="0"/>
                    </a:lnTo>
                    <a:lnTo>
                      <a:pt x="550" y="0"/>
                    </a:lnTo>
                    <a:lnTo>
                      <a:pt x="1116" y="981"/>
                    </a:lnTo>
                    <a:lnTo>
                      <a:pt x="0" y="101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4" name="Freeform 333"/>
              <p:cNvSpPr>
                <a:spLocks/>
              </p:cNvSpPr>
              <p:nvPr/>
            </p:nvSpPr>
            <p:spPr bwMode="auto">
              <a:xfrm>
                <a:off x="-11780838" y="1125537"/>
                <a:ext cx="28575" cy="26988"/>
              </a:xfrm>
              <a:custGeom>
                <a:avLst/>
                <a:gdLst>
                  <a:gd name="T0" fmla="*/ 0 w 18"/>
                  <a:gd name="T1" fmla="*/ 17 h 17"/>
                  <a:gd name="T2" fmla="*/ 0 w 18"/>
                  <a:gd name="T3" fmla="*/ 17 h 17"/>
                  <a:gd name="T4" fmla="*/ 18 w 18"/>
                  <a:gd name="T5" fmla="*/ 0 h 17"/>
                  <a:gd name="T6" fmla="*/ 0 w 18"/>
                  <a:gd name="T7" fmla="*/ 17 h 17"/>
                </a:gdLst>
                <a:ahLst/>
                <a:cxnLst>
                  <a:cxn ang="0">
                    <a:pos x="T0" y="T1"/>
                  </a:cxn>
                  <a:cxn ang="0">
                    <a:pos x="T2" y="T3"/>
                  </a:cxn>
                  <a:cxn ang="0">
                    <a:pos x="T4" y="T5"/>
                  </a:cxn>
                  <a:cxn ang="0">
                    <a:pos x="T6" y="T7"/>
                  </a:cxn>
                </a:cxnLst>
                <a:rect l="0" t="0" r="r" b="b"/>
                <a:pathLst>
                  <a:path w="18" h="17">
                    <a:moveTo>
                      <a:pt x="0" y="17"/>
                    </a:moveTo>
                    <a:lnTo>
                      <a:pt x="0" y="17"/>
                    </a:lnTo>
                    <a:lnTo>
                      <a:pt x="18" y="0"/>
                    </a:lnTo>
                    <a:lnTo>
                      <a:pt x="0" y="1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5" name="Freeform 334"/>
              <p:cNvSpPr>
                <a:spLocks noEditPoints="1"/>
              </p:cNvSpPr>
              <p:nvPr/>
            </p:nvSpPr>
            <p:spPr bwMode="auto">
              <a:xfrm>
                <a:off x="-10853738" y="1454150"/>
                <a:ext cx="1365250" cy="1757363"/>
              </a:xfrm>
              <a:custGeom>
                <a:avLst/>
                <a:gdLst>
                  <a:gd name="T0" fmla="*/ 1792 w 1792"/>
                  <a:gd name="T1" fmla="*/ 2307 h 2307"/>
                  <a:gd name="T2" fmla="*/ 0 w 1792"/>
                  <a:gd name="T3" fmla="*/ 1612 h 2307"/>
                  <a:gd name="T4" fmla="*/ 0 w 1792"/>
                  <a:gd name="T5" fmla="*/ 1612 h 2307"/>
                  <a:gd name="T6" fmla="*/ 0 w 1792"/>
                  <a:gd name="T7" fmla="*/ 1612 h 2307"/>
                  <a:gd name="T8" fmla="*/ 233 w 1792"/>
                  <a:gd name="T9" fmla="*/ 0 h 2307"/>
                  <a:gd name="T10" fmla="*/ 790 w 1792"/>
                  <a:gd name="T11" fmla="*/ 824 h 2307"/>
                  <a:gd name="T12" fmla="*/ 1792 w 1792"/>
                  <a:gd name="T13" fmla="*/ 2307 h 2307"/>
                  <a:gd name="T14" fmla="*/ 233 w 1792"/>
                  <a:gd name="T15" fmla="*/ 0 h 2307"/>
                  <a:gd name="T16" fmla="*/ 233 w 1792"/>
                  <a:gd name="T17" fmla="*/ 0 h 2307"/>
                  <a:gd name="T18" fmla="*/ 233 w 1792"/>
                  <a:gd name="T19" fmla="*/ 0 h 2307"/>
                  <a:gd name="T20" fmla="*/ 233 w 1792"/>
                  <a:gd name="T21" fmla="*/ 0 h 2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2" h="2307">
                    <a:moveTo>
                      <a:pt x="1792" y="2307"/>
                    </a:moveTo>
                    <a:lnTo>
                      <a:pt x="0" y="1612"/>
                    </a:lnTo>
                    <a:lnTo>
                      <a:pt x="0" y="1612"/>
                    </a:lnTo>
                    <a:lnTo>
                      <a:pt x="0" y="1612"/>
                    </a:lnTo>
                    <a:lnTo>
                      <a:pt x="233" y="0"/>
                    </a:lnTo>
                    <a:lnTo>
                      <a:pt x="790" y="824"/>
                    </a:lnTo>
                    <a:lnTo>
                      <a:pt x="1792" y="2307"/>
                    </a:lnTo>
                    <a:moveTo>
                      <a:pt x="233" y="0"/>
                    </a:moveTo>
                    <a:lnTo>
                      <a:pt x="233" y="0"/>
                    </a:lnTo>
                    <a:lnTo>
                      <a:pt x="233" y="0"/>
                    </a:lnTo>
                    <a:lnTo>
                      <a:pt x="233"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6" name="Freeform 335"/>
              <p:cNvSpPr>
                <a:spLocks/>
              </p:cNvSpPr>
              <p:nvPr/>
            </p:nvSpPr>
            <p:spPr bwMode="auto">
              <a:xfrm>
                <a:off x="-10853738" y="-979488"/>
                <a:ext cx="1397000" cy="2433638"/>
              </a:xfrm>
              <a:custGeom>
                <a:avLst/>
                <a:gdLst>
                  <a:gd name="T0" fmla="*/ 111 w 880"/>
                  <a:gd name="T1" fmla="*/ 1533 h 1533"/>
                  <a:gd name="T2" fmla="*/ 111 w 880"/>
                  <a:gd name="T3" fmla="*/ 1533 h 1533"/>
                  <a:gd name="T4" fmla="*/ 0 w 880"/>
                  <a:gd name="T5" fmla="*/ 347 h 1533"/>
                  <a:gd name="T6" fmla="*/ 0 w 880"/>
                  <a:gd name="T7" fmla="*/ 347 h 1533"/>
                  <a:gd name="T8" fmla="*/ 0 w 880"/>
                  <a:gd name="T9" fmla="*/ 347 h 1533"/>
                  <a:gd name="T10" fmla="*/ 880 w 880"/>
                  <a:gd name="T11" fmla="*/ 0 h 1533"/>
                  <a:gd name="T12" fmla="*/ 111 w 880"/>
                  <a:gd name="T13" fmla="*/ 1533 h 1533"/>
                </a:gdLst>
                <a:ahLst/>
                <a:cxnLst>
                  <a:cxn ang="0">
                    <a:pos x="T0" y="T1"/>
                  </a:cxn>
                  <a:cxn ang="0">
                    <a:pos x="T2" y="T3"/>
                  </a:cxn>
                  <a:cxn ang="0">
                    <a:pos x="T4" y="T5"/>
                  </a:cxn>
                  <a:cxn ang="0">
                    <a:pos x="T6" y="T7"/>
                  </a:cxn>
                  <a:cxn ang="0">
                    <a:pos x="T8" y="T9"/>
                  </a:cxn>
                  <a:cxn ang="0">
                    <a:pos x="T10" y="T11"/>
                  </a:cxn>
                  <a:cxn ang="0">
                    <a:pos x="T12" y="T13"/>
                  </a:cxn>
                </a:cxnLst>
                <a:rect l="0" t="0" r="r" b="b"/>
                <a:pathLst>
                  <a:path w="880" h="1533">
                    <a:moveTo>
                      <a:pt x="111" y="1533"/>
                    </a:moveTo>
                    <a:lnTo>
                      <a:pt x="111" y="1533"/>
                    </a:lnTo>
                    <a:lnTo>
                      <a:pt x="0" y="347"/>
                    </a:lnTo>
                    <a:lnTo>
                      <a:pt x="0" y="347"/>
                    </a:lnTo>
                    <a:lnTo>
                      <a:pt x="0" y="347"/>
                    </a:lnTo>
                    <a:lnTo>
                      <a:pt x="880" y="0"/>
                    </a:lnTo>
                    <a:lnTo>
                      <a:pt x="111" y="15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7" name="Freeform 336"/>
              <p:cNvSpPr>
                <a:spLocks/>
              </p:cNvSpPr>
              <p:nvPr/>
            </p:nvSpPr>
            <p:spPr bwMode="auto">
              <a:xfrm>
                <a:off x="-10677525" y="1125537"/>
                <a:ext cx="2517775" cy="2085975"/>
              </a:xfrm>
              <a:custGeom>
                <a:avLst/>
                <a:gdLst>
                  <a:gd name="T0" fmla="*/ 749 w 1586"/>
                  <a:gd name="T1" fmla="*/ 1314 h 1314"/>
                  <a:gd name="T2" fmla="*/ 268 w 1586"/>
                  <a:gd name="T3" fmla="*/ 602 h 1314"/>
                  <a:gd name="T4" fmla="*/ 0 w 1586"/>
                  <a:gd name="T5" fmla="*/ 207 h 1314"/>
                  <a:gd name="T6" fmla="*/ 0 w 1586"/>
                  <a:gd name="T7" fmla="*/ 207 h 1314"/>
                  <a:gd name="T8" fmla="*/ 0 w 1586"/>
                  <a:gd name="T9" fmla="*/ 207 h 1314"/>
                  <a:gd name="T10" fmla="*/ 0 w 1586"/>
                  <a:gd name="T11" fmla="*/ 207 h 1314"/>
                  <a:gd name="T12" fmla="*/ 169 w 1586"/>
                  <a:gd name="T13" fmla="*/ 185 h 1314"/>
                  <a:gd name="T14" fmla="*/ 1586 w 1586"/>
                  <a:gd name="T15" fmla="*/ 0 h 1314"/>
                  <a:gd name="T16" fmla="*/ 749 w 1586"/>
                  <a:gd name="T17" fmla="*/ 1314 h 1314"/>
                  <a:gd name="T18" fmla="*/ 749 w 1586"/>
                  <a:gd name="T19" fmla="*/ 1314 h 1314"/>
                  <a:gd name="T20" fmla="*/ 749 w 1586"/>
                  <a:gd name="T21" fmla="*/ 1314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6" h="1314">
                    <a:moveTo>
                      <a:pt x="749" y="1314"/>
                    </a:moveTo>
                    <a:lnTo>
                      <a:pt x="268" y="602"/>
                    </a:lnTo>
                    <a:lnTo>
                      <a:pt x="0" y="207"/>
                    </a:lnTo>
                    <a:lnTo>
                      <a:pt x="0" y="207"/>
                    </a:lnTo>
                    <a:lnTo>
                      <a:pt x="0" y="207"/>
                    </a:lnTo>
                    <a:lnTo>
                      <a:pt x="0" y="207"/>
                    </a:lnTo>
                    <a:lnTo>
                      <a:pt x="169" y="185"/>
                    </a:lnTo>
                    <a:lnTo>
                      <a:pt x="1586" y="0"/>
                    </a:lnTo>
                    <a:lnTo>
                      <a:pt x="749" y="1314"/>
                    </a:lnTo>
                    <a:lnTo>
                      <a:pt x="749" y="1314"/>
                    </a:lnTo>
                    <a:lnTo>
                      <a:pt x="749" y="1314"/>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8" name="Freeform 337"/>
              <p:cNvSpPr>
                <a:spLocks/>
              </p:cNvSpPr>
              <p:nvPr/>
            </p:nvSpPr>
            <p:spPr bwMode="auto">
              <a:xfrm>
                <a:off x="-10677525" y="1454150"/>
                <a:ext cx="425450" cy="627063"/>
              </a:xfrm>
              <a:custGeom>
                <a:avLst/>
                <a:gdLst>
                  <a:gd name="T0" fmla="*/ 268 w 268"/>
                  <a:gd name="T1" fmla="*/ 395 h 395"/>
                  <a:gd name="T2" fmla="*/ 0 w 268"/>
                  <a:gd name="T3" fmla="*/ 0 h 395"/>
                  <a:gd name="T4" fmla="*/ 0 w 268"/>
                  <a:gd name="T5" fmla="*/ 0 h 395"/>
                  <a:gd name="T6" fmla="*/ 268 w 268"/>
                  <a:gd name="T7" fmla="*/ 395 h 395"/>
                </a:gdLst>
                <a:ahLst/>
                <a:cxnLst>
                  <a:cxn ang="0">
                    <a:pos x="T0" y="T1"/>
                  </a:cxn>
                  <a:cxn ang="0">
                    <a:pos x="T2" y="T3"/>
                  </a:cxn>
                  <a:cxn ang="0">
                    <a:pos x="T4" y="T5"/>
                  </a:cxn>
                  <a:cxn ang="0">
                    <a:pos x="T6" y="T7"/>
                  </a:cxn>
                </a:cxnLst>
                <a:rect l="0" t="0" r="r" b="b"/>
                <a:pathLst>
                  <a:path w="268" h="395">
                    <a:moveTo>
                      <a:pt x="268" y="395"/>
                    </a:moveTo>
                    <a:lnTo>
                      <a:pt x="0" y="0"/>
                    </a:lnTo>
                    <a:lnTo>
                      <a:pt x="0" y="0"/>
                    </a:lnTo>
                    <a:lnTo>
                      <a:pt x="268" y="39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9" name="Freeform 338"/>
              <p:cNvSpPr>
                <a:spLocks/>
              </p:cNvSpPr>
              <p:nvPr/>
            </p:nvSpPr>
            <p:spPr bwMode="auto">
              <a:xfrm>
                <a:off x="-11752263" y="-428626"/>
                <a:ext cx="1074738" cy="1882775"/>
              </a:xfrm>
              <a:custGeom>
                <a:avLst/>
                <a:gdLst>
                  <a:gd name="T0" fmla="*/ 677 w 677"/>
                  <a:gd name="T1" fmla="*/ 1186 h 1186"/>
                  <a:gd name="T2" fmla="*/ 0 w 677"/>
                  <a:gd name="T3" fmla="*/ 979 h 1186"/>
                  <a:gd name="T4" fmla="*/ 452 w 677"/>
                  <a:gd name="T5" fmla="*/ 196 h 1186"/>
                  <a:gd name="T6" fmla="*/ 566 w 677"/>
                  <a:gd name="T7" fmla="*/ 0 h 1186"/>
                  <a:gd name="T8" fmla="*/ 677 w 677"/>
                  <a:gd name="T9" fmla="*/ 1186 h 1186"/>
                  <a:gd name="T10" fmla="*/ 677 w 677"/>
                  <a:gd name="T11" fmla="*/ 1186 h 1186"/>
                </a:gdLst>
                <a:ahLst/>
                <a:cxnLst>
                  <a:cxn ang="0">
                    <a:pos x="T0" y="T1"/>
                  </a:cxn>
                  <a:cxn ang="0">
                    <a:pos x="T2" y="T3"/>
                  </a:cxn>
                  <a:cxn ang="0">
                    <a:pos x="T4" y="T5"/>
                  </a:cxn>
                  <a:cxn ang="0">
                    <a:pos x="T6" y="T7"/>
                  </a:cxn>
                  <a:cxn ang="0">
                    <a:pos x="T8" y="T9"/>
                  </a:cxn>
                  <a:cxn ang="0">
                    <a:pos x="T10" y="T11"/>
                  </a:cxn>
                </a:cxnLst>
                <a:rect l="0" t="0" r="r" b="b"/>
                <a:pathLst>
                  <a:path w="677" h="1186">
                    <a:moveTo>
                      <a:pt x="677" y="1186"/>
                    </a:moveTo>
                    <a:lnTo>
                      <a:pt x="0" y="979"/>
                    </a:lnTo>
                    <a:lnTo>
                      <a:pt x="452" y="196"/>
                    </a:lnTo>
                    <a:lnTo>
                      <a:pt x="566" y="0"/>
                    </a:lnTo>
                    <a:lnTo>
                      <a:pt x="677" y="1186"/>
                    </a:lnTo>
                    <a:lnTo>
                      <a:pt x="677" y="118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9" name="Rectangle 339"/>
              <p:cNvSpPr>
                <a:spLocks noChangeArrowheads="1"/>
              </p:cNvSpPr>
              <p:nvPr/>
            </p:nvSpPr>
            <p:spPr bwMode="auto">
              <a:xfrm>
                <a:off x="-10677525" y="1454150"/>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2" name="Rectangle 340"/>
              <p:cNvSpPr>
                <a:spLocks noChangeArrowheads="1"/>
              </p:cNvSpPr>
              <p:nvPr/>
            </p:nvSpPr>
            <p:spPr bwMode="auto">
              <a:xfrm>
                <a:off x="-11752263" y="1125537"/>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3" name="Freeform 341"/>
              <p:cNvSpPr>
                <a:spLocks/>
              </p:cNvSpPr>
              <p:nvPr/>
            </p:nvSpPr>
            <p:spPr bwMode="auto">
              <a:xfrm>
                <a:off x="-10677525" y="-979488"/>
                <a:ext cx="2517775" cy="2433638"/>
              </a:xfrm>
              <a:custGeom>
                <a:avLst/>
                <a:gdLst>
                  <a:gd name="T0" fmla="*/ 0 w 1586"/>
                  <a:gd name="T1" fmla="*/ 1533 h 1533"/>
                  <a:gd name="T2" fmla="*/ 769 w 1586"/>
                  <a:gd name="T3" fmla="*/ 0 h 1533"/>
                  <a:gd name="T4" fmla="*/ 1586 w 1586"/>
                  <a:gd name="T5" fmla="*/ 1326 h 1533"/>
                  <a:gd name="T6" fmla="*/ 1586 w 1586"/>
                  <a:gd name="T7" fmla="*/ 1326 h 1533"/>
                  <a:gd name="T8" fmla="*/ 1586 w 1586"/>
                  <a:gd name="T9" fmla="*/ 1326 h 1533"/>
                  <a:gd name="T10" fmla="*/ 1586 w 1586"/>
                  <a:gd name="T11" fmla="*/ 1326 h 1533"/>
                  <a:gd name="T12" fmla="*/ 169 w 1586"/>
                  <a:gd name="T13" fmla="*/ 1511 h 1533"/>
                  <a:gd name="T14" fmla="*/ 0 w 1586"/>
                  <a:gd name="T15" fmla="*/ 1533 h 15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6" h="1533">
                    <a:moveTo>
                      <a:pt x="0" y="1533"/>
                    </a:moveTo>
                    <a:lnTo>
                      <a:pt x="769" y="0"/>
                    </a:lnTo>
                    <a:lnTo>
                      <a:pt x="1586" y="1326"/>
                    </a:lnTo>
                    <a:lnTo>
                      <a:pt x="1586" y="1326"/>
                    </a:lnTo>
                    <a:lnTo>
                      <a:pt x="1586" y="1326"/>
                    </a:lnTo>
                    <a:lnTo>
                      <a:pt x="1586" y="1326"/>
                    </a:lnTo>
                    <a:lnTo>
                      <a:pt x="169" y="1511"/>
                    </a:lnTo>
                    <a:lnTo>
                      <a:pt x="0" y="1533"/>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4" name="Freeform 342"/>
              <p:cNvSpPr>
                <a:spLocks noEditPoints="1"/>
              </p:cNvSpPr>
              <p:nvPr/>
            </p:nvSpPr>
            <p:spPr bwMode="auto">
              <a:xfrm>
                <a:off x="-11752263" y="1125537"/>
                <a:ext cx="1074738" cy="1557338"/>
              </a:xfrm>
              <a:custGeom>
                <a:avLst/>
                <a:gdLst>
                  <a:gd name="T0" fmla="*/ 1179 w 1412"/>
                  <a:gd name="T1" fmla="*/ 2042 h 2042"/>
                  <a:gd name="T2" fmla="*/ 0 w 1412"/>
                  <a:gd name="T3" fmla="*/ 0 h 2042"/>
                  <a:gd name="T4" fmla="*/ 1412 w 1412"/>
                  <a:gd name="T5" fmla="*/ 430 h 2042"/>
                  <a:gd name="T6" fmla="*/ 1179 w 1412"/>
                  <a:gd name="T7" fmla="*/ 2042 h 2042"/>
                  <a:gd name="T8" fmla="*/ 1412 w 1412"/>
                  <a:gd name="T9" fmla="*/ 430 h 2042"/>
                  <a:gd name="T10" fmla="*/ 1412 w 1412"/>
                  <a:gd name="T11" fmla="*/ 430 h 2042"/>
                  <a:gd name="T12" fmla="*/ 1412 w 1412"/>
                  <a:gd name="T13" fmla="*/ 430 h 2042"/>
                  <a:gd name="T14" fmla="*/ 1412 w 1412"/>
                  <a:gd name="T15" fmla="*/ 430 h 20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2042">
                    <a:moveTo>
                      <a:pt x="1179" y="2042"/>
                    </a:moveTo>
                    <a:lnTo>
                      <a:pt x="0" y="0"/>
                    </a:lnTo>
                    <a:lnTo>
                      <a:pt x="1412" y="430"/>
                    </a:lnTo>
                    <a:lnTo>
                      <a:pt x="1179" y="2042"/>
                    </a:lnTo>
                    <a:moveTo>
                      <a:pt x="1412" y="430"/>
                    </a:moveTo>
                    <a:lnTo>
                      <a:pt x="1412" y="430"/>
                    </a:lnTo>
                    <a:lnTo>
                      <a:pt x="1412" y="430"/>
                    </a:lnTo>
                    <a:lnTo>
                      <a:pt x="1412" y="430"/>
                    </a:lnTo>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5" name="Freeform 343"/>
              <p:cNvSpPr>
                <a:spLocks/>
              </p:cNvSpPr>
              <p:nvPr/>
            </p:nvSpPr>
            <p:spPr bwMode="auto">
              <a:xfrm>
                <a:off x="-10853738" y="1454150"/>
                <a:ext cx="176213" cy="1228725"/>
              </a:xfrm>
              <a:custGeom>
                <a:avLst/>
                <a:gdLst>
                  <a:gd name="T0" fmla="*/ 0 w 111"/>
                  <a:gd name="T1" fmla="*/ 774 h 774"/>
                  <a:gd name="T2" fmla="*/ 0 w 111"/>
                  <a:gd name="T3" fmla="*/ 774 h 774"/>
                  <a:gd name="T4" fmla="*/ 111 w 111"/>
                  <a:gd name="T5" fmla="*/ 0 h 774"/>
                  <a:gd name="T6" fmla="*/ 111 w 111"/>
                  <a:gd name="T7" fmla="*/ 0 h 774"/>
                  <a:gd name="T8" fmla="*/ 111 w 111"/>
                  <a:gd name="T9" fmla="*/ 0 h 774"/>
                  <a:gd name="T10" fmla="*/ 111 w 111"/>
                  <a:gd name="T11" fmla="*/ 0 h 774"/>
                  <a:gd name="T12" fmla="*/ 111 w 111"/>
                  <a:gd name="T13" fmla="*/ 0 h 774"/>
                  <a:gd name="T14" fmla="*/ 111 w 111"/>
                  <a:gd name="T15" fmla="*/ 0 h 774"/>
                  <a:gd name="T16" fmla="*/ 0 w 111"/>
                  <a:gd name="T17" fmla="*/ 77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74">
                    <a:moveTo>
                      <a:pt x="0" y="774"/>
                    </a:moveTo>
                    <a:lnTo>
                      <a:pt x="0" y="774"/>
                    </a:lnTo>
                    <a:lnTo>
                      <a:pt x="111" y="0"/>
                    </a:lnTo>
                    <a:lnTo>
                      <a:pt x="111" y="0"/>
                    </a:lnTo>
                    <a:lnTo>
                      <a:pt x="111" y="0"/>
                    </a:lnTo>
                    <a:lnTo>
                      <a:pt x="111" y="0"/>
                    </a:lnTo>
                    <a:lnTo>
                      <a:pt x="111" y="0"/>
                    </a:lnTo>
                    <a:lnTo>
                      <a:pt x="111" y="0"/>
                    </a:lnTo>
                    <a:lnTo>
                      <a:pt x="0" y="774"/>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6" name="Rectangle 344"/>
              <p:cNvSpPr>
                <a:spLocks noChangeArrowheads="1"/>
              </p:cNvSpPr>
              <p:nvPr/>
            </p:nvSpPr>
            <p:spPr bwMode="auto">
              <a:xfrm>
                <a:off x="-11752263" y="1125537"/>
                <a:ext cx="1588" cy="1588"/>
              </a:xfrm>
              <a:prstGeom prst="rect">
                <a:avLst/>
              </a:prstGeom>
              <a:solidFill>
                <a:srgbClr val="579ABA"/>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7" name="Rectangle 345"/>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8" name="Rectangle 346"/>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9" name="Freeform 347"/>
              <p:cNvSpPr>
                <a:spLocks/>
              </p:cNvSpPr>
              <p:nvPr/>
            </p:nvSpPr>
            <p:spPr bwMode="auto">
              <a:xfrm>
                <a:off x="-11752263" y="1125537"/>
                <a:ext cx="1074738" cy="328613"/>
              </a:xfrm>
              <a:custGeom>
                <a:avLst/>
                <a:gdLst>
                  <a:gd name="T0" fmla="*/ 677 w 677"/>
                  <a:gd name="T1" fmla="*/ 207 h 207"/>
                  <a:gd name="T2" fmla="*/ 0 w 677"/>
                  <a:gd name="T3" fmla="*/ 0 h 207"/>
                  <a:gd name="T4" fmla="*/ 0 w 677"/>
                  <a:gd name="T5" fmla="*/ 0 h 207"/>
                  <a:gd name="T6" fmla="*/ 0 w 677"/>
                  <a:gd name="T7" fmla="*/ 0 h 207"/>
                  <a:gd name="T8" fmla="*/ 677 w 677"/>
                  <a:gd name="T9" fmla="*/ 207 h 207"/>
                  <a:gd name="T10" fmla="*/ 677 w 677"/>
                  <a:gd name="T11" fmla="*/ 207 h 207"/>
                </a:gdLst>
                <a:ahLst/>
                <a:cxnLst>
                  <a:cxn ang="0">
                    <a:pos x="T0" y="T1"/>
                  </a:cxn>
                  <a:cxn ang="0">
                    <a:pos x="T2" y="T3"/>
                  </a:cxn>
                  <a:cxn ang="0">
                    <a:pos x="T4" y="T5"/>
                  </a:cxn>
                  <a:cxn ang="0">
                    <a:pos x="T6" y="T7"/>
                  </a:cxn>
                  <a:cxn ang="0">
                    <a:pos x="T8" y="T9"/>
                  </a:cxn>
                  <a:cxn ang="0">
                    <a:pos x="T10" y="T11"/>
                  </a:cxn>
                </a:cxnLst>
                <a:rect l="0" t="0" r="r" b="b"/>
                <a:pathLst>
                  <a:path w="677" h="207">
                    <a:moveTo>
                      <a:pt x="677" y="207"/>
                    </a:moveTo>
                    <a:lnTo>
                      <a:pt x="0" y="0"/>
                    </a:lnTo>
                    <a:lnTo>
                      <a:pt x="0" y="0"/>
                    </a:lnTo>
                    <a:lnTo>
                      <a:pt x="0" y="0"/>
                    </a:lnTo>
                    <a:lnTo>
                      <a:pt x="677" y="207"/>
                    </a:lnTo>
                    <a:lnTo>
                      <a:pt x="677" y="20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0" name="Rectangle 348"/>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1" name="Freeform 349"/>
              <p:cNvSpPr>
                <a:spLocks noEditPoints="1"/>
              </p:cNvSpPr>
              <p:nvPr/>
            </p:nvSpPr>
            <p:spPr bwMode="auto">
              <a:xfrm>
                <a:off x="-12625388" y="5602287"/>
                <a:ext cx="571500" cy="1801813"/>
              </a:xfrm>
              <a:custGeom>
                <a:avLst/>
                <a:gdLst>
                  <a:gd name="T0" fmla="*/ 0 w 750"/>
                  <a:gd name="T1" fmla="*/ 2365 h 2365"/>
                  <a:gd name="T2" fmla="*/ 0 w 750"/>
                  <a:gd name="T3" fmla="*/ 921 h 2365"/>
                  <a:gd name="T4" fmla="*/ 750 w 750"/>
                  <a:gd name="T5" fmla="*/ 0 h 2365"/>
                  <a:gd name="T6" fmla="*/ 371 w 750"/>
                  <a:gd name="T7" fmla="*/ 2264 h 2365"/>
                  <a:gd name="T8" fmla="*/ 0 w 750"/>
                  <a:gd name="T9" fmla="*/ 2365 h 2365"/>
                  <a:gd name="T10" fmla="*/ 0 w 750"/>
                  <a:gd name="T11" fmla="*/ 921 h 2365"/>
                  <a:gd name="T12" fmla="*/ 0 w 750"/>
                  <a:gd name="T13" fmla="*/ 921 h 2365"/>
                  <a:gd name="T14" fmla="*/ 750 w 750"/>
                  <a:gd name="T15" fmla="*/ 0 h 2365"/>
                  <a:gd name="T16" fmla="*/ 750 w 750"/>
                  <a:gd name="T17" fmla="*/ 0 h 2365"/>
                  <a:gd name="T18" fmla="*/ 750 w 750"/>
                  <a:gd name="T19" fmla="*/ 0 h 2365"/>
                  <a:gd name="T20" fmla="*/ 0 w 750"/>
                  <a:gd name="T21" fmla="*/ 921 h 2365"/>
                  <a:gd name="T22" fmla="*/ 750 w 750"/>
                  <a:gd name="T23" fmla="*/ 0 h 2365"/>
                  <a:gd name="T24" fmla="*/ 750 w 750"/>
                  <a:gd name="T25" fmla="*/ 0 h 2365"/>
                  <a:gd name="T26" fmla="*/ 750 w 750"/>
                  <a:gd name="T27" fmla="*/ 0 h 2365"/>
                  <a:gd name="T28" fmla="*/ 750 w 750"/>
                  <a:gd name="T29" fmla="*/ 0 h 2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0" h="2365">
                    <a:moveTo>
                      <a:pt x="0" y="2365"/>
                    </a:moveTo>
                    <a:lnTo>
                      <a:pt x="0" y="921"/>
                    </a:lnTo>
                    <a:lnTo>
                      <a:pt x="750" y="0"/>
                    </a:lnTo>
                    <a:lnTo>
                      <a:pt x="371" y="2264"/>
                    </a:lnTo>
                    <a:lnTo>
                      <a:pt x="0" y="2365"/>
                    </a:lnTo>
                    <a:moveTo>
                      <a:pt x="0" y="921"/>
                    </a:moveTo>
                    <a:lnTo>
                      <a:pt x="0" y="921"/>
                    </a:lnTo>
                    <a:lnTo>
                      <a:pt x="750" y="0"/>
                    </a:lnTo>
                    <a:lnTo>
                      <a:pt x="750" y="0"/>
                    </a:lnTo>
                    <a:lnTo>
                      <a:pt x="750" y="0"/>
                    </a:lnTo>
                    <a:lnTo>
                      <a:pt x="0" y="921"/>
                    </a:lnTo>
                    <a:moveTo>
                      <a:pt x="750" y="0"/>
                    </a:moveTo>
                    <a:lnTo>
                      <a:pt x="750" y="0"/>
                    </a:lnTo>
                    <a:lnTo>
                      <a:pt x="750" y="0"/>
                    </a:lnTo>
                    <a:lnTo>
                      <a:pt x="750" y="0"/>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2" name="Freeform 350"/>
              <p:cNvSpPr>
                <a:spLocks/>
              </p:cNvSpPr>
              <p:nvPr/>
            </p:nvSpPr>
            <p:spPr bwMode="auto">
              <a:xfrm>
                <a:off x="-12625388" y="4479925"/>
                <a:ext cx="571500" cy="1122363"/>
              </a:xfrm>
              <a:custGeom>
                <a:avLst/>
                <a:gdLst>
                  <a:gd name="T0" fmla="*/ 360 w 360"/>
                  <a:gd name="T1" fmla="*/ 707 h 707"/>
                  <a:gd name="T2" fmla="*/ 0 w 360"/>
                  <a:gd name="T3" fmla="*/ 379 h 707"/>
                  <a:gd name="T4" fmla="*/ 0 w 360"/>
                  <a:gd name="T5" fmla="*/ 0 h 707"/>
                  <a:gd name="T6" fmla="*/ 281 w 360"/>
                  <a:gd name="T7" fmla="*/ 74 h 707"/>
                  <a:gd name="T8" fmla="*/ 360 w 360"/>
                  <a:gd name="T9" fmla="*/ 707 h 707"/>
                </a:gdLst>
                <a:ahLst/>
                <a:cxnLst>
                  <a:cxn ang="0">
                    <a:pos x="T0" y="T1"/>
                  </a:cxn>
                  <a:cxn ang="0">
                    <a:pos x="T2" y="T3"/>
                  </a:cxn>
                  <a:cxn ang="0">
                    <a:pos x="T4" y="T5"/>
                  </a:cxn>
                  <a:cxn ang="0">
                    <a:pos x="T6" y="T7"/>
                  </a:cxn>
                  <a:cxn ang="0">
                    <a:pos x="T8" y="T9"/>
                  </a:cxn>
                </a:cxnLst>
                <a:rect l="0" t="0" r="r" b="b"/>
                <a:pathLst>
                  <a:path w="360" h="707">
                    <a:moveTo>
                      <a:pt x="360" y="707"/>
                    </a:moveTo>
                    <a:lnTo>
                      <a:pt x="0" y="379"/>
                    </a:lnTo>
                    <a:lnTo>
                      <a:pt x="0" y="0"/>
                    </a:lnTo>
                    <a:lnTo>
                      <a:pt x="281" y="74"/>
                    </a:lnTo>
                    <a:lnTo>
                      <a:pt x="360" y="707"/>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3" name="Freeform 351"/>
              <p:cNvSpPr>
                <a:spLocks noEditPoints="1"/>
              </p:cNvSpPr>
              <p:nvPr/>
            </p:nvSpPr>
            <p:spPr bwMode="auto">
              <a:xfrm>
                <a:off x="-12341225" y="5602287"/>
                <a:ext cx="1487488" cy="1725613"/>
              </a:xfrm>
              <a:custGeom>
                <a:avLst/>
                <a:gdLst>
                  <a:gd name="T0" fmla="*/ 0 w 1952"/>
                  <a:gd name="T1" fmla="*/ 2264 h 2264"/>
                  <a:gd name="T2" fmla="*/ 378 w 1952"/>
                  <a:gd name="T3" fmla="*/ 0 h 2264"/>
                  <a:gd name="T4" fmla="*/ 378 w 1952"/>
                  <a:gd name="T5" fmla="*/ 0 h 2264"/>
                  <a:gd name="T6" fmla="*/ 1952 w 1952"/>
                  <a:gd name="T7" fmla="*/ 251 h 2264"/>
                  <a:gd name="T8" fmla="*/ 1952 w 1952"/>
                  <a:gd name="T9" fmla="*/ 251 h 2264"/>
                  <a:gd name="T10" fmla="*/ 1952 w 1952"/>
                  <a:gd name="T11" fmla="*/ 251 h 2264"/>
                  <a:gd name="T12" fmla="*/ 1952 w 1952"/>
                  <a:gd name="T13" fmla="*/ 251 h 2264"/>
                  <a:gd name="T14" fmla="*/ 780 w 1952"/>
                  <a:gd name="T15" fmla="*/ 1459 h 2264"/>
                  <a:gd name="T16" fmla="*/ 0 w 1952"/>
                  <a:gd name="T17" fmla="*/ 2264 h 2264"/>
                  <a:gd name="T18" fmla="*/ 378 w 1952"/>
                  <a:gd name="T19" fmla="*/ 0 h 2264"/>
                  <a:gd name="T20" fmla="*/ 378 w 1952"/>
                  <a:gd name="T21" fmla="*/ 0 h 2264"/>
                  <a:gd name="T22" fmla="*/ 378 w 1952"/>
                  <a:gd name="T23" fmla="*/ 0 h 2264"/>
                  <a:gd name="T24" fmla="*/ 378 w 1952"/>
                  <a:gd name="T25" fmla="*/ 0 h 2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52" h="2264">
                    <a:moveTo>
                      <a:pt x="0" y="2264"/>
                    </a:moveTo>
                    <a:lnTo>
                      <a:pt x="378" y="0"/>
                    </a:lnTo>
                    <a:lnTo>
                      <a:pt x="378" y="0"/>
                    </a:lnTo>
                    <a:lnTo>
                      <a:pt x="1952" y="251"/>
                    </a:lnTo>
                    <a:lnTo>
                      <a:pt x="1952" y="251"/>
                    </a:lnTo>
                    <a:lnTo>
                      <a:pt x="1952" y="251"/>
                    </a:lnTo>
                    <a:lnTo>
                      <a:pt x="1952" y="251"/>
                    </a:lnTo>
                    <a:lnTo>
                      <a:pt x="780" y="1459"/>
                    </a:lnTo>
                    <a:lnTo>
                      <a:pt x="0" y="2264"/>
                    </a:lnTo>
                    <a:moveTo>
                      <a:pt x="378" y="0"/>
                    </a:moveTo>
                    <a:lnTo>
                      <a:pt x="378" y="0"/>
                    </a:lnTo>
                    <a:lnTo>
                      <a:pt x="378" y="0"/>
                    </a:lnTo>
                    <a:lnTo>
                      <a:pt x="378"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4" name="Freeform 352"/>
              <p:cNvSpPr>
                <a:spLocks noEditPoints="1"/>
              </p:cNvSpPr>
              <p:nvPr/>
            </p:nvSpPr>
            <p:spPr bwMode="auto">
              <a:xfrm>
                <a:off x="-12625388" y="5081587"/>
                <a:ext cx="571500" cy="520700"/>
              </a:xfrm>
              <a:custGeom>
                <a:avLst/>
                <a:gdLst>
                  <a:gd name="T0" fmla="*/ 750 w 750"/>
                  <a:gd name="T1" fmla="*/ 684 h 684"/>
                  <a:gd name="T2" fmla="*/ 750 w 750"/>
                  <a:gd name="T3" fmla="*/ 684 h 684"/>
                  <a:gd name="T4" fmla="*/ 750 w 750"/>
                  <a:gd name="T5" fmla="*/ 684 h 684"/>
                  <a:gd name="T6" fmla="*/ 750 w 750"/>
                  <a:gd name="T7" fmla="*/ 684 h 684"/>
                  <a:gd name="T8" fmla="*/ 750 w 750"/>
                  <a:gd name="T9" fmla="*/ 684 h 684"/>
                  <a:gd name="T10" fmla="*/ 0 w 750"/>
                  <a:gd name="T11" fmla="*/ 0 h 684"/>
                  <a:gd name="T12" fmla="*/ 750 w 750"/>
                  <a:gd name="T13" fmla="*/ 684 h 684"/>
                </a:gdLst>
                <a:ahLst/>
                <a:cxnLst>
                  <a:cxn ang="0">
                    <a:pos x="T0" y="T1"/>
                  </a:cxn>
                  <a:cxn ang="0">
                    <a:pos x="T2" y="T3"/>
                  </a:cxn>
                  <a:cxn ang="0">
                    <a:pos x="T4" y="T5"/>
                  </a:cxn>
                  <a:cxn ang="0">
                    <a:pos x="T6" y="T7"/>
                  </a:cxn>
                  <a:cxn ang="0">
                    <a:pos x="T8" y="T9"/>
                  </a:cxn>
                  <a:cxn ang="0">
                    <a:pos x="T10" y="T11"/>
                  </a:cxn>
                  <a:cxn ang="0">
                    <a:pos x="T12" y="T13"/>
                  </a:cxn>
                </a:cxnLst>
                <a:rect l="0" t="0" r="r" b="b"/>
                <a:pathLst>
                  <a:path w="750" h="684">
                    <a:moveTo>
                      <a:pt x="750" y="684"/>
                    </a:moveTo>
                    <a:lnTo>
                      <a:pt x="750" y="684"/>
                    </a:lnTo>
                    <a:lnTo>
                      <a:pt x="750" y="684"/>
                    </a:lnTo>
                    <a:lnTo>
                      <a:pt x="750" y="684"/>
                    </a:lnTo>
                    <a:moveTo>
                      <a:pt x="750" y="684"/>
                    </a:moveTo>
                    <a:lnTo>
                      <a:pt x="0" y="0"/>
                    </a:lnTo>
                    <a:lnTo>
                      <a:pt x="750" y="684"/>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5" name="Rectangle 353"/>
              <p:cNvSpPr>
                <a:spLocks noChangeArrowheads="1"/>
              </p:cNvSpPr>
              <p:nvPr/>
            </p:nvSpPr>
            <p:spPr bwMode="auto">
              <a:xfrm>
                <a:off x="-12053888" y="5602287"/>
                <a:ext cx="1588" cy="1588"/>
              </a:xfrm>
              <a:prstGeom prst="rect">
                <a:avLst/>
              </a:prstGeom>
              <a:solidFill>
                <a:srgbClr val="599DBC"/>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6" name="Line 354"/>
              <p:cNvSpPr>
                <a:spLocks noChangeShapeType="1"/>
              </p:cNvSpPr>
              <p:nvPr/>
            </p:nvSpPr>
            <p:spPr bwMode="auto">
              <a:xfrm>
                <a:off x="-12053888" y="56022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7" name="Freeform 355"/>
              <p:cNvSpPr>
                <a:spLocks/>
              </p:cNvSpPr>
              <p:nvPr/>
            </p:nvSpPr>
            <p:spPr bwMode="auto">
              <a:xfrm>
                <a:off x="-12179300" y="4597400"/>
                <a:ext cx="1325563" cy="1195388"/>
              </a:xfrm>
              <a:custGeom>
                <a:avLst/>
                <a:gdLst>
                  <a:gd name="T0" fmla="*/ 835 w 835"/>
                  <a:gd name="T1" fmla="*/ 753 h 753"/>
                  <a:gd name="T2" fmla="*/ 79 w 835"/>
                  <a:gd name="T3" fmla="*/ 633 h 753"/>
                  <a:gd name="T4" fmla="*/ 0 w 835"/>
                  <a:gd name="T5" fmla="*/ 0 h 753"/>
                  <a:gd name="T6" fmla="*/ 835 w 835"/>
                  <a:gd name="T7" fmla="*/ 753 h 753"/>
                  <a:gd name="T8" fmla="*/ 835 w 835"/>
                  <a:gd name="T9" fmla="*/ 753 h 753"/>
                </a:gdLst>
                <a:ahLst/>
                <a:cxnLst>
                  <a:cxn ang="0">
                    <a:pos x="T0" y="T1"/>
                  </a:cxn>
                  <a:cxn ang="0">
                    <a:pos x="T2" y="T3"/>
                  </a:cxn>
                  <a:cxn ang="0">
                    <a:pos x="T4" y="T5"/>
                  </a:cxn>
                  <a:cxn ang="0">
                    <a:pos x="T6" y="T7"/>
                  </a:cxn>
                  <a:cxn ang="0">
                    <a:pos x="T8" y="T9"/>
                  </a:cxn>
                </a:cxnLst>
                <a:rect l="0" t="0" r="r" b="b"/>
                <a:pathLst>
                  <a:path w="835" h="753">
                    <a:moveTo>
                      <a:pt x="835" y="753"/>
                    </a:moveTo>
                    <a:lnTo>
                      <a:pt x="79" y="633"/>
                    </a:lnTo>
                    <a:lnTo>
                      <a:pt x="0" y="0"/>
                    </a:lnTo>
                    <a:lnTo>
                      <a:pt x="835" y="753"/>
                    </a:lnTo>
                    <a:lnTo>
                      <a:pt x="835" y="753"/>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8" name="Freeform 356"/>
              <p:cNvSpPr>
                <a:spLocks/>
              </p:cNvSpPr>
              <p:nvPr/>
            </p:nvSpPr>
            <p:spPr bwMode="auto">
              <a:xfrm>
                <a:off x="-12625388" y="5602287"/>
                <a:ext cx="571500" cy="701675"/>
              </a:xfrm>
              <a:custGeom>
                <a:avLst/>
                <a:gdLst>
                  <a:gd name="T0" fmla="*/ 0 w 360"/>
                  <a:gd name="T1" fmla="*/ 442 h 442"/>
                  <a:gd name="T2" fmla="*/ 0 w 360"/>
                  <a:gd name="T3" fmla="*/ 442 h 442"/>
                  <a:gd name="T4" fmla="*/ 360 w 360"/>
                  <a:gd name="T5" fmla="*/ 0 h 442"/>
                  <a:gd name="T6" fmla="*/ 360 w 360"/>
                  <a:gd name="T7" fmla="*/ 0 h 442"/>
                  <a:gd name="T8" fmla="*/ 360 w 360"/>
                  <a:gd name="T9" fmla="*/ 0 h 442"/>
                  <a:gd name="T10" fmla="*/ 360 w 360"/>
                  <a:gd name="T11" fmla="*/ 0 h 442"/>
                  <a:gd name="T12" fmla="*/ 360 w 360"/>
                  <a:gd name="T13" fmla="*/ 0 h 442"/>
                  <a:gd name="T14" fmla="*/ 0 w 36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442">
                    <a:moveTo>
                      <a:pt x="0" y="442"/>
                    </a:moveTo>
                    <a:lnTo>
                      <a:pt x="0" y="442"/>
                    </a:lnTo>
                    <a:lnTo>
                      <a:pt x="360" y="0"/>
                    </a:lnTo>
                    <a:lnTo>
                      <a:pt x="360" y="0"/>
                    </a:lnTo>
                    <a:lnTo>
                      <a:pt x="360" y="0"/>
                    </a:lnTo>
                    <a:lnTo>
                      <a:pt x="360" y="0"/>
                    </a:lnTo>
                    <a:lnTo>
                      <a:pt x="360" y="0"/>
                    </a:lnTo>
                    <a:lnTo>
                      <a:pt x="0" y="4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9" name="Freeform 357"/>
              <p:cNvSpPr>
                <a:spLocks noEditPoints="1"/>
              </p:cNvSpPr>
              <p:nvPr/>
            </p:nvSpPr>
            <p:spPr bwMode="auto">
              <a:xfrm>
                <a:off x="-10853738" y="4237037"/>
                <a:ext cx="944563" cy="2341563"/>
              </a:xfrm>
              <a:custGeom>
                <a:avLst/>
                <a:gdLst>
                  <a:gd name="T0" fmla="*/ 1240 w 1240"/>
                  <a:gd name="T1" fmla="*/ 3073 h 3073"/>
                  <a:gd name="T2" fmla="*/ 0 w 1240"/>
                  <a:gd name="T3" fmla="*/ 2042 h 3073"/>
                  <a:gd name="T4" fmla="*/ 0 w 1240"/>
                  <a:gd name="T5" fmla="*/ 2042 h 3073"/>
                  <a:gd name="T6" fmla="*/ 0 w 1240"/>
                  <a:gd name="T7" fmla="*/ 2042 h 3073"/>
                  <a:gd name="T8" fmla="*/ 0 w 1240"/>
                  <a:gd name="T9" fmla="*/ 2042 h 3073"/>
                  <a:gd name="T10" fmla="*/ 1178 w 1240"/>
                  <a:gd name="T11" fmla="*/ 1 h 3073"/>
                  <a:gd name="T12" fmla="*/ 1240 w 1240"/>
                  <a:gd name="T13" fmla="*/ 3073 h 3073"/>
                  <a:gd name="T14" fmla="*/ 1178 w 1240"/>
                  <a:gd name="T15" fmla="*/ 0 h 3073"/>
                  <a:gd name="T16" fmla="*/ 1178 w 1240"/>
                  <a:gd name="T17" fmla="*/ 0 h 3073"/>
                  <a:gd name="T18" fmla="*/ 1178 w 1240"/>
                  <a:gd name="T19" fmla="*/ 0 h 3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0" h="3073">
                    <a:moveTo>
                      <a:pt x="1240" y="3073"/>
                    </a:moveTo>
                    <a:lnTo>
                      <a:pt x="0" y="2042"/>
                    </a:lnTo>
                    <a:lnTo>
                      <a:pt x="0" y="2042"/>
                    </a:lnTo>
                    <a:lnTo>
                      <a:pt x="0" y="2042"/>
                    </a:lnTo>
                    <a:lnTo>
                      <a:pt x="0" y="2042"/>
                    </a:lnTo>
                    <a:lnTo>
                      <a:pt x="1178" y="1"/>
                    </a:lnTo>
                    <a:lnTo>
                      <a:pt x="1240" y="3073"/>
                    </a:lnTo>
                    <a:moveTo>
                      <a:pt x="1178" y="0"/>
                    </a:moveTo>
                    <a:lnTo>
                      <a:pt x="1178" y="0"/>
                    </a:lnTo>
                    <a:lnTo>
                      <a:pt x="1178" y="0"/>
                    </a:lnTo>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0" name="Rectangle 358"/>
              <p:cNvSpPr>
                <a:spLocks noChangeArrowheads="1"/>
              </p:cNvSpPr>
              <p:nvPr/>
            </p:nvSpPr>
            <p:spPr bwMode="auto">
              <a:xfrm>
                <a:off x="-10853738" y="5792787"/>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1" name="Freeform 359"/>
              <p:cNvSpPr>
                <a:spLocks/>
              </p:cNvSpPr>
              <p:nvPr/>
            </p:nvSpPr>
            <p:spPr bwMode="auto">
              <a:xfrm>
                <a:off x="-10853738" y="2682875"/>
                <a:ext cx="1365250" cy="1554163"/>
              </a:xfrm>
              <a:custGeom>
                <a:avLst/>
                <a:gdLst>
                  <a:gd name="T0" fmla="*/ 565 w 860"/>
                  <a:gd name="T1" fmla="*/ 979 h 979"/>
                  <a:gd name="T2" fmla="*/ 565 w 860"/>
                  <a:gd name="T3" fmla="*/ 979 h 979"/>
                  <a:gd name="T4" fmla="*/ 0 w 860"/>
                  <a:gd name="T5" fmla="*/ 0 h 979"/>
                  <a:gd name="T6" fmla="*/ 0 w 860"/>
                  <a:gd name="T7" fmla="*/ 0 h 979"/>
                  <a:gd name="T8" fmla="*/ 860 w 860"/>
                  <a:gd name="T9" fmla="*/ 333 h 979"/>
                  <a:gd name="T10" fmla="*/ 565 w 860"/>
                  <a:gd name="T11" fmla="*/ 979 h 979"/>
                </a:gdLst>
                <a:ahLst/>
                <a:cxnLst>
                  <a:cxn ang="0">
                    <a:pos x="T0" y="T1"/>
                  </a:cxn>
                  <a:cxn ang="0">
                    <a:pos x="T2" y="T3"/>
                  </a:cxn>
                  <a:cxn ang="0">
                    <a:pos x="T4" y="T5"/>
                  </a:cxn>
                  <a:cxn ang="0">
                    <a:pos x="T6" y="T7"/>
                  </a:cxn>
                  <a:cxn ang="0">
                    <a:pos x="T8" y="T9"/>
                  </a:cxn>
                  <a:cxn ang="0">
                    <a:pos x="T10" y="T11"/>
                  </a:cxn>
                </a:cxnLst>
                <a:rect l="0" t="0" r="r" b="b"/>
                <a:pathLst>
                  <a:path w="860" h="979">
                    <a:moveTo>
                      <a:pt x="565" y="979"/>
                    </a:moveTo>
                    <a:lnTo>
                      <a:pt x="565" y="979"/>
                    </a:lnTo>
                    <a:lnTo>
                      <a:pt x="0" y="0"/>
                    </a:lnTo>
                    <a:lnTo>
                      <a:pt x="0" y="0"/>
                    </a:lnTo>
                    <a:lnTo>
                      <a:pt x="860" y="333"/>
                    </a:lnTo>
                    <a:lnTo>
                      <a:pt x="565"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2" name="Freeform 360"/>
              <p:cNvSpPr>
                <a:spLocks/>
              </p:cNvSpPr>
              <p:nvPr/>
            </p:nvSpPr>
            <p:spPr bwMode="auto">
              <a:xfrm>
                <a:off x="-9956800" y="4237037"/>
                <a:ext cx="1797050" cy="2341563"/>
              </a:xfrm>
              <a:custGeom>
                <a:avLst/>
                <a:gdLst>
                  <a:gd name="T0" fmla="*/ 30 w 1132"/>
                  <a:gd name="T1" fmla="*/ 1475 h 1475"/>
                  <a:gd name="T2" fmla="*/ 0 w 1132"/>
                  <a:gd name="T3" fmla="*/ 1 h 1475"/>
                  <a:gd name="T4" fmla="*/ 0 w 1132"/>
                  <a:gd name="T5" fmla="*/ 0 h 1475"/>
                  <a:gd name="T6" fmla="*/ 0 w 1132"/>
                  <a:gd name="T7" fmla="*/ 0 h 1475"/>
                  <a:gd name="T8" fmla="*/ 0 w 1132"/>
                  <a:gd name="T9" fmla="*/ 0 h 1475"/>
                  <a:gd name="T10" fmla="*/ 1132 w 1132"/>
                  <a:gd name="T11" fmla="*/ 0 h 1475"/>
                  <a:gd name="T12" fmla="*/ 1132 w 1132"/>
                  <a:gd name="T13" fmla="*/ 1 h 1475"/>
                  <a:gd name="T14" fmla="*/ 30 w 1132"/>
                  <a:gd name="T15" fmla="*/ 1475 h 14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1475">
                    <a:moveTo>
                      <a:pt x="30" y="1475"/>
                    </a:moveTo>
                    <a:lnTo>
                      <a:pt x="0" y="1"/>
                    </a:lnTo>
                    <a:lnTo>
                      <a:pt x="0" y="0"/>
                    </a:lnTo>
                    <a:lnTo>
                      <a:pt x="0" y="0"/>
                    </a:lnTo>
                    <a:lnTo>
                      <a:pt x="0" y="0"/>
                    </a:lnTo>
                    <a:lnTo>
                      <a:pt x="1132" y="0"/>
                    </a:lnTo>
                    <a:lnTo>
                      <a:pt x="1132" y="1"/>
                    </a:lnTo>
                    <a:lnTo>
                      <a:pt x="30" y="147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3" name="Freeform 361"/>
              <p:cNvSpPr>
                <a:spLocks noEditPoints="1"/>
              </p:cNvSpPr>
              <p:nvPr/>
            </p:nvSpPr>
            <p:spPr bwMode="auto">
              <a:xfrm>
                <a:off x="-12179300" y="2682875"/>
                <a:ext cx="2222500" cy="1914525"/>
              </a:xfrm>
              <a:custGeom>
                <a:avLst/>
                <a:gdLst>
                  <a:gd name="T0" fmla="*/ 0 w 2916"/>
                  <a:gd name="T1" fmla="*/ 2514 h 2514"/>
                  <a:gd name="T2" fmla="*/ 956 w 2916"/>
                  <a:gd name="T3" fmla="*/ 1131 h 2514"/>
                  <a:gd name="T4" fmla="*/ 1738 w 2916"/>
                  <a:gd name="T5" fmla="*/ 0 h 2514"/>
                  <a:gd name="T6" fmla="*/ 2916 w 2916"/>
                  <a:gd name="T7" fmla="*/ 2041 h 2514"/>
                  <a:gd name="T8" fmla="*/ 0 w 2916"/>
                  <a:gd name="T9" fmla="*/ 2514 h 2514"/>
                  <a:gd name="T10" fmla="*/ 1738 w 2916"/>
                  <a:gd name="T11" fmla="*/ 0 h 2514"/>
                  <a:gd name="T12" fmla="*/ 1738 w 2916"/>
                  <a:gd name="T13" fmla="*/ 0 h 2514"/>
                </a:gdLst>
                <a:ahLst/>
                <a:cxnLst>
                  <a:cxn ang="0">
                    <a:pos x="T0" y="T1"/>
                  </a:cxn>
                  <a:cxn ang="0">
                    <a:pos x="T2" y="T3"/>
                  </a:cxn>
                  <a:cxn ang="0">
                    <a:pos x="T4" y="T5"/>
                  </a:cxn>
                  <a:cxn ang="0">
                    <a:pos x="T6" y="T7"/>
                  </a:cxn>
                  <a:cxn ang="0">
                    <a:pos x="T8" y="T9"/>
                  </a:cxn>
                  <a:cxn ang="0">
                    <a:pos x="T10" y="T11"/>
                  </a:cxn>
                  <a:cxn ang="0">
                    <a:pos x="T12" y="T13"/>
                  </a:cxn>
                </a:cxnLst>
                <a:rect l="0" t="0" r="r" b="b"/>
                <a:pathLst>
                  <a:path w="2916" h="2514">
                    <a:moveTo>
                      <a:pt x="0" y="2514"/>
                    </a:moveTo>
                    <a:lnTo>
                      <a:pt x="956" y="1131"/>
                    </a:lnTo>
                    <a:lnTo>
                      <a:pt x="1738" y="0"/>
                    </a:lnTo>
                    <a:lnTo>
                      <a:pt x="2916" y="2041"/>
                    </a:lnTo>
                    <a:lnTo>
                      <a:pt x="0" y="2514"/>
                    </a:lnTo>
                    <a:moveTo>
                      <a:pt x="1738" y="0"/>
                    </a:moveTo>
                    <a:lnTo>
                      <a:pt x="1738"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4" name="Freeform 362"/>
              <p:cNvSpPr>
                <a:spLocks/>
              </p:cNvSpPr>
              <p:nvPr/>
            </p:nvSpPr>
            <p:spPr bwMode="auto">
              <a:xfrm>
                <a:off x="-9956800" y="3211512"/>
                <a:ext cx="1797050" cy="1025525"/>
              </a:xfrm>
              <a:custGeom>
                <a:avLst/>
                <a:gdLst>
                  <a:gd name="T0" fmla="*/ 2358 w 2358"/>
                  <a:gd name="T1" fmla="*/ 1346 h 1346"/>
                  <a:gd name="T2" fmla="*/ 0 w 2358"/>
                  <a:gd name="T3" fmla="*/ 1346 h 1346"/>
                  <a:gd name="T4" fmla="*/ 614 w 2358"/>
                  <a:gd name="T5" fmla="*/ 0 h 1346"/>
                  <a:gd name="T6" fmla="*/ 2358 w 2358"/>
                  <a:gd name="T7" fmla="*/ 1346 h 1346"/>
                  <a:gd name="T8" fmla="*/ 2357 w 2358"/>
                  <a:gd name="T9" fmla="*/ 1346 h 1346"/>
                  <a:gd name="T10" fmla="*/ 2358 w 2358"/>
                  <a:gd name="T11" fmla="*/ 1346 h 1346"/>
                  <a:gd name="T12" fmla="*/ 2358 w 2358"/>
                  <a:gd name="T13" fmla="*/ 1346 h 1346"/>
                  <a:gd name="T14" fmla="*/ 2357 w 2358"/>
                  <a:gd name="T15" fmla="*/ 1346 h 13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8" h="1346">
                    <a:moveTo>
                      <a:pt x="2358" y="1346"/>
                    </a:moveTo>
                    <a:lnTo>
                      <a:pt x="0" y="1346"/>
                    </a:lnTo>
                    <a:lnTo>
                      <a:pt x="614" y="0"/>
                    </a:lnTo>
                    <a:lnTo>
                      <a:pt x="2358" y="1346"/>
                    </a:lnTo>
                    <a:lnTo>
                      <a:pt x="2357" y="1346"/>
                    </a:lnTo>
                    <a:lnTo>
                      <a:pt x="2358" y="1346"/>
                    </a:lnTo>
                    <a:lnTo>
                      <a:pt x="2358" y="1346"/>
                    </a:lnTo>
                    <a:lnTo>
                      <a:pt x="2357" y="1346"/>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5" name="Freeform 363"/>
              <p:cNvSpPr>
                <a:spLocks noEditPoints="1"/>
              </p:cNvSpPr>
              <p:nvPr/>
            </p:nvSpPr>
            <p:spPr bwMode="auto">
              <a:xfrm>
                <a:off x="-12179300" y="4237037"/>
                <a:ext cx="2222500" cy="1555750"/>
              </a:xfrm>
              <a:custGeom>
                <a:avLst/>
                <a:gdLst>
                  <a:gd name="T0" fmla="*/ 1738 w 2916"/>
                  <a:gd name="T1" fmla="*/ 2042 h 2042"/>
                  <a:gd name="T2" fmla="*/ 0 w 2916"/>
                  <a:gd name="T3" fmla="*/ 473 h 2042"/>
                  <a:gd name="T4" fmla="*/ 2916 w 2916"/>
                  <a:gd name="T5" fmla="*/ 0 h 2042"/>
                  <a:gd name="T6" fmla="*/ 1738 w 2916"/>
                  <a:gd name="T7" fmla="*/ 2042 h 2042"/>
                  <a:gd name="T8" fmla="*/ 2916 w 2916"/>
                  <a:gd name="T9" fmla="*/ 1 h 2042"/>
                  <a:gd name="T10" fmla="*/ 2916 w 2916"/>
                  <a:gd name="T11" fmla="*/ 0 h 2042"/>
                  <a:gd name="T12" fmla="*/ 2916 w 2916"/>
                  <a:gd name="T13" fmla="*/ 1 h 2042"/>
                </a:gdLst>
                <a:ahLst/>
                <a:cxnLst>
                  <a:cxn ang="0">
                    <a:pos x="T0" y="T1"/>
                  </a:cxn>
                  <a:cxn ang="0">
                    <a:pos x="T2" y="T3"/>
                  </a:cxn>
                  <a:cxn ang="0">
                    <a:pos x="T4" y="T5"/>
                  </a:cxn>
                  <a:cxn ang="0">
                    <a:pos x="T6" y="T7"/>
                  </a:cxn>
                  <a:cxn ang="0">
                    <a:pos x="T8" y="T9"/>
                  </a:cxn>
                  <a:cxn ang="0">
                    <a:pos x="T10" y="T11"/>
                  </a:cxn>
                  <a:cxn ang="0">
                    <a:pos x="T12" y="T13"/>
                  </a:cxn>
                </a:cxnLst>
                <a:rect l="0" t="0" r="r" b="b"/>
                <a:pathLst>
                  <a:path w="2916" h="2042">
                    <a:moveTo>
                      <a:pt x="1738" y="2042"/>
                    </a:moveTo>
                    <a:lnTo>
                      <a:pt x="0" y="473"/>
                    </a:lnTo>
                    <a:lnTo>
                      <a:pt x="2916" y="0"/>
                    </a:lnTo>
                    <a:lnTo>
                      <a:pt x="1738" y="2042"/>
                    </a:lnTo>
                    <a:moveTo>
                      <a:pt x="2916" y="1"/>
                    </a:moveTo>
                    <a:lnTo>
                      <a:pt x="2916" y="0"/>
                    </a:lnTo>
                    <a:lnTo>
                      <a:pt x="2916" y="1"/>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6" name="Freeform 364"/>
              <p:cNvSpPr>
                <a:spLocks/>
              </p:cNvSpPr>
              <p:nvPr/>
            </p:nvSpPr>
            <p:spPr bwMode="auto">
              <a:xfrm>
                <a:off x="-10853738" y="4237037"/>
                <a:ext cx="896938" cy="1555750"/>
              </a:xfrm>
              <a:custGeom>
                <a:avLst/>
                <a:gdLst>
                  <a:gd name="T0" fmla="*/ 0 w 565"/>
                  <a:gd name="T1" fmla="*/ 980 h 980"/>
                  <a:gd name="T2" fmla="*/ 0 w 565"/>
                  <a:gd name="T3" fmla="*/ 980 h 980"/>
                  <a:gd name="T4" fmla="*/ 565 w 565"/>
                  <a:gd name="T5" fmla="*/ 0 h 980"/>
                  <a:gd name="T6" fmla="*/ 565 w 565"/>
                  <a:gd name="T7" fmla="*/ 1 h 980"/>
                  <a:gd name="T8" fmla="*/ 0 w 565"/>
                  <a:gd name="T9" fmla="*/ 980 h 980"/>
                </a:gdLst>
                <a:ahLst/>
                <a:cxnLst>
                  <a:cxn ang="0">
                    <a:pos x="T0" y="T1"/>
                  </a:cxn>
                  <a:cxn ang="0">
                    <a:pos x="T2" y="T3"/>
                  </a:cxn>
                  <a:cxn ang="0">
                    <a:pos x="T4" y="T5"/>
                  </a:cxn>
                  <a:cxn ang="0">
                    <a:pos x="T6" y="T7"/>
                  </a:cxn>
                  <a:cxn ang="0">
                    <a:pos x="T8" y="T9"/>
                  </a:cxn>
                </a:cxnLst>
                <a:rect l="0" t="0" r="r" b="b"/>
                <a:pathLst>
                  <a:path w="565" h="980">
                    <a:moveTo>
                      <a:pt x="0" y="980"/>
                    </a:moveTo>
                    <a:lnTo>
                      <a:pt x="0" y="980"/>
                    </a:lnTo>
                    <a:lnTo>
                      <a:pt x="565" y="0"/>
                    </a:lnTo>
                    <a:lnTo>
                      <a:pt x="565" y="1"/>
                    </a:lnTo>
                    <a:lnTo>
                      <a:pt x="0" y="980"/>
                    </a:lnTo>
                    <a:close/>
                  </a:path>
                </a:pathLst>
              </a:custGeom>
              <a:solidFill>
                <a:srgbClr val="599FB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7" name="Rectangle 365"/>
              <p:cNvSpPr>
                <a:spLocks noChangeArrowheads="1"/>
              </p:cNvSpPr>
              <p:nvPr/>
            </p:nvSpPr>
            <p:spPr bwMode="auto">
              <a:xfrm>
                <a:off x="-9956800" y="4237037"/>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8" name="Freeform 366"/>
              <p:cNvSpPr>
                <a:spLocks/>
              </p:cNvSpPr>
              <p:nvPr/>
            </p:nvSpPr>
            <p:spPr bwMode="auto">
              <a:xfrm>
                <a:off x="-12625388" y="7327900"/>
                <a:ext cx="366713" cy="331788"/>
              </a:xfrm>
              <a:custGeom>
                <a:avLst/>
                <a:gdLst>
                  <a:gd name="T0" fmla="*/ 231 w 231"/>
                  <a:gd name="T1" fmla="*/ 209 h 209"/>
                  <a:gd name="T2" fmla="*/ 0 w 231"/>
                  <a:gd name="T3" fmla="*/ 209 h 209"/>
                  <a:gd name="T4" fmla="*/ 0 w 231"/>
                  <a:gd name="T5" fmla="*/ 48 h 209"/>
                  <a:gd name="T6" fmla="*/ 178 w 231"/>
                  <a:gd name="T7" fmla="*/ 0 h 209"/>
                  <a:gd name="T8" fmla="*/ 231 w 231"/>
                  <a:gd name="T9" fmla="*/ 209 h 209"/>
                </a:gdLst>
                <a:ahLst/>
                <a:cxnLst>
                  <a:cxn ang="0">
                    <a:pos x="T0" y="T1"/>
                  </a:cxn>
                  <a:cxn ang="0">
                    <a:pos x="T2" y="T3"/>
                  </a:cxn>
                  <a:cxn ang="0">
                    <a:pos x="T4" y="T5"/>
                  </a:cxn>
                  <a:cxn ang="0">
                    <a:pos x="T6" y="T7"/>
                  </a:cxn>
                  <a:cxn ang="0">
                    <a:pos x="T8" y="T9"/>
                  </a:cxn>
                </a:cxnLst>
                <a:rect l="0" t="0" r="r" b="b"/>
                <a:pathLst>
                  <a:path w="231" h="209">
                    <a:moveTo>
                      <a:pt x="231" y="209"/>
                    </a:moveTo>
                    <a:lnTo>
                      <a:pt x="0" y="209"/>
                    </a:lnTo>
                    <a:lnTo>
                      <a:pt x="0" y="48"/>
                    </a:lnTo>
                    <a:lnTo>
                      <a:pt x="178" y="0"/>
                    </a:lnTo>
                    <a:lnTo>
                      <a:pt x="231" y="20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9" name="Freeform 367"/>
              <p:cNvSpPr>
                <a:spLocks/>
              </p:cNvSpPr>
              <p:nvPr/>
            </p:nvSpPr>
            <p:spPr bwMode="auto">
              <a:xfrm>
                <a:off x="-12341225" y="7327900"/>
                <a:ext cx="534988" cy="331788"/>
              </a:xfrm>
              <a:custGeom>
                <a:avLst/>
                <a:gdLst>
                  <a:gd name="T0" fmla="*/ 337 w 337"/>
                  <a:gd name="T1" fmla="*/ 209 h 209"/>
                  <a:gd name="T2" fmla="*/ 52 w 337"/>
                  <a:gd name="T3" fmla="*/ 209 h 209"/>
                  <a:gd name="T4" fmla="*/ 0 w 337"/>
                  <a:gd name="T5" fmla="*/ 0 h 209"/>
                  <a:gd name="T6" fmla="*/ 205 w 337"/>
                  <a:gd name="T7" fmla="*/ 127 h 209"/>
                  <a:gd name="T8" fmla="*/ 337 w 337"/>
                  <a:gd name="T9" fmla="*/ 209 h 209"/>
                </a:gdLst>
                <a:ahLst/>
                <a:cxnLst>
                  <a:cxn ang="0">
                    <a:pos x="T0" y="T1"/>
                  </a:cxn>
                  <a:cxn ang="0">
                    <a:pos x="T2" y="T3"/>
                  </a:cxn>
                  <a:cxn ang="0">
                    <a:pos x="T4" y="T5"/>
                  </a:cxn>
                  <a:cxn ang="0">
                    <a:pos x="T6" y="T7"/>
                  </a:cxn>
                  <a:cxn ang="0">
                    <a:pos x="T8" y="T9"/>
                  </a:cxn>
                </a:cxnLst>
                <a:rect l="0" t="0" r="r" b="b"/>
                <a:pathLst>
                  <a:path w="337" h="209">
                    <a:moveTo>
                      <a:pt x="337" y="209"/>
                    </a:moveTo>
                    <a:lnTo>
                      <a:pt x="52" y="209"/>
                    </a:lnTo>
                    <a:lnTo>
                      <a:pt x="0" y="0"/>
                    </a:lnTo>
                    <a:lnTo>
                      <a:pt x="205" y="127"/>
                    </a:lnTo>
                    <a:lnTo>
                      <a:pt x="337" y="20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0" name="Freeform 368"/>
              <p:cNvSpPr>
                <a:spLocks/>
              </p:cNvSpPr>
              <p:nvPr/>
            </p:nvSpPr>
            <p:spPr bwMode="auto">
              <a:xfrm>
                <a:off x="-10125075" y="7350125"/>
                <a:ext cx="347663" cy="309563"/>
              </a:xfrm>
              <a:custGeom>
                <a:avLst/>
                <a:gdLst>
                  <a:gd name="T0" fmla="*/ 219 w 219"/>
                  <a:gd name="T1" fmla="*/ 195 h 195"/>
                  <a:gd name="T2" fmla="*/ 0 w 219"/>
                  <a:gd name="T3" fmla="*/ 195 h 195"/>
                  <a:gd name="T4" fmla="*/ 106 w 219"/>
                  <a:gd name="T5" fmla="*/ 0 h 195"/>
                  <a:gd name="T6" fmla="*/ 219 w 219"/>
                  <a:gd name="T7" fmla="*/ 195 h 195"/>
                </a:gdLst>
                <a:ahLst/>
                <a:cxnLst>
                  <a:cxn ang="0">
                    <a:pos x="T0" y="T1"/>
                  </a:cxn>
                  <a:cxn ang="0">
                    <a:pos x="T2" y="T3"/>
                  </a:cxn>
                  <a:cxn ang="0">
                    <a:pos x="T4" y="T5"/>
                  </a:cxn>
                  <a:cxn ang="0">
                    <a:pos x="T6" y="T7"/>
                  </a:cxn>
                </a:cxnLst>
                <a:rect l="0" t="0" r="r" b="b"/>
                <a:pathLst>
                  <a:path w="219" h="195">
                    <a:moveTo>
                      <a:pt x="219" y="195"/>
                    </a:moveTo>
                    <a:lnTo>
                      <a:pt x="0" y="195"/>
                    </a:lnTo>
                    <a:lnTo>
                      <a:pt x="106" y="0"/>
                    </a:lnTo>
                    <a:lnTo>
                      <a:pt x="219"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1" name="Freeform 369"/>
              <p:cNvSpPr>
                <a:spLocks/>
              </p:cNvSpPr>
              <p:nvPr/>
            </p:nvSpPr>
            <p:spPr bwMode="auto">
              <a:xfrm>
                <a:off x="-10853738" y="5792787"/>
                <a:ext cx="944563" cy="1557338"/>
              </a:xfrm>
              <a:custGeom>
                <a:avLst/>
                <a:gdLst>
                  <a:gd name="T0" fmla="*/ 565 w 595"/>
                  <a:gd name="T1" fmla="*/ 981 h 981"/>
                  <a:gd name="T2" fmla="*/ 565 w 595"/>
                  <a:gd name="T3" fmla="*/ 981 h 981"/>
                  <a:gd name="T4" fmla="*/ 0 w 595"/>
                  <a:gd name="T5" fmla="*/ 0 h 981"/>
                  <a:gd name="T6" fmla="*/ 0 w 595"/>
                  <a:gd name="T7" fmla="*/ 0 h 981"/>
                  <a:gd name="T8" fmla="*/ 595 w 595"/>
                  <a:gd name="T9" fmla="*/ 495 h 981"/>
                  <a:gd name="T10" fmla="*/ 565 w 595"/>
                  <a:gd name="T11" fmla="*/ 981 h 981"/>
                </a:gdLst>
                <a:ahLst/>
                <a:cxnLst>
                  <a:cxn ang="0">
                    <a:pos x="T0" y="T1"/>
                  </a:cxn>
                  <a:cxn ang="0">
                    <a:pos x="T2" y="T3"/>
                  </a:cxn>
                  <a:cxn ang="0">
                    <a:pos x="T4" y="T5"/>
                  </a:cxn>
                  <a:cxn ang="0">
                    <a:pos x="T6" y="T7"/>
                  </a:cxn>
                  <a:cxn ang="0">
                    <a:pos x="T8" y="T9"/>
                  </a:cxn>
                  <a:cxn ang="0">
                    <a:pos x="T10" y="T11"/>
                  </a:cxn>
                </a:cxnLst>
                <a:rect l="0" t="0" r="r" b="b"/>
                <a:pathLst>
                  <a:path w="595" h="981">
                    <a:moveTo>
                      <a:pt x="565" y="981"/>
                    </a:moveTo>
                    <a:lnTo>
                      <a:pt x="565" y="981"/>
                    </a:lnTo>
                    <a:lnTo>
                      <a:pt x="0" y="0"/>
                    </a:lnTo>
                    <a:lnTo>
                      <a:pt x="0" y="0"/>
                    </a:lnTo>
                    <a:lnTo>
                      <a:pt x="595" y="495"/>
                    </a:lnTo>
                    <a:lnTo>
                      <a:pt x="565"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2" name="Freeform 370"/>
              <p:cNvSpPr>
                <a:spLocks/>
              </p:cNvSpPr>
              <p:nvPr/>
            </p:nvSpPr>
            <p:spPr bwMode="auto">
              <a:xfrm>
                <a:off x="-9956800" y="7350125"/>
                <a:ext cx="608013" cy="309563"/>
              </a:xfrm>
              <a:custGeom>
                <a:avLst/>
                <a:gdLst>
                  <a:gd name="T0" fmla="*/ 383 w 383"/>
                  <a:gd name="T1" fmla="*/ 195 h 195"/>
                  <a:gd name="T2" fmla="*/ 113 w 383"/>
                  <a:gd name="T3" fmla="*/ 195 h 195"/>
                  <a:gd name="T4" fmla="*/ 0 w 383"/>
                  <a:gd name="T5" fmla="*/ 0 h 195"/>
                  <a:gd name="T6" fmla="*/ 0 w 383"/>
                  <a:gd name="T7" fmla="*/ 0 h 195"/>
                  <a:gd name="T8" fmla="*/ 383 w 383"/>
                  <a:gd name="T9" fmla="*/ 195 h 195"/>
                </a:gdLst>
                <a:ahLst/>
                <a:cxnLst>
                  <a:cxn ang="0">
                    <a:pos x="T0" y="T1"/>
                  </a:cxn>
                  <a:cxn ang="0">
                    <a:pos x="T2" y="T3"/>
                  </a:cxn>
                  <a:cxn ang="0">
                    <a:pos x="T4" y="T5"/>
                  </a:cxn>
                  <a:cxn ang="0">
                    <a:pos x="T6" y="T7"/>
                  </a:cxn>
                  <a:cxn ang="0">
                    <a:pos x="T8" y="T9"/>
                  </a:cxn>
                </a:cxnLst>
                <a:rect l="0" t="0" r="r" b="b"/>
                <a:pathLst>
                  <a:path w="383" h="195">
                    <a:moveTo>
                      <a:pt x="383" y="195"/>
                    </a:moveTo>
                    <a:lnTo>
                      <a:pt x="113" y="195"/>
                    </a:lnTo>
                    <a:lnTo>
                      <a:pt x="0" y="0"/>
                    </a:lnTo>
                    <a:lnTo>
                      <a:pt x="0" y="0"/>
                    </a:lnTo>
                    <a:lnTo>
                      <a:pt x="383"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3" name="Freeform 371"/>
              <p:cNvSpPr>
                <a:spLocks/>
              </p:cNvSpPr>
              <p:nvPr/>
            </p:nvSpPr>
            <p:spPr bwMode="auto">
              <a:xfrm>
                <a:off x="-12341225" y="5792787"/>
                <a:ext cx="2384425" cy="1557338"/>
              </a:xfrm>
              <a:custGeom>
                <a:avLst/>
                <a:gdLst>
                  <a:gd name="T0" fmla="*/ 1502 w 1502"/>
                  <a:gd name="T1" fmla="*/ 981 h 981"/>
                  <a:gd name="T2" fmla="*/ 0 w 1502"/>
                  <a:gd name="T3" fmla="*/ 967 h 981"/>
                  <a:gd name="T4" fmla="*/ 0 w 1502"/>
                  <a:gd name="T5" fmla="*/ 967 h 981"/>
                  <a:gd name="T6" fmla="*/ 0 w 1502"/>
                  <a:gd name="T7" fmla="*/ 967 h 981"/>
                  <a:gd name="T8" fmla="*/ 374 w 1502"/>
                  <a:gd name="T9" fmla="*/ 580 h 981"/>
                  <a:gd name="T10" fmla="*/ 937 w 1502"/>
                  <a:gd name="T11" fmla="*/ 0 h 981"/>
                  <a:gd name="T12" fmla="*/ 1502 w 1502"/>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502" h="981">
                    <a:moveTo>
                      <a:pt x="1502" y="981"/>
                    </a:moveTo>
                    <a:lnTo>
                      <a:pt x="0" y="967"/>
                    </a:lnTo>
                    <a:lnTo>
                      <a:pt x="0" y="967"/>
                    </a:lnTo>
                    <a:lnTo>
                      <a:pt x="0" y="967"/>
                    </a:lnTo>
                    <a:lnTo>
                      <a:pt x="374" y="580"/>
                    </a:lnTo>
                    <a:lnTo>
                      <a:pt x="937" y="0"/>
                    </a:lnTo>
                    <a:lnTo>
                      <a:pt x="1502" y="981"/>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4" name="Freeform 372"/>
              <p:cNvSpPr>
                <a:spLocks/>
              </p:cNvSpPr>
              <p:nvPr/>
            </p:nvSpPr>
            <p:spPr bwMode="auto">
              <a:xfrm>
                <a:off x="-9956800" y="6578600"/>
                <a:ext cx="1098550" cy="1081088"/>
              </a:xfrm>
              <a:custGeom>
                <a:avLst/>
                <a:gdLst>
                  <a:gd name="T0" fmla="*/ 692 w 692"/>
                  <a:gd name="T1" fmla="*/ 681 h 681"/>
                  <a:gd name="T2" fmla="*/ 383 w 692"/>
                  <a:gd name="T3" fmla="*/ 681 h 681"/>
                  <a:gd name="T4" fmla="*/ 0 w 692"/>
                  <a:gd name="T5" fmla="*/ 486 h 681"/>
                  <a:gd name="T6" fmla="*/ 30 w 692"/>
                  <a:gd name="T7" fmla="*/ 0 h 681"/>
                  <a:gd name="T8" fmla="*/ 692 w 692"/>
                  <a:gd name="T9" fmla="*/ 681 h 681"/>
                </a:gdLst>
                <a:ahLst/>
                <a:cxnLst>
                  <a:cxn ang="0">
                    <a:pos x="T0" y="T1"/>
                  </a:cxn>
                  <a:cxn ang="0">
                    <a:pos x="T2" y="T3"/>
                  </a:cxn>
                  <a:cxn ang="0">
                    <a:pos x="T4" y="T5"/>
                  </a:cxn>
                  <a:cxn ang="0">
                    <a:pos x="T6" y="T7"/>
                  </a:cxn>
                  <a:cxn ang="0">
                    <a:pos x="T8" y="T9"/>
                  </a:cxn>
                </a:cxnLst>
                <a:rect l="0" t="0" r="r" b="b"/>
                <a:pathLst>
                  <a:path w="692" h="681">
                    <a:moveTo>
                      <a:pt x="692" y="681"/>
                    </a:moveTo>
                    <a:lnTo>
                      <a:pt x="383" y="681"/>
                    </a:lnTo>
                    <a:lnTo>
                      <a:pt x="0" y="486"/>
                    </a:lnTo>
                    <a:lnTo>
                      <a:pt x="30" y="0"/>
                    </a:lnTo>
                    <a:lnTo>
                      <a:pt x="692" y="68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5" name="Freeform 373"/>
              <p:cNvSpPr>
                <a:spLocks noEditPoints="1"/>
              </p:cNvSpPr>
              <p:nvPr/>
            </p:nvSpPr>
            <p:spPr bwMode="auto">
              <a:xfrm>
                <a:off x="-12341225" y="7327900"/>
                <a:ext cx="2384425" cy="331788"/>
              </a:xfrm>
              <a:custGeom>
                <a:avLst/>
                <a:gdLst>
                  <a:gd name="T0" fmla="*/ 2910 w 3130"/>
                  <a:gd name="T1" fmla="*/ 436 h 436"/>
                  <a:gd name="T2" fmla="*/ 702 w 3130"/>
                  <a:gd name="T3" fmla="*/ 436 h 436"/>
                  <a:gd name="T4" fmla="*/ 428 w 3130"/>
                  <a:gd name="T5" fmla="*/ 265 h 436"/>
                  <a:gd name="T6" fmla="*/ 0 w 3130"/>
                  <a:gd name="T7" fmla="*/ 0 h 436"/>
                  <a:gd name="T8" fmla="*/ 3130 w 3130"/>
                  <a:gd name="T9" fmla="*/ 29 h 436"/>
                  <a:gd name="T10" fmla="*/ 2910 w 3130"/>
                  <a:gd name="T11" fmla="*/ 436 h 436"/>
                  <a:gd name="T12" fmla="*/ 3130 w 3130"/>
                  <a:gd name="T13" fmla="*/ 29 h 436"/>
                  <a:gd name="T14" fmla="*/ 3130 w 3130"/>
                  <a:gd name="T15" fmla="*/ 29 h 436"/>
                  <a:gd name="T16" fmla="*/ 3130 w 3130"/>
                  <a:gd name="T17" fmla="*/ 29 h 436"/>
                  <a:gd name="T18" fmla="*/ 3130 w 3130"/>
                  <a:gd name="T19" fmla="*/ 29 h 436"/>
                  <a:gd name="T20" fmla="*/ 3130 w 3130"/>
                  <a:gd name="T21" fmla="*/ 29 h 436"/>
                  <a:gd name="T22" fmla="*/ 3130 w 3130"/>
                  <a:gd name="T23" fmla="*/ 29 h 436"/>
                  <a:gd name="T24" fmla="*/ 0 w 3130"/>
                  <a:gd name="T25" fmla="*/ 0 h 436"/>
                  <a:gd name="T26" fmla="*/ 0 w 3130"/>
                  <a:gd name="T27" fmla="*/ 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30" h="436">
                    <a:moveTo>
                      <a:pt x="2910" y="436"/>
                    </a:moveTo>
                    <a:lnTo>
                      <a:pt x="702" y="436"/>
                    </a:lnTo>
                    <a:lnTo>
                      <a:pt x="428" y="265"/>
                    </a:lnTo>
                    <a:lnTo>
                      <a:pt x="0" y="0"/>
                    </a:lnTo>
                    <a:lnTo>
                      <a:pt x="3130" y="29"/>
                    </a:lnTo>
                    <a:lnTo>
                      <a:pt x="2910" y="436"/>
                    </a:lnTo>
                    <a:moveTo>
                      <a:pt x="3130" y="29"/>
                    </a:moveTo>
                    <a:lnTo>
                      <a:pt x="3130" y="29"/>
                    </a:lnTo>
                    <a:lnTo>
                      <a:pt x="3130" y="29"/>
                    </a:lnTo>
                    <a:lnTo>
                      <a:pt x="3130" y="29"/>
                    </a:lnTo>
                    <a:lnTo>
                      <a:pt x="3130" y="29"/>
                    </a:lnTo>
                    <a:lnTo>
                      <a:pt x="3130" y="29"/>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6" name="Freeform 374"/>
              <p:cNvSpPr>
                <a:spLocks/>
              </p:cNvSpPr>
              <p:nvPr/>
            </p:nvSpPr>
            <p:spPr bwMode="auto">
              <a:xfrm>
                <a:off x="-10125075" y="7350125"/>
                <a:ext cx="168275" cy="309563"/>
              </a:xfrm>
              <a:custGeom>
                <a:avLst/>
                <a:gdLst>
                  <a:gd name="T0" fmla="*/ 0 w 106"/>
                  <a:gd name="T1" fmla="*/ 195 h 195"/>
                  <a:gd name="T2" fmla="*/ 0 w 106"/>
                  <a:gd name="T3" fmla="*/ 195 h 195"/>
                  <a:gd name="T4" fmla="*/ 106 w 106"/>
                  <a:gd name="T5" fmla="*/ 0 h 195"/>
                  <a:gd name="T6" fmla="*/ 106 w 106"/>
                  <a:gd name="T7" fmla="*/ 0 h 195"/>
                  <a:gd name="T8" fmla="*/ 0 w 106"/>
                  <a:gd name="T9" fmla="*/ 195 h 195"/>
                </a:gdLst>
                <a:ahLst/>
                <a:cxnLst>
                  <a:cxn ang="0">
                    <a:pos x="T0" y="T1"/>
                  </a:cxn>
                  <a:cxn ang="0">
                    <a:pos x="T2" y="T3"/>
                  </a:cxn>
                  <a:cxn ang="0">
                    <a:pos x="T4" y="T5"/>
                  </a:cxn>
                  <a:cxn ang="0">
                    <a:pos x="T6" y="T7"/>
                  </a:cxn>
                  <a:cxn ang="0">
                    <a:pos x="T8" y="T9"/>
                  </a:cxn>
                </a:cxnLst>
                <a:rect l="0" t="0" r="r" b="b"/>
                <a:pathLst>
                  <a:path w="106" h="195">
                    <a:moveTo>
                      <a:pt x="0" y="195"/>
                    </a:moveTo>
                    <a:lnTo>
                      <a:pt x="0" y="195"/>
                    </a:lnTo>
                    <a:lnTo>
                      <a:pt x="106" y="0"/>
                    </a:lnTo>
                    <a:lnTo>
                      <a:pt x="106" y="0"/>
                    </a:lnTo>
                    <a:lnTo>
                      <a:pt x="0"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7" name="Rectangle 375"/>
              <p:cNvSpPr>
                <a:spLocks noChangeArrowheads="1"/>
              </p:cNvSpPr>
              <p:nvPr/>
            </p:nvSpPr>
            <p:spPr bwMode="auto">
              <a:xfrm>
                <a:off x="-9956800" y="7350125"/>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8" name="Freeform 376"/>
              <p:cNvSpPr>
                <a:spLocks noEditPoints="1"/>
              </p:cNvSpPr>
              <p:nvPr/>
            </p:nvSpPr>
            <p:spPr bwMode="auto">
              <a:xfrm>
                <a:off x="-12341225" y="7327900"/>
                <a:ext cx="2384425" cy="22225"/>
              </a:xfrm>
              <a:custGeom>
                <a:avLst/>
                <a:gdLst>
                  <a:gd name="T0" fmla="*/ 3130 w 3130"/>
                  <a:gd name="T1" fmla="*/ 29 h 29"/>
                  <a:gd name="T2" fmla="*/ 0 w 3130"/>
                  <a:gd name="T3" fmla="*/ 0 h 29"/>
                  <a:gd name="T4" fmla="*/ 0 w 3130"/>
                  <a:gd name="T5" fmla="*/ 0 h 29"/>
                  <a:gd name="T6" fmla="*/ 3130 w 3130"/>
                  <a:gd name="T7" fmla="*/ 29 h 29"/>
                  <a:gd name="T8" fmla="*/ 3130 w 3130"/>
                  <a:gd name="T9" fmla="*/ 29 h 29"/>
                  <a:gd name="T10" fmla="*/ 0 w 3130"/>
                  <a:gd name="T11" fmla="*/ 0 h 29"/>
                  <a:gd name="T12" fmla="*/ 0 w 3130"/>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130" h="29">
                    <a:moveTo>
                      <a:pt x="3130" y="29"/>
                    </a:moveTo>
                    <a:lnTo>
                      <a:pt x="0" y="0"/>
                    </a:lnTo>
                    <a:lnTo>
                      <a:pt x="0" y="0"/>
                    </a:lnTo>
                    <a:lnTo>
                      <a:pt x="3130" y="29"/>
                    </a:lnTo>
                    <a:lnTo>
                      <a:pt x="3130" y="29"/>
                    </a:lnTo>
                    <a:moveTo>
                      <a:pt x="0" y="0"/>
                    </a:moveTo>
                    <a:lnTo>
                      <a:pt x="0" y="0"/>
                    </a:lnTo>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9" name="Freeform 377"/>
              <p:cNvSpPr>
                <a:spLocks/>
              </p:cNvSpPr>
              <p:nvPr/>
            </p:nvSpPr>
            <p:spPr bwMode="auto">
              <a:xfrm>
                <a:off x="-8159750" y="-2909888"/>
                <a:ext cx="2633663" cy="1504950"/>
              </a:xfrm>
              <a:custGeom>
                <a:avLst/>
                <a:gdLst>
                  <a:gd name="T0" fmla="*/ 1659 w 1659"/>
                  <a:gd name="T1" fmla="*/ 948 h 948"/>
                  <a:gd name="T2" fmla="*/ 0 w 1659"/>
                  <a:gd name="T3" fmla="*/ 583 h 948"/>
                  <a:gd name="T4" fmla="*/ 0 w 1659"/>
                  <a:gd name="T5" fmla="*/ 583 h 948"/>
                  <a:gd name="T6" fmla="*/ 0 w 1659"/>
                  <a:gd name="T7" fmla="*/ 583 h 948"/>
                  <a:gd name="T8" fmla="*/ 0 w 1659"/>
                  <a:gd name="T9" fmla="*/ 583 h 948"/>
                  <a:gd name="T10" fmla="*/ 772 w 1659"/>
                  <a:gd name="T11" fmla="*/ 0 h 948"/>
                  <a:gd name="T12" fmla="*/ 772 w 1659"/>
                  <a:gd name="T13" fmla="*/ 0 h 948"/>
                  <a:gd name="T14" fmla="*/ 772 w 1659"/>
                  <a:gd name="T15" fmla="*/ 0 h 948"/>
                  <a:gd name="T16" fmla="*/ 772 w 1659"/>
                  <a:gd name="T17" fmla="*/ 0 h 948"/>
                  <a:gd name="T18" fmla="*/ 772 w 1659"/>
                  <a:gd name="T19" fmla="*/ 0 h 948"/>
                  <a:gd name="T20" fmla="*/ 1224 w 1659"/>
                  <a:gd name="T21" fmla="*/ 483 h 948"/>
                  <a:gd name="T22" fmla="*/ 1659 w 1659"/>
                  <a:gd name="T23" fmla="*/ 948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9" h="948">
                    <a:moveTo>
                      <a:pt x="1659" y="948"/>
                    </a:moveTo>
                    <a:lnTo>
                      <a:pt x="0" y="583"/>
                    </a:lnTo>
                    <a:lnTo>
                      <a:pt x="0" y="583"/>
                    </a:lnTo>
                    <a:lnTo>
                      <a:pt x="0" y="583"/>
                    </a:lnTo>
                    <a:lnTo>
                      <a:pt x="0" y="583"/>
                    </a:lnTo>
                    <a:lnTo>
                      <a:pt x="772" y="0"/>
                    </a:lnTo>
                    <a:lnTo>
                      <a:pt x="772" y="0"/>
                    </a:lnTo>
                    <a:lnTo>
                      <a:pt x="772" y="0"/>
                    </a:lnTo>
                    <a:lnTo>
                      <a:pt x="772" y="0"/>
                    </a:lnTo>
                    <a:lnTo>
                      <a:pt x="772" y="0"/>
                    </a:lnTo>
                    <a:lnTo>
                      <a:pt x="1224" y="483"/>
                    </a:lnTo>
                    <a:lnTo>
                      <a:pt x="1659" y="948"/>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0" name="Freeform 378"/>
              <p:cNvSpPr>
                <a:spLocks/>
              </p:cNvSpPr>
              <p:nvPr/>
            </p:nvSpPr>
            <p:spPr bwMode="auto">
              <a:xfrm>
                <a:off x="-7967663" y="-4110038"/>
                <a:ext cx="1346200" cy="1200150"/>
              </a:xfrm>
              <a:custGeom>
                <a:avLst/>
                <a:gdLst>
                  <a:gd name="T0" fmla="*/ 651 w 848"/>
                  <a:gd name="T1" fmla="*/ 756 h 756"/>
                  <a:gd name="T2" fmla="*/ 0 w 848"/>
                  <a:gd name="T3" fmla="*/ 0 h 756"/>
                  <a:gd name="T4" fmla="*/ 848 w 848"/>
                  <a:gd name="T5" fmla="*/ 0 h 756"/>
                  <a:gd name="T6" fmla="*/ 651 w 848"/>
                  <a:gd name="T7" fmla="*/ 756 h 756"/>
                </a:gdLst>
                <a:ahLst/>
                <a:cxnLst>
                  <a:cxn ang="0">
                    <a:pos x="T0" y="T1"/>
                  </a:cxn>
                  <a:cxn ang="0">
                    <a:pos x="T2" y="T3"/>
                  </a:cxn>
                  <a:cxn ang="0">
                    <a:pos x="T4" y="T5"/>
                  </a:cxn>
                  <a:cxn ang="0">
                    <a:pos x="T6" y="T7"/>
                  </a:cxn>
                </a:cxnLst>
                <a:rect l="0" t="0" r="r" b="b"/>
                <a:pathLst>
                  <a:path w="848" h="756">
                    <a:moveTo>
                      <a:pt x="651" y="756"/>
                    </a:moveTo>
                    <a:lnTo>
                      <a:pt x="0" y="0"/>
                    </a:lnTo>
                    <a:lnTo>
                      <a:pt x="848" y="0"/>
                    </a:lnTo>
                    <a:lnTo>
                      <a:pt x="651" y="756"/>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1" name="Freeform 379"/>
              <p:cNvSpPr>
                <a:spLocks/>
              </p:cNvSpPr>
              <p:nvPr/>
            </p:nvSpPr>
            <p:spPr bwMode="auto">
              <a:xfrm>
                <a:off x="-6934200" y="-3540126"/>
                <a:ext cx="1468438" cy="2135188"/>
              </a:xfrm>
              <a:custGeom>
                <a:avLst/>
                <a:gdLst>
                  <a:gd name="T0" fmla="*/ 887 w 925"/>
                  <a:gd name="T1" fmla="*/ 1345 h 1345"/>
                  <a:gd name="T2" fmla="*/ 452 w 925"/>
                  <a:gd name="T3" fmla="*/ 880 h 1345"/>
                  <a:gd name="T4" fmla="*/ 0 w 925"/>
                  <a:gd name="T5" fmla="*/ 397 h 1345"/>
                  <a:gd name="T6" fmla="*/ 925 w 925"/>
                  <a:gd name="T7" fmla="*/ 0 h 1345"/>
                  <a:gd name="T8" fmla="*/ 925 w 925"/>
                  <a:gd name="T9" fmla="*/ 0 h 1345"/>
                  <a:gd name="T10" fmla="*/ 888 w 925"/>
                  <a:gd name="T11" fmla="*/ 1294 h 1345"/>
                  <a:gd name="T12" fmla="*/ 887 w 925"/>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925" h="1345">
                    <a:moveTo>
                      <a:pt x="887" y="1345"/>
                    </a:moveTo>
                    <a:lnTo>
                      <a:pt x="452" y="880"/>
                    </a:lnTo>
                    <a:lnTo>
                      <a:pt x="0" y="397"/>
                    </a:lnTo>
                    <a:lnTo>
                      <a:pt x="925" y="0"/>
                    </a:lnTo>
                    <a:lnTo>
                      <a:pt x="925" y="0"/>
                    </a:lnTo>
                    <a:lnTo>
                      <a:pt x="888" y="1294"/>
                    </a:lnTo>
                    <a:lnTo>
                      <a:pt x="887" y="1345"/>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2" name="Freeform 380"/>
              <p:cNvSpPr>
                <a:spLocks/>
              </p:cNvSpPr>
              <p:nvPr/>
            </p:nvSpPr>
            <p:spPr bwMode="auto">
              <a:xfrm>
                <a:off x="-9058275" y="-4110038"/>
                <a:ext cx="2124075" cy="1200150"/>
              </a:xfrm>
              <a:custGeom>
                <a:avLst/>
                <a:gdLst>
                  <a:gd name="T0" fmla="*/ 1338 w 1338"/>
                  <a:gd name="T1" fmla="*/ 756 h 756"/>
                  <a:gd name="T2" fmla="*/ 1338 w 1338"/>
                  <a:gd name="T3" fmla="*/ 756 h 756"/>
                  <a:gd name="T4" fmla="*/ 0 w 1338"/>
                  <a:gd name="T5" fmla="*/ 359 h 756"/>
                  <a:gd name="T6" fmla="*/ 338 w 1338"/>
                  <a:gd name="T7" fmla="*/ 0 h 756"/>
                  <a:gd name="T8" fmla="*/ 687 w 1338"/>
                  <a:gd name="T9" fmla="*/ 0 h 756"/>
                  <a:gd name="T10" fmla="*/ 1338 w 1338"/>
                  <a:gd name="T11" fmla="*/ 756 h 756"/>
                </a:gdLst>
                <a:ahLst/>
                <a:cxnLst>
                  <a:cxn ang="0">
                    <a:pos x="T0" y="T1"/>
                  </a:cxn>
                  <a:cxn ang="0">
                    <a:pos x="T2" y="T3"/>
                  </a:cxn>
                  <a:cxn ang="0">
                    <a:pos x="T4" y="T5"/>
                  </a:cxn>
                  <a:cxn ang="0">
                    <a:pos x="T6" y="T7"/>
                  </a:cxn>
                  <a:cxn ang="0">
                    <a:pos x="T8" y="T9"/>
                  </a:cxn>
                  <a:cxn ang="0">
                    <a:pos x="T10" y="T11"/>
                  </a:cxn>
                </a:cxnLst>
                <a:rect l="0" t="0" r="r" b="b"/>
                <a:pathLst>
                  <a:path w="1338" h="756">
                    <a:moveTo>
                      <a:pt x="1338" y="756"/>
                    </a:moveTo>
                    <a:lnTo>
                      <a:pt x="1338" y="756"/>
                    </a:lnTo>
                    <a:lnTo>
                      <a:pt x="0" y="359"/>
                    </a:lnTo>
                    <a:lnTo>
                      <a:pt x="338" y="0"/>
                    </a:lnTo>
                    <a:lnTo>
                      <a:pt x="687" y="0"/>
                    </a:lnTo>
                    <a:lnTo>
                      <a:pt x="1338"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3" name="Freeform 381"/>
              <p:cNvSpPr>
                <a:spLocks/>
              </p:cNvSpPr>
              <p:nvPr/>
            </p:nvSpPr>
            <p:spPr bwMode="auto">
              <a:xfrm>
                <a:off x="-6934200" y="-4110038"/>
                <a:ext cx="1468438" cy="1200150"/>
              </a:xfrm>
              <a:custGeom>
                <a:avLst/>
                <a:gdLst>
                  <a:gd name="T0" fmla="*/ 0 w 925"/>
                  <a:gd name="T1" fmla="*/ 756 h 756"/>
                  <a:gd name="T2" fmla="*/ 0 w 925"/>
                  <a:gd name="T3" fmla="*/ 756 h 756"/>
                  <a:gd name="T4" fmla="*/ 197 w 925"/>
                  <a:gd name="T5" fmla="*/ 0 h 756"/>
                  <a:gd name="T6" fmla="*/ 718 w 925"/>
                  <a:gd name="T7" fmla="*/ 0 h 756"/>
                  <a:gd name="T8" fmla="*/ 925 w 925"/>
                  <a:gd name="T9" fmla="*/ 359 h 756"/>
                  <a:gd name="T10" fmla="*/ 925 w 925"/>
                  <a:gd name="T11" fmla="*/ 359 h 756"/>
                  <a:gd name="T12" fmla="*/ 925 w 925"/>
                  <a:gd name="T13" fmla="*/ 359 h 756"/>
                  <a:gd name="T14" fmla="*/ 925 w 925"/>
                  <a:gd name="T15" fmla="*/ 359 h 756"/>
                  <a:gd name="T16" fmla="*/ 925 w 925"/>
                  <a:gd name="T17" fmla="*/ 359 h 756"/>
                  <a:gd name="T18" fmla="*/ 925 w 925"/>
                  <a:gd name="T19" fmla="*/ 359 h 756"/>
                  <a:gd name="T20" fmla="*/ 0 w 925"/>
                  <a:gd name="T21" fmla="*/ 756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5" h="756">
                    <a:moveTo>
                      <a:pt x="0" y="756"/>
                    </a:moveTo>
                    <a:lnTo>
                      <a:pt x="0" y="756"/>
                    </a:lnTo>
                    <a:lnTo>
                      <a:pt x="197" y="0"/>
                    </a:lnTo>
                    <a:lnTo>
                      <a:pt x="718" y="0"/>
                    </a:lnTo>
                    <a:lnTo>
                      <a:pt x="925" y="359"/>
                    </a:lnTo>
                    <a:lnTo>
                      <a:pt x="925" y="359"/>
                    </a:lnTo>
                    <a:lnTo>
                      <a:pt x="925" y="359"/>
                    </a:lnTo>
                    <a:lnTo>
                      <a:pt x="925" y="359"/>
                    </a:lnTo>
                    <a:lnTo>
                      <a:pt x="925" y="359"/>
                    </a:lnTo>
                    <a:lnTo>
                      <a:pt x="925" y="359"/>
                    </a:lnTo>
                    <a:lnTo>
                      <a:pt x="0"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4" name="Freeform 382"/>
              <p:cNvSpPr>
                <a:spLocks/>
              </p:cNvSpPr>
              <p:nvPr/>
            </p:nvSpPr>
            <p:spPr bwMode="auto">
              <a:xfrm>
                <a:off x="-9058275" y="-3540126"/>
                <a:ext cx="2124075" cy="1555750"/>
              </a:xfrm>
              <a:custGeom>
                <a:avLst/>
                <a:gdLst>
                  <a:gd name="T0" fmla="*/ 566 w 1338"/>
                  <a:gd name="T1" fmla="*/ 980 h 980"/>
                  <a:gd name="T2" fmla="*/ 0 w 1338"/>
                  <a:gd name="T3" fmla="*/ 0 h 980"/>
                  <a:gd name="T4" fmla="*/ 1338 w 1338"/>
                  <a:gd name="T5" fmla="*/ 397 h 980"/>
                  <a:gd name="T6" fmla="*/ 566 w 1338"/>
                  <a:gd name="T7" fmla="*/ 980 h 980"/>
                </a:gdLst>
                <a:ahLst/>
                <a:cxnLst>
                  <a:cxn ang="0">
                    <a:pos x="T0" y="T1"/>
                  </a:cxn>
                  <a:cxn ang="0">
                    <a:pos x="T2" y="T3"/>
                  </a:cxn>
                  <a:cxn ang="0">
                    <a:pos x="T4" y="T5"/>
                  </a:cxn>
                  <a:cxn ang="0">
                    <a:pos x="T6" y="T7"/>
                  </a:cxn>
                </a:cxnLst>
                <a:rect l="0" t="0" r="r" b="b"/>
                <a:pathLst>
                  <a:path w="1338" h="980">
                    <a:moveTo>
                      <a:pt x="566" y="980"/>
                    </a:moveTo>
                    <a:lnTo>
                      <a:pt x="0" y="0"/>
                    </a:lnTo>
                    <a:lnTo>
                      <a:pt x="1338" y="397"/>
                    </a:lnTo>
                    <a:lnTo>
                      <a:pt x="566"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5" name="Freeform 383"/>
              <p:cNvSpPr>
                <a:spLocks/>
              </p:cNvSpPr>
              <p:nvPr/>
            </p:nvSpPr>
            <p:spPr bwMode="auto">
              <a:xfrm>
                <a:off x="-8159750" y="-2909888"/>
                <a:ext cx="1225550" cy="925513"/>
              </a:xfrm>
              <a:custGeom>
                <a:avLst/>
                <a:gdLst>
                  <a:gd name="T0" fmla="*/ 0 w 772"/>
                  <a:gd name="T1" fmla="*/ 583 h 583"/>
                  <a:gd name="T2" fmla="*/ 0 w 772"/>
                  <a:gd name="T3" fmla="*/ 583 h 583"/>
                  <a:gd name="T4" fmla="*/ 772 w 772"/>
                  <a:gd name="T5" fmla="*/ 0 h 583"/>
                  <a:gd name="T6" fmla="*/ 772 w 772"/>
                  <a:gd name="T7" fmla="*/ 0 h 583"/>
                  <a:gd name="T8" fmla="*/ 0 w 772"/>
                  <a:gd name="T9" fmla="*/ 583 h 583"/>
                </a:gdLst>
                <a:ahLst/>
                <a:cxnLst>
                  <a:cxn ang="0">
                    <a:pos x="T0" y="T1"/>
                  </a:cxn>
                  <a:cxn ang="0">
                    <a:pos x="T2" y="T3"/>
                  </a:cxn>
                  <a:cxn ang="0">
                    <a:pos x="T4" y="T5"/>
                  </a:cxn>
                  <a:cxn ang="0">
                    <a:pos x="T6" y="T7"/>
                  </a:cxn>
                  <a:cxn ang="0">
                    <a:pos x="T8" y="T9"/>
                  </a:cxn>
                </a:cxnLst>
                <a:rect l="0" t="0" r="r" b="b"/>
                <a:pathLst>
                  <a:path w="772" h="583">
                    <a:moveTo>
                      <a:pt x="0" y="583"/>
                    </a:moveTo>
                    <a:lnTo>
                      <a:pt x="0" y="583"/>
                    </a:lnTo>
                    <a:lnTo>
                      <a:pt x="772" y="0"/>
                    </a:lnTo>
                    <a:lnTo>
                      <a:pt x="772" y="0"/>
                    </a:lnTo>
                    <a:lnTo>
                      <a:pt x="0" y="58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6" name="Freeform 384"/>
              <p:cNvSpPr>
                <a:spLocks noEditPoints="1"/>
              </p:cNvSpPr>
              <p:nvPr/>
            </p:nvSpPr>
            <p:spPr bwMode="auto">
              <a:xfrm>
                <a:off x="-5465763" y="-4110038"/>
                <a:ext cx="1797050" cy="569913"/>
              </a:xfrm>
              <a:custGeom>
                <a:avLst/>
                <a:gdLst>
                  <a:gd name="T0" fmla="*/ 2358 w 2358"/>
                  <a:gd name="T1" fmla="*/ 748 h 748"/>
                  <a:gd name="T2" fmla="*/ 1 w 2358"/>
                  <a:gd name="T3" fmla="*/ 748 h 748"/>
                  <a:gd name="T4" fmla="*/ 247 w 2358"/>
                  <a:gd name="T5" fmla="*/ 0 h 748"/>
                  <a:gd name="T6" fmla="*/ 1489 w 2358"/>
                  <a:gd name="T7" fmla="*/ 0 h 748"/>
                  <a:gd name="T8" fmla="*/ 2358 w 2358"/>
                  <a:gd name="T9" fmla="*/ 748 h 748"/>
                  <a:gd name="T10" fmla="*/ 1 w 2358"/>
                  <a:gd name="T11" fmla="*/ 748 h 748"/>
                  <a:gd name="T12" fmla="*/ 0 w 2358"/>
                  <a:gd name="T13" fmla="*/ 748 h 748"/>
                  <a:gd name="T14" fmla="*/ 0 w 2358"/>
                  <a:gd name="T15" fmla="*/ 747 h 748"/>
                  <a:gd name="T16" fmla="*/ 0 w 2358"/>
                  <a:gd name="T17" fmla="*/ 747 h 748"/>
                  <a:gd name="T18" fmla="*/ 1 w 2358"/>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8" h="748">
                    <a:moveTo>
                      <a:pt x="2358" y="748"/>
                    </a:moveTo>
                    <a:lnTo>
                      <a:pt x="1" y="748"/>
                    </a:lnTo>
                    <a:lnTo>
                      <a:pt x="247" y="0"/>
                    </a:lnTo>
                    <a:lnTo>
                      <a:pt x="1489" y="0"/>
                    </a:lnTo>
                    <a:lnTo>
                      <a:pt x="2358" y="748"/>
                    </a:lnTo>
                    <a:moveTo>
                      <a:pt x="1" y="748"/>
                    </a:moveTo>
                    <a:lnTo>
                      <a:pt x="0" y="748"/>
                    </a:lnTo>
                    <a:lnTo>
                      <a:pt x="0" y="747"/>
                    </a:lnTo>
                    <a:lnTo>
                      <a:pt x="0" y="747"/>
                    </a:lnTo>
                    <a:lnTo>
                      <a:pt x="1"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7" name="Freeform 385"/>
              <p:cNvSpPr>
                <a:spLocks/>
              </p:cNvSpPr>
              <p:nvPr/>
            </p:nvSpPr>
            <p:spPr bwMode="auto">
              <a:xfrm>
                <a:off x="-4330700" y="-4110038"/>
                <a:ext cx="1114425" cy="569913"/>
              </a:xfrm>
              <a:custGeom>
                <a:avLst/>
                <a:gdLst>
                  <a:gd name="T0" fmla="*/ 417 w 702"/>
                  <a:gd name="T1" fmla="*/ 359 h 359"/>
                  <a:gd name="T2" fmla="*/ 417 w 702"/>
                  <a:gd name="T3" fmla="*/ 359 h 359"/>
                  <a:gd name="T4" fmla="*/ 417 w 702"/>
                  <a:gd name="T5" fmla="*/ 359 h 359"/>
                  <a:gd name="T6" fmla="*/ 0 w 702"/>
                  <a:gd name="T7" fmla="*/ 0 h 359"/>
                  <a:gd name="T8" fmla="*/ 702 w 702"/>
                  <a:gd name="T9" fmla="*/ 0 h 359"/>
                  <a:gd name="T10" fmla="*/ 417 w 702"/>
                  <a:gd name="T11" fmla="*/ 359 h 359"/>
                  <a:gd name="T12" fmla="*/ 417 w 702"/>
                  <a:gd name="T13" fmla="*/ 359 h 359"/>
                  <a:gd name="T14" fmla="*/ 417 w 702"/>
                  <a:gd name="T15" fmla="*/ 359 h 359"/>
                  <a:gd name="T16" fmla="*/ 417 w 702"/>
                  <a:gd name="T17"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2" h="359">
                    <a:moveTo>
                      <a:pt x="417" y="359"/>
                    </a:moveTo>
                    <a:lnTo>
                      <a:pt x="417" y="359"/>
                    </a:lnTo>
                    <a:lnTo>
                      <a:pt x="417" y="359"/>
                    </a:lnTo>
                    <a:lnTo>
                      <a:pt x="0" y="0"/>
                    </a:lnTo>
                    <a:lnTo>
                      <a:pt x="702" y="0"/>
                    </a:lnTo>
                    <a:lnTo>
                      <a:pt x="417" y="359"/>
                    </a:lnTo>
                    <a:lnTo>
                      <a:pt x="417" y="359"/>
                    </a:lnTo>
                    <a:lnTo>
                      <a:pt x="417" y="359"/>
                    </a:lnTo>
                    <a:lnTo>
                      <a:pt x="417"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8" name="Freeform 386"/>
              <p:cNvSpPr>
                <a:spLocks/>
              </p:cNvSpPr>
              <p:nvPr/>
            </p:nvSpPr>
            <p:spPr bwMode="auto">
              <a:xfrm>
                <a:off x="-4330700" y="-4110038"/>
                <a:ext cx="661988" cy="569913"/>
              </a:xfrm>
              <a:custGeom>
                <a:avLst/>
                <a:gdLst>
                  <a:gd name="T0" fmla="*/ 417 w 417"/>
                  <a:gd name="T1" fmla="*/ 359 h 359"/>
                  <a:gd name="T2" fmla="*/ 417 w 417"/>
                  <a:gd name="T3" fmla="*/ 359 h 359"/>
                  <a:gd name="T4" fmla="*/ 0 w 417"/>
                  <a:gd name="T5" fmla="*/ 0 h 359"/>
                  <a:gd name="T6" fmla="*/ 0 w 417"/>
                  <a:gd name="T7" fmla="*/ 0 h 359"/>
                  <a:gd name="T8" fmla="*/ 417 w 417"/>
                  <a:gd name="T9" fmla="*/ 359 h 359"/>
                </a:gdLst>
                <a:ahLst/>
                <a:cxnLst>
                  <a:cxn ang="0">
                    <a:pos x="T0" y="T1"/>
                  </a:cxn>
                  <a:cxn ang="0">
                    <a:pos x="T2" y="T3"/>
                  </a:cxn>
                  <a:cxn ang="0">
                    <a:pos x="T4" y="T5"/>
                  </a:cxn>
                  <a:cxn ang="0">
                    <a:pos x="T6" y="T7"/>
                  </a:cxn>
                  <a:cxn ang="0">
                    <a:pos x="T8" y="T9"/>
                  </a:cxn>
                </a:cxnLst>
                <a:rect l="0" t="0" r="r" b="b"/>
                <a:pathLst>
                  <a:path w="417" h="359">
                    <a:moveTo>
                      <a:pt x="417" y="359"/>
                    </a:moveTo>
                    <a:lnTo>
                      <a:pt x="417" y="359"/>
                    </a:lnTo>
                    <a:lnTo>
                      <a:pt x="0" y="0"/>
                    </a:lnTo>
                    <a:lnTo>
                      <a:pt x="0" y="0"/>
                    </a:lnTo>
                    <a:lnTo>
                      <a:pt x="417"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9" name="Freeform 387"/>
              <p:cNvSpPr>
                <a:spLocks/>
              </p:cNvSpPr>
              <p:nvPr/>
            </p:nvSpPr>
            <p:spPr bwMode="auto">
              <a:xfrm>
                <a:off x="-5794375" y="-4110038"/>
                <a:ext cx="517525" cy="569913"/>
              </a:xfrm>
              <a:custGeom>
                <a:avLst/>
                <a:gdLst>
                  <a:gd name="T0" fmla="*/ 207 w 326"/>
                  <a:gd name="T1" fmla="*/ 359 h 359"/>
                  <a:gd name="T2" fmla="*/ 0 w 326"/>
                  <a:gd name="T3" fmla="*/ 0 h 359"/>
                  <a:gd name="T4" fmla="*/ 326 w 326"/>
                  <a:gd name="T5" fmla="*/ 0 h 359"/>
                  <a:gd name="T6" fmla="*/ 207 w 326"/>
                  <a:gd name="T7" fmla="*/ 359 h 359"/>
                </a:gdLst>
                <a:ahLst/>
                <a:cxnLst>
                  <a:cxn ang="0">
                    <a:pos x="T0" y="T1"/>
                  </a:cxn>
                  <a:cxn ang="0">
                    <a:pos x="T2" y="T3"/>
                  </a:cxn>
                  <a:cxn ang="0">
                    <a:pos x="T4" y="T5"/>
                  </a:cxn>
                  <a:cxn ang="0">
                    <a:pos x="T6" y="T7"/>
                  </a:cxn>
                </a:cxnLst>
                <a:rect l="0" t="0" r="r" b="b"/>
                <a:pathLst>
                  <a:path w="326" h="359">
                    <a:moveTo>
                      <a:pt x="207" y="359"/>
                    </a:moveTo>
                    <a:lnTo>
                      <a:pt x="0" y="0"/>
                    </a:lnTo>
                    <a:lnTo>
                      <a:pt x="326" y="0"/>
                    </a:lnTo>
                    <a:lnTo>
                      <a:pt x="207" y="35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0" name="Freeform 388"/>
              <p:cNvSpPr>
                <a:spLocks/>
              </p:cNvSpPr>
              <p:nvPr/>
            </p:nvSpPr>
            <p:spPr bwMode="auto">
              <a:xfrm>
                <a:off x="-5465763" y="-4110038"/>
                <a:ext cx="188913" cy="569913"/>
              </a:xfrm>
              <a:custGeom>
                <a:avLst/>
                <a:gdLst>
                  <a:gd name="T0" fmla="*/ 0 w 119"/>
                  <a:gd name="T1" fmla="*/ 359 h 359"/>
                  <a:gd name="T2" fmla="*/ 0 w 119"/>
                  <a:gd name="T3" fmla="*/ 359 h 359"/>
                  <a:gd name="T4" fmla="*/ 0 w 119"/>
                  <a:gd name="T5" fmla="*/ 359 h 359"/>
                  <a:gd name="T6" fmla="*/ 119 w 119"/>
                  <a:gd name="T7" fmla="*/ 0 h 359"/>
                  <a:gd name="T8" fmla="*/ 119 w 119"/>
                  <a:gd name="T9" fmla="*/ 0 h 359"/>
                  <a:gd name="T10" fmla="*/ 0 w 119"/>
                  <a:gd name="T11" fmla="*/ 359 h 359"/>
                </a:gdLst>
                <a:ahLst/>
                <a:cxnLst>
                  <a:cxn ang="0">
                    <a:pos x="T0" y="T1"/>
                  </a:cxn>
                  <a:cxn ang="0">
                    <a:pos x="T2" y="T3"/>
                  </a:cxn>
                  <a:cxn ang="0">
                    <a:pos x="T4" y="T5"/>
                  </a:cxn>
                  <a:cxn ang="0">
                    <a:pos x="T6" y="T7"/>
                  </a:cxn>
                  <a:cxn ang="0">
                    <a:pos x="T8" y="T9"/>
                  </a:cxn>
                  <a:cxn ang="0">
                    <a:pos x="T10" y="T11"/>
                  </a:cxn>
                </a:cxnLst>
                <a:rect l="0" t="0" r="r" b="b"/>
                <a:pathLst>
                  <a:path w="119" h="359">
                    <a:moveTo>
                      <a:pt x="0" y="359"/>
                    </a:moveTo>
                    <a:lnTo>
                      <a:pt x="0" y="359"/>
                    </a:lnTo>
                    <a:lnTo>
                      <a:pt x="0" y="359"/>
                    </a:lnTo>
                    <a:lnTo>
                      <a:pt x="119" y="0"/>
                    </a:lnTo>
                    <a:lnTo>
                      <a:pt x="119"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1" name="Freeform 389"/>
              <p:cNvSpPr>
                <a:spLocks noEditPoints="1"/>
              </p:cNvSpPr>
              <p:nvPr/>
            </p:nvSpPr>
            <p:spPr bwMode="auto">
              <a:xfrm>
                <a:off x="-8159750" y="-428626"/>
                <a:ext cx="1795463" cy="1554163"/>
              </a:xfrm>
              <a:custGeom>
                <a:avLst/>
                <a:gdLst>
                  <a:gd name="T0" fmla="*/ 2358 w 2358"/>
                  <a:gd name="T1" fmla="*/ 2041 h 2041"/>
                  <a:gd name="T2" fmla="*/ 1 w 2358"/>
                  <a:gd name="T3" fmla="*/ 2041 h 2041"/>
                  <a:gd name="T4" fmla="*/ 1179 w 2358"/>
                  <a:gd name="T5" fmla="*/ 0 h 2041"/>
                  <a:gd name="T6" fmla="*/ 1179 w 2358"/>
                  <a:gd name="T7" fmla="*/ 0 h 2041"/>
                  <a:gd name="T8" fmla="*/ 1179 w 2358"/>
                  <a:gd name="T9" fmla="*/ 0 h 2041"/>
                  <a:gd name="T10" fmla="*/ 1507 w 2358"/>
                  <a:gd name="T11" fmla="*/ 567 h 2041"/>
                  <a:gd name="T12" fmla="*/ 2358 w 2358"/>
                  <a:gd name="T13" fmla="*/ 2041 h 2041"/>
                  <a:gd name="T14" fmla="*/ 1 w 2358"/>
                  <a:gd name="T15" fmla="*/ 2041 h 2041"/>
                  <a:gd name="T16" fmla="*/ 0 w 2358"/>
                  <a:gd name="T17" fmla="*/ 2041 h 2041"/>
                  <a:gd name="T18" fmla="*/ 1 w 2358"/>
                  <a:gd name="T19" fmla="*/ 2041 h 2041"/>
                  <a:gd name="T20" fmla="*/ 1 w 2358"/>
                  <a:gd name="T21" fmla="*/ 2041 h 2041"/>
                  <a:gd name="T22" fmla="*/ 1179 w 2358"/>
                  <a:gd name="T23" fmla="*/ 0 h 2041"/>
                  <a:gd name="T24" fmla="*/ 1179 w 2358"/>
                  <a:gd name="T25" fmla="*/ 0 h 2041"/>
                  <a:gd name="T26" fmla="*/ 1179 w 2358"/>
                  <a:gd name="T27" fmla="*/ 0 h 2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8" h="2041">
                    <a:moveTo>
                      <a:pt x="2358" y="2041"/>
                    </a:moveTo>
                    <a:lnTo>
                      <a:pt x="1" y="2041"/>
                    </a:lnTo>
                    <a:lnTo>
                      <a:pt x="1179" y="0"/>
                    </a:lnTo>
                    <a:lnTo>
                      <a:pt x="1179" y="0"/>
                    </a:lnTo>
                    <a:lnTo>
                      <a:pt x="1179" y="0"/>
                    </a:lnTo>
                    <a:lnTo>
                      <a:pt x="1507" y="567"/>
                    </a:lnTo>
                    <a:lnTo>
                      <a:pt x="2358" y="2041"/>
                    </a:lnTo>
                    <a:moveTo>
                      <a:pt x="1" y="2041"/>
                    </a:moveTo>
                    <a:lnTo>
                      <a:pt x="0" y="2041"/>
                    </a:lnTo>
                    <a:lnTo>
                      <a:pt x="1" y="2041"/>
                    </a:lnTo>
                    <a:lnTo>
                      <a:pt x="1" y="2041"/>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2" name="Freeform 390"/>
              <p:cNvSpPr>
                <a:spLocks/>
              </p:cNvSpPr>
              <p:nvPr/>
            </p:nvSpPr>
            <p:spPr bwMode="auto">
              <a:xfrm>
                <a:off x="-8159750" y="-1984376"/>
                <a:ext cx="2633663" cy="1555750"/>
              </a:xfrm>
              <a:custGeom>
                <a:avLst/>
                <a:gdLst>
                  <a:gd name="T0" fmla="*/ 566 w 1659"/>
                  <a:gd name="T1" fmla="*/ 980 h 980"/>
                  <a:gd name="T2" fmla="*/ 566 w 1659"/>
                  <a:gd name="T3" fmla="*/ 980 h 980"/>
                  <a:gd name="T4" fmla="*/ 307 w 1659"/>
                  <a:gd name="T5" fmla="*/ 532 h 980"/>
                  <a:gd name="T6" fmla="*/ 0 w 1659"/>
                  <a:gd name="T7" fmla="*/ 0 h 980"/>
                  <a:gd name="T8" fmla="*/ 0 w 1659"/>
                  <a:gd name="T9" fmla="*/ 0 h 980"/>
                  <a:gd name="T10" fmla="*/ 1659 w 1659"/>
                  <a:gd name="T11" fmla="*/ 365 h 980"/>
                  <a:gd name="T12" fmla="*/ 566 w 1659"/>
                  <a:gd name="T13" fmla="*/ 980 h 980"/>
                </a:gdLst>
                <a:ahLst/>
                <a:cxnLst>
                  <a:cxn ang="0">
                    <a:pos x="T0" y="T1"/>
                  </a:cxn>
                  <a:cxn ang="0">
                    <a:pos x="T2" y="T3"/>
                  </a:cxn>
                  <a:cxn ang="0">
                    <a:pos x="T4" y="T5"/>
                  </a:cxn>
                  <a:cxn ang="0">
                    <a:pos x="T6" y="T7"/>
                  </a:cxn>
                  <a:cxn ang="0">
                    <a:pos x="T8" y="T9"/>
                  </a:cxn>
                  <a:cxn ang="0">
                    <a:pos x="T10" y="T11"/>
                  </a:cxn>
                  <a:cxn ang="0">
                    <a:pos x="T12" y="T13"/>
                  </a:cxn>
                </a:cxnLst>
                <a:rect l="0" t="0" r="r" b="b"/>
                <a:pathLst>
                  <a:path w="1659" h="980">
                    <a:moveTo>
                      <a:pt x="566" y="980"/>
                    </a:moveTo>
                    <a:lnTo>
                      <a:pt x="566" y="980"/>
                    </a:lnTo>
                    <a:lnTo>
                      <a:pt x="307" y="532"/>
                    </a:lnTo>
                    <a:lnTo>
                      <a:pt x="0" y="0"/>
                    </a:lnTo>
                    <a:lnTo>
                      <a:pt x="0" y="0"/>
                    </a:lnTo>
                    <a:lnTo>
                      <a:pt x="1659" y="36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3" name="Freeform 391"/>
              <p:cNvSpPr>
                <a:spLocks/>
              </p:cNvSpPr>
              <p:nvPr/>
            </p:nvSpPr>
            <p:spPr bwMode="auto">
              <a:xfrm>
                <a:off x="-7261225" y="-428626"/>
                <a:ext cx="1735138" cy="1554163"/>
              </a:xfrm>
              <a:custGeom>
                <a:avLst/>
                <a:gdLst>
                  <a:gd name="T0" fmla="*/ 565 w 1093"/>
                  <a:gd name="T1" fmla="*/ 979 h 979"/>
                  <a:gd name="T2" fmla="*/ 157 w 1093"/>
                  <a:gd name="T3" fmla="*/ 272 h 979"/>
                  <a:gd name="T4" fmla="*/ 0 w 1093"/>
                  <a:gd name="T5" fmla="*/ 0 h 979"/>
                  <a:gd name="T6" fmla="*/ 1093 w 1093"/>
                  <a:gd name="T7" fmla="*/ 684 h 979"/>
                  <a:gd name="T8" fmla="*/ 1093 w 1093"/>
                  <a:gd name="T9" fmla="*/ 684 h 979"/>
                  <a:gd name="T10" fmla="*/ 1093 w 1093"/>
                  <a:gd name="T11" fmla="*/ 684 h 979"/>
                  <a:gd name="T12" fmla="*/ 1093 w 1093"/>
                  <a:gd name="T13" fmla="*/ 684 h 979"/>
                  <a:gd name="T14" fmla="*/ 1093 w 1093"/>
                  <a:gd name="T15" fmla="*/ 684 h 979"/>
                  <a:gd name="T16" fmla="*/ 965 w 1093"/>
                  <a:gd name="T17" fmla="*/ 756 h 979"/>
                  <a:gd name="T18" fmla="*/ 565 w 1093"/>
                  <a:gd name="T19" fmla="*/ 979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3" h="979">
                    <a:moveTo>
                      <a:pt x="565" y="979"/>
                    </a:moveTo>
                    <a:lnTo>
                      <a:pt x="157" y="272"/>
                    </a:lnTo>
                    <a:lnTo>
                      <a:pt x="0" y="0"/>
                    </a:lnTo>
                    <a:lnTo>
                      <a:pt x="1093" y="684"/>
                    </a:lnTo>
                    <a:lnTo>
                      <a:pt x="1093" y="684"/>
                    </a:lnTo>
                    <a:lnTo>
                      <a:pt x="1093" y="684"/>
                    </a:lnTo>
                    <a:lnTo>
                      <a:pt x="1093" y="684"/>
                    </a:lnTo>
                    <a:lnTo>
                      <a:pt x="1093" y="684"/>
                    </a:lnTo>
                    <a:lnTo>
                      <a:pt x="965" y="756"/>
                    </a:lnTo>
                    <a:lnTo>
                      <a:pt x="565" y="97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4" name="Freeform 392"/>
              <p:cNvSpPr>
                <a:spLocks noEditPoints="1"/>
              </p:cNvSpPr>
              <p:nvPr/>
            </p:nvSpPr>
            <p:spPr bwMode="auto">
              <a:xfrm>
                <a:off x="-9456738" y="-1984376"/>
                <a:ext cx="2195513" cy="1555750"/>
              </a:xfrm>
              <a:custGeom>
                <a:avLst/>
                <a:gdLst>
                  <a:gd name="T0" fmla="*/ 2879 w 2879"/>
                  <a:gd name="T1" fmla="*/ 2042 h 2042"/>
                  <a:gd name="T2" fmla="*/ 0 w 2879"/>
                  <a:gd name="T3" fmla="*/ 1320 h 2042"/>
                  <a:gd name="T4" fmla="*/ 444 w 2879"/>
                  <a:gd name="T5" fmla="*/ 976 h 2042"/>
                  <a:gd name="T6" fmla="*/ 1701 w 2879"/>
                  <a:gd name="T7" fmla="*/ 1 h 2042"/>
                  <a:gd name="T8" fmla="*/ 2340 w 2879"/>
                  <a:gd name="T9" fmla="*/ 1109 h 2042"/>
                  <a:gd name="T10" fmla="*/ 2879 w 2879"/>
                  <a:gd name="T11" fmla="*/ 2042 h 2042"/>
                  <a:gd name="T12" fmla="*/ 2879 w 2879"/>
                  <a:gd name="T13" fmla="*/ 2042 h 2042"/>
                  <a:gd name="T14" fmla="*/ 1701 w 2879"/>
                  <a:gd name="T15" fmla="*/ 1 h 2042"/>
                  <a:gd name="T16" fmla="*/ 1700 w 2879"/>
                  <a:gd name="T17" fmla="*/ 1 h 2042"/>
                  <a:gd name="T18" fmla="*/ 1701 w 2879"/>
                  <a:gd name="T19" fmla="*/ 0 h 2042"/>
                  <a:gd name="T20" fmla="*/ 1701 w 2879"/>
                  <a:gd name="T21" fmla="*/ 1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9" h="2042">
                    <a:moveTo>
                      <a:pt x="2879" y="2042"/>
                    </a:moveTo>
                    <a:lnTo>
                      <a:pt x="0" y="1320"/>
                    </a:lnTo>
                    <a:lnTo>
                      <a:pt x="444" y="976"/>
                    </a:lnTo>
                    <a:lnTo>
                      <a:pt x="1701" y="1"/>
                    </a:lnTo>
                    <a:lnTo>
                      <a:pt x="2340" y="1109"/>
                    </a:lnTo>
                    <a:lnTo>
                      <a:pt x="2879" y="2042"/>
                    </a:lnTo>
                    <a:lnTo>
                      <a:pt x="2879" y="2042"/>
                    </a:lnTo>
                    <a:moveTo>
                      <a:pt x="1701" y="1"/>
                    </a:moveTo>
                    <a:lnTo>
                      <a:pt x="1700" y="1"/>
                    </a:lnTo>
                    <a:lnTo>
                      <a:pt x="1701" y="0"/>
                    </a:lnTo>
                    <a:lnTo>
                      <a:pt x="170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5" name="Freeform 393"/>
              <p:cNvSpPr>
                <a:spLocks/>
              </p:cNvSpPr>
              <p:nvPr/>
            </p:nvSpPr>
            <p:spPr bwMode="auto">
              <a:xfrm>
                <a:off x="-9117013" y="-1984376"/>
                <a:ext cx="957263" cy="742950"/>
              </a:xfrm>
              <a:custGeom>
                <a:avLst/>
                <a:gdLst>
                  <a:gd name="T0" fmla="*/ 0 w 603"/>
                  <a:gd name="T1" fmla="*/ 468 h 468"/>
                  <a:gd name="T2" fmla="*/ 603 w 603"/>
                  <a:gd name="T3" fmla="*/ 0 h 468"/>
                  <a:gd name="T4" fmla="*/ 603 w 603"/>
                  <a:gd name="T5" fmla="*/ 0 h 468"/>
                  <a:gd name="T6" fmla="*/ 603 w 603"/>
                  <a:gd name="T7" fmla="*/ 0 h 468"/>
                  <a:gd name="T8" fmla="*/ 0 w 603"/>
                  <a:gd name="T9" fmla="*/ 468 h 468"/>
                </a:gdLst>
                <a:ahLst/>
                <a:cxnLst>
                  <a:cxn ang="0">
                    <a:pos x="T0" y="T1"/>
                  </a:cxn>
                  <a:cxn ang="0">
                    <a:pos x="T2" y="T3"/>
                  </a:cxn>
                  <a:cxn ang="0">
                    <a:pos x="T4" y="T5"/>
                  </a:cxn>
                  <a:cxn ang="0">
                    <a:pos x="T6" y="T7"/>
                  </a:cxn>
                  <a:cxn ang="0">
                    <a:pos x="T8" y="T9"/>
                  </a:cxn>
                </a:cxnLst>
                <a:rect l="0" t="0" r="r" b="b"/>
                <a:pathLst>
                  <a:path w="603" h="468">
                    <a:moveTo>
                      <a:pt x="0" y="468"/>
                    </a:moveTo>
                    <a:lnTo>
                      <a:pt x="603" y="0"/>
                    </a:lnTo>
                    <a:lnTo>
                      <a:pt x="603" y="0"/>
                    </a:lnTo>
                    <a:lnTo>
                      <a:pt x="603" y="0"/>
                    </a:lnTo>
                    <a:lnTo>
                      <a:pt x="0" y="468"/>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6" name="Freeform 394"/>
              <p:cNvSpPr>
                <a:spLocks/>
              </p:cNvSpPr>
              <p:nvPr/>
            </p:nvSpPr>
            <p:spPr bwMode="auto">
              <a:xfrm>
                <a:off x="-8159750" y="-1984376"/>
                <a:ext cx="487363" cy="844550"/>
              </a:xfrm>
              <a:custGeom>
                <a:avLst/>
                <a:gdLst>
                  <a:gd name="T0" fmla="*/ 307 w 307"/>
                  <a:gd name="T1" fmla="*/ 532 h 532"/>
                  <a:gd name="T2" fmla="*/ 0 w 307"/>
                  <a:gd name="T3" fmla="*/ 0 h 532"/>
                  <a:gd name="T4" fmla="*/ 0 w 307"/>
                  <a:gd name="T5" fmla="*/ 0 h 532"/>
                  <a:gd name="T6" fmla="*/ 0 w 307"/>
                  <a:gd name="T7" fmla="*/ 0 h 532"/>
                  <a:gd name="T8" fmla="*/ 0 w 307"/>
                  <a:gd name="T9" fmla="*/ 0 h 532"/>
                  <a:gd name="T10" fmla="*/ 307 w 307"/>
                  <a:gd name="T11" fmla="*/ 532 h 532"/>
                </a:gdLst>
                <a:ahLst/>
                <a:cxnLst>
                  <a:cxn ang="0">
                    <a:pos x="T0" y="T1"/>
                  </a:cxn>
                  <a:cxn ang="0">
                    <a:pos x="T2" y="T3"/>
                  </a:cxn>
                  <a:cxn ang="0">
                    <a:pos x="T4" y="T5"/>
                  </a:cxn>
                  <a:cxn ang="0">
                    <a:pos x="T6" y="T7"/>
                  </a:cxn>
                  <a:cxn ang="0">
                    <a:pos x="T8" y="T9"/>
                  </a:cxn>
                  <a:cxn ang="0">
                    <a:pos x="T10" y="T11"/>
                  </a:cxn>
                </a:cxnLst>
                <a:rect l="0" t="0" r="r" b="b"/>
                <a:pathLst>
                  <a:path w="307" h="532">
                    <a:moveTo>
                      <a:pt x="307" y="532"/>
                    </a:moveTo>
                    <a:lnTo>
                      <a:pt x="0" y="0"/>
                    </a:lnTo>
                    <a:lnTo>
                      <a:pt x="0" y="0"/>
                    </a:lnTo>
                    <a:lnTo>
                      <a:pt x="0" y="0"/>
                    </a:lnTo>
                    <a:lnTo>
                      <a:pt x="0" y="0"/>
                    </a:lnTo>
                    <a:lnTo>
                      <a:pt x="307" y="5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7" name="Freeform 395"/>
              <p:cNvSpPr>
                <a:spLocks noEditPoints="1"/>
              </p:cNvSpPr>
              <p:nvPr/>
            </p:nvSpPr>
            <p:spPr bwMode="auto">
              <a:xfrm>
                <a:off x="-7261225" y="-1404938"/>
                <a:ext cx="1735138" cy="2062163"/>
              </a:xfrm>
              <a:custGeom>
                <a:avLst/>
                <a:gdLst>
                  <a:gd name="T0" fmla="*/ 2278 w 2278"/>
                  <a:gd name="T1" fmla="*/ 2707 h 2707"/>
                  <a:gd name="T2" fmla="*/ 2278 w 2278"/>
                  <a:gd name="T3" fmla="*/ 2707 h 2707"/>
                  <a:gd name="T4" fmla="*/ 2278 w 2278"/>
                  <a:gd name="T5" fmla="*/ 2707 h 2707"/>
                  <a:gd name="T6" fmla="*/ 2278 w 2278"/>
                  <a:gd name="T7" fmla="*/ 2707 h 2707"/>
                  <a:gd name="T8" fmla="*/ 2278 w 2278"/>
                  <a:gd name="T9" fmla="*/ 2707 h 2707"/>
                  <a:gd name="T10" fmla="*/ 0 w 2278"/>
                  <a:gd name="T11" fmla="*/ 1281 h 2707"/>
                  <a:gd name="T12" fmla="*/ 0 w 2278"/>
                  <a:gd name="T13" fmla="*/ 1281 h 2707"/>
                  <a:gd name="T14" fmla="*/ 2278 w 2278"/>
                  <a:gd name="T15" fmla="*/ 0 h 2707"/>
                  <a:gd name="T16" fmla="*/ 2278 w 2278"/>
                  <a:gd name="T17" fmla="*/ 2707 h 2707"/>
                  <a:gd name="T18" fmla="*/ 2278 w 2278"/>
                  <a:gd name="T19" fmla="*/ 2707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8" h="2707">
                    <a:moveTo>
                      <a:pt x="2278" y="2707"/>
                    </a:moveTo>
                    <a:lnTo>
                      <a:pt x="2278" y="2707"/>
                    </a:lnTo>
                    <a:lnTo>
                      <a:pt x="2278" y="2707"/>
                    </a:lnTo>
                    <a:lnTo>
                      <a:pt x="2278" y="2707"/>
                    </a:lnTo>
                    <a:moveTo>
                      <a:pt x="2278" y="2707"/>
                    </a:moveTo>
                    <a:lnTo>
                      <a:pt x="0" y="1281"/>
                    </a:lnTo>
                    <a:lnTo>
                      <a:pt x="0" y="1281"/>
                    </a:lnTo>
                    <a:lnTo>
                      <a:pt x="2278" y="0"/>
                    </a:lnTo>
                    <a:lnTo>
                      <a:pt x="2278" y="2707"/>
                    </a:lnTo>
                    <a:lnTo>
                      <a:pt x="2278" y="2707"/>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8" name="Freeform 396"/>
              <p:cNvSpPr>
                <a:spLocks/>
              </p:cNvSpPr>
              <p:nvPr/>
            </p:nvSpPr>
            <p:spPr bwMode="auto">
              <a:xfrm>
                <a:off x="-9456738" y="-979488"/>
                <a:ext cx="2195513" cy="2105025"/>
              </a:xfrm>
              <a:custGeom>
                <a:avLst/>
                <a:gdLst>
                  <a:gd name="T0" fmla="*/ 817 w 1383"/>
                  <a:gd name="T1" fmla="*/ 1326 h 1326"/>
                  <a:gd name="T2" fmla="*/ 0 w 1383"/>
                  <a:gd name="T3" fmla="*/ 0 h 1326"/>
                  <a:gd name="T4" fmla="*/ 1383 w 1383"/>
                  <a:gd name="T5" fmla="*/ 347 h 1326"/>
                  <a:gd name="T6" fmla="*/ 817 w 1383"/>
                  <a:gd name="T7" fmla="*/ 1326 h 1326"/>
                </a:gdLst>
                <a:ahLst/>
                <a:cxnLst>
                  <a:cxn ang="0">
                    <a:pos x="T0" y="T1"/>
                  </a:cxn>
                  <a:cxn ang="0">
                    <a:pos x="T2" y="T3"/>
                  </a:cxn>
                  <a:cxn ang="0">
                    <a:pos x="T4" y="T5"/>
                  </a:cxn>
                  <a:cxn ang="0">
                    <a:pos x="T6" y="T7"/>
                  </a:cxn>
                </a:cxnLst>
                <a:rect l="0" t="0" r="r" b="b"/>
                <a:pathLst>
                  <a:path w="1383" h="1326">
                    <a:moveTo>
                      <a:pt x="817" y="1326"/>
                    </a:moveTo>
                    <a:lnTo>
                      <a:pt x="0" y="0"/>
                    </a:lnTo>
                    <a:lnTo>
                      <a:pt x="1383" y="347"/>
                    </a:lnTo>
                    <a:lnTo>
                      <a:pt x="817" y="132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9" name="Freeform 397"/>
              <p:cNvSpPr>
                <a:spLocks/>
              </p:cNvSpPr>
              <p:nvPr/>
            </p:nvSpPr>
            <p:spPr bwMode="auto">
              <a:xfrm>
                <a:off x="-8159750" y="-428626"/>
                <a:ext cx="898525" cy="1554163"/>
              </a:xfrm>
              <a:custGeom>
                <a:avLst/>
                <a:gdLst>
                  <a:gd name="T0" fmla="*/ 0 w 566"/>
                  <a:gd name="T1" fmla="*/ 979 h 979"/>
                  <a:gd name="T2" fmla="*/ 0 w 566"/>
                  <a:gd name="T3" fmla="*/ 979 h 979"/>
                  <a:gd name="T4" fmla="*/ 0 w 566"/>
                  <a:gd name="T5" fmla="*/ 979 h 979"/>
                  <a:gd name="T6" fmla="*/ 566 w 566"/>
                  <a:gd name="T7" fmla="*/ 0 h 979"/>
                  <a:gd name="T8" fmla="*/ 566 w 566"/>
                  <a:gd name="T9" fmla="*/ 0 h 979"/>
                  <a:gd name="T10" fmla="*/ 0 w 566"/>
                  <a:gd name="T11" fmla="*/ 979 h 979"/>
                </a:gdLst>
                <a:ahLst/>
                <a:cxnLst>
                  <a:cxn ang="0">
                    <a:pos x="T0" y="T1"/>
                  </a:cxn>
                  <a:cxn ang="0">
                    <a:pos x="T2" y="T3"/>
                  </a:cxn>
                  <a:cxn ang="0">
                    <a:pos x="T4" y="T5"/>
                  </a:cxn>
                  <a:cxn ang="0">
                    <a:pos x="T6" y="T7"/>
                  </a:cxn>
                  <a:cxn ang="0">
                    <a:pos x="T8" y="T9"/>
                  </a:cxn>
                  <a:cxn ang="0">
                    <a:pos x="T10" y="T11"/>
                  </a:cxn>
                </a:cxnLst>
                <a:rect l="0" t="0" r="r" b="b"/>
                <a:pathLst>
                  <a:path w="566" h="979">
                    <a:moveTo>
                      <a:pt x="0" y="979"/>
                    </a:moveTo>
                    <a:lnTo>
                      <a:pt x="0" y="979"/>
                    </a:ln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0" name="Freeform 398"/>
              <p:cNvSpPr>
                <a:spLocks noEditPoints="1"/>
              </p:cNvSpPr>
              <p:nvPr/>
            </p:nvSpPr>
            <p:spPr bwMode="auto">
              <a:xfrm>
                <a:off x="-5526088" y="-1984376"/>
                <a:ext cx="2544763" cy="2641600"/>
              </a:xfrm>
              <a:custGeom>
                <a:avLst/>
                <a:gdLst>
                  <a:gd name="T0" fmla="*/ 0 w 3339"/>
                  <a:gd name="T1" fmla="*/ 3468 h 3468"/>
                  <a:gd name="T2" fmla="*/ 0 w 3339"/>
                  <a:gd name="T3" fmla="*/ 3468 h 3468"/>
                  <a:gd name="T4" fmla="*/ 0 w 3339"/>
                  <a:gd name="T5" fmla="*/ 3468 h 3468"/>
                  <a:gd name="T6" fmla="*/ 0 w 3339"/>
                  <a:gd name="T7" fmla="*/ 3468 h 3468"/>
                  <a:gd name="T8" fmla="*/ 0 w 3339"/>
                  <a:gd name="T9" fmla="*/ 3468 h 3468"/>
                  <a:gd name="T10" fmla="*/ 0 w 3339"/>
                  <a:gd name="T11" fmla="*/ 3468 h 3468"/>
                  <a:gd name="T12" fmla="*/ 0 w 3339"/>
                  <a:gd name="T13" fmla="*/ 3468 h 3468"/>
                  <a:gd name="T14" fmla="*/ 0 w 3339"/>
                  <a:gd name="T15" fmla="*/ 3468 h 3468"/>
                  <a:gd name="T16" fmla="*/ 1258 w 3339"/>
                  <a:gd name="T17" fmla="*/ 0 h 3468"/>
                  <a:gd name="T18" fmla="*/ 3339 w 3339"/>
                  <a:gd name="T19" fmla="*/ 2815 h 3468"/>
                  <a:gd name="T20" fmla="*/ 0 w 3339"/>
                  <a:gd name="T21" fmla="*/ 3468 h 3468"/>
                  <a:gd name="T22" fmla="*/ 3339 w 3339"/>
                  <a:gd name="T23" fmla="*/ 2815 h 3468"/>
                  <a:gd name="T24" fmla="*/ 3339 w 3339"/>
                  <a:gd name="T25" fmla="*/ 2815 h 3468"/>
                  <a:gd name="T26" fmla="*/ 3339 w 3339"/>
                  <a:gd name="T27" fmla="*/ 2815 h 3468"/>
                  <a:gd name="T28" fmla="*/ 1258 w 3339"/>
                  <a:gd name="T29" fmla="*/ 0 h 3468"/>
                  <a:gd name="T30" fmla="*/ 1258 w 3339"/>
                  <a:gd name="T31" fmla="*/ 0 h 3468"/>
                  <a:gd name="T32" fmla="*/ 1258 w 3339"/>
                  <a:gd name="T33" fmla="*/ 1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39" h="3468">
                    <a:moveTo>
                      <a:pt x="0" y="3468"/>
                    </a:moveTo>
                    <a:lnTo>
                      <a:pt x="0" y="3468"/>
                    </a:lnTo>
                    <a:lnTo>
                      <a:pt x="0" y="3468"/>
                    </a:lnTo>
                    <a:lnTo>
                      <a:pt x="0" y="3468"/>
                    </a:lnTo>
                    <a:lnTo>
                      <a:pt x="0" y="3468"/>
                    </a:lnTo>
                    <a:lnTo>
                      <a:pt x="0" y="3468"/>
                    </a:lnTo>
                    <a:lnTo>
                      <a:pt x="0" y="3468"/>
                    </a:lnTo>
                    <a:moveTo>
                      <a:pt x="0" y="3468"/>
                    </a:moveTo>
                    <a:lnTo>
                      <a:pt x="1258" y="0"/>
                    </a:lnTo>
                    <a:lnTo>
                      <a:pt x="3339" y="2815"/>
                    </a:lnTo>
                    <a:lnTo>
                      <a:pt x="0" y="3468"/>
                    </a:lnTo>
                    <a:moveTo>
                      <a:pt x="3339" y="2815"/>
                    </a:moveTo>
                    <a:lnTo>
                      <a:pt x="3339" y="2815"/>
                    </a:lnTo>
                    <a:lnTo>
                      <a:pt x="3339" y="2815"/>
                    </a:lnTo>
                    <a:moveTo>
                      <a:pt x="1258" y="0"/>
                    </a:moveTo>
                    <a:lnTo>
                      <a:pt x="1258" y="0"/>
                    </a:lnTo>
                    <a:lnTo>
                      <a:pt x="1258" y="1"/>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1" name="Freeform 399"/>
              <p:cNvSpPr>
                <a:spLocks/>
              </p:cNvSpPr>
              <p:nvPr/>
            </p:nvSpPr>
            <p:spPr bwMode="auto">
              <a:xfrm>
                <a:off x="-5465763" y="-3540126"/>
                <a:ext cx="1797050" cy="1555750"/>
              </a:xfrm>
              <a:custGeom>
                <a:avLst/>
                <a:gdLst>
                  <a:gd name="T0" fmla="*/ 566 w 1132"/>
                  <a:gd name="T1" fmla="*/ 980 h 980"/>
                  <a:gd name="T2" fmla="*/ 566 w 1132"/>
                  <a:gd name="T3" fmla="*/ 980 h 980"/>
                  <a:gd name="T4" fmla="*/ 0 w 1132"/>
                  <a:gd name="T5" fmla="*/ 0 h 980"/>
                  <a:gd name="T6" fmla="*/ 0 w 1132"/>
                  <a:gd name="T7" fmla="*/ 0 h 980"/>
                  <a:gd name="T8" fmla="*/ 1132 w 1132"/>
                  <a:gd name="T9" fmla="*/ 0 h 980"/>
                  <a:gd name="T10" fmla="*/ 566 w 1132"/>
                  <a:gd name="T11" fmla="*/ 980 h 980"/>
                </a:gdLst>
                <a:ahLst/>
                <a:cxnLst>
                  <a:cxn ang="0">
                    <a:pos x="T0" y="T1"/>
                  </a:cxn>
                  <a:cxn ang="0">
                    <a:pos x="T2" y="T3"/>
                  </a:cxn>
                  <a:cxn ang="0">
                    <a:pos x="T4" y="T5"/>
                  </a:cxn>
                  <a:cxn ang="0">
                    <a:pos x="T6" y="T7"/>
                  </a:cxn>
                  <a:cxn ang="0">
                    <a:pos x="T8" y="T9"/>
                  </a:cxn>
                  <a:cxn ang="0">
                    <a:pos x="T10" y="T11"/>
                  </a:cxn>
                </a:cxnLst>
                <a:rect l="0" t="0" r="r" b="b"/>
                <a:pathLst>
                  <a:path w="1132" h="980">
                    <a:moveTo>
                      <a:pt x="566" y="980"/>
                    </a:moveTo>
                    <a:lnTo>
                      <a:pt x="566" y="980"/>
                    </a:lnTo>
                    <a:lnTo>
                      <a:pt x="0" y="0"/>
                    </a:lnTo>
                    <a:lnTo>
                      <a:pt x="0" y="0"/>
                    </a:lnTo>
                    <a:lnTo>
                      <a:pt x="1132" y="0"/>
                    </a:lnTo>
                    <a:lnTo>
                      <a:pt x="566"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2" name="Freeform 400"/>
              <p:cNvSpPr>
                <a:spLocks/>
              </p:cNvSpPr>
              <p:nvPr/>
            </p:nvSpPr>
            <p:spPr bwMode="auto">
              <a:xfrm>
                <a:off x="-5465763" y="-354012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99D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3" name="Rectangle 401"/>
              <p:cNvSpPr>
                <a:spLocks noChangeArrowheads="1"/>
              </p:cNvSpPr>
              <p:nvPr/>
            </p:nvSpPr>
            <p:spPr bwMode="auto">
              <a:xfrm>
                <a:off x="-5465763" y="-3540126"/>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4" name="Freeform 402"/>
              <p:cNvSpPr>
                <a:spLocks noEditPoints="1"/>
              </p:cNvSpPr>
              <p:nvPr/>
            </p:nvSpPr>
            <p:spPr bwMode="auto">
              <a:xfrm>
                <a:off x="-4567238" y="-1984376"/>
                <a:ext cx="1585913" cy="2144713"/>
              </a:xfrm>
              <a:custGeom>
                <a:avLst/>
                <a:gdLst>
                  <a:gd name="T0" fmla="*/ 2081 w 2081"/>
                  <a:gd name="T1" fmla="*/ 2815 h 2815"/>
                  <a:gd name="T2" fmla="*/ 2081 w 2081"/>
                  <a:gd name="T3" fmla="*/ 2815 h 2815"/>
                  <a:gd name="T4" fmla="*/ 2081 w 2081"/>
                  <a:gd name="T5" fmla="*/ 2815 h 2815"/>
                  <a:gd name="T6" fmla="*/ 2081 w 2081"/>
                  <a:gd name="T7" fmla="*/ 2815 h 2815"/>
                  <a:gd name="T8" fmla="*/ 0 w 2081"/>
                  <a:gd name="T9" fmla="*/ 0 h 2815"/>
                  <a:gd name="T10" fmla="*/ 0 w 2081"/>
                  <a:gd name="T11" fmla="*/ 0 h 2815"/>
                  <a:gd name="T12" fmla="*/ 1627 w 2081"/>
                  <a:gd name="T13" fmla="*/ 645 h 2815"/>
                  <a:gd name="T14" fmla="*/ 2081 w 2081"/>
                  <a:gd name="T15" fmla="*/ 2815 h 28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1" h="2815">
                    <a:moveTo>
                      <a:pt x="2081" y="2815"/>
                    </a:moveTo>
                    <a:lnTo>
                      <a:pt x="2081" y="2815"/>
                    </a:lnTo>
                    <a:lnTo>
                      <a:pt x="2081" y="2815"/>
                    </a:lnTo>
                    <a:moveTo>
                      <a:pt x="2081" y="2815"/>
                    </a:moveTo>
                    <a:lnTo>
                      <a:pt x="0" y="0"/>
                    </a:lnTo>
                    <a:lnTo>
                      <a:pt x="0" y="0"/>
                    </a:lnTo>
                    <a:lnTo>
                      <a:pt x="1627" y="645"/>
                    </a:lnTo>
                    <a:lnTo>
                      <a:pt x="2081" y="2815"/>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5" name="Freeform 403"/>
              <p:cNvSpPr>
                <a:spLocks/>
              </p:cNvSpPr>
              <p:nvPr/>
            </p:nvSpPr>
            <p:spPr bwMode="auto">
              <a:xfrm>
                <a:off x="-4567238" y="-1984376"/>
                <a:ext cx="1585913" cy="2144713"/>
              </a:xfrm>
              <a:custGeom>
                <a:avLst/>
                <a:gdLst>
                  <a:gd name="T0" fmla="*/ 999 w 999"/>
                  <a:gd name="T1" fmla="*/ 1351 h 1351"/>
                  <a:gd name="T2" fmla="*/ 0 w 999"/>
                  <a:gd name="T3" fmla="*/ 0 h 1351"/>
                  <a:gd name="T4" fmla="*/ 0 w 999"/>
                  <a:gd name="T5" fmla="*/ 0 h 1351"/>
                  <a:gd name="T6" fmla="*/ 999 w 999"/>
                  <a:gd name="T7" fmla="*/ 1351 h 1351"/>
                  <a:gd name="T8" fmla="*/ 999 w 999"/>
                  <a:gd name="T9" fmla="*/ 1351 h 1351"/>
                  <a:gd name="T10" fmla="*/ 999 w 999"/>
                  <a:gd name="T11" fmla="*/ 1351 h 1351"/>
                </a:gdLst>
                <a:ahLst/>
                <a:cxnLst>
                  <a:cxn ang="0">
                    <a:pos x="T0" y="T1"/>
                  </a:cxn>
                  <a:cxn ang="0">
                    <a:pos x="T2" y="T3"/>
                  </a:cxn>
                  <a:cxn ang="0">
                    <a:pos x="T4" y="T5"/>
                  </a:cxn>
                  <a:cxn ang="0">
                    <a:pos x="T6" y="T7"/>
                  </a:cxn>
                  <a:cxn ang="0">
                    <a:pos x="T8" y="T9"/>
                  </a:cxn>
                  <a:cxn ang="0">
                    <a:pos x="T10" y="T11"/>
                  </a:cxn>
                </a:cxnLst>
                <a:rect l="0" t="0" r="r" b="b"/>
                <a:pathLst>
                  <a:path w="999" h="1351">
                    <a:moveTo>
                      <a:pt x="999" y="1351"/>
                    </a:moveTo>
                    <a:lnTo>
                      <a:pt x="0" y="0"/>
                    </a:lnTo>
                    <a:lnTo>
                      <a:pt x="0" y="0"/>
                    </a:lnTo>
                    <a:lnTo>
                      <a:pt x="999" y="1351"/>
                    </a:lnTo>
                    <a:lnTo>
                      <a:pt x="999" y="1351"/>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6" name="Rectangle 404"/>
              <p:cNvSpPr>
                <a:spLocks noChangeArrowheads="1"/>
              </p:cNvSpPr>
              <p:nvPr/>
            </p:nvSpPr>
            <p:spPr bwMode="auto">
              <a:xfrm>
                <a:off x="-4567238" y="-1984376"/>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7" name="Freeform 405"/>
              <p:cNvSpPr>
                <a:spLocks/>
              </p:cNvSpPr>
              <p:nvPr/>
            </p:nvSpPr>
            <p:spPr bwMode="auto">
              <a:xfrm>
                <a:off x="-5526088" y="-3540126"/>
                <a:ext cx="958850" cy="2135188"/>
              </a:xfrm>
              <a:custGeom>
                <a:avLst/>
                <a:gdLst>
                  <a:gd name="T0" fmla="*/ 0 w 604"/>
                  <a:gd name="T1" fmla="*/ 1345 h 1345"/>
                  <a:gd name="T2" fmla="*/ 1 w 604"/>
                  <a:gd name="T3" fmla="*/ 1294 h 1345"/>
                  <a:gd name="T4" fmla="*/ 38 w 604"/>
                  <a:gd name="T5" fmla="*/ 0 h 1345"/>
                  <a:gd name="T6" fmla="*/ 38 w 604"/>
                  <a:gd name="T7" fmla="*/ 0 h 1345"/>
                  <a:gd name="T8" fmla="*/ 38 w 604"/>
                  <a:gd name="T9" fmla="*/ 0 h 1345"/>
                  <a:gd name="T10" fmla="*/ 604 w 604"/>
                  <a:gd name="T11" fmla="*/ 980 h 1345"/>
                  <a:gd name="T12" fmla="*/ 0 w 604"/>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604" h="1345">
                    <a:moveTo>
                      <a:pt x="0" y="1345"/>
                    </a:moveTo>
                    <a:lnTo>
                      <a:pt x="1" y="1294"/>
                    </a:lnTo>
                    <a:lnTo>
                      <a:pt x="38" y="0"/>
                    </a:lnTo>
                    <a:lnTo>
                      <a:pt x="38" y="0"/>
                    </a:lnTo>
                    <a:lnTo>
                      <a:pt x="38" y="0"/>
                    </a:lnTo>
                    <a:lnTo>
                      <a:pt x="604" y="980"/>
                    </a:lnTo>
                    <a:lnTo>
                      <a:pt x="0" y="134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8" name="Freeform 406"/>
              <p:cNvSpPr>
                <a:spLocks/>
              </p:cNvSpPr>
              <p:nvPr/>
            </p:nvSpPr>
            <p:spPr bwMode="auto">
              <a:xfrm>
                <a:off x="-4567238" y="-3540126"/>
                <a:ext cx="1239838" cy="2046288"/>
              </a:xfrm>
              <a:custGeom>
                <a:avLst/>
                <a:gdLst>
                  <a:gd name="T0" fmla="*/ 781 w 781"/>
                  <a:gd name="T1" fmla="*/ 1289 h 1289"/>
                  <a:gd name="T2" fmla="*/ 0 w 781"/>
                  <a:gd name="T3" fmla="*/ 980 h 1289"/>
                  <a:gd name="T4" fmla="*/ 566 w 781"/>
                  <a:gd name="T5" fmla="*/ 0 h 1289"/>
                  <a:gd name="T6" fmla="*/ 716 w 781"/>
                  <a:gd name="T7" fmla="*/ 902 h 1289"/>
                  <a:gd name="T8" fmla="*/ 781 w 781"/>
                  <a:gd name="T9" fmla="*/ 1289 h 1289"/>
                </a:gdLst>
                <a:ahLst/>
                <a:cxnLst>
                  <a:cxn ang="0">
                    <a:pos x="T0" y="T1"/>
                  </a:cxn>
                  <a:cxn ang="0">
                    <a:pos x="T2" y="T3"/>
                  </a:cxn>
                  <a:cxn ang="0">
                    <a:pos x="T4" y="T5"/>
                  </a:cxn>
                  <a:cxn ang="0">
                    <a:pos x="T6" y="T7"/>
                  </a:cxn>
                  <a:cxn ang="0">
                    <a:pos x="T8" y="T9"/>
                  </a:cxn>
                </a:cxnLst>
                <a:rect l="0" t="0" r="r" b="b"/>
                <a:pathLst>
                  <a:path w="781" h="1289">
                    <a:moveTo>
                      <a:pt x="781" y="1289"/>
                    </a:moveTo>
                    <a:lnTo>
                      <a:pt x="0" y="980"/>
                    </a:lnTo>
                    <a:lnTo>
                      <a:pt x="566" y="0"/>
                    </a:lnTo>
                    <a:lnTo>
                      <a:pt x="716" y="902"/>
                    </a:lnTo>
                    <a:lnTo>
                      <a:pt x="781" y="128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9" name="Freeform 407"/>
              <p:cNvSpPr>
                <a:spLocks noEditPoints="1"/>
              </p:cNvSpPr>
              <p:nvPr/>
            </p:nvSpPr>
            <p:spPr bwMode="auto">
              <a:xfrm>
                <a:off x="-5526088" y="-1984376"/>
                <a:ext cx="958850" cy="2641600"/>
              </a:xfrm>
              <a:custGeom>
                <a:avLst/>
                <a:gdLst>
                  <a:gd name="T0" fmla="*/ 0 w 1258"/>
                  <a:gd name="T1" fmla="*/ 3467 h 3467"/>
                  <a:gd name="T2" fmla="*/ 0 w 1258"/>
                  <a:gd name="T3" fmla="*/ 3467 h 3467"/>
                  <a:gd name="T4" fmla="*/ 0 w 1258"/>
                  <a:gd name="T5" fmla="*/ 3467 h 3467"/>
                  <a:gd name="T6" fmla="*/ 0 w 1258"/>
                  <a:gd name="T7" fmla="*/ 3467 h 3467"/>
                  <a:gd name="T8" fmla="*/ 0 w 1258"/>
                  <a:gd name="T9" fmla="*/ 3467 h 3467"/>
                  <a:gd name="T10" fmla="*/ 0 w 1258"/>
                  <a:gd name="T11" fmla="*/ 760 h 3467"/>
                  <a:gd name="T12" fmla="*/ 1258 w 1258"/>
                  <a:gd name="T13" fmla="*/ 0 h 3467"/>
                  <a:gd name="T14" fmla="*/ 0 w 1258"/>
                  <a:gd name="T15" fmla="*/ 3467 h 3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8" h="3467">
                    <a:moveTo>
                      <a:pt x="0" y="3467"/>
                    </a:moveTo>
                    <a:lnTo>
                      <a:pt x="0" y="3467"/>
                    </a:lnTo>
                    <a:lnTo>
                      <a:pt x="0" y="3467"/>
                    </a:lnTo>
                    <a:lnTo>
                      <a:pt x="0" y="3467"/>
                    </a:lnTo>
                    <a:moveTo>
                      <a:pt x="0" y="3467"/>
                    </a:moveTo>
                    <a:lnTo>
                      <a:pt x="0" y="760"/>
                    </a:lnTo>
                    <a:lnTo>
                      <a:pt x="1258" y="0"/>
                    </a:lnTo>
                    <a:lnTo>
                      <a:pt x="0" y="3467"/>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0" name="Freeform 408"/>
              <p:cNvSpPr>
                <a:spLocks/>
              </p:cNvSpPr>
              <p:nvPr/>
            </p:nvSpPr>
            <p:spPr bwMode="auto">
              <a:xfrm>
                <a:off x="-5526088" y="-1984376"/>
                <a:ext cx="958850" cy="2641600"/>
              </a:xfrm>
              <a:custGeom>
                <a:avLst/>
                <a:gdLst>
                  <a:gd name="T0" fmla="*/ 0 w 604"/>
                  <a:gd name="T1" fmla="*/ 1664 h 1664"/>
                  <a:gd name="T2" fmla="*/ 0 w 604"/>
                  <a:gd name="T3" fmla="*/ 1664 h 1664"/>
                  <a:gd name="T4" fmla="*/ 604 w 604"/>
                  <a:gd name="T5" fmla="*/ 0 h 1664"/>
                  <a:gd name="T6" fmla="*/ 604 w 604"/>
                  <a:gd name="T7" fmla="*/ 0 h 1664"/>
                  <a:gd name="T8" fmla="*/ 604 w 604"/>
                  <a:gd name="T9" fmla="*/ 0 h 1664"/>
                  <a:gd name="T10" fmla="*/ 0 w 604"/>
                  <a:gd name="T11" fmla="*/ 1664 h 1664"/>
                  <a:gd name="T12" fmla="*/ 0 w 604"/>
                  <a:gd name="T13" fmla="*/ 1664 h 1664"/>
                </a:gdLst>
                <a:ahLst/>
                <a:cxnLst>
                  <a:cxn ang="0">
                    <a:pos x="T0" y="T1"/>
                  </a:cxn>
                  <a:cxn ang="0">
                    <a:pos x="T2" y="T3"/>
                  </a:cxn>
                  <a:cxn ang="0">
                    <a:pos x="T4" y="T5"/>
                  </a:cxn>
                  <a:cxn ang="0">
                    <a:pos x="T6" y="T7"/>
                  </a:cxn>
                  <a:cxn ang="0">
                    <a:pos x="T8" y="T9"/>
                  </a:cxn>
                  <a:cxn ang="0">
                    <a:pos x="T10" y="T11"/>
                  </a:cxn>
                  <a:cxn ang="0">
                    <a:pos x="T12" y="T13"/>
                  </a:cxn>
                </a:cxnLst>
                <a:rect l="0" t="0" r="r" b="b"/>
                <a:pathLst>
                  <a:path w="604" h="1664">
                    <a:moveTo>
                      <a:pt x="0" y="1664"/>
                    </a:moveTo>
                    <a:lnTo>
                      <a:pt x="0" y="1664"/>
                    </a:lnTo>
                    <a:lnTo>
                      <a:pt x="604" y="0"/>
                    </a:lnTo>
                    <a:lnTo>
                      <a:pt x="604" y="0"/>
                    </a:lnTo>
                    <a:lnTo>
                      <a:pt x="604" y="0"/>
                    </a:lnTo>
                    <a:lnTo>
                      <a:pt x="0" y="1664"/>
                    </a:lnTo>
                    <a:lnTo>
                      <a:pt x="0" y="166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1" name="Freeform 409"/>
              <p:cNvSpPr>
                <a:spLocks/>
              </p:cNvSpPr>
              <p:nvPr/>
            </p:nvSpPr>
            <p:spPr bwMode="auto">
              <a:xfrm>
                <a:off x="-4567238" y="-19843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2" name="Freeform 410"/>
              <p:cNvSpPr>
                <a:spLocks noEditPoints="1"/>
              </p:cNvSpPr>
              <p:nvPr/>
            </p:nvSpPr>
            <p:spPr bwMode="auto">
              <a:xfrm>
                <a:off x="-8159750" y="2682875"/>
                <a:ext cx="1141413" cy="1914525"/>
              </a:xfrm>
              <a:custGeom>
                <a:avLst/>
                <a:gdLst>
                  <a:gd name="T0" fmla="*/ 1498 w 1498"/>
                  <a:gd name="T1" fmla="*/ 2514 h 2514"/>
                  <a:gd name="T2" fmla="*/ 1 w 1498"/>
                  <a:gd name="T3" fmla="*/ 2041 h 2514"/>
                  <a:gd name="T4" fmla="*/ 0 w 1498"/>
                  <a:gd name="T5" fmla="*/ 2041 h 2514"/>
                  <a:gd name="T6" fmla="*/ 1 w 1498"/>
                  <a:gd name="T7" fmla="*/ 2041 h 2514"/>
                  <a:gd name="T8" fmla="*/ 1179 w 1498"/>
                  <a:gd name="T9" fmla="*/ 0 h 2514"/>
                  <a:gd name="T10" fmla="*/ 1179 w 1498"/>
                  <a:gd name="T11" fmla="*/ 0 h 2514"/>
                  <a:gd name="T12" fmla="*/ 1179 w 1498"/>
                  <a:gd name="T13" fmla="*/ 0 h 2514"/>
                  <a:gd name="T14" fmla="*/ 1179 w 1498"/>
                  <a:gd name="T15" fmla="*/ 0 h 2514"/>
                  <a:gd name="T16" fmla="*/ 1179 w 1498"/>
                  <a:gd name="T17" fmla="*/ 0 h 2514"/>
                  <a:gd name="T18" fmla="*/ 1234 w 1498"/>
                  <a:gd name="T19" fmla="*/ 432 h 2514"/>
                  <a:gd name="T20" fmla="*/ 1498 w 1498"/>
                  <a:gd name="T21" fmla="*/ 2514 h 2514"/>
                  <a:gd name="T22" fmla="*/ 1179 w 1498"/>
                  <a:gd name="T23" fmla="*/ 0 h 2514"/>
                  <a:gd name="T24" fmla="*/ 1179 w 1498"/>
                  <a:gd name="T25" fmla="*/ 0 h 2514"/>
                  <a:gd name="T26" fmla="*/ 1179 w 1498"/>
                  <a:gd name="T27"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8" h="2514">
                    <a:moveTo>
                      <a:pt x="1498" y="2514"/>
                    </a:moveTo>
                    <a:lnTo>
                      <a:pt x="1" y="2041"/>
                    </a:lnTo>
                    <a:lnTo>
                      <a:pt x="0" y="2041"/>
                    </a:lnTo>
                    <a:lnTo>
                      <a:pt x="1" y="2041"/>
                    </a:lnTo>
                    <a:lnTo>
                      <a:pt x="1179" y="0"/>
                    </a:lnTo>
                    <a:lnTo>
                      <a:pt x="1179" y="0"/>
                    </a:lnTo>
                    <a:lnTo>
                      <a:pt x="1179" y="0"/>
                    </a:lnTo>
                    <a:lnTo>
                      <a:pt x="1179" y="0"/>
                    </a:lnTo>
                    <a:lnTo>
                      <a:pt x="1179" y="0"/>
                    </a:lnTo>
                    <a:lnTo>
                      <a:pt x="1234" y="432"/>
                    </a:lnTo>
                    <a:lnTo>
                      <a:pt x="1498" y="2514"/>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3" name="Freeform 411"/>
              <p:cNvSpPr>
                <a:spLocks/>
              </p:cNvSpPr>
              <p:nvPr/>
            </p:nvSpPr>
            <p:spPr bwMode="auto">
              <a:xfrm>
                <a:off x="-8159750" y="1125537"/>
                <a:ext cx="1795463" cy="1557338"/>
              </a:xfrm>
              <a:custGeom>
                <a:avLst/>
                <a:gdLst>
                  <a:gd name="T0" fmla="*/ 566 w 1131"/>
                  <a:gd name="T1" fmla="*/ 981 h 981"/>
                  <a:gd name="T2" fmla="*/ 4 w 1131"/>
                  <a:gd name="T3" fmla="*/ 7 h 981"/>
                  <a:gd name="T4" fmla="*/ 0 w 1131"/>
                  <a:gd name="T5" fmla="*/ 0 h 981"/>
                  <a:gd name="T6" fmla="*/ 0 w 1131"/>
                  <a:gd name="T7" fmla="*/ 0 h 981"/>
                  <a:gd name="T8" fmla="*/ 0 w 1131"/>
                  <a:gd name="T9" fmla="*/ 0 h 981"/>
                  <a:gd name="T10" fmla="*/ 0 w 1131"/>
                  <a:gd name="T11" fmla="*/ 0 h 981"/>
                  <a:gd name="T12" fmla="*/ 1131 w 1131"/>
                  <a:gd name="T13" fmla="*/ 0 h 981"/>
                  <a:gd name="T14" fmla="*/ 566 w 1131"/>
                  <a:gd name="T15" fmla="*/ 981 h 9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981">
                    <a:moveTo>
                      <a:pt x="566" y="981"/>
                    </a:moveTo>
                    <a:lnTo>
                      <a:pt x="4" y="7"/>
                    </a:lnTo>
                    <a:lnTo>
                      <a:pt x="0" y="0"/>
                    </a:lnTo>
                    <a:lnTo>
                      <a:pt x="0" y="0"/>
                    </a:lnTo>
                    <a:lnTo>
                      <a:pt x="0" y="0"/>
                    </a:lnTo>
                    <a:lnTo>
                      <a:pt x="0" y="0"/>
                    </a:lnTo>
                    <a:lnTo>
                      <a:pt x="1131" y="0"/>
                    </a:lnTo>
                    <a:lnTo>
                      <a:pt x="566" y="98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4" name="Freeform 412"/>
              <p:cNvSpPr>
                <a:spLocks noEditPoints="1"/>
              </p:cNvSpPr>
              <p:nvPr/>
            </p:nvSpPr>
            <p:spPr bwMode="auto">
              <a:xfrm>
                <a:off x="-7261225" y="2655887"/>
                <a:ext cx="1047750" cy="1941513"/>
              </a:xfrm>
              <a:custGeom>
                <a:avLst/>
                <a:gdLst>
                  <a:gd name="T0" fmla="*/ 319 w 1375"/>
                  <a:gd name="T1" fmla="*/ 2549 h 2549"/>
                  <a:gd name="T2" fmla="*/ 55 w 1375"/>
                  <a:gd name="T3" fmla="*/ 467 h 2549"/>
                  <a:gd name="T4" fmla="*/ 0 w 1375"/>
                  <a:gd name="T5" fmla="*/ 35 h 2549"/>
                  <a:gd name="T6" fmla="*/ 1375 w 1375"/>
                  <a:gd name="T7" fmla="*/ 0 h 2549"/>
                  <a:gd name="T8" fmla="*/ 1375 w 1375"/>
                  <a:gd name="T9" fmla="*/ 0 h 2549"/>
                  <a:gd name="T10" fmla="*/ 319 w 1375"/>
                  <a:gd name="T11" fmla="*/ 2549 h 2549"/>
                  <a:gd name="T12" fmla="*/ 1375 w 1375"/>
                  <a:gd name="T13" fmla="*/ 0 h 2549"/>
                  <a:gd name="T14" fmla="*/ 1375 w 1375"/>
                  <a:gd name="T15" fmla="*/ 0 h 2549"/>
                  <a:gd name="T16" fmla="*/ 1375 w 1375"/>
                  <a:gd name="T17" fmla="*/ 0 h 2549"/>
                  <a:gd name="T18" fmla="*/ 1375 w 1375"/>
                  <a:gd name="T19" fmla="*/ 0 h 2549"/>
                  <a:gd name="T20" fmla="*/ 1375 w 1375"/>
                  <a:gd name="T21" fmla="*/ 0 h 2549"/>
                  <a:gd name="T22" fmla="*/ 1375 w 1375"/>
                  <a:gd name="T23" fmla="*/ 0 h 2549"/>
                  <a:gd name="T24" fmla="*/ 1375 w 1375"/>
                  <a:gd name="T25" fmla="*/ 0 h 2549"/>
                  <a:gd name="T26" fmla="*/ 1375 w 1375"/>
                  <a:gd name="T27" fmla="*/ 0 h 2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5" h="2549">
                    <a:moveTo>
                      <a:pt x="319" y="2549"/>
                    </a:moveTo>
                    <a:lnTo>
                      <a:pt x="55" y="467"/>
                    </a:lnTo>
                    <a:lnTo>
                      <a:pt x="0" y="35"/>
                    </a:lnTo>
                    <a:lnTo>
                      <a:pt x="1375" y="0"/>
                    </a:lnTo>
                    <a:lnTo>
                      <a:pt x="1375" y="0"/>
                    </a:lnTo>
                    <a:lnTo>
                      <a:pt x="319" y="2549"/>
                    </a:lnTo>
                    <a:moveTo>
                      <a:pt x="1375" y="0"/>
                    </a:moveTo>
                    <a:lnTo>
                      <a:pt x="1375" y="0"/>
                    </a:lnTo>
                    <a:lnTo>
                      <a:pt x="1375" y="0"/>
                    </a:lnTo>
                    <a:lnTo>
                      <a:pt x="1375" y="0"/>
                    </a:lnTo>
                    <a:moveTo>
                      <a:pt x="1375" y="0"/>
                    </a:moveTo>
                    <a:lnTo>
                      <a:pt x="1375" y="0"/>
                    </a:lnTo>
                    <a:lnTo>
                      <a:pt x="1375" y="0"/>
                    </a:lnTo>
                    <a:lnTo>
                      <a:pt x="1375"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5" name="Freeform 413"/>
              <p:cNvSpPr>
                <a:spLocks noEditPoints="1"/>
              </p:cNvSpPr>
              <p:nvPr/>
            </p:nvSpPr>
            <p:spPr bwMode="auto">
              <a:xfrm>
                <a:off x="-9488488" y="1125537"/>
                <a:ext cx="2227263" cy="2085975"/>
              </a:xfrm>
              <a:custGeom>
                <a:avLst/>
                <a:gdLst>
                  <a:gd name="T0" fmla="*/ 0 w 2922"/>
                  <a:gd name="T1" fmla="*/ 2737 h 2737"/>
                  <a:gd name="T2" fmla="*/ 0 w 2922"/>
                  <a:gd name="T3" fmla="*/ 2737 h 2737"/>
                  <a:gd name="T4" fmla="*/ 0 w 2922"/>
                  <a:gd name="T5" fmla="*/ 2737 h 2737"/>
                  <a:gd name="T6" fmla="*/ 0 w 2922"/>
                  <a:gd name="T7" fmla="*/ 2737 h 2737"/>
                  <a:gd name="T8" fmla="*/ 1744 w 2922"/>
                  <a:gd name="T9" fmla="*/ 0 h 2737"/>
                  <a:gd name="T10" fmla="*/ 1752 w 2922"/>
                  <a:gd name="T11" fmla="*/ 14 h 2737"/>
                  <a:gd name="T12" fmla="*/ 2922 w 2922"/>
                  <a:gd name="T13" fmla="*/ 2042 h 2737"/>
                  <a:gd name="T14" fmla="*/ 2922 w 2922"/>
                  <a:gd name="T15" fmla="*/ 2042 h 2737"/>
                  <a:gd name="T16" fmla="*/ 0 w 2922"/>
                  <a:gd name="T17" fmla="*/ 2737 h 2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22" h="2737">
                    <a:moveTo>
                      <a:pt x="0" y="2737"/>
                    </a:moveTo>
                    <a:lnTo>
                      <a:pt x="0" y="2737"/>
                    </a:lnTo>
                    <a:lnTo>
                      <a:pt x="0" y="2737"/>
                    </a:lnTo>
                    <a:moveTo>
                      <a:pt x="0" y="2737"/>
                    </a:moveTo>
                    <a:lnTo>
                      <a:pt x="1744" y="0"/>
                    </a:lnTo>
                    <a:lnTo>
                      <a:pt x="1752" y="14"/>
                    </a:lnTo>
                    <a:lnTo>
                      <a:pt x="2922" y="2042"/>
                    </a:lnTo>
                    <a:lnTo>
                      <a:pt x="2922" y="2042"/>
                    </a:lnTo>
                    <a:lnTo>
                      <a:pt x="0" y="2737"/>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6" name="Freeform 414"/>
              <p:cNvSpPr>
                <a:spLocks/>
              </p:cNvSpPr>
              <p:nvPr/>
            </p:nvSpPr>
            <p:spPr bwMode="auto">
              <a:xfrm>
                <a:off x="-7261225" y="1125537"/>
                <a:ext cx="1047750" cy="1557338"/>
              </a:xfrm>
              <a:custGeom>
                <a:avLst/>
                <a:gdLst>
                  <a:gd name="T0" fmla="*/ 0 w 660"/>
                  <a:gd name="T1" fmla="*/ 981 h 981"/>
                  <a:gd name="T2" fmla="*/ 0 w 660"/>
                  <a:gd name="T3" fmla="*/ 981 h 981"/>
                  <a:gd name="T4" fmla="*/ 565 w 660"/>
                  <a:gd name="T5" fmla="*/ 0 h 981"/>
                  <a:gd name="T6" fmla="*/ 565 w 660"/>
                  <a:gd name="T7" fmla="*/ 0 h 981"/>
                  <a:gd name="T8" fmla="*/ 565 w 660"/>
                  <a:gd name="T9" fmla="*/ 0 h 981"/>
                  <a:gd name="T10" fmla="*/ 660 w 660"/>
                  <a:gd name="T11" fmla="*/ 963 h 981"/>
                  <a:gd name="T12" fmla="*/ 660 w 660"/>
                  <a:gd name="T13" fmla="*/ 963 h 981"/>
                  <a:gd name="T14" fmla="*/ 660 w 660"/>
                  <a:gd name="T15" fmla="*/ 964 h 981"/>
                  <a:gd name="T16" fmla="*/ 660 w 660"/>
                  <a:gd name="T17" fmla="*/ 964 h 981"/>
                  <a:gd name="T18" fmla="*/ 0 w 660"/>
                  <a:gd name="T19" fmla="*/ 981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0" h="981">
                    <a:moveTo>
                      <a:pt x="0" y="981"/>
                    </a:moveTo>
                    <a:lnTo>
                      <a:pt x="0" y="981"/>
                    </a:lnTo>
                    <a:lnTo>
                      <a:pt x="565" y="0"/>
                    </a:lnTo>
                    <a:lnTo>
                      <a:pt x="565" y="0"/>
                    </a:lnTo>
                    <a:lnTo>
                      <a:pt x="565" y="0"/>
                    </a:lnTo>
                    <a:lnTo>
                      <a:pt x="660" y="963"/>
                    </a:lnTo>
                    <a:lnTo>
                      <a:pt x="660" y="963"/>
                    </a:lnTo>
                    <a:lnTo>
                      <a:pt x="660" y="964"/>
                    </a:lnTo>
                    <a:lnTo>
                      <a:pt x="660" y="964"/>
                    </a:lnTo>
                    <a:lnTo>
                      <a:pt x="0"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7" name="Freeform 415"/>
              <p:cNvSpPr>
                <a:spLocks/>
              </p:cNvSpPr>
              <p:nvPr/>
            </p:nvSpPr>
            <p:spPr bwMode="auto">
              <a:xfrm>
                <a:off x="-9488488" y="2682875"/>
                <a:ext cx="2227263" cy="1554163"/>
              </a:xfrm>
              <a:custGeom>
                <a:avLst/>
                <a:gdLst>
                  <a:gd name="T0" fmla="*/ 1744 w 2922"/>
                  <a:gd name="T1" fmla="*/ 2041 h 2041"/>
                  <a:gd name="T2" fmla="*/ 0 w 2922"/>
                  <a:gd name="T3" fmla="*/ 695 h 2041"/>
                  <a:gd name="T4" fmla="*/ 2922 w 2922"/>
                  <a:gd name="T5" fmla="*/ 0 h 2041"/>
                  <a:gd name="T6" fmla="*/ 1743 w 2922"/>
                  <a:gd name="T7" fmla="*/ 2041 h 2041"/>
                </a:gdLst>
                <a:ahLst/>
                <a:cxnLst>
                  <a:cxn ang="0">
                    <a:pos x="T0" y="T1"/>
                  </a:cxn>
                  <a:cxn ang="0">
                    <a:pos x="T2" y="T3"/>
                  </a:cxn>
                  <a:cxn ang="0">
                    <a:pos x="T4" y="T5"/>
                  </a:cxn>
                  <a:cxn ang="0">
                    <a:pos x="T6" y="T7"/>
                  </a:cxn>
                </a:cxnLst>
                <a:rect l="0" t="0" r="r" b="b"/>
                <a:pathLst>
                  <a:path w="2922" h="2041">
                    <a:moveTo>
                      <a:pt x="1744" y="2041"/>
                    </a:moveTo>
                    <a:lnTo>
                      <a:pt x="0" y="695"/>
                    </a:lnTo>
                    <a:lnTo>
                      <a:pt x="2922" y="0"/>
                    </a:lnTo>
                    <a:lnTo>
                      <a:pt x="1743" y="204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8" name="Freeform 416"/>
              <p:cNvSpPr>
                <a:spLocks/>
              </p:cNvSpPr>
              <p:nvPr/>
            </p:nvSpPr>
            <p:spPr bwMode="auto">
              <a:xfrm>
                <a:off x="-8159750" y="2682875"/>
                <a:ext cx="898525" cy="1554163"/>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9" name="Freeform 417"/>
              <p:cNvSpPr>
                <a:spLocks/>
              </p:cNvSpPr>
              <p:nvPr/>
            </p:nvSpPr>
            <p:spPr bwMode="auto">
              <a:xfrm>
                <a:off x="-9488488" y="2682875"/>
                <a:ext cx="2227263" cy="528638"/>
              </a:xfrm>
              <a:custGeom>
                <a:avLst/>
                <a:gdLst>
                  <a:gd name="T0" fmla="*/ 0 w 1403"/>
                  <a:gd name="T1" fmla="*/ 333 h 333"/>
                  <a:gd name="T2" fmla="*/ 0 w 1403"/>
                  <a:gd name="T3" fmla="*/ 333 h 333"/>
                  <a:gd name="T4" fmla="*/ 1403 w 1403"/>
                  <a:gd name="T5" fmla="*/ 0 h 333"/>
                  <a:gd name="T6" fmla="*/ 1403 w 1403"/>
                  <a:gd name="T7" fmla="*/ 0 h 333"/>
                  <a:gd name="T8" fmla="*/ 0 w 1403"/>
                  <a:gd name="T9" fmla="*/ 333 h 333"/>
                </a:gdLst>
                <a:ahLst/>
                <a:cxnLst>
                  <a:cxn ang="0">
                    <a:pos x="T0" y="T1"/>
                  </a:cxn>
                  <a:cxn ang="0">
                    <a:pos x="T2" y="T3"/>
                  </a:cxn>
                  <a:cxn ang="0">
                    <a:pos x="T4" y="T5"/>
                  </a:cxn>
                  <a:cxn ang="0">
                    <a:pos x="T6" y="T7"/>
                  </a:cxn>
                  <a:cxn ang="0">
                    <a:pos x="T8" y="T9"/>
                  </a:cxn>
                </a:cxnLst>
                <a:rect l="0" t="0" r="r" b="b"/>
                <a:pathLst>
                  <a:path w="1403" h="333">
                    <a:moveTo>
                      <a:pt x="0" y="333"/>
                    </a:moveTo>
                    <a:lnTo>
                      <a:pt x="0" y="333"/>
                    </a:lnTo>
                    <a:lnTo>
                      <a:pt x="1403" y="0"/>
                    </a:lnTo>
                    <a:lnTo>
                      <a:pt x="1403" y="0"/>
                    </a:lnTo>
                    <a:lnTo>
                      <a:pt x="0" y="3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0" name="Freeform 418"/>
              <p:cNvSpPr>
                <a:spLocks noEditPoints="1"/>
              </p:cNvSpPr>
              <p:nvPr/>
            </p:nvSpPr>
            <p:spPr bwMode="auto">
              <a:xfrm>
                <a:off x="-6213475" y="1125537"/>
                <a:ext cx="1800225" cy="1987550"/>
              </a:xfrm>
              <a:custGeom>
                <a:avLst/>
                <a:gdLst>
                  <a:gd name="T0" fmla="*/ 2364 w 2364"/>
                  <a:gd name="T1" fmla="*/ 2608 h 2608"/>
                  <a:gd name="T2" fmla="*/ 0 w 2364"/>
                  <a:gd name="T3" fmla="*/ 2007 h 2608"/>
                  <a:gd name="T4" fmla="*/ 0 w 2364"/>
                  <a:gd name="T5" fmla="*/ 2006 h 2608"/>
                  <a:gd name="T6" fmla="*/ 0 w 2364"/>
                  <a:gd name="T7" fmla="*/ 2006 h 2608"/>
                  <a:gd name="T8" fmla="*/ 0 w 2364"/>
                  <a:gd name="T9" fmla="*/ 2006 h 2608"/>
                  <a:gd name="T10" fmla="*/ 2161 w 2364"/>
                  <a:gd name="T11" fmla="*/ 0 h 2608"/>
                  <a:gd name="T12" fmla="*/ 2364 w 2364"/>
                  <a:gd name="T13" fmla="*/ 2608 h 2608"/>
                  <a:gd name="T14" fmla="*/ 2161 w 2364"/>
                  <a:gd name="T15" fmla="*/ 0 h 2608"/>
                  <a:gd name="T16" fmla="*/ 2161 w 2364"/>
                  <a:gd name="T17" fmla="*/ 0 h 2608"/>
                  <a:gd name="T18" fmla="*/ 2161 w 2364"/>
                  <a:gd name="T19" fmla="*/ 0 h 2608"/>
                  <a:gd name="T20" fmla="*/ 2161 w 2364"/>
                  <a:gd name="T21" fmla="*/ 0 h 2608"/>
                  <a:gd name="T22" fmla="*/ 2161 w 2364"/>
                  <a:gd name="T23" fmla="*/ 0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64" h="2608">
                    <a:moveTo>
                      <a:pt x="2364" y="2608"/>
                    </a:moveTo>
                    <a:lnTo>
                      <a:pt x="0" y="2007"/>
                    </a:lnTo>
                    <a:lnTo>
                      <a:pt x="0" y="2006"/>
                    </a:lnTo>
                    <a:lnTo>
                      <a:pt x="0" y="2006"/>
                    </a:lnTo>
                    <a:lnTo>
                      <a:pt x="0" y="2006"/>
                    </a:lnTo>
                    <a:lnTo>
                      <a:pt x="2161" y="0"/>
                    </a:lnTo>
                    <a:lnTo>
                      <a:pt x="2364" y="2608"/>
                    </a:lnTo>
                    <a:moveTo>
                      <a:pt x="2161" y="0"/>
                    </a:moveTo>
                    <a:lnTo>
                      <a:pt x="2161" y="0"/>
                    </a:lnTo>
                    <a:lnTo>
                      <a:pt x="2161" y="0"/>
                    </a:lnTo>
                    <a:lnTo>
                      <a:pt x="2161" y="0"/>
                    </a:lnTo>
                    <a:lnTo>
                      <a:pt x="2161" y="0"/>
                    </a:lnTo>
                  </a:path>
                </a:pathLst>
              </a:custGeom>
              <a:solidFill>
                <a:srgbClr val="59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1" name="Rectangle 419"/>
              <p:cNvSpPr>
                <a:spLocks noChangeArrowheads="1"/>
              </p:cNvSpPr>
              <p:nvPr/>
            </p:nvSpPr>
            <p:spPr bwMode="auto">
              <a:xfrm>
                <a:off x="-6213475" y="2654300"/>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2" name="Freeform 420"/>
              <p:cNvSpPr>
                <a:spLocks/>
              </p:cNvSpPr>
              <p:nvPr/>
            </p:nvSpPr>
            <p:spPr bwMode="auto">
              <a:xfrm>
                <a:off x="-5526088" y="160337"/>
                <a:ext cx="2544763" cy="965200"/>
              </a:xfrm>
              <a:custGeom>
                <a:avLst/>
                <a:gdLst>
                  <a:gd name="T0" fmla="*/ 604 w 1603"/>
                  <a:gd name="T1" fmla="*/ 608 h 608"/>
                  <a:gd name="T2" fmla="*/ 62 w 1603"/>
                  <a:gd name="T3" fmla="*/ 344 h 608"/>
                  <a:gd name="T4" fmla="*/ 0 w 1603"/>
                  <a:gd name="T5" fmla="*/ 313 h 608"/>
                  <a:gd name="T6" fmla="*/ 0 w 1603"/>
                  <a:gd name="T7" fmla="*/ 313 h 608"/>
                  <a:gd name="T8" fmla="*/ 1603 w 1603"/>
                  <a:gd name="T9" fmla="*/ 0 h 608"/>
                  <a:gd name="T10" fmla="*/ 1508 w 1603"/>
                  <a:gd name="T11" fmla="*/ 57 h 608"/>
                  <a:gd name="T12" fmla="*/ 604 w 1603"/>
                  <a:gd name="T13" fmla="*/ 608 h 608"/>
                </a:gdLst>
                <a:ahLst/>
                <a:cxnLst>
                  <a:cxn ang="0">
                    <a:pos x="T0" y="T1"/>
                  </a:cxn>
                  <a:cxn ang="0">
                    <a:pos x="T2" y="T3"/>
                  </a:cxn>
                  <a:cxn ang="0">
                    <a:pos x="T4" y="T5"/>
                  </a:cxn>
                  <a:cxn ang="0">
                    <a:pos x="T6" y="T7"/>
                  </a:cxn>
                  <a:cxn ang="0">
                    <a:pos x="T8" y="T9"/>
                  </a:cxn>
                  <a:cxn ang="0">
                    <a:pos x="T10" y="T11"/>
                  </a:cxn>
                  <a:cxn ang="0">
                    <a:pos x="T12" y="T13"/>
                  </a:cxn>
                </a:cxnLst>
                <a:rect l="0" t="0" r="r" b="b"/>
                <a:pathLst>
                  <a:path w="1603" h="608">
                    <a:moveTo>
                      <a:pt x="604" y="608"/>
                    </a:moveTo>
                    <a:lnTo>
                      <a:pt x="62" y="344"/>
                    </a:lnTo>
                    <a:lnTo>
                      <a:pt x="0" y="313"/>
                    </a:lnTo>
                    <a:lnTo>
                      <a:pt x="0" y="313"/>
                    </a:lnTo>
                    <a:lnTo>
                      <a:pt x="1603" y="0"/>
                    </a:lnTo>
                    <a:lnTo>
                      <a:pt x="1508" y="57"/>
                    </a:lnTo>
                    <a:lnTo>
                      <a:pt x="604" y="608"/>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3" name="Freeform 421"/>
              <p:cNvSpPr>
                <a:spLocks/>
              </p:cNvSpPr>
              <p:nvPr/>
            </p:nvSpPr>
            <p:spPr bwMode="auto">
              <a:xfrm>
                <a:off x="-5526088" y="65722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89C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4" name="Freeform 422"/>
              <p:cNvSpPr>
                <a:spLocks/>
              </p:cNvSpPr>
              <p:nvPr/>
            </p:nvSpPr>
            <p:spPr bwMode="auto">
              <a:xfrm>
                <a:off x="-4567238" y="1125537"/>
                <a:ext cx="1795463" cy="1987550"/>
              </a:xfrm>
              <a:custGeom>
                <a:avLst/>
                <a:gdLst>
                  <a:gd name="T0" fmla="*/ 97 w 1131"/>
                  <a:gd name="T1" fmla="*/ 1252 h 1252"/>
                  <a:gd name="T2" fmla="*/ 97 w 1131"/>
                  <a:gd name="T3" fmla="*/ 1252 h 1252"/>
                  <a:gd name="T4" fmla="*/ 0 w 1131"/>
                  <a:gd name="T5" fmla="*/ 0 h 1252"/>
                  <a:gd name="T6" fmla="*/ 0 w 1131"/>
                  <a:gd name="T7" fmla="*/ 0 h 1252"/>
                  <a:gd name="T8" fmla="*/ 1131 w 1131"/>
                  <a:gd name="T9" fmla="*/ 0 h 1252"/>
                  <a:gd name="T10" fmla="*/ 97 w 1131"/>
                  <a:gd name="T11" fmla="*/ 1252 h 1252"/>
                  <a:gd name="T12" fmla="*/ 97 w 1131"/>
                  <a:gd name="T13" fmla="*/ 1252 h 1252"/>
                  <a:gd name="T14" fmla="*/ 97 w 1131"/>
                  <a:gd name="T15" fmla="*/ 1252 h 1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1252">
                    <a:moveTo>
                      <a:pt x="97" y="1252"/>
                    </a:moveTo>
                    <a:lnTo>
                      <a:pt x="97" y="1252"/>
                    </a:lnTo>
                    <a:lnTo>
                      <a:pt x="0" y="0"/>
                    </a:lnTo>
                    <a:lnTo>
                      <a:pt x="0" y="0"/>
                    </a:lnTo>
                    <a:lnTo>
                      <a:pt x="1131" y="0"/>
                    </a:lnTo>
                    <a:lnTo>
                      <a:pt x="97" y="1252"/>
                    </a:lnTo>
                    <a:lnTo>
                      <a:pt x="97" y="1252"/>
                    </a:lnTo>
                    <a:lnTo>
                      <a:pt x="97" y="1252"/>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5" name="Freeform 423"/>
              <p:cNvSpPr>
                <a:spLocks/>
              </p:cNvSpPr>
              <p:nvPr/>
            </p:nvSpPr>
            <p:spPr bwMode="auto">
              <a:xfrm>
                <a:off x="-4567238" y="1125537"/>
                <a:ext cx="153988" cy="1987550"/>
              </a:xfrm>
              <a:custGeom>
                <a:avLst/>
                <a:gdLst>
                  <a:gd name="T0" fmla="*/ 97 w 97"/>
                  <a:gd name="T1" fmla="*/ 1252 h 1252"/>
                  <a:gd name="T2" fmla="*/ 97 w 97"/>
                  <a:gd name="T3" fmla="*/ 1252 h 1252"/>
                  <a:gd name="T4" fmla="*/ 0 w 97"/>
                  <a:gd name="T5" fmla="*/ 0 h 1252"/>
                  <a:gd name="T6" fmla="*/ 0 w 97"/>
                  <a:gd name="T7" fmla="*/ 0 h 1252"/>
                  <a:gd name="T8" fmla="*/ 97 w 97"/>
                  <a:gd name="T9" fmla="*/ 1252 h 1252"/>
                </a:gdLst>
                <a:ahLst/>
                <a:cxnLst>
                  <a:cxn ang="0">
                    <a:pos x="T0" y="T1"/>
                  </a:cxn>
                  <a:cxn ang="0">
                    <a:pos x="T2" y="T3"/>
                  </a:cxn>
                  <a:cxn ang="0">
                    <a:pos x="T4" y="T5"/>
                  </a:cxn>
                  <a:cxn ang="0">
                    <a:pos x="T6" y="T7"/>
                  </a:cxn>
                  <a:cxn ang="0">
                    <a:pos x="T8" y="T9"/>
                  </a:cxn>
                </a:cxnLst>
                <a:rect l="0" t="0" r="r" b="b"/>
                <a:pathLst>
                  <a:path w="97" h="1252">
                    <a:moveTo>
                      <a:pt x="97" y="1252"/>
                    </a:moveTo>
                    <a:lnTo>
                      <a:pt x="97" y="1252"/>
                    </a:lnTo>
                    <a:lnTo>
                      <a:pt x="0" y="0"/>
                    </a:lnTo>
                    <a:lnTo>
                      <a:pt x="0" y="0"/>
                    </a:lnTo>
                    <a:lnTo>
                      <a:pt x="97" y="1252"/>
                    </a:lnTo>
                    <a:close/>
                  </a:path>
                </a:pathLst>
              </a:custGeom>
              <a:solidFill>
                <a:srgbClr val="5BA2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6" name="Freeform 424"/>
              <p:cNvSpPr>
                <a:spLocks noEditPoints="1"/>
              </p:cNvSpPr>
              <p:nvPr/>
            </p:nvSpPr>
            <p:spPr bwMode="auto">
              <a:xfrm>
                <a:off x="-6364288" y="657225"/>
                <a:ext cx="1797050" cy="468313"/>
              </a:xfrm>
              <a:custGeom>
                <a:avLst/>
                <a:gdLst>
                  <a:gd name="T0" fmla="*/ 0 w 2357"/>
                  <a:gd name="T1" fmla="*/ 615 h 615"/>
                  <a:gd name="T2" fmla="*/ 0 w 2357"/>
                  <a:gd name="T3" fmla="*/ 615 h 615"/>
                  <a:gd name="T4" fmla="*/ 0 w 2357"/>
                  <a:gd name="T5" fmla="*/ 615 h 615"/>
                  <a:gd name="T6" fmla="*/ 0 w 2357"/>
                  <a:gd name="T7" fmla="*/ 615 h 615"/>
                  <a:gd name="T8" fmla="*/ 0 w 2357"/>
                  <a:gd name="T9" fmla="*/ 615 h 615"/>
                  <a:gd name="T10" fmla="*/ 2357 w 2357"/>
                  <a:gd name="T11" fmla="*/ 615 h 615"/>
                  <a:gd name="T12" fmla="*/ 0 w 2357"/>
                  <a:gd name="T13" fmla="*/ 615 h 615"/>
                  <a:gd name="T14" fmla="*/ 833 w 2357"/>
                  <a:gd name="T15" fmla="*/ 149 h 615"/>
                  <a:gd name="T16" fmla="*/ 1099 w 2357"/>
                  <a:gd name="T17" fmla="*/ 0 h 615"/>
                  <a:gd name="T18" fmla="*/ 1228 w 2357"/>
                  <a:gd name="T19" fmla="*/ 64 h 615"/>
                  <a:gd name="T20" fmla="*/ 2357 w 2357"/>
                  <a:gd name="T21" fmla="*/ 615 h 615"/>
                  <a:gd name="T22" fmla="*/ 2357 w 2357"/>
                  <a:gd name="T23"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7" h="615">
                    <a:moveTo>
                      <a:pt x="0" y="615"/>
                    </a:moveTo>
                    <a:lnTo>
                      <a:pt x="0" y="615"/>
                    </a:lnTo>
                    <a:lnTo>
                      <a:pt x="0" y="615"/>
                    </a:lnTo>
                    <a:lnTo>
                      <a:pt x="0" y="615"/>
                    </a:lnTo>
                    <a:lnTo>
                      <a:pt x="0" y="615"/>
                    </a:lnTo>
                    <a:moveTo>
                      <a:pt x="2357" y="615"/>
                    </a:moveTo>
                    <a:lnTo>
                      <a:pt x="0" y="615"/>
                    </a:lnTo>
                    <a:lnTo>
                      <a:pt x="833" y="149"/>
                    </a:lnTo>
                    <a:lnTo>
                      <a:pt x="1099" y="0"/>
                    </a:lnTo>
                    <a:lnTo>
                      <a:pt x="1228" y="64"/>
                    </a:lnTo>
                    <a:lnTo>
                      <a:pt x="2357" y="615"/>
                    </a:lnTo>
                    <a:lnTo>
                      <a:pt x="2357" y="615"/>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7" name="Freeform 425"/>
              <p:cNvSpPr>
                <a:spLocks/>
              </p:cNvSpPr>
              <p:nvPr/>
            </p:nvSpPr>
            <p:spPr bwMode="auto">
              <a:xfrm>
                <a:off x="-5729288" y="657225"/>
                <a:ext cx="203200" cy="114300"/>
              </a:xfrm>
              <a:custGeom>
                <a:avLst/>
                <a:gdLst>
                  <a:gd name="T0" fmla="*/ 0 w 128"/>
                  <a:gd name="T1" fmla="*/ 72 h 72"/>
                  <a:gd name="T2" fmla="*/ 128 w 128"/>
                  <a:gd name="T3" fmla="*/ 0 h 72"/>
                  <a:gd name="T4" fmla="*/ 128 w 128"/>
                  <a:gd name="T5" fmla="*/ 0 h 72"/>
                  <a:gd name="T6" fmla="*/ 0 w 128"/>
                  <a:gd name="T7" fmla="*/ 72 h 72"/>
                </a:gdLst>
                <a:ahLst/>
                <a:cxnLst>
                  <a:cxn ang="0">
                    <a:pos x="T0" y="T1"/>
                  </a:cxn>
                  <a:cxn ang="0">
                    <a:pos x="T2" y="T3"/>
                  </a:cxn>
                  <a:cxn ang="0">
                    <a:pos x="T4" y="T5"/>
                  </a:cxn>
                  <a:cxn ang="0">
                    <a:pos x="T6" y="T7"/>
                  </a:cxn>
                </a:cxnLst>
                <a:rect l="0" t="0" r="r" b="b"/>
                <a:pathLst>
                  <a:path w="128" h="72">
                    <a:moveTo>
                      <a:pt x="0" y="72"/>
                    </a:moveTo>
                    <a:lnTo>
                      <a:pt x="128" y="0"/>
                    </a:lnTo>
                    <a:lnTo>
                      <a:pt x="128" y="0"/>
                    </a:lnTo>
                    <a:lnTo>
                      <a:pt x="0" y="72"/>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8" name="Freeform 426"/>
              <p:cNvSpPr>
                <a:spLocks/>
              </p:cNvSpPr>
              <p:nvPr/>
            </p:nvSpPr>
            <p:spPr bwMode="auto">
              <a:xfrm>
                <a:off x="-5526088" y="657225"/>
                <a:ext cx="98425" cy="49213"/>
              </a:xfrm>
              <a:custGeom>
                <a:avLst/>
                <a:gdLst>
                  <a:gd name="T0" fmla="*/ 62 w 62"/>
                  <a:gd name="T1" fmla="*/ 31 h 31"/>
                  <a:gd name="T2" fmla="*/ 0 w 62"/>
                  <a:gd name="T3" fmla="*/ 0 h 31"/>
                  <a:gd name="T4" fmla="*/ 0 w 62"/>
                  <a:gd name="T5" fmla="*/ 0 h 31"/>
                  <a:gd name="T6" fmla="*/ 62 w 62"/>
                  <a:gd name="T7" fmla="*/ 31 h 31"/>
                </a:gdLst>
                <a:ahLst/>
                <a:cxnLst>
                  <a:cxn ang="0">
                    <a:pos x="T0" y="T1"/>
                  </a:cxn>
                  <a:cxn ang="0">
                    <a:pos x="T2" y="T3"/>
                  </a:cxn>
                  <a:cxn ang="0">
                    <a:pos x="T4" y="T5"/>
                  </a:cxn>
                  <a:cxn ang="0">
                    <a:pos x="T6" y="T7"/>
                  </a:cxn>
                </a:cxnLst>
                <a:rect l="0" t="0" r="r" b="b"/>
                <a:pathLst>
                  <a:path w="62" h="31">
                    <a:moveTo>
                      <a:pt x="62" y="31"/>
                    </a:moveTo>
                    <a:lnTo>
                      <a:pt x="0" y="0"/>
                    </a:lnTo>
                    <a:lnTo>
                      <a:pt x="0" y="0"/>
                    </a:lnTo>
                    <a:lnTo>
                      <a:pt x="62" y="31"/>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9" name="Rectangle 427"/>
              <p:cNvSpPr>
                <a:spLocks noChangeArrowheads="1"/>
              </p:cNvSpPr>
              <p:nvPr/>
            </p:nvSpPr>
            <p:spPr bwMode="auto">
              <a:xfrm>
                <a:off x="-5526088" y="657225"/>
                <a:ext cx="1588" cy="1588"/>
              </a:xfrm>
              <a:prstGeom prst="rect">
                <a:avLst/>
              </a:prstGeom>
              <a:solidFill>
                <a:srgbClr val="589CBB"/>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0" name="Freeform 428"/>
              <p:cNvSpPr>
                <a:spLocks/>
              </p:cNvSpPr>
              <p:nvPr/>
            </p:nvSpPr>
            <p:spPr bwMode="auto">
              <a:xfrm>
                <a:off x="-4567238" y="160337"/>
                <a:ext cx="1795463" cy="965200"/>
              </a:xfrm>
              <a:custGeom>
                <a:avLst/>
                <a:gdLst>
                  <a:gd name="T0" fmla="*/ 0 w 1131"/>
                  <a:gd name="T1" fmla="*/ 608 h 608"/>
                  <a:gd name="T2" fmla="*/ 0 w 1131"/>
                  <a:gd name="T3" fmla="*/ 608 h 608"/>
                  <a:gd name="T4" fmla="*/ 904 w 1131"/>
                  <a:gd name="T5" fmla="*/ 57 h 608"/>
                  <a:gd name="T6" fmla="*/ 999 w 1131"/>
                  <a:gd name="T7" fmla="*/ 0 h 608"/>
                  <a:gd name="T8" fmla="*/ 999 w 1131"/>
                  <a:gd name="T9" fmla="*/ 0 h 608"/>
                  <a:gd name="T10" fmla="*/ 1077 w 1131"/>
                  <a:gd name="T11" fmla="*/ 359 h 608"/>
                  <a:gd name="T12" fmla="*/ 1131 w 1131"/>
                  <a:gd name="T13" fmla="*/ 608 h 608"/>
                  <a:gd name="T14" fmla="*/ 0 w 1131"/>
                  <a:gd name="T15" fmla="*/ 608 h 6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608">
                    <a:moveTo>
                      <a:pt x="0" y="608"/>
                    </a:moveTo>
                    <a:lnTo>
                      <a:pt x="0" y="608"/>
                    </a:lnTo>
                    <a:lnTo>
                      <a:pt x="904" y="57"/>
                    </a:lnTo>
                    <a:lnTo>
                      <a:pt x="999" y="0"/>
                    </a:lnTo>
                    <a:lnTo>
                      <a:pt x="999" y="0"/>
                    </a:lnTo>
                    <a:lnTo>
                      <a:pt x="1077" y="359"/>
                    </a:lnTo>
                    <a:lnTo>
                      <a:pt x="1131" y="608"/>
                    </a:lnTo>
                    <a:lnTo>
                      <a:pt x="0" y="608"/>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1" name="Freeform 429"/>
              <p:cNvSpPr>
                <a:spLocks/>
              </p:cNvSpPr>
              <p:nvPr/>
            </p:nvSpPr>
            <p:spPr bwMode="auto">
              <a:xfrm>
                <a:off x="-3132138" y="160337"/>
                <a:ext cx="150813" cy="90488"/>
              </a:xfrm>
              <a:custGeom>
                <a:avLst/>
                <a:gdLst>
                  <a:gd name="T0" fmla="*/ 0 w 95"/>
                  <a:gd name="T1" fmla="*/ 57 h 57"/>
                  <a:gd name="T2" fmla="*/ 95 w 95"/>
                  <a:gd name="T3" fmla="*/ 0 h 57"/>
                  <a:gd name="T4" fmla="*/ 95 w 95"/>
                  <a:gd name="T5" fmla="*/ 0 h 57"/>
                  <a:gd name="T6" fmla="*/ 0 w 95"/>
                  <a:gd name="T7" fmla="*/ 57 h 57"/>
                </a:gdLst>
                <a:ahLst/>
                <a:cxnLst>
                  <a:cxn ang="0">
                    <a:pos x="T0" y="T1"/>
                  </a:cxn>
                  <a:cxn ang="0">
                    <a:pos x="T2" y="T3"/>
                  </a:cxn>
                  <a:cxn ang="0">
                    <a:pos x="T4" y="T5"/>
                  </a:cxn>
                  <a:cxn ang="0">
                    <a:pos x="T6" y="T7"/>
                  </a:cxn>
                </a:cxnLst>
                <a:rect l="0" t="0" r="r" b="b"/>
                <a:pathLst>
                  <a:path w="95" h="57">
                    <a:moveTo>
                      <a:pt x="0" y="57"/>
                    </a:moveTo>
                    <a:lnTo>
                      <a:pt x="95" y="0"/>
                    </a:lnTo>
                    <a:lnTo>
                      <a:pt x="95" y="0"/>
                    </a:lnTo>
                    <a:lnTo>
                      <a:pt x="0" y="5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2" name="Freeform 430"/>
              <p:cNvSpPr>
                <a:spLocks noEditPoints="1"/>
              </p:cNvSpPr>
              <p:nvPr/>
            </p:nvSpPr>
            <p:spPr bwMode="auto">
              <a:xfrm>
                <a:off x="-6364288" y="1125537"/>
                <a:ext cx="1797050" cy="1528763"/>
              </a:xfrm>
              <a:custGeom>
                <a:avLst/>
                <a:gdLst>
                  <a:gd name="T0" fmla="*/ 196 w 2357"/>
                  <a:gd name="T1" fmla="*/ 2006 h 2006"/>
                  <a:gd name="T2" fmla="*/ 0 w 2357"/>
                  <a:gd name="T3" fmla="*/ 0 h 2006"/>
                  <a:gd name="T4" fmla="*/ 2357 w 2357"/>
                  <a:gd name="T5" fmla="*/ 0 h 2006"/>
                  <a:gd name="T6" fmla="*/ 196 w 2357"/>
                  <a:gd name="T7" fmla="*/ 2006 h 2006"/>
                  <a:gd name="T8" fmla="*/ 2357 w 2357"/>
                  <a:gd name="T9" fmla="*/ 0 h 2006"/>
                  <a:gd name="T10" fmla="*/ 2357 w 2357"/>
                  <a:gd name="T11" fmla="*/ 0 h 2006"/>
                  <a:gd name="T12" fmla="*/ 2357 w 2357"/>
                  <a:gd name="T13" fmla="*/ 0 h 2006"/>
                  <a:gd name="T14" fmla="*/ 0 w 2357"/>
                  <a:gd name="T15" fmla="*/ 0 h 2006"/>
                  <a:gd name="T16" fmla="*/ 0 w 2357"/>
                  <a:gd name="T17" fmla="*/ 0 h 2006"/>
                  <a:gd name="T18" fmla="*/ 0 w 2357"/>
                  <a:gd name="T19" fmla="*/ 0 h 2006"/>
                  <a:gd name="T20" fmla="*/ 0 w 2357"/>
                  <a:gd name="T21" fmla="*/ 0 h 2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7" h="2006">
                    <a:moveTo>
                      <a:pt x="196" y="2006"/>
                    </a:moveTo>
                    <a:lnTo>
                      <a:pt x="0" y="0"/>
                    </a:lnTo>
                    <a:lnTo>
                      <a:pt x="2357" y="0"/>
                    </a:lnTo>
                    <a:lnTo>
                      <a:pt x="196" y="2006"/>
                    </a:lnTo>
                    <a:moveTo>
                      <a:pt x="2357" y="0"/>
                    </a:moveTo>
                    <a:lnTo>
                      <a:pt x="2357" y="0"/>
                    </a:lnTo>
                    <a:lnTo>
                      <a:pt x="2357" y="0"/>
                    </a:lnTo>
                    <a:moveTo>
                      <a:pt x="0" y="0"/>
                    </a:moveTo>
                    <a:lnTo>
                      <a:pt x="0" y="0"/>
                    </a:lnTo>
                    <a:lnTo>
                      <a:pt x="0" y="0"/>
                    </a:ln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3" name="Freeform 431"/>
              <p:cNvSpPr>
                <a:spLocks/>
              </p:cNvSpPr>
              <p:nvPr/>
            </p:nvSpPr>
            <p:spPr bwMode="auto">
              <a:xfrm>
                <a:off x="-6213475" y="1125537"/>
                <a:ext cx="1646238" cy="1528763"/>
              </a:xfrm>
              <a:custGeom>
                <a:avLst/>
                <a:gdLst>
                  <a:gd name="T0" fmla="*/ 0 w 1037"/>
                  <a:gd name="T1" fmla="*/ 963 h 963"/>
                  <a:gd name="T2" fmla="*/ 0 w 1037"/>
                  <a:gd name="T3" fmla="*/ 963 h 963"/>
                  <a:gd name="T4" fmla="*/ 1037 w 1037"/>
                  <a:gd name="T5" fmla="*/ 0 h 963"/>
                  <a:gd name="T6" fmla="*/ 1037 w 1037"/>
                  <a:gd name="T7" fmla="*/ 0 h 963"/>
                  <a:gd name="T8" fmla="*/ 1037 w 1037"/>
                  <a:gd name="T9" fmla="*/ 0 h 963"/>
                  <a:gd name="T10" fmla="*/ 1037 w 1037"/>
                  <a:gd name="T11" fmla="*/ 0 h 963"/>
                  <a:gd name="T12" fmla="*/ 0 w 1037"/>
                  <a:gd name="T13" fmla="*/ 963 h 963"/>
                </a:gdLst>
                <a:ahLst/>
                <a:cxnLst>
                  <a:cxn ang="0">
                    <a:pos x="T0" y="T1"/>
                  </a:cxn>
                  <a:cxn ang="0">
                    <a:pos x="T2" y="T3"/>
                  </a:cxn>
                  <a:cxn ang="0">
                    <a:pos x="T4" y="T5"/>
                  </a:cxn>
                  <a:cxn ang="0">
                    <a:pos x="T6" y="T7"/>
                  </a:cxn>
                  <a:cxn ang="0">
                    <a:pos x="T8" y="T9"/>
                  </a:cxn>
                  <a:cxn ang="0">
                    <a:pos x="T10" y="T11"/>
                  </a:cxn>
                  <a:cxn ang="0">
                    <a:pos x="T12" y="T13"/>
                  </a:cxn>
                </a:cxnLst>
                <a:rect l="0" t="0" r="r" b="b"/>
                <a:pathLst>
                  <a:path w="1037" h="963">
                    <a:moveTo>
                      <a:pt x="0" y="963"/>
                    </a:moveTo>
                    <a:lnTo>
                      <a:pt x="0" y="963"/>
                    </a:lnTo>
                    <a:lnTo>
                      <a:pt x="1037" y="0"/>
                    </a:lnTo>
                    <a:lnTo>
                      <a:pt x="1037" y="0"/>
                    </a:lnTo>
                    <a:lnTo>
                      <a:pt x="1037" y="0"/>
                    </a:lnTo>
                    <a:lnTo>
                      <a:pt x="1037" y="0"/>
                    </a:lnTo>
                    <a:lnTo>
                      <a:pt x="0" y="963"/>
                    </a:lnTo>
                    <a:close/>
                  </a:path>
                </a:pathLst>
              </a:custGeom>
              <a:solidFill>
                <a:srgbClr val="5AA1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4" name="Freeform 432"/>
              <p:cNvSpPr>
                <a:spLocks noEditPoints="1"/>
              </p:cNvSpPr>
              <p:nvPr/>
            </p:nvSpPr>
            <p:spPr bwMode="auto">
              <a:xfrm>
                <a:off x="-8323263" y="5514975"/>
                <a:ext cx="1782763" cy="2144713"/>
              </a:xfrm>
              <a:custGeom>
                <a:avLst/>
                <a:gdLst>
                  <a:gd name="T0" fmla="*/ 893 w 2339"/>
                  <a:gd name="T1" fmla="*/ 2815 h 2815"/>
                  <a:gd name="T2" fmla="*/ 0 w 2339"/>
                  <a:gd name="T3" fmla="*/ 2815 h 2815"/>
                  <a:gd name="T4" fmla="*/ 290 w 2339"/>
                  <a:gd name="T5" fmla="*/ 1 h 2815"/>
                  <a:gd name="T6" fmla="*/ 290 w 2339"/>
                  <a:gd name="T7" fmla="*/ 0 h 2815"/>
                  <a:gd name="T8" fmla="*/ 291 w 2339"/>
                  <a:gd name="T9" fmla="*/ 1 h 2815"/>
                  <a:gd name="T10" fmla="*/ 290 w 2339"/>
                  <a:gd name="T11" fmla="*/ 1 h 2815"/>
                  <a:gd name="T12" fmla="*/ 1731 w 2339"/>
                  <a:gd name="T13" fmla="*/ 1291 h 2815"/>
                  <a:gd name="T14" fmla="*/ 2339 w 2339"/>
                  <a:gd name="T15" fmla="*/ 1834 h 2815"/>
                  <a:gd name="T16" fmla="*/ 893 w 2339"/>
                  <a:gd name="T17" fmla="*/ 2815 h 2815"/>
                  <a:gd name="T18" fmla="*/ 291 w 2339"/>
                  <a:gd name="T19" fmla="*/ 1 h 2815"/>
                  <a:gd name="T20" fmla="*/ 290 w 2339"/>
                  <a:gd name="T21" fmla="*/ 1 h 2815"/>
                  <a:gd name="T22" fmla="*/ 291 w 2339"/>
                  <a:gd name="T23" fmla="*/ 1 h 2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39" h="2815">
                    <a:moveTo>
                      <a:pt x="893" y="2815"/>
                    </a:moveTo>
                    <a:lnTo>
                      <a:pt x="0" y="2815"/>
                    </a:lnTo>
                    <a:lnTo>
                      <a:pt x="290" y="1"/>
                    </a:lnTo>
                    <a:lnTo>
                      <a:pt x="290" y="0"/>
                    </a:lnTo>
                    <a:lnTo>
                      <a:pt x="291" y="1"/>
                    </a:lnTo>
                    <a:lnTo>
                      <a:pt x="290" y="1"/>
                    </a:lnTo>
                    <a:lnTo>
                      <a:pt x="1731" y="1291"/>
                    </a:lnTo>
                    <a:lnTo>
                      <a:pt x="2339" y="1834"/>
                    </a:lnTo>
                    <a:lnTo>
                      <a:pt x="893" y="2815"/>
                    </a:lnTo>
                    <a:moveTo>
                      <a:pt x="291" y="1"/>
                    </a:moveTo>
                    <a:lnTo>
                      <a:pt x="290" y="1"/>
                    </a:lnTo>
                    <a:lnTo>
                      <a:pt x="29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5" name="Freeform 433"/>
              <p:cNvSpPr>
                <a:spLocks/>
              </p:cNvSpPr>
              <p:nvPr/>
            </p:nvSpPr>
            <p:spPr bwMode="auto">
              <a:xfrm>
                <a:off x="-8159750" y="4237037"/>
                <a:ext cx="1141413" cy="1277938"/>
              </a:xfrm>
              <a:custGeom>
                <a:avLst/>
                <a:gdLst>
                  <a:gd name="T0" fmla="*/ 36 w 719"/>
                  <a:gd name="T1" fmla="*/ 805 h 805"/>
                  <a:gd name="T2" fmla="*/ 36 w 719"/>
                  <a:gd name="T3" fmla="*/ 805 h 805"/>
                  <a:gd name="T4" fmla="*/ 32 w 719"/>
                  <a:gd name="T5" fmla="*/ 713 h 805"/>
                  <a:gd name="T6" fmla="*/ 0 w 719"/>
                  <a:gd name="T7" fmla="*/ 1 h 805"/>
                  <a:gd name="T8" fmla="*/ 0 w 719"/>
                  <a:gd name="T9" fmla="*/ 1 h 805"/>
                  <a:gd name="T10" fmla="*/ 0 w 719"/>
                  <a:gd name="T11" fmla="*/ 0 h 805"/>
                  <a:gd name="T12" fmla="*/ 0 w 719"/>
                  <a:gd name="T13" fmla="*/ 0 h 805"/>
                  <a:gd name="T14" fmla="*/ 719 w 719"/>
                  <a:gd name="T15" fmla="*/ 227 h 805"/>
                  <a:gd name="T16" fmla="*/ 36 w 719"/>
                  <a:gd name="T17" fmla="*/ 805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9" h="805">
                    <a:moveTo>
                      <a:pt x="36" y="805"/>
                    </a:moveTo>
                    <a:lnTo>
                      <a:pt x="36" y="805"/>
                    </a:lnTo>
                    <a:lnTo>
                      <a:pt x="32" y="713"/>
                    </a:lnTo>
                    <a:lnTo>
                      <a:pt x="0" y="1"/>
                    </a:lnTo>
                    <a:lnTo>
                      <a:pt x="0" y="1"/>
                    </a:lnTo>
                    <a:lnTo>
                      <a:pt x="0" y="0"/>
                    </a:lnTo>
                    <a:lnTo>
                      <a:pt x="0" y="0"/>
                    </a:lnTo>
                    <a:lnTo>
                      <a:pt x="719" y="227"/>
                    </a:lnTo>
                    <a:lnTo>
                      <a:pt x="36" y="80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6" name="Freeform 434"/>
              <p:cNvSpPr>
                <a:spLocks/>
              </p:cNvSpPr>
              <p:nvPr/>
            </p:nvSpPr>
            <p:spPr bwMode="auto">
              <a:xfrm>
                <a:off x="-8101013" y="5514975"/>
                <a:ext cx="2635250" cy="1397000"/>
              </a:xfrm>
              <a:custGeom>
                <a:avLst/>
                <a:gdLst>
                  <a:gd name="T0" fmla="*/ 983 w 1660"/>
                  <a:gd name="T1" fmla="*/ 880 h 880"/>
                  <a:gd name="T2" fmla="*/ 691 w 1660"/>
                  <a:gd name="T3" fmla="*/ 619 h 880"/>
                  <a:gd name="T4" fmla="*/ 0 w 1660"/>
                  <a:gd name="T5" fmla="*/ 0 h 880"/>
                  <a:gd name="T6" fmla="*/ 1660 w 1660"/>
                  <a:gd name="T7" fmla="*/ 175 h 880"/>
                  <a:gd name="T8" fmla="*/ 1660 w 1660"/>
                  <a:gd name="T9" fmla="*/ 175 h 880"/>
                  <a:gd name="T10" fmla="*/ 1660 w 1660"/>
                  <a:gd name="T11" fmla="*/ 175 h 880"/>
                  <a:gd name="T12" fmla="*/ 1660 w 1660"/>
                  <a:gd name="T13" fmla="*/ 175 h 880"/>
                  <a:gd name="T14" fmla="*/ 983 w 1660"/>
                  <a:gd name="T15" fmla="*/ 880 h 8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0" h="880">
                    <a:moveTo>
                      <a:pt x="983" y="880"/>
                    </a:moveTo>
                    <a:lnTo>
                      <a:pt x="691" y="619"/>
                    </a:lnTo>
                    <a:lnTo>
                      <a:pt x="0" y="0"/>
                    </a:lnTo>
                    <a:lnTo>
                      <a:pt x="1660" y="175"/>
                    </a:lnTo>
                    <a:lnTo>
                      <a:pt x="1660" y="175"/>
                    </a:lnTo>
                    <a:lnTo>
                      <a:pt x="1660" y="175"/>
                    </a:lnTo>
                    <a:lnTo>
                      <a:pt x="1660" y="175"/>
                    </a:lnTo>
                    <a:lnTo>
                      <a:pt x="983" y="8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7" name="Freeform 435"/>
              <p:cNvSpPr>
                <a:spLocks/>
              </p:cNvSpPr>
              <p:nvPr/>
            </p:nvSpPr>
            <p:spPr bwMode="auto">
              <a:xfrm>
                <a:off x="-8102600" y="5514975"/>
                <a:ext cx="1098550" cy="982663"/>
              </a:xfrm>
              <a:custGeom>
                <a:avLst/>
                <a:gdLst>
                  <a:gd name="T0" fmla="*/ 692 w 692"/>
                  <a:gd name="T1" fmla="*/ 619 h 619"/>
                  <a:gd name="T2" fmla="*/ 0 w 692"/>
                  <a:gd name="T3" fmla="*/ 0 h 619"/>
                  <a:gd name="T4" fmla="*/ 1 w 692"/>
                  <a:gd name="T5" fmla="*/ 0 h 619"/>
                  <a:gd name="T6" fmla="*/ 692 w 692"/>
                  <a:gd name="T7" fmla="*/ 619 h 619"/>
                </a:gdLst>
                <a:ahLst/>
                <a:cxnLst>
                  <a:cxn ang="0">
                    <a:pos x="T0" y="T1"/>
                  </a:cxn>
                  <a:cxn ang="0">
                    <a:pos x="T2" y="T3"/>
                  </a:cxn>
                  <a:cxn ang="0">
                    <a:pos x="T4" y="T5"/>
                  </a:cxn>
                  <a:cxn ang="0">
                    <a:pos x="T6" y="T7"/>
                  </a:cxn>
                </a:cxnLst>
                <a:rect l="0" t="0" r="r" b="b"/>
                <a:pathLst>
                  <a:path w="692" h="619">
                    <a:moveTo>
                      <a:pt x="692" y="619"/>
                    </a:moveTo>
                    <a:lnTo>
                      <a:pt x="0" y="0"/>
                    </a:lnTo>
                    <a:lnTo>
                      <a:pt x="1" y="0"/>
                    </a:lnTo>
                    <a:lnTo>
                      <a:pt x="692" y="61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8" name="Freeform 436"/>
              <p:cNvSpPr>
                <a:spLocks noEditPoints="1"/>
              </p:cNvSpPr>
              <p:nvPr/>
            </p:nvSpPr>
            <p:spPr bwMode="auto">
              <a:xfrm>
                <a:off x="-9909175" y="4238625"/>
                <a:ext cx="1806575" cy="2339975"/>
              </a:xfrm>
              <a:custGeom>
                <a:avLst/>
                <a:gdLst>
                  <a:gd name="T0" fmla="*/ 0 w 2371"/>
                  <a:gd name="T1" fmla="*/ 3072 h 3072"/>
                  <a:gd name="T2" fmla="*/ 0 w 2371"/>
                  <a:gd name="T3" fmla="*/ 3072 h 3072"/>
                  <a:gd name="T4" fmla="*/ 0 w 2371"/>
                  <a:gd name="T5" fmla="*/ 3072 h 3072"/>
                  <a:gd name="T6" fmla="*/ 0 w 2371"/>
                  <a:gd name="T7" fmla="*/ 3072 h 3072"/>
                  <a:gd name="T8" fmla="*/ 2296 w 2371"/>
                  <a:gd name="T9" fmla="*/ 0 h 3072"/>
                  <a:gd name="T10" fmla="*/ 2363 w 2371"/>
                  <a:gd name="T11" fmla="*/ 1484 h 3072"/>
                  <a:gd name="T12" fmla="*/ 2371 w 2371"/>
                  <a:gd name="T13" fmla="*/ 1676 h 3072"/>
                  <a:gd name="T14" fmla="*/ 2371 w 2371"/>
                  <a:gd name="T15" fmla="*/ 1676 h 3072"/>
                  <a:gd name="T16" fmla="*/ 0 w 2371"/>
                  <a:gd name="T17" fmla="*/ 3072 h 3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1" h="3072">
                    <a:moveTo>
                      <a:pt x="0" y="3072"/>
                    </a:moveTo>
                    <a:lnTo>
                      <a:pt x="0" y="3072"/>
                    </a:lnTo>
                    <a:lnTo>
                      <a:pt x="0" y="3072"/>
                    </a:lnTo>
                    <a:moveTo>
                      <a:pt x="0" y="3072"/>
                    </a:moveTo>
                    <a:lnTo>
                      <a:pt x="2296" y="0"/>
                    </a:lnTo>
                    <a:lnTo>
                      <a:pt x="2363" y="1484"/>
                    </a:lnTo>
                    <a:lnTo>
                      <a:pt x="2371" y="1676"/>
                    </a:lnTo>
                    <a:lnTo>
                      <a:pt x="2371" y="1676"/>
                    </a:lnTo>
                    <a:lnTo>
                      <a:pt x="0" y="3072"/>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9" name="Freeform 437"/>
              <p:cNvSpPr>
                <a:spLocks/>
              </p:cNvSpPr>
              <p:nvPr/>
            </p:nvSpPr>
            <p:spPr bwMode="auto">
              <a:xfrm>
                <a:off x="-8102600" y="551497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0" name="Freeform 438"/>
              <p:cNvSpPr>
                <a:spLocks/>
              </p:cNvSpPr>
              <p:nvPr/>
            </p:nvSpPr>
            <p:spPr bwMode="auto">
              <a:xfrm>
                <a:off x="-8159750" y="4238625"/>
                <a:ext cx="50800" cy="1130300"/>
              </a:xfrm>
              <a:custGeom>
                <a:avLst/>
                <a:gdLst>
                  <a:gd name="T0" fmla="*/ 32 w 32"/>
                  <a:gd name="T1" fmla="*/ 712 h 712"/>
                  <a:gd name="T2" fmla="*/ 0 w 32"/>
                  <a:gd name="T3" fmla="*/ 0 h 712"/>
                  <a:gd name="T4" fmla="*/ 0 w 32"/>
                  <a:gd name="T5" fmla="*/ 0 h 712"/>
                  <a:gd name="T6" fmla="*/ 32 w 32"/>
                  <a:gd name="T7" fmla="*/ 712 h 712"/>
                </a:gdLst>
                <a:ahLst/>
                <a:cxnLst>
                  <a:cxn ang="0">
                    <a:pos x="T0" y="T1"/>
                  </a:cxn>
                  <a:cxn ang="0">
                    <a:pos x="T2" y="T3"/>
                  </a:cxn>
                  <a:cxn ang="0">
                    <a:pos x="T4" y="T5"/>
                  </a:cxn>
                  <a:cxn ang="0">
                    <a:pos x="T6" y="T7"/>
                  </a:cxn>
                </a:cxnLst>
                <a:rect l="0" t="0" r="r" b="b"/>
                <a:pathLst>
                  <a:path w="32" h="712">
                    <a:moveTo>
                      <a:pt x="32" y="712"/>
                    </a:moveTo>
                    <a:lnTo>
                      <a:pt x="0" y="0"/>
                    </a:lnTo>
                    <a:lnTo>
                      <a:pt x="0" y="0"/>
                    </a:lnTo>
                    <a:lnTo>
                      <a:pt x="32" y="71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1" name="Freeform 439"/>
              <p:cNvSpPr>
                <a:spLocks/>
              </p:cNvSpPr>
              <p:nvPr/>
            </p:nvSpPr>
            <p:spPr bwMode="auto">
              <a:xfrm>
                <a:off x="-8101013" y="4597400"/>
                <a:ext cx="2635250" cy="1195388"/>
              </a:xfrm>
              <a:custGeom>
                <a:avLst/>
                <a:gdLst>
                  <a:gd name="T0" fmla="*/ 1660 w 1660"/>
                  <a:gd name="T1" fmla="*/ 753 h 753"/>
                  <a:gd name="T2" fmla="*/ 0 w 1660"/>
                  <a:gd name="T3" fmla="*/ 578 h 753"/>
                  <a:gd name="T4" fmla="*/ 0 w 1660"/>
                  <a:gd name="T5" fmla="*/ 578 h 753"/>
                  <a:gd name="T6" fmla="*/ 682 w 1660"/>
                  <a:gd name="T7" fmla="*/ 0 h 753"/>
                  <a:gd name="T8" fmla="*/ 1660 w 1660"/>
                  <a:gd name="T9" fmla="*/ 753 h 753"/>
                  <a:gd name="T10" fmla="*/ 1660 w 1660"/>
                  <a:gd name="T11" fmla="*/ 753 h 753"/>
                </a:gdLst>
                <a:ahLst/>
                <a:cxnLst>
                  <a:cxn ang="0">
                    <a:pos x="T0" y="T1"/>
                  </a:cxn>
                  <a:cxn ang="0">
                    <a:pos x="T2" y="T3"/>
                  </a:cxn>
                  <a:cxn ang="0">
                    <a:pos x="T4" y="T5"/>
                  </a:cxn>
                  <a:cxn ang="0">
                    <a:pos x="T6" y="T7"/>
                  </a:cxn>
                  <a:cxn ang="0">
                    <a:pos x="T8" y="T9"/>
                  </a:cxn>
                  <a:cxn ang="0">
                    <a:pos x="T10" y="T11"/>
                  </a:cxn>
                </a:cxnLst>
                <a:rect l="0" t="0" r="r" b="b"/>
                <a:pathLst>
                  <a:path w="1660" h="753">
                    <a:moveTo>
                      <a:pt x="1660" y="753"/>
                    </a:moveTo>
                    <a:lnTo>
                      <a:pt x="0" y="578"/>
                    </a:lnTo>
                    <a:lnTo>
                      <a:pt x="0" y="578"/>
                    </a:lnTo>
                    <a:lnTo>
                      <a:pt x="682" y="0"/>
                    </a:lnTo>
                    <a:lnTo>
                      <a:pt x="1660" y="753"/>
                    </a:lnTo>
                    <a:lnTo>
                      <a:pt x="1660" y="753"/>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2" name="Freeform 440"/>
              <p:cNvSpPr>
                <a:spLocks/>
              </p:cNvSpPr>
              <p:nvPr/>
            </p:nvSpPr>
            <p:spPr bwMode="auto">
              <a:xfrm>
                <a:off x="-8102600" y="5514975"/>
                <a:ext cx="1588"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3" name="Freeform 441"/>
              <p:cNvSpPr>
                <a:spLocks/>
              </p:cNvSpPr>
              <p:nvPr/>
            </p:nvSpPr>
            <p:spPr bwMode="auto">
              <a:xfrm>
                <a:off x="-9909175" y="5514975"/>
                <a:ext cx="1806575" cy="2144713"/>
              </a:xfrm>
              <a:custGeom>
                <a:avLst/>
                <a:gdLst>
                  <a:gd name="T0" fmla="*/ 999 w 1138"/>
                  <a:gd name="T1" fmla="*/ 1351 h 1351"/>
                  <a:gd name="T2" fmla="*/ 662 w 1138"/>
                  <a:gd name="T3" fmla="*/ 1351 h 1351"/>
                  <a:gd name="T4" fmla="*/ 0 w 1138"/>
                  <a:gd name="T5" fmla="*/ 670 h 1351"/>
                  <a:gd name="T6" fmla="*/ 0 w 1138"/>
                  <a:gd name="T7" fmla="*/ 670 h 1351"/>
                  <a:gd name="T8" fmla="*/ 1138 w 1138"/>
                  <a:gd name="T9" fmla="*/ 0 h 1351"/>
                  <a:gd name="T10" fmla="*/ 999 w 1138"/>
                  <a:gd name="T11" fmla="*/ 1351 h 1351"/>
                </a:gdLst>
                <a:ahLst/>
                <a:cxnLst>
                  <a:cxn ang="0">
                    <a:pos x="T0" y="T1"/>
                  </a:cxn>
                  <a:cxn ang="0">
                    <a:pos x="T2" y="T3"/>
                  </a:cxn>
                  <a:cxn ang="0">
                    <a:pos x="T4" y="T5"/>
                  </a:cxn>
                  <a:cxn ang="0">
                    <a:pos x="T6" y="T7"/>
                  </a:cxn>
                  <a:cxn ang="0">
                    <a:pos x="T8" y="T9"/>
                  </a:cxn>
                  <a:cxn ang="0">
                    <a:pos x="T10" y="T11"/>
                  </a:cxn>
                </a:cxnLst>
                <a:rect l="0" t="0" r="r" b="b"/>
                <a:pathLst>
                  <a:path w="1138" h="1351">
                    <a:moveTo>
                      <a:pt x="999" y="1351"/>
                    </a:moveTo>
                    <a:lnTo>
                      <a:pt x="662" y="1351"/>
                    </a:lnTo>
                    <a:lnTo>
                      <a:pt x="0" y="670"/>
                    </a:lnTo>
                    <a:lnTo>
                      <a:pt x="0" y="670"/>
                    </a:lnTo>
                    <a:lnTo>
                      <a:pt x="1138" y="0"/>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4" name="Freeform 442"/>
              <p:cNvSpPr>
                <a:spLocks/>
              </p:cNvSpPr>
              <p:nvPr/>
            </p:nvSpPr>
            <p:spPr bwMode="auto">
              <a:xfrm>
                <a:off x="-5465763" y="4816475"/>
                <a:ext cx="1250950" cy="1479550"/>
              </a:xfrm>
              <a:custGeom>
                <a:avLst/>
                <a:gdLst>
                  <a:gd name="T0" fmla="*/ 788 w 788"/>
                  <a:gd name="T1" fmla="*/ 932 h 932"/>
                  <a:gd name="T2" fmla="*/ 0 w 788"/>
                  <a:gd name="T3" fmla="*/ 615 h 932"/>
                  <a:gd name="T4" fmla="*/ 0 w 788"/>
                  <a:gd name="T5" fmla="*/ 615 h 932"/>
                  <a:gd name="T6" fmla="*/ 0 w 788"/>
                  <a:gd name="T7" fmla="*/ 615 h 932"/>
                  <a:gd name="T8" fmla="*/ 498 w 788"/>
                  <a:gd name="T9" fmla="*/ 0 h 932"/>
                  <a:gd name="T10" fmla="*/ 788 w 788"/>
                  <a:gd name="T11" fmla="*/ 932 h 932"/>
                </a:gdLst>
                <a:ahLst/>
                <a:cxnLst>
                  <a:cxn ang="0">
                    <a:pos x="T0" y="T1"/>
                  </a:cxn>
                  <a:cxn ang="0">
                    <a:pos x="T2" y="T3"/>
                  </a:cxn>
                  <a:cxn ang="0">
                    <a:pos x="T4" y="T5"/>
                  </a:cxn>
                  <a:cxn ang="0">
                    <a:pos x="T6" y="T7"/>
                  </a:cxn>
                  <a:cxn ang="0">
                    <a:pos x="T8" y="T9"/>
                  </a:cxn>
                  <a:cxn ang="0">
                    <a:pos x="T10" y="T11"/>
                  </a:cxn>
                </a:cxnLst>
                <a:rect l="0" t="0" r="r" b="b"/>
                <a:pathLst>
                  <a:path w="788" h="932">
                    <a:moveTo>
                      <a:pt x="788" y="932"/>
                    </a:moveTo>
                    <a:lnTo>
                      <a:pt x="0" y="615"/>
                    </a:lnTo>
                    <a:lnTo>
                      <a:pt x="0" y="615"/>
                    </a:lnTo>
                    <a:lnTo>
                      <a:pt x="0" y="615"/>
                    </a:lnTo>
                    <a:lnTo>
                      <a:pt x="498" y="0"/>
                    </a:lnTo>
                    <a:lnTo>
                      <a:pt x="788"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5" name="Freeform 443"/>
              <p:cNvSpPr>
                <a:spLocks/>
              </p:cNvSpPr>
              <p:nvPr/>
            </p:nvSpPr>
            <p:spPr bwMode="auto">
              <a:xfrm>
                <a:off x="-6213475" y="2655887"/>
                <a:ext cx="1800225" cy="2160588"/>
              </a:xfrm>
              <a:custGeom>
                <a:avLst/>
                <a:gdLst>
                  <a:gd name="T0" fmla="*/ 969 w 1134"/>
                  <a:gd name="T1" fmla="*/ 1361 h 1361"/>
                  <a:gd name="T2" fmla="*/ 969 w 1134"/>
                  <a:gd name="T3" fmla="*/ 1361 h 1361"/>
                  <a:gd name="T4" fmla="*/ 0 w 1134"/>
                  <a:gd name="T5" fmla="*/ 0 h 1361"/>
                  <a:gd name="T6" fmla="*/ 0 w 1134"/>
                  <a:gd name="T7" fmla="*/ 0 h 1361"/>
                  <a:gd name="T8" fmla="*/ 1134 w 1134"/>
                  <a:gd name="T9" fmla="*/ 288 h 1361"/>
                  <a:gd name="T10" fmla="*/ 969 w 1134"/>
                  <a:gd name="T11" fmla="*/ 1361 h 1361"/>
                </a:gdLst>
                <a:ahLst/>
                <a:cxnLst>
                  <a:cxn ang="0">
                    <a:pos x="T0" y="T1"/>
                  </a:cxn>
                  <a:cxn ang="0">
                    <a:pos x="T2" y="T3"/>
                  </a:cxn>
                  <a:cxn ang="0">
                    <a:pos x="T4" y="T5"/>
                  </a:cxn>
                  <a:cxn ang="0">
                    <a:pos x="T6" y="T7"/>
                  </a:cxn>
                  <a:cxn ang="0">
                    <a:pos x="T8" y="T9"/>
                  </a:cxn>
                  <a:cxn ang="0">
                    <a:pos x="T10" y="T11"/>
                  </a:cxn>
                </a:cxnLst>
                <a:rect l="0" t="0" r="r" b="b"/>
                <a:pathLst>
                  <a:path w="1134" h="1361">
                    <a:moveTo>
                      <a:pt x="969" y="1361"/>
                    </a:moveTo>
                    <a:lnTo>
                      <a:pt x="969" y="1361"/>
                    </a:lnTo>
                    <a:lnTo>
                      <a:pt x="0" y="0"/>
                    </a:lnTo>
                    <a:lnTo>
                      <a:pt x="0" y="0"/>
                    </a:lnTo>
                    <a:lnTo>
                      <a:pt x="1134" y="288"/>
                    </a:lnTo>
                    <a:lnTo>
                      <a:pt x="969" y="1361"/>
                    </a:lnTo>
                    <a:close/>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6" name="Rectangle 444"/>
              <p:cNvSpPr>
                <a:spLocks noChangeArrowheads="1"/>
              </p:cNvSpPr>
              <p:nvPr/>
            </p:nvSpPr>
            <p:spPr bwMode="auto">
              <a:xfrm>
                <a:off x="-6213475" y="2655887"/>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7" name="Rectangle 445"/>
              <p:cNvSpPr>
                <a:spLocks noChangeArrowheads="1"/>
              </p:cNvSpPr>
              <p:nvPr/>
            </p:nvSpPr>
            <p:spPr bwMode="auto">
              <a:xfrm>
                <a:off x="-6213475" y="2655887"/>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8" name="Freeform 446"/>
              <p:cNvSpPr>
                <a:spLocks/>
              </p:cNvSpPr>
              <p:nvPr/>
            </p:nvSpPr>
            <p:spPr bwMode="auto">
              <a:xfrm>
                <a:off x="-4675188" y="4237037"/>
                <a:ext cx="1903413" cy="2058988"/>
              </a:xfrm>
              <a:custGeom>
                <a:avLst/>
                <a:gdLst>
                  <a:gd name="T0" fmla="*/ 290 w 1199"/>
                  <a:gd name="T1" fmla="*/ 1297 h 1297"/>
                  <a:gd name="T2" fmla="*/ 290 w 1199"/>
                  <a:gd name="T3" fmla="*/ 1297 h 1297"/>
                  <a:gd name="T4" fmla="*/ 0 w 1199"/>
                  <a:gd name="T5" fmla="*/ 365 h 1297"/>
                  <a:gd name="T6" fmla="*/ 0 w 1199"/>
                  <a:gd name="T7" fmla="*/ 365 h 1297"/>
                  <a:gd name="T8" fmla="*/ 0 w 1199"/>
                  <a:gd name="T9" fmla="*/ 365 h 1297"/>
                  <a:gd name="T10" fmla="*/ 0 w 1199"/>
                  <a:gd name="T11" fmla="*/ 365 h 1297"/>
                  <a:gd name="T12" fmla="*/ 1199 w 1199"/>
                  <a:gd name="T13" fmla="*/ 0 h 1297"/>
                  <a:gd name="T14" fmla="*/ 290 w 1199"/>
                  <a:gd name="T15" fmla="*/ 1297 h 1297"/>
                  <a:gd name="T16" fmla="*/ 290 w 1199"/>
                  <a:gd name="T17" fmla="*/ 1297 h 1297"/>
                  <a:gd name="T18" fmla="*/ 290 w 1199"/>
                  <a:gd name="T19" fmla="*/ 129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9" h="1297">
                    <a:moveTo>
                      <a:pt x="290" y="1297"/>
                    </a:moveTo>
                    <a:lnTo>
                      <a:pt x="290" y="1297"/>
                    </a:lnTo>
                    <a:lnTo>
                      <a:pt x="0" y="365"/>
                    </a:lnTo>
                    <a:lnTo>
                      <a:pt x="0" y="365"/>
                    </a:lnTo>
                    <a:lnTo>
                      <a:pt x="0" y="365"/>
                    </a:lnTo>
                    <a:lnTo>
                      <a:pt x="0" y="365"/>
                    </a:lnTo>
                    <a:lnTo>
                      <a:pt x="1199" y="0"/>
                    </a:lnTo>
                    <a:lnTo>
                      <a:pt x="290" y="1297"/>
                    </a:lnTo>
                    <a:lnTo>
                      <a:pt x="290" y="1297"/>
                    </a:lnTo>
                    <a:lnTo>
                      <a:pt x="290" y="1297"/>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9" name="Freeform 447"/>
              <p:cNvSpPr>
                <a:spLocks/>
              </p:cNvSpPr>
              <p:nvPr/>
            </p:nvSpPr>
            <p:spPr bwMode="auto">
              <a:xfrm>
                <a:off x="-4675188" y="4816475"/>
                <a:ext cx="460375" cy="1479550"/>
              </a:xfrm>
              <a:custGeom>
                <a:avLst/>
                <a:gdLst>
                  <a:gd name="T0" fmla="*/ 290 w 290"/>
                  <a:gd name="T1" fmla="*/ 932 h 932"/>
                  <a:gd name="T2" fmla="*/ 290 w 290"/>
                  <a:gd name="T3" fmla="*/ 932 h 932"/>
                  <a:gd name="T4" fmla="*/ 0 w 290"/>
                  <a:gd name="T5" fmla="*/ 0 h 932"/>
                  <a:gd name="T6" fmla="*/ 0 w 290"/>
                  <a:gd name="T7" fmla="*/ 0 h 932"/>
                  <a:gd name="T8" fmla="*/ 290 w 290"/>
                  <a:gd name="T9" fmla="*/ 932 h 932"/>
                </a:gdLst>
                <a:ahLst/>
                <a:cxnLst>
                  <a:cxn ang="0">
                    <a:pos x="T0" y="T1"/>
                  </a:cxn>
                  <a:cxn ang="0">
                    <a:pos x="T2" y="T3"/>
                  </a:cxn>
                  <a:cxn ang="0">
                    <a:pos x="T4" y="T5"/>
                  </a:cxn>
                  <a:cxn ang="0">
                    <a:pos x="T6" y="T7"/>
                  </a:cxn>
                  <a:cxn ang="0">
                    <a:pos x="T8" y="T9"/>
                  </a:cxn>
                </a:cxnLst>
                <a:rect l="0" t="0" r="r" b="b"/>
                <a:pathLst>
                  <a:path w="290" h="932">
                    <a:moveTo>
                      <a:pt x="290" y="932"/>
                    </a:moveTo>
                    <a:lnTo>
                      <a:pt x="290" y="932"/>
                    </a:lnTo>
                    <a:lnTo>
                      <a:pt x="0" y="0"/>
                    </a:lnTo>
                    <a:lnTo>
                      <a:pt x="0" y="0"/>
                    </a:lnTo>
                    <a:lnTo>
                      <a:pt x="290"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0" name="Freeform 448"/>
              <p:cNvSpPr>
                <a:spLocks/>
              </p:cNvSpPr>
              <p:nvPr/>
            </p:nvSpPr>
            <p:spPr bwMode="auto">
              <a:xfrm>
                <a:off x="-7018338" y="2655887"/>
                <a:ext cx="2343150" cy="2160588"/>
              </a:xfrm>
              <a:custGeom>
                <a:avLst/>
                <a:gdLst>
                  <a:gd name="T0" fmla="*/ 1476 w 1476"/>
                  <a:gd name="T1" fmla="*/ 1361 h 1361"/>
                  <a:gd name="T2" fmla="*/ 0 w 1476"/>
                  <a:gd name="T3" fmla="*/ 1223 h 1361"/>
                  <a:gd name="T4" fmla="*/ 507 w 1476"/>
                  <a:gd name="T5" fmla="*/ 0 h 1361"/>
                  <a:gd name="T6" fmla="*/ 1476 w 1476"/>
                  <a:gd name="T7" fmla="*/ 1361 h 1361"/>
                </a:gdLst>
                <a:ahLst/>
                <a:cxnLst>
                  <a:cxn ang="0">
                    <a:pos x="T0" y="T1"/>
                  </a:cxn>
                  <a:cxn ang="0">
                    <a:pos x="T2" y="T3"/>
                  </a:cxn>
                  <a:cxn ang="0">
                    <a:pos x="T4" y="T5"/>
                  </a:cxn>
                  <a:cxn ang="0">
                    <a:pos x="T6" y="T7"/>
                  </a:cxn>
                </a:cxnLst>
                <a:rect l="0" t="0" r="r" b="b"/>
                <a:pathLst>
                  <a:path w="1476" h="1361">
                    <a:moveTo>
                      <a:pt x="1476" y="1361"/>
                    </a:moveTo>
                    <a:lnTo>
                      <a:pt x="0" y="1223"/>
                    </a:lnTo>
                    <a:lnTo>
                      <a:pt x="507" y="0"/>
                    </a:lnTo>
                    <a:lnTo>
                      <a:pt x="1476" y="136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1" name="Freeform 449"/>
              <p:cNvSpPr>
                <a:spLocks/>
              </p:cNvSpPr>
              <p:nvPr/>
            </p:nvSpPr>
            <p:spPr bwMode="auto">
              <a:xfrm>
                <a:off x="-7018338" y="2655887"/>
                <a:ext cx="804863" cy="1941513"/>
              </a:xfrm>
              <a:custGeom>
                <a:avLst/>
                <a:gdLst>
                  <a:gd name="T0" fmla="*/ 0 w 507"/>
                  <a:gd name="T1" fmla="*/ 1223 h 1223"/>
                  <a:gd name="T2" fmla="*/ 507 w 507"/>
                  <a:gd name="T3" fmla="*/ 0 h 1223"/>
                  <a:gd name="T4" fmla="*/ 507 w 507"/>
                  <a:gd name="T5" fmla="*/ 0 h 1223"/>
                  <a:gd name="T6" fmla="*/ 0 w 507"/>
                  <a:gd name="T7" fmla="*/ 1223 h 1223"/>
                </a:gdLst>
                <a:ahLst/>
                <a:cxnLst>
                  <a:cxn ang="0">
                    <a:pos x="T0" y="T1"/>
                  </a:cxn>
                  <a:cxn ang="0">
                    <a:pos x="T2" y="T3"/>
                  </a:cxn>
                  <a:cxn ang="0">
                    <a:pos x="T4" y="T5"/>
                  </a:cxn>
                  <a:cxn ang="0">
                    <a:pos x="T6" y="T7"/>
                  </a:cxn>
                </a:cxnLst>
                <a:rect l="0" t="0" r="r" b="b"/>
                <a:pathLst>
                  <a:path w="507" h="1223">
                    <a:moveTo>
                      <a:pt x="0" y="1223"/>
                    </a:moveTo>
                    <a:lnTo>
                      <a:pt x="507" y="0"/>
                    </a:lnTo>
                    <a:lnTo>
                      <a:pt x="507" y="0"/>
                    </a:lnTo>
                    <a:lnTo>
                      <a:pt x="0" y="122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2" name="Rectangle 450"/>
              <p:cNvSpPr>
                <a:spLocks noChangeArrowheads="1"/>
              </p:cNvSpPr>
              <p:nvPr/>
            </p:nvSpPr>
            <p:spPr bwMode="auto">
              <a:xfrm>
                <a:off x="-6213475" y="2655887"/>
                <a:ext cx="1588" cy="1588"/>
              </a:xfrm>
              <a:prstGeom prst="rect">
                <a:avLst/>
              </a:prstGeom>
              <a:solidFill>
                <a:srgbClr val="5698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3" name="Freeform 451"/>
              <p:cNvSpPr>
                <a:spLocks/>
              </p:cNvSpPr>
              <p:nvPr/>
            </p:nvSpPr>
            <p:spPr bwMode="auto">
              <a:xfrm>
                <a:off x="-6213475" y="2655887"/>
                <a:ext cx="1538288" cy="2160588"/>
              </a:xfrm>
              <a:custGeom>
                <a:avLst/>
                <a:gdLst>
                  <a:gd name="T0" fmla="*/ 969 w 969"/>
                  <a:gd name="T1" fmla="*/ 1361 h 1361"/>
                  <a:gd name="T2" fmla="*/ 969 w 969"/>
                  <a:gd name="T3" fmla="*/ 1361 h 1361"/>
                  <a:gd name="T4" fmla="*/ 0 w 969"/>
                  <a:gd name="T5" fmla="*/ 0 h 1361"/>
                  <a:gd name="T6" fmla="*/ 0 w 969"/>
                  <a:gd name="T7" fmla="*/ 0 h 1361"/>
                  <a:gd name="T8" fmla="*/ 969 w 969"/>
                  <a:gd name="T9" fmla="*/ 1361 h 1361"/>
                </a:gdLst>
                <a:ahLst/>
                <a:cxnLst>
                  <a:cxn ang="0">
                    <a:pos x="T0" y="T1"/>
                  </a:cxn>
                  <a:cxn ang="0">
                    <a:pos x="T2" y="T3"/>
                  </a:cxn>
                  <a:cxn ang="0">
                    <a:pos x="T4" y="T5"/>
                  </a:cxn>
                  <a:cxn ang="0">
                    <a:pos x="T6" y="T7"/>
                  </a:cxn>
                  <a:cxn ang="0">
                    <a:pos x="T8" y="T9"/>
                  </a:cxn>
                </a:cxnLst>
                <a:rect l="0" t="0" r="r" b="b"/>
                <a:pathLst>
                  <a:path w="969" h="1361">
                    <a:moveTo>
                      <a:pt x="969" y="1361"/>
                    </a:moveTo>
                    <a:lnTo>
                      <a:pt x="969" y="1361"/>
                    </a:lnTo>
                    <a:lnTo>
                      <a:pt x="0" y="0"/>
                    </a:lnTo>
                    <a:lnTo>
                      <a:pt x="0" y="0"/>
                    </a:lnTo>
                    <a:lnTo>
                      <a:pt x="969" y="1361"/>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4" name="Freeform 452"/>
              <p:cNvSpPr>
                <a:spLocks/>
              </p:cNvSpPr>
              <p:nvPr/>
            </p:nvSpPr>
            <p:spPr bwMode="auto">
              <a:xfrm>
                <a:off x="-6213475" y="2655887"/>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5" name="Freeform 453"/>
              <p:cNvSpPr>
                <a:spLocks/>
              </p:cNvSpPr>
              <p:nvPr/>
            </p:nvSpPr>
            <p:spPr bwMode="auto">
              <a:xfrm>
                <a:off x="-4675188" y="3113087"/>
                <a:ext cx="1903413" cy="1703388"/>
              </a:xfrm>
              <a:custGeom>
                <a:avLst/>
                <a:gdLst>
                  <a:gd name="T0" fmla="*/ 0 w 1199"/>
                  <a:gd name="T1" fmla="*/ 1073 h 1073"/>
                  <a:gd name="T2" fmla="*/ 165 w 1199"/>
                  <a:gd name="T3" fmla="*/ 0 h 1073"/>
                  <a:gd name="T4" fmla="*/ 1199 w 1199"/>
                  <a:gd name="T5" fmla="*/ 708 h 1073"/>
                  <a:gd name="T6" fmla="*/ 0 w 1199"/>
                  <a:gd name="T7" fmla="*/ 1073 h 1073"/>
                </a:gdLst>
                <a:ahLst/>
                <a:cxnLst>
                  <a:cxn ang="0">
                    <a:pos x="T0" y="T1"/>
                  </a:cxn>
                  <a:cxn ang="0">
                    <a:pos x="T2" y="T3"/>
                  </a:cxn>
                  <a:cxn ang="0">
                    <a:pos x="T4" y="T5"/>
                  </a:cxn>
                  <a:cxn ang="0">
                    <a:pos x="T6" y="T7"/>
                  </a:cxn>
                </a:cxnLst>
                <a:rect l="0" t="0" r="r" b="b"/>
                <a:pathLst>
                  <a:path w="1199" h="1073">
                    <a:moveTo>
                      <a:pt x="0" y="1073"/>
                    </a:moveTo>
                    <a:lnTo>
                      <a:pt x="165" y="0"/>
                    </a:lnTo>
                    <a:lnTo>
                      <a:pt x="1199" y="708"/>
                    </a:lnTo>
                    <a:lnTo>
                      <a:pt x="0" y="1073"/>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6" name="Freeform 454"/>
              <p:cNvSpPr>
                <a:spLocks/>
              </p:cNvSpPr>
              <p:nvPr/>
            </p:nvSpPr>
            <p:spPr bwMode="auto">
              <a:xfrm>
                <a:off x="-7018338" y="4597400"/>
                <a:ext cx="2343150" cy="1195388"/>
              </a:xfrm>
              <a:custGeom>
                <a:avLst/>
                <a:gdLst>
                  <a:gd name="T0" fmla="*/ 978 w 1476"/>
                  <a:gd name="T1" fmla="*/ 753 h 753"/>
                  <a:gd name="T2" fmla="*/ 978 w 1476"/>
                  <a:gd name="T3" fmla="*/ 753 h 753"/>
                  <a:gd name="T4" fmla="*/ 0 w 1476"/>
                  <a:gd name="T5" fmla="*/ 0 h 753"/>
                  <a:gd name="T6" fmla="*/ 1476 w 1476"/>
                  <a:gd name="T7" fmla="*/ 138 h 753"/>
                  <a:gd name="T8" fmla="*/ 978 w 1476"/>
                  <a:gd name="T9" fmla="*/ 753 h 753"/>
                </a:gdLst>
                <a:ahLst/>
                <a:cxnLst>
                  <a:cxn ang="0">
                    <a:pos x="T0" y="T1"/>
                  </a:cxn>
                  <a:cxn ang="0">
                    <a:pos x="T2" y="T3"/>
                  </a:cxn>
                  <a:cxn ang="0">
                    <a:pos x="T4" y="T5"/>
                  </a:cxn>
                  <a:cxn ang="0">
                    <a:pos x="T6" y="T7"/>
                  </a:cxn>
                  <a:cxn ang="0">
                    <a:pos x="T8" y="T9"/>
                  </a:cxn>
                </a:cxnLst>
                <a:rect l="0" t="0" r="r" b="b"/>
                <a:pathLst>
                  <a:path w="1476" h="753">
                    <a:moveTo>
                      <a:pt x="978" y="753"/>
                    </a:moveTo>
                    <a:lnTo>
                      <a:pt x="978" y="753"/>
                    </a:lnTo>
                    <a:lnTo>
                      <a:pt x="0" y="0"/>
                    </a:lnTo>
                    <a:lnTo>
                      <a:pt x="1476" y="138"/>
                    </a:lnTo>
                    <a:lnTo>
                      <a:pt x="978" y="7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7" name="Line 455"/>
              <p:cNvSpPr>
                <a:spLocks noChangeShapeType="1"/>
              </p:cNvSpPr>
              <p:nvPr/>
            </p:nvSpPr>
            <p:spPr bwMode="auto">
              <a:xfrm>
                <a:off x="-7643813" y="76596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8" name="Freeform 456"/>
              <p:cNvSpPr>
                <a:spLocks/>
              </p:cNvSpPr>
              <p:nvPr/>
            </p:nvSpPr>
            <p:spPr bwMode="auto">
              <a:xfrm>
                <a:off x="-7643813" y="6911975"/>
                <a:ext cx="1103313" cy="747713"/>
              </a:xfrm>
              <a:custGeom>
                <a:avLst/>
                <a:gdLst>
                  <a:gd name="T0" fmla="*/ 0 w 695"/>
                  <a:gd name="T1" fmla="*/ 471 h 471"/>
                  <a:gd name="T2" fmla="*/ 0 w 695"/>
                  <a:gd name="T3" fmla="*/ 471 h 471"/>
                  <a:gd name="T4" fmla="*/ 695 w 695"/>
                  <a:gd name="T5" fmla="*/ 0 h 471"/>
                  <a:gd name="T6" fmla="*/ 0 w 695"/>
                  <a:gd name="T7" fmla="*/ 471 h 471"/>
                </a:gdLst>
                <a:ahLst/>
                <a:cxnLst>
                  <a:cxn ang="0">
                    <a:pos x="T0" y="T1"/>
                  </a:cxn>
                  <a:cxn ang="0">
                    <a:pos x="T2" y="T3"/>
                  </a:cxn>
                  <a:cxn ang="0">
                    <a:pos x="T4" y="T5"/>
                  </a:cxn>
                  <a:cxn ang="0">
                    <a:pos x="T6" y="T7"/>
                  </a:cxn>
                </a:cxnLst>
                <a:rect l="0" t="0" r="r" b="b"/>
                <a:pathLst>
                  <a:path w="695" h="471">
                    <a:moveTo>
                      <a:pt x="0" y="471"/>
                    </a:moveTo>
                    <a:lnTo>
                      <a:pt x="0" y="471"/>
                    </a:lnTo>
                    <a:lnTo>
                      <a:pt x="695" y="0"/>
                    </a:lnTo>
                    <a:lnTo>
                      <a:pt x="0" y="47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9" name="Freeform 457"/>
              <p:cNvSpPr>
                <a:spLocks/>
              </p:cNvSpPr>
              <p:nvPr/>
            </p:nvSpPr>
            <p:spPr bwMode="auto">
              <a:xfrm>
                <a:off x="-5465763" y="5792787"/>
                <a:ext cx="1524000" cy="1866900"/>
              </a:xfrm>
              <a:custGeom>
                <a:avLst/>
                <a:gdLst>
                  <a:gd name="T0" fmla="*/ 960 w 960"/>
                  <a:gd name="T1" fmla="*/ 1176 h 1176"/>
                  <a:gd name="T2" fmla="*/ 823 w 960"/>
                  <a:gd name="T3" fmla="*/ 1176 h 1176"/>
                  <a:gd name="T4" fmla="*/ 0 w 960"/>
                  <a:gd name="T5" fmla="*/ 0 h 1176"/>
                  <a:gd name="T6" fmla="*/ 788 w 960"/>
                  <a:gd name="T7" fmla="*/ 317 h 1176"/>
                  <a:gd name="T8" fmla="*/ 960 w 960"/>
                  <a:gd name="T9" fmla="*/ 1176 h 1176"/>
                </a:gdLst>
                <a:ahLst/>
                <a:cxnLst>
                  <a:cxn ang="0">
                    <a:pos x="T0" y="T1"/>
                  </a:cxn>
                  <a:cxn ang="0">
                    <a:pos x="T2" y="T3"/>
                  </a:cxn>
                  <a:cxn ang="0">
                    <a:pos x="T4" y="T5"/>
                  </a:cxn>
                  <a:cxn ang="0">
                    <a:pos x="T6" y="T7"/>
                  </a:cxn>
                  <a:cxn ang="0">
                    <a:pos x="T8" y="T9"/>
                  </a:cxn>
                </a:cxnLst>
                <a:rect l="0" t="0" r="r" b="b"/>
                <a:pathLst>
                  <a:path w="960" h="1176">
                    <a:moveTo>
                      <a:pt x="960" y="1176"/>
                    </a:moveTo>
                    <a:lnTo>
                      <a:pt x="823" y="1176"/>
                    </a:lnTo>
                    <a:lnTo>
                      <a:pt x="0" y="0"/>
                    </a:lnTo>
                    <a:lnTo>
                      <a:pt x="788" y="317"/>
                    </a:lnTo>
                    <a:lnTo>
                      <a:pt x="960" y="117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0" name="Rectangle 458"/>
              <p:cNvSpPr>
                <a:spLocks noChangeArrowheads="1"/>
              </p:cNvSpPr>
              <p:nvPr/>
            </p:nvSpPr>
            <p:spPr bwMode="auto">
              <a:xfrm>
                <a:off x="-5465763" y="5792787"/>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1" name="Freeform 459"/>
              <p:cNvSpPr>
                <a:spLocks/>
              </p:cNvSpPr>
              <p:nvPr/>
            </p:nvSpPr>
            <p:spPr bwMode="auto">
              <a:xfrm>
                <a:off x="-6540500" y="5792787"/>
                <a:ext cx="2381250" cy="1866900"/>
              </a:xfrm>
              <a:custGeom>
                <a:avLst/>
                <a:gdLst>
                  <a:gd name="T0" fmla="*/ 1500 w 1500"/>
                  <a:gd name="T1" fmla="*/ 1176 h 1176"/>
                  <a:gd name="T2" fmla="*/ 1072 w 1500"/>
                  <a:gd name="T3" fmla="*/ 1176 h 1176"/>
                  <a:gd name="T4" fmla="*/ 0 w 1500"/>
                  <a:gd name="T5" fmla="*/ 705 h 1176"/>
                  <a:gd name="T6" fmla="*/ 677 w 1500"/>
                  <a:gd name="T7" fmla="*/ 0 h 1176"/>
                  <a:gd name="T8" fmla="*/ 677 w 1500"/>
                  <a:gd name="T9" fmla="*/ 0 h 1176"/>
                  <a:gd name="T10" fmla="*/ 1500 w 1500"/>
                  <a:gd name="T11" fmla="*/ 1176 h 1176"/>
                </a:gdLst>
                <a:ahLst/>
                <a:cxnLst>
                  <a:cxn ang="0">
                    <a:pos x="T0" y="T1"/>
                  </a:cxn>
                  <a:cxn ang="0">
                    <a:pos x="T2" y="T3"/>
                  </a:cxn>
                  <a:cxn ang="0">
                    <a:pos x="T4" y="T5"/>
                  </a:cxn>
                  <a:cxn ang="0">
                    <a:pos x="T6" y="T7"/>
                  </a:cxn>
                  <a:cxn ang="0">
                    <a:pos x="T8" y="T9"/>
                  </a:cxn>
                  <a:cxn ang="0">
                    <a:pos x="T10" y="T11"/>
                  </a:cxn>
                </a:cxnLst>
                <a:rect l="0" t="0" r="r" b="b"/>
                <a:pathLst>
                  <a:path w="1500" h="1176">
                    <a:moveTo>
                      <a:pt x="1500" y="1176"/>
                    </a:moveTo>
                    <a:lnTo>
                      <a:pt x="1072" y="1176"/>
                    </a:lnTo>
                    <a:lnTo>
                      <a:pt x="0" y="705"/>
                    </a:lnTo>
                    <a:lnTo>
                      <a:pt x="677" y="0"/>
                    </a:lnTo>
                    <a:lnTo>
                      <a:pt x="677" y="0"/>
                    </a:lnTo>
                    <a:lnTo>
                      <a:pt x="150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2" name="Freeform 460"/>
              <p:cNvSpPr>
                <a:spLocks/>
              </p:cNvSpPr>
              <p:nvPr/>
            </p:nvSpPr>
            <p:spPr bwMode="auto">
              <a:xfrm>
                <a:off x="-4214813" y="6296025"/>
                <a:ext cx="1620838" cy="1363663"/>
              </a:xfrm>
              <a:custGeom>
                <a:avLst/>
                <a:gdLst>
                  <a:gd name="T0" fmla="*/ 1021 w 1021"/>
                  <a:gd name="T1" fmla="*/ 859 h 859"/>
                  <a:gd name="T2" fmla="*/ 172 w 1021"/>
                  <a:gd name="T3" fmla="*/ 859 h 859"/>
                  <a:gd name="T4" fmla="*/ 0 w 1021"/>
                  <a:gd name="T5" fmla="*/ 0 h 859"/>
                  <a:gd name="T6" fmla="*/ 1021 w 1021"/>
                  <a:gd name="T7" fmla="*/ 859 h 859"/>
                </a:gdLst>
                <a:ahLst/>
                <a:cxnLst>
                  <a:cxn ang="0">
                    <a:pos x="T0" y="T1"/>
                  </a:cxn>
                  <a:cxn ang="0">
                    <a:pos x="T2" y="T3"/>
                  </a:cxn>
                  <a:cxn ang="0">
                    <a:pos x="T4" y="T5"/>
                  </a:cxn>
                  <a:cxn ang="0">
                    <a:pos x="T6" y="T7"/>
                  </a:cxn>
                </a:cxnLst>
                <a:rect l="0" t="0" r="r" b="b"/>
                <a:pathLst>
                  <a:path w="1021" h="859">
                    <a:moveTo>
                      <a:pt x="1021" y="859"/>
                    </a:moveTo>
                    <a:lnTo>
                      <a:pt x="172" y="859"/>
                    </a:lnTo>
                    <a:lnTo>
                      <a:pt x="0" y="0"/>
                    </a:lnTo>
                    <a:lnTo>
                      <a:pt x="1021" y="8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3" name="Freeform 461"/>
              <p:cNvSpPr>
                <a:spLocks/>
              </p:cNvSpPr>
              <p:nvPr/>
            </p:nvSpPr>
            <p:spPr bwMode="auto">
              <a:xfrm>
                <a:off x="-6540500" y="6911975"/>
                <a:ext cx="1701800" cy="747713"/>
              </a:xfrm>
              <a:custGeom>
                <a:avLst/>
                <a:gdLst>
                  <a:gd name="T0" fmla="*/ 1072 w 1072"/>
                  <a:gd name="T1" fmla="*/ 471 h 471"/>
                  <a:gd name="T2" fmla="*/ 254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254" y="471"/>
                    </a:lnTo>
                    <a:lnTo>
                      <a:pt x="0" y="0"/>
                    </a:lnTo>
                    <a:lnTo>
                      <a:pt x="1072" y="471"/>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4" name="Line 462"/>
              <p:cNvSpPr>
                <a:spLocks noChangeShapeType="1"/>
              </p:cNvSpPr>
              <p:nvPr/>
            </p:nvSpPr>
            <p:spPr bwMode="auto">
              <a:xfrm>
                <a:off x="-6137275" y="76596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5" name="Freeform 463"/>
              <p:cNvSpPr>
                <a:spLocks/>
              </p:cNvSpPr>
              <p:nvPr/>
            </p:nvSpPr>
            <p:spPr bwMode="auto">
              <a:xfrm>
                <a:off x="-6540500" y="6911975"/>
                <a:ext cx="403225" cy="747713"/>
              </a:xfrm>
              <a:custGeom>
                <a:avLst/>
                <a:gdLst>
                  <a:gd name="T0" fmla="*/ 254 w 254"/>
                  <a:gd name="T1" fmla="*/ 471 h 471"/>
                  <a:gd name="T2" fmla="*/ 254 w 254"/>
                  <a:gd name="T3" fmla="*/ 471 h 471"/>
                  <a:gd name="T4" fmla="*/ 0 w 254"/>
                  <a:gd name="T5" fmla="*/ 0 h 471"/>
                  <a:gd name="T6" fmla="*/ 254 w 254"/>
                  <a:gd name="T7" fmla="*/ 471 h 471"/>
                </a:gdLst>
                <a:ahLst/>
                <a:cxnLst>
                  <a:cxn ang="0">
                    <a:pos x="T0" y="T1"/>
                  </a:cxn>
                  <a:cxn ang="0">
                    <a:pos x="T2" y="T3"/>
                  </a:cxn>
                  <a:cxn ang="0">
                    <a:pos x="T4" y="T5"/>
                  </a:cxn>
                  <a:cxn ang="0">
                    <a:pos x="T6" y="T7"/>
                  </a:cxn>
                </a:cxnLst>
                <a:rect l="0" t="0" r="r" b="b"/>
                <a:pathLst>
                  <a:path w="254" h="471">
                    <a:moveTo>
                      <a:pt x="254" y="471"/>
                    </a:moveTo>
                    <a:lnTo>
                      <a:pt x="254" y="471"/>
                    </a:lnTo>
                    <a:lnTo>
                      <a:pt x="0" y="0"/>
                    </a:lnTo>
                    <a:lnTo>
                      <a:pt x="254" y="471"/>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6" name="Freeform 464"/>
              <p:cNvSpPr>
                <a:spLocks/>
              </p:cNvSpPr>
              <p:nvPr/>
            </p:nvSpPr>
            <p:spPr bwMode="auto">
              <a:xfrm>
                <a:off x="-6540500" y="6911975"/>
                <a:ext cx="1701800" cy="747713"/>
              </a:xfrm>
              <a:custGeom>
                <a:avLst/>
                <a:gdLst>
                  <a:gd name="T0" fmla="*/ 1072 w 1072"/>
                  <a:gd name="T1" fmla="*/ 471 h 471"/>
                  <a:gd name="T2" fmla="*/ 1072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1072" y="471"/>
                    </a:lnTo>
                    <a:lnTo>
                      <a:pt x="0" y="0"/>
                    </a:lnTo>
                    <a:lnTo>
                      <a:pt x="1072" y="47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7" name="Freeform 465"/>
              <p:cNvSpPr>
                <a:spLocks/>
              </p:cNvSpPr>
              <p:nvPr/>
            </p:nvSpPr>
            <p:spPr bwMode="auto">
              <a:xfrm>
                <a:off x="-3327400" y="-3540126"/>
                <a:ext cx="2473325" cy="2046288"/>
              </a:xfrm>
              <a:custGeom>
                <a:avLst/>
                <a:gdLst>
                  <a:gd name="T0" fmla="*/ 0 w 1558"/>
                  <a:gd name="T1" fmla="*/ 1289 h 1289"/>
                  <a:gd name="T2" fmla="*/ 916 w 1558"/>
                  <a:gd name="T3" fmla="*/ 0 h 1289"/>
                  <a:gd name="T4" fmla="*/ 1558 w 1558"/>
                  <a:gd name="T5" fmla="*/ 541 h 1289"/>
                  <a:gd name="T6" fmla="*/ 1558 w 1558"/>
                  <a:gd name="T7" fmla="*/ 890 h 1289"/>
                  <a:gd name="T8" fmla="*/ 0 w 1558"/>
                  <a:gd name="T9" fmla="*/ 1289 h 1289"/>
                </a:gdLst>
                <a:ahLst/>
                <a:cxnLst>
                  <a:cxn ang="0">
                    <a:pos x="T0" y="T1"/>
                  </a:cxn>
                  <a:cxn ang="0">
                    <a:pos x="T2" y="T3"/>
                  </a:cxn>
                  <a:cxn ang="0">
                    <a:pos x="T4" y="T5"/>
                  </a:cxn>
                  <a:cxn ang="0">
                    <a:pos x="T6" y="T7"/>
                  </a:cxn>
                  <a:cxn ang="0">
                    <a:pos x="T8" y="T9"/>
                  </a:cxn>
                </a:cxnLst>
                <a:rect l="0" t="0" r="r" b="b"/>
                <a:pathLst>
                  <a:path w="1558" h="1289">
                    <a:moveTo>
                      <a:pt x="0" y="1289"/>
                    </a:moveTo>
                    <a:lnTo>
                      <a:pt x="916" y="0"/>
                    </a:lnTo>
                    <a:lnTo>
                      <a:pt x="1558" y="541"/>
                    </a:lnTo>
                    <a:lnTo>
                      <a:pt x="1558" y="890"/>
                    </a:lnTo>
                    <a:lnTo>
                      <a:pt x="0" y="128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8" name="Freeform 466"/>
              <p:cNvSpPr>
                <a:spLocks/>
              </p:cNvSpPr>
              <p:nvPr/>
            </p:nvSpPr>
            <p:spPr bwMode="auto">
              <a:xfrm>
                <a:off x="-2697163" y="-4110038"/>
                <a:ext cx="1154113" cy="569913"/>
              </a:xfrm>
              <a:custGeom>
                <a:avLst/>
                <a:gdLst>
                  <a:gd name="T0" fmla="*/ 519 w 727"/>
                  <a:gd name="T1" fmla="*/ 359 h 359"/>
                  <a:gd name="T2" fmla="*/ 519 w 727"/>
                  <a:gd name="T3" fmla="*/ 359 h 359"/>
                  <a:gd name="T4" fmla="*/ 0 w 727"/>
                  <a:gd name="T5" fmla="*/ 0 h 359"/>
                  <a:gd name="T6" fmla="*/ 727 w 727"/>
                  <a:gd name="T7" fmla="*/ 0 h 359"/>
                  <a:gd name="T8" fmla="*/ 519 w 727"/>
                  <a:gd name="T9" fmla="*/ 359 h 359"/>
                </a:gdLst>
                <a:ahLst/>
                <a:cxnLst>
                  <a:cxn ang="0">
                    <a:pos x="T0" y="T1"/>
                  </a:cxn>
                  <a:cxn ang="0">
                    <a:pos x="T2" y="T3"/>
                  </a:cxn>
                  <a:cxn ang="0">
                    <a:pos x="T4" y="T5"/>
                  </a:cxn>
                  <a:cxn ang="0">
                    <a:pos x="T6" y="T7"/>
                  </a:cxn>
                  <a:cxn ang="0">
                    <a:pos x="T8" y="T9"/>
                  </a:cxn>
                </a:cxnLst>
                <a:rect l="0" t="0" r="r" b="b"/>
                <a:pathLst>
                  <a:path w="727" h="359">
                    <a:moveTo>
                      <a:pt x="519" y="359"/>
                    </a:moveTo>
                    <a:lnTo>
                      <a:pt x="519" y="359"/>
                    </a:lnTo>
                    <a:lnTo>
                      <a:pt x="0" y="0"/>
                    </a:lnTo>
                    <a:lnTo>
                      <a:pt x="727" y="0"/>
                    </a:lnTo>
                    <a:lnTo>
                      <a:pt x="519"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9" name="Freeform 467"/>
              <p:cNvSpPr>
                <a:spLocks/>
              </p:cNvSpPr>
              <p:nvPr/>
            </p:nvSpPr>
            <p:spPr bwMode="auto">
              <a:xfrm>
                <a:off x="-1873250" y="-3540126"/>
                <a:ext cx="1019175" cy="858838"/>
              </a:xfrm>
              <a:custGeom>
                <a:avLst/>
                <a:gdLst>
                  <a:gd name="T0" fmla="*/ 642 w 642"/>
                  <a:gd name="T1" fmla="*/ 541 h 541"/>
                  <a:gd name="T2" fmla="*/ 0 w 642"/>
                  <a:gd name="T3" fmla="*/ 0 h 541"/>
                  <a:gd name="T4" fmla="*/ 642 w 642"/>
                  <a:gd name="T5" fmla="*/ 0 h 541"/>
                  <a:gd name="T6" fmla="*/ 642 w 642"/>
                  <a:gd name="T7" fmla="*/ 541 h 541"/>
                </a:gdLst>
                <a:ahLst/>
                <a:cxnLst>
                  <a:cxn ang="0">
                    <a:pos x="T0" y="T1"/>
                  </a:cxn>
                  <a:cxn ang="0">
                    <a:pos x="T2" y="T3"/>
                  </a:cxn>
                  <a:cxn ang="0">
                    <a:pos x="T4" y="T5"/>
                  </a:cxn>
                  <a:cxn ang="0">
                    <a:pos x="T6" y="T7"/>
                  </a:cxn>
                </a:cxnLst>
                <a:rect l="0" t="0" r="r" b="b"/>
                <a:pathLst>
                  <a:path w="642" h="541">
                    <a:moveTo>
                      <a:pt x="642" y="541"/>
                    </a:moveTo>
                    <a:lnTo>
                      <a:pt x="0" y="0"/>
                    </a:lnTo>
                    <a:lnTo>
                      <a:pt x="642" y="0"/>
                    </a:lnTo>
                    <a:lnTo>
                      <a:pt x="642" y="541"/>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0" name="Freeform 468"/>
              <p:cNvSpPr>
                <a:spLocks/>
              </p:cNvSpPr>
              <p:nvPr/>
            </p:nvSpPr>
            <p:spPr bwMode="auto">
              <a:xfrm>
                <a:off x="-3668713" y="-4110038"/>
                <a:ext cx="1795463" cy="569913"/>
              </a:xfrm>
              <a:custGeom>
                <a:avLst/>
                <a:gdLst>
                  <a:gd name="T0" fmla="*/ 1131 w 1131"/>
                  <a:gd name="T1" fmla="*/ 359 h 359"/>
                  <a:gd name="T2" fmla="*/ 0 w 1131"/>
                  <a:gd name="T3" fmla="*/ 359 h 359"/>
                  <a:gd name="T4" fmla="*/ 285 w 1131"/>
                  <a:gd name="T5" fmla="*/ 0 h 359"/>
                  <a:gd name="T6" fmla="*/ 612 w 1131"/>
                  <a:gd name="T7" fmla="*/ 0 h 359"/>
                  <a:gd name="T8" fmla="*/ 1131 w 1131"/>
                  <a:gd name="T9" fmla="*/ 359 h 359"/>
                </a:gdLst>
                <a:ahLst/>
                <a:cxnLst>
                  <a:cxn ang="0">
                    <a:pos x="T0" y="T1"/>
                  </a:cxn>
                  <a:cxn ang="0">
                    <a:pos x="T2" y="T3"/>
                  </a:cxn>
                  <a:cxn ang="0">
                    <a:pos x="T4" y="T5"/>
                  </a:cxn>
                  <a:cxn ang="0">
                    <a:pos x="T6" y="T7"/>
                  </a:cxn>
                  <a:cxn ang="0">
                    <a:pos x="T8" y="T9"/>
                  </a:cxn>
                </a:cxnLst>
                <a:rect l="0" t="0" r="r" b="b"/>
                <a:pathLst>
                  <a:path w="1131" h="359">
                    <a:moveTo>
                      <a:pt x="1131" y="359"/>
                    </a:moveTo>
                    <a:lnTo>
                      <a:pt x="0" y="359"/>
                    </a:lnTo>
                    <a:lnTo>
                      <a:pt x="285" y="0"/>
                    </a:lnTo>
                    <a:lnTo>
                      <a:pt x="612" y="0"/>
                    </a:lnTo>
                    <a:lnTo>
                      <a:pt x="1131"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1" name="Freeform 469"/>
              <p:cNvSpPr>
                <a:spLocks/>
              </p:cNvSpPr>
              <p:nvPr/>
            </p:nvSpPr>
            <p:spPr bwMode="auto">
              <a:xfrm>
                <a:off x="-1873250" y="-4110038"/>
                <a:ext cx="1019175" cy="569913"/>
              </a:xfrm>
              <a:custGeom>
                <a:avLst/>
                <a:gdLst>
                  <a:gd name="T0" fmla="*/ 642 w 642"/>
                  <a:gd name="T1" fmla="*/ 359 h 359"/>
                  <a:gd name="T2" fmla="*/ 0 w 642"/>
                  <a:gd name="T3" fmla="*/ 359 h 359"/>
                  <a:gd name="T4" fmla="*/ 208 w 642"/>
                  <a:gd name="T5" fmla="*/ 0 h 359"/>
                  <a:gd name="T6" fmla="*/ 642 w 642"/>
                  <a:gd name="T7" fmla="*/ 0 h 359"/>
                  <a:gd name="T8" fmla="*/ 642 w 642"/>
                  <a:gd name="T9" fmla="*/ 359 h 359"/>
                </a:gdLst>
                <a:ahLst/>
                <a:cxnLst>
                  <a:cxn ang="0">
                    <a:pos x="T0" y="T1"/>
                  </a:cxn>
                  <a:cxn ang="0">
                    <a:pos x="T2" y="T3"/>
                  </a:cxn>
                  <a:cxn ang="0">
                    <a:pos x="T4" y="T5"/>
                  </a:cxn>
                  <a:cxn ang="0">
                    <a:pos x="T6" y="T7"/>
                  </a:cxn>
                  <a:cxn ang="0">
                    <a:pos x="T8" y="T9"/>
                  </a:cxn>
                </a:cxnLst>
                <a:rect l="0" t="0" r="r" b="b"/>
                <a:pathLst>
                  <a:path w="642" h="359">
                    <a:moveTo>
                      <a:pt x="642" y="359"/>
                    </a:moveTo>
                    <a:lnTo>
                      <a:pt x="0" y="359"/>
                    </a:lnTo>
                    <a:lnTo>
                      <a:pt x="208" y="0"/>
                    </a:lnTo>
                    <a:lnTo>
                      <a:pt x="642" y="0"/>
                    </a:lnTo>
                    <a:lnTo>
                      <a:pt x="642"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2" name="Freeform 470"/>
              <p:cNvSpPr>
                <a:spLocks/>
              </p:cNvSpPr>
              <p:nvPr/>
            </p:nvSpPr>
            <p:spPr bwMode="auto">
              <a:xfrm>
                <a:off x="-3668713" y="-3540126"/>
                <a:ext cx="1795463" cy="2046288"/>
              </a:xfrm>
              <a:custGeom>
                <a:avLst/>
                <a:gdLst>
                  <a:gd name="T0" fmla="*/ 215 w 1131"/>
                  <a:gd name="T1" fmla="*/ 1289 h 1289"/>
                  <a:gd name="T2" fmla="*/ 150 w 1131"/>
                  <a:gd name="T3" fmla="*/ 902 h 1289"/>
                  <a:gd name="T4" fmla="*/ 0 w 1131"/>
                  <a:gd name="T5" fmla="*/ 0 h 1289"/>
                  <a:gd name="T6" fmla="*/ 0 w 1131"/>
                  <a:gd name="T7" fmla="*/ 0 h 1289"/>
                  <a:gd name="T8" fmla="*/ 0 w 1131"/>
                  <a:gd name="T9" fmla="*/ 0 h 1289"/>
                  <a:gd name="T10" fmla="*/ 1131 w 1131"/>
                  <a:gd name="T11" fmla="*/ 0 h 1289"/>
                  <a:gd name="T12" fmla="*/ 215 w 1131"/>
                  <a:gd name="T13" fmla="*/ 1289 h 1289"/>
                </a:gdLst>
                <a:ahLst/>
                <a:cxnLst>
                  <a:cxn ang="0">
                    <a:pos x="T0" y="T1"/>
                  </a:cxn>
                  <a:cxn ang="0">
                    <a:pos x="T2" y="T3"/>
                  </a:cxn>
                  <a:cxn ang="0">
                    <a:pos x="T4" y="T5"/>
                  </a:cxn>
                  <a:cxn ang="0">
                    <a:pos x="T6" y="T7"/>
                  </a:cxn>
                  <a:cxn ang="0">
                    <a:pos x="T8" y="T9"/>
                  </a:cxn>
                  <a:cxn ang="0">
                    <a:pos x="T10" y="T11"/>
                  </a:cxn>
                  <a:cxn ang="0">
                    <a:pos x="T12" y="T13"/>
                  </a:cxn>
                </a:cxnLst>
                <a:rect l="0" t="0" r="r" b="b"/>
                <a:pathLst>
                  <a:path w="1131" h="1289">
                    <a:moveTo>
                      <a:pt x="215" y="1289"/>
                    </a:moveTo>
                    <a:lnTo>
                      <a:pt x="150" y="902"/>
                    </a:lnTo>
                    <a:lnTo>
                      <a:pt x="0" y="0"/>
                    </a:lnTo>
                    <a:lnTo>
                      <a:pt x="0" y="0"/>
                    </a:lnTo>
                    <a:lnTo>
                      <a:pt x="0" y="0"/>
                    </a:lnTo>
                    <a:lnTo>
                      <a:pt x="1131" y="0"/>
                    </a:lnTo>
                    <a:lnTo>
                      <a:pt x="215" y="128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3" name="Freeform 471"/>
              <p:cNvSpPr>
                <a:spLocks/>
              </p:cNvSpPr>
              <p:nvPr/>
            </p:nvSpPr>
            <p:spPr bwMode="auto">
              <a:xfrm>
                <a:off x="-3668713" y="-35401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4" name="Freeform 472"/>
              <p:cNvSpPr>
                <a:spLocks/>
              </p:cNvSpPr>
              <p:nvPr/>
            </p:nvSpPr>
            <p:spPr bwMode="auto">
              <a:xfrm>
                <a:off x="-3668713" y="-3540126"/>
                <a:ext cx="238125" cy="1431925"/>
              </a:xfrm>
              <a:custGeom>
                <a:avLst/>
                <a:gdLst>
                  <a:gd name="T0" fmla="*/ 150 w 150"/>
                  <a:gd name="T1" fmla="*/ 902 h 902"/>
                  <a:gd name="T2" fmla="*/ 0 w 150"/>
                  <a:gd name="T3" fmla="*/ 0 h 902"/>
                  <a:gd name="T4" fmla="*/ 0 w 150"/>
                  <a:gd name="T5" fmla="*/ 0 h 902"/>
                  <a:gd name="T6" fmla="*/ 150 w 150"/>
                  <a:gd name="T7" fmla="*/ 902 h 902"/>
                </a:gdLst>
                <a:ahLst/>
                <a:cxnLst>
                  <a:cxn ang="0">
                    <a:pos x="T0" y="T1"/>
                  </a:cxn>
                  <a:cxn ang="0">
                    <a:pos x="T2" y="T3"/>
                  </a:cxn>
                  <a:cxn ang="0">
                    <a:pos x="T4" y="T5"/>
                  </a:cxn>
                  <a:cxn ang="0">
                    <a:pos x="T6" y="T7"/>
                  </a:cxn>
                </a:cxnLst>
                <a:rect l="0" t="0" r="r" b="b"/>
                <a:pathLst>
                  <a:path w="150" h="902">
                    <a:moveTo>
                      <a:pt x="150" y="902"/>
                    </a:moveTo>
                    <a:lnTo>
                      <a:pt x="0" y="0"/>
                    </a:lnTo>
                    <a:lnTo>
                      <a:pt x="0" y="0"/>
                    </a:lnTo>
                    <a:lnTo>
                      <a:pt x="150" y="902"/>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5" name="Freeform 473"/>
              <p:cNvSpPr>
                <a:spLocks/>
              </p:cNvSpPr>
              <p:nvPr/>
            </p:nvSpPr>
            <p:spPr bwMode="auto">
              <a:xfrm>
                <a:off x="-2771775" y="-428626"/>
                <a:ext cx="1917700" cy="2205038"/>
              </a:xfrm>
              <a:custGeom>
                <a:avLst/>
                <a:gdLst>
                  <a:gd name="T0" fmla="*/ 1208 w 1208"/>
                  <a:gd name="T1" fmla="*/ 1389 h 1389"/>
                  <a:gd name="T2" fmla="*/ 0 w 1208"/>
                  <a:gd name="T3" fmla="*/ 979 h 1389"/>
                  <a:gd name="T4" fmla="*/ 566 w 1208"/>
                  <a:gd name="T5" fmla="*/ 0 h 1389"/>
                  <a:gd name="T6" fmla="*/ 566 w 1208"/>
                  <a:gd name="T7" fmla="*/ 0 h 1389"/>
                  <a:gd name="T8" fmla="*/ 566 w 1208"/>
                  <a:gd name="T9" fmla="*/ 0 h 1389"/>
                  <a:gd name="T10" fmla="*/ 566 w 1208"/>
                  <a:gd name="T11" fmla="*/ 0 h 1389"/>
                  <a:gd name="T12" fmla="*/ 566 w 1208"/>
                  <a:gd name="T13" fmla="*/ 0 h 1389"/>
                  <a:gd name="T14" fmla="*/ 1104 w 1208"/>
                  <a:gd name="T15" fmla="*/ 901 h 1389"/>
                  <a:gd name="T16" fmla="*/ 1208 w 1208"/>
                  <a:gd name="T17" fmla="*/ 1075 h 1389"/>
                  <a:gd name="T18" fmla="*/ 1208 w 1208"/>
                  <a:gd name="T19" fmla="*/ 1389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8" h="1389">
                    <a:moveTo>
                      <a:pt x="1208" y="1389"/>
                    </a:moveTo>
                    <a:lnTo>
                      <a:pt x="0" y="979"/>
                    </a:lnTo>
                    <a:lnTo>
                      <a:pt x="566" y="0"/>
                    </a:lnTo>
                    <a:lnTo>
                      <a:pt x="566" y="0"/>
                    </a:lnTo>
                    <a:lnTo>
                      <a:pt x="566" y="0"/>
                    </a:lnTo>
                    <a:lnTo>
                      <a:pt x="566" y="0"/>
                    </a:lnTo>
                    <a:lnTo>
                      <a:pt x="566" y="0"/>
                    </a:lnTo>
                    <a:lnTo>
                      <a:pt x="1104" y="901"/>
                    </a:lnTo>
                    <a:lnTo>
                      <a:pt x="1208" y="1075"/>
                    </a:lnTo>
                    <a:lnTo>
                      <a:pt x="1208" y="138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6" name="Freeform 474"/>
              <p:cNvSpPr>
                <a:spLocks/>
              </p:cNvSpPr>
              <p:nvPr/>
            </p:nvSpPr>
            <p:spPr bwMode="auto">
              <a:xfrm>
                <a:off x="-3327400" y="-2127251"/>
                <a:ext cx="2473325" cy="1698625"/>
              </a:xfrm>
              <a:custGeom>
                <a:avLst/>
                <a:gdLst>
                  <a:gd name="T0" fmla="*/ 916 w 1558"/>
                  <a:gd name="T1" fmla="*/ 1070 h 1070"/>
                  <a:gd name="T2" fmla="*/ 916 w 1558"/>
                  <a:gd name="T3" fmla="*/ 1070 h 1070"/>
                  <a:gd name="T4" fmla="*/ 0 w 1558"/>
                  <a:gd name="T5" fmla="*/ 399 h 1070"/>
                  <a:gd name="T6" fmla="*/ 1558 w 1558"/>
                  <a:gd name="T7" fmla="*/ 0 h 1070"/>
                  <a:gd name="T8" fmla="*/ 1558 w 1558"/>
                  <a:gd name="T9" fmla="*/ 299 h 1070"/>
                  <a:gd name="T10" fmla="*/ 1515 w 1558"/>
                  <a:gd name="T11" fmla="*/ 350 h 1070"/>
                  <a:gd name="T12" fmla="*/ 916 w 1558"/>
                  <a:gd name="T13" fmla="*/ 1070 h 1070"/>
                </a:gdLst>
                <a:ahLst/>
                <a:cxnLst>
                  <a:cxn ang="0">
                    <a:pos x="T0" y="T1"/>
                  </a:cxn>
                  <a:cxn ang="0">
                    <a:pos x="T2" y="T3"/>
                  </a:cxn>
                  <a:cxn ang="0">
                    <a:pos x="T4" y="T5"/>
                  </a:cxn>
                  <a:cxn ang="0">
                    <a:pos x="T6" y="T7"/>
                  </a:cxn>
                  <a:cxn ang="0">
                    <a:pos x="T8" y="T9"/>
                  </a:cxn>
                  <a:cxn ang="0">
                    <a:pos x="T10" y="T11"/>
                  </a:cxn>
                  <a:cxn ang="0">
                    <a:pos x="T12" y="T13"/>
                  </a:cxn>
                </a:cxnLst>
                <a:rect l="0" t="0" r="r" b="b"/>
                <a:pathLst>
                  <a:path w="1558" h="1070">
                    <a:moveTo>
                      <a:pt x="916" y="1070"/>
                    </a:moveTo>
                    <a:lnTo>
                      <a:pt x="916" y="1070"/>
                    </a:lnTo>
                    <a:lnTo>
                      <a:pt x="0" y="399"/>
                    </a:lnTo>
                    <a:lnTo>
                      <a:pt x="1558" y="0"/>
                    </a:lnTo>
                    <a:lnTo>
                      <a:pt x="1558" y="299"/>
                    </a:lnTo>
                    <a:lnTo>
                      <a:pt x="1515" y="350"/>
                    </a:lnTo>
                    <a:lnTo>
                      <a:pt x="916" y="107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7" name="Freeform 475"/>
              <p:cNvSpPr>
                <a:spLocks/>
              </p:cNvSpPr>
              <p:nvPr/>
            </p:nvSpPr>
            <p:spPr bwMode="auto">
              <a:xfrm>
                <a:off x="-1873250" y="-428626"/>
                <a:ext cx="1019175" cy="1706563"/>
              </a:xfrm>
              <a:custGeom>
                <a:avLst/>
                <a:gdLst>
                  <a:gd name="T0" fmla="*/ 642 w 642"/>
                  <a:gd name="T1" fmla="*/ 1075 h 1075"/>
                  <a:gd name="T2" fmla="*/ 538 w 642"/>
                  <a:gd name="T3" fmla="*/ 901 h 1075"/>
                  <a:gd name="T4" fmla="*/ 0 w 642"/>
                  <a:gd name="T5" fmla="*/ 0 h 1075"/>
                  <a:gd name="T6" fmla="*/ 642 w 642"/>
                  <a:gd name="T7" fmla="*/ 193 h 1075"/>
                  <a:gd name="T8" fmla="*/ 642 w 642"/>
                  <a:gd name="T9" fmla="*/ 1075 h 1075"/>
                </a:gdLst>
                <a:ahLst/>
                <a:cxnLst>
                  <a:cxn ang="0">
                    <a:pos x="T0" y="T1"/>
                  </a:cxn>
                  <a:cxn ang="0">
                    <a:pos x="T2" y="T3"/>
                  </a:cxn>
                  <a:cxn ang="0">
                    <a:pos x="T4" y="T5"/>
                  </a:cxn>
                  <a:cxn ang="0">
                    <a:pos x="T6" y="T7"/>
                  </a:cxn>
                  <a:cxn ang="0">
                    <a:pos x="T8" y="T9"/>
                  </a:cxn>
                </a:cxnLst>
                <a:rect l="0" t="0" r="r" b="b"/>
                <a:pathLst>
                  <a:path w="642" h="1075">
                    <a:moveTo>
                      <a:pt x="642" y="1075"/>
                    </a:moveTo>
                    <a:lnTo>
                      <a:pt x="538" y="901"/>
                    </a:lnTo>
                    <a:lnTo>
                      <a:pt x="0" y="0"/>
                    </a:lnTo>
                    <a:lnTo>
                      <a:pt x="642" y="193"/>
                    </a:lnTo>
                    <a:lnTo>
                      <a:pt x="642" y="107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8" name="Freeform 476"/>
              <p:cNvSpPr>
                <a:spLocks/>
              </p:cNvSpPr>
              <p:nvPr/>
            </p:nvSpPr>
            <p:spPr bwMode="auto">
              <a:xfrm>
                <a:off x="-3327400" y="-1493838"/>
                <a:ext cx="1454150" cy="1654175"/>
              </a:xfrm>
              <a:custGeom>
                <a:avLst/>
                <a:gdLst>
                  <a:gd name="T0" fmla="*/ 218 w 916"/>
                  <a:gd name="T1" fmla="*/ 1042 h 1042"/>
                  <a:gd name="T2" fmla="*/ 218 w 916"/>
                  <a:gd name="T3" fmla="*/ 1042 h 1042"/>
                  <a:gd name="T4" fmla="*/ 0 w 916"/>
                  <a:gd name="T5" fmla="*/ 0 h 1042"/>
                  <a:gd name="T6" fmla="*/ 916 w 916"/>
                  <a:gd name="T7" fmla="*/ 671 h 1042"/>
                  <a:gd name="T8" fmla="*/ 916 w 916"/>
                  <a:gd name="T9" fmla="*/ 671 h 1042"/>
                  <a:gd name="T10" fmla="*/ 218 w 916"/>
                  <a:gd name="T11" fmla="*/ 1042 h 1042"/>
                </a:gdLst>
                <a:ahLst/>
                <a:cxnLst>
                  <a:cxn ang="0">
                    <a:pos x="T0" y="T1"/>
                  </a:cxn>
                  <a:cxn ang="0">
                    <a:pos x="T2" y="T3"/>
                  </a:cxn>
                  <a:cxn ang="0">
                    <a:pos x="T4" y="T5"/>
                  </a:cxn>
                  <a:cxn ang="0">
                    <a:pos x="T6" y="T7"/>
                  </a:cxn>
                  <a:cxn ang="0">
                    <a:pos x="T8" y="T9"/>
                  </a:cxn>
                  <a:cxn ang="0">
                    <a:pos x="T10" y="T11"/>
                  </a:cxn>
                </a:cxnLst>
                <a:rect l="0" t="0" r="r" b="b"/>
                <a:pathLst>
                  <a:path w="916" h="1042">
                    <a:moveTo>
                      <a:pt x="218" y="1042"/>
                    </a:moveTo>
                    <a:lnTo>
                      <a:pt x="218" y="1042"/>
                    </a:lnTo>
                    <a:lnTo>
                      <a:pt x="0" y="0"/>
                    </a:lnTo>
                    <a:lnTo>
                      <a:pt x="916" y="671"/>
                    </a:lnTo>
                    <a:lnTo>
                      <a:pt x="916" y="671"/>
                    </a:lnTo>
                    <a:lnTo>
                      <a:pt x="218" y="10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9" name="Freeform 477"/>
              <p:cNvSpPr>
                <a:spLocks/>
              </p:cNvSpPr>
              <p:nvPr/>
            </p:nvSpPr>
            <p:spPr bwMode="auto">
              <a:xfrm>
                <a:off x="-1873250" y="-1652588"/>
                <a:ext cx="1019175" cy="1530350"/>
              </a:xfrm>
              <a:custGeom>
                <a:avLst/>
                <a:gdLst>
                  <a:gd name="T0" fmla="*/ 642 w 642"/>
                  <a:gd name="T1" fmla="*/ 964 h 964"/>
                  <a:gd name="T2" fmla="*/ 0 w 642"/>
                  <a:gd name="T3" fmla="*/ 771 h 964"/>
                  <a:gd name="T4" fmla="*/ 0 w 642"/>
                  <a:gd name="T5" fmla="*/ 771 h 964"/>
                  <a:gd name="T6" fmla="*/ 599 w 642"/>
                  <a:gd name="T7" fmla="*/ 51 h 964"/>
                  <a:gd name="T8" fmla="*/ 642 w 642"/>
                  <a:gd name="T9" fmla="*/ 0 h 964"/>
                  <a:gd name="T10" fmla="*/ 642 w 642"/>
                  <a:gd name="T11" fmla="*/ 964 h 964"/>
                </a:gdLst>
                <a:ahLst/>
                <a:cxnLst>
                  <a:cxn ang="0">
                    <a:pos x="T0" y="T1"/>
                  </a:cxn>
                  <a:cxn ang="0">
                    <a:pos x="T2" y="T3"/>
                  </a:cxn>
                  <a:cxn ang="0">
                    <a:pos x="T4" y="T5"/>
                  </a:cxn>
                  <a:cxn ang="0">
                    <a:pos x="T6" y="T7"/>
                  </a:cxn>
                  <a:cxn ang="0">
                    <a:pos x="T8" y="T9"/>
                  </a:cxn>
                  <a:cxn ang="0">
                    <a:pos x="T10" y="T11"/>
                  </a:cxn>
                </a:cxnLst>
                <a:rect l="0" t="0" r="r" b="b"/>
                <a:pathLst>
                  <a:path w="642" h="964">
                    <a:moveTo>
                      <a:pt x="642" y="964"/>
                    </a:moveTo>
                    <a:lnTo>
                      <a:pt x="0" y="771"/>
                    </a:lnTo>
                    <a:lnTo>
                      <a:pt x="0" y="771"/>
                    </a:lnTo>
                    <a:lnTo>
                      <a:pt x="599" y="51"/>
                    </a:lnTo>
                    <a:lnTo>
                      <a:pt x="642" y="0"/>
                    </a:lnTo>
                    <a:lnTo>
                      <a:pt x="642" y="964"/>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0" name="Freeform 478"/>
              <p:cNvSpPr>
                <a:spLocks/>
              </p:cNvSpPr>
              <p:nvPr/>
            </p:nvSpPr>
            <p:spPr bwMode="auto">
              <a:xfrm>
                <a:off x="-922338" y="-1652588"/>
                <a:ext cx="68263" cy="80963"/>
              </a:xfrm>
              <a:custGeom>
                <a:avLst/>
                <a:gdLst>
                  <a:gd name="T0" fmla="*/ 0 w 43"/>
                  <a:gd name="T1" fmla="*/ 51 h 51"/>
                  <a:gd name="T2" fmla="*/ 43 w 43"/>
                  <a:gd name="T3" fmla="*/ 0 h 51"/>
                  <a:gd name="T4" fmla="*/ 43 w 43"/>
                  <a:gd name="T5" fmla="*/ 0 h 51"/>
                  <a:gd name="T6" fmla="*/ 0 w 43"/>
                  <a:gd name="T7" fmla="*/ 51 h 51"/>
                </a:gdLst>
                <a:ahLst/>
                <a:cxnLst>
                  <a:cxn ang="0">
                    <a:pos x="T0" y="T1"/>
                  </a:cxn>
                  <a:cxn ang="0">
                    <a:pos x="T2" y="T3"/>
                  </a:cxn>
                  <a:cxn ang="0">
                    <a:pos x="T4" y="T5"/>
                  </a:cxn>
                  <a:cxn ang="0">
                    <a:pos x="T6" y="T7"/>
                  </a:cxn>
                </a:cxnLst>
                <a:rect l="0" t="0" r="r" b="b"/>
                <a:pathLst>
                  <a:path w="43" h="51">
                    <a:moveTo>
                      <a:pt x="0" y="51"/>
                    </a:moveTo>
                    <a:lnTo>
                      <a:pt x="43" y="0"/>
                    </a:lnTo>
                    <a:lnTo>
                      <a:pt x="43" y="0"/>
                    </a:lnTo>
                    <a:lnTo>
                      <a:pt x="0" y="51"/>
                    </a:lnTo>
                    <a:close/>
                  </a:path>
                </a:pathLst>
              </a:custGeom>
              <a:solidFill>
                <a:srgbClr val="5A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1" name="Freeform 479"/>
              <p:cNvSpPr>
                <a:spLocks/>
              </p:cNvSpPr>
              <p:nvPr/>
            </p:nvSpPr>
            <p:spPr bwMode="auto">
              <a:xfrm>
                <a:off x="-2981325" y="-428626"/>
                <a:ext cx="1108075" cy="1554163"/>
              </a:xfrm>
              <a:custGeom>
                <a:avLst/>
                <a:gdLst>
                  <a:gd name="T0" fmla="*/ 132 w 698"/>
                  <a:gd name="T1" fmla="*/ 979 h 979"/>
                  <a:gd name="T2" fmla="*/ 78 w 698"/>
                  <a:gd name="T3" fmla="*/ 730 h 979"/>
                  <a:gd name="T4" fmla="*/ 0 w 698"/>
                  <a:gd name="T5" fmla="*/ 371 h 979"/>
                  <a:gd name="T6" fmla="*/ 0 w 698"/>
                  <a:gd name="T7" fmla="*/ 371 h 979"/>
                  <a:gd name="T8" fmla="*/ 698 w 698"/>
                  <a:gd name="T9" fmla="*/ 0 h 979"/>
                  <a:gd name="T10" fmla="*/ 132 w 698"/>
                  <a:gd name="T11" fmla="*/ 979 h 979"/>
                </a:gdLst>
                <a:ahLst/>
                <a:cxnLst>
                  <a:cxn ang="0">
                    <a:pos x="T0" y="T1"/>
                  </a:cxn>
                  <a:cxn ang="0">
                    <a:pos x="T2" y="T3"/>
                  </a:cxn>
                  <a:cxn ang="0">
                    <a:pos x="T4" y="T5"/>
                  </a:cxn>
                  <a:cxn ang="0">
                    <a:pos x="T6" y="T7"/>
                  </a:cxn>
                  <a:cxn ang="0">
                    <a:pos x="T8" y="T9"/>
                  </a:cxn>
                  <a:cxn ang="0">
                    <a:pos x="T10" y="T11"/>
                  </a:cxn>
                </a:cxnLst>
                <a:rect l="0" t="0" r="r" b="b"/>
                <a:pathLst>
                  <a:path w="698" h="979">
                    <a:moveTo>
                      <a:pt x="132" y="979"/>
                    </a:moveTo>
                    <a:lnTo>
                      <a:pt x="78" y="730"/>
                    </a:lnTo>
                    <a:lnTo>
                      <a:pt x="0" y="371"/>
                    </a:lnTo>
                    <a:lnTo>
                      <a:pt x="0" y="371"/>
                    </a:lnTo>
                    <a:lnTo>
                      <a:pt x="698" y="0"/>
                    </a:lnTo>
                    <a:lnTo>
                      <a:pt x="132" y="97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2" name="Freeform 480"/>
              <p:cNvSpPr>
                <a:spLocks/>
              </p:cNvSpPr>
              <p:nvPr/>
            </p:nvSpPr>
            <p:spPr bwMode="auto">
              <a:xfrm>
                <a:off x="-2981325" y="160337"/>
                <a:ext cx="123825" cy="569913"/>
              </a:xfrm>
              <a:custGeom>
                <a:avLst/>
                <a:gdLst>
                  <a:gd name="T0" fmla="*/ 78 w 78"/>
                  <a:gd name="T1" fmla="*/ 359 h 359"/>
                  <a:gd name="T2" fmla="*/ 0 w 78"/>
                  <a:gd name="T3" fmla="*/ 0 h 359"/>
                  <a:gd name="T4" fmla="*/ 0 w 78"/>
                  <a:gd name="T5" fmla="*/ 0 h 359"/>
                  <a:gd name="T6" fmla="*/ 78 w 78"/>
                  <a:gd name="T7" fmla="*/ 359 h 359"/>
                </a:gdLst>
                <a:ahLst/>
                <a:cxnLst>
                  <a:cxn ang="0">
                    <a:pos x="T0" y="T1"/>
                  </a:cxn>
                  <a:cxn ang="0">
                    <a:pos x="T2" y="T3"/>
                  </a:cxn>
                  <a:cxn ang="0">
                    <a:pos x="T4" y="T5"/>
                  </a:cxn>
                  <a:cxn ang="0">
                    <a:pos x="T6" y="T7"/>
                  </a:cxn>
                </a:cxnLst>
                <a:rect l="0" t="0" r="r" b="b"/>
                <a:pathLst>
                  <a:path w="78" h="359">
                    <a:moveTo>
                      <a:pt x="78" y="359"/>
                    </a:moveTo>
                    <a:lnTo>
                      <a:pt x="0" y="0"/>
                    </a:lnTo>
                    <a:lnTo>
                      <a:pt x="0" y="0"/>
                    </a:lnTo>
                    <a:lnTo>
                      <a:pt x="78" y="359"/>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3" name="Freeform 481"/>
              <p:cNvSpPr>
                <a:spLocks/>
              </p:cNvSpPr>
              <p:nvPr/>
            </p:nvSpPr>
            <p:spPr bwMode="auto">
              <a:xfrm>
                <a:off x="-2771775" y="-428626"/>
                <a:ext cx="898525" cy="1554163"/>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4" name="Freeform 482"/>
              <p:cNvSpPr>
                <a:spLocks noEditPoints="1"/>
              </p:cNvSpPr>
              <p:nvPr/>
            </p:nvSpPr>
            <p:spPr bwMode="auto">
              <a:xfrm>
                <a:off x="-2771775" y="2682875"/>
                <a:ext cx="898525" cy="2232025"/>
              </a:xfrm>
              <a:custGeom>
                <a:avLst/>
                <a:gdLst>
                  <a:gd name="T0" fmla="*/ 940 w 1179"/>
                  <a:gd name="T1" fmla="*/ 2930 h 2930"/>
                  <a:gd name="T2" fmla="*/ 0 w 1179"/>
                  <a:gd name="T3" fmla="*/ 2041 h 2930"/>
                  <a:gd name="T4" fmla="*/ 1179 w 1179"/>
                  <a:gd name="T5" fmla="*/ 0 h 2930"/>
                  <a:gd name="T6" fmla="*/ 940 w 1179"/>
                  <a:gd name="T7" fmla="*/ 2930 h 2930"/>
                  <a:gd name="T8" fmla="*/ 1179 w 1179"/>
                  <a:gd name="T9" fmla="*/ 0 h 2930"/>
                  <a:gd name="T10" fmla="*/ 1179 w 1179"/>
                  <a:gd name="T11" fmla="*/ 0 h 2930"/>
                </a:gdLst>
                <a:ahLst/>
                <a:cxnLst>
                  <a:cxn ang="0">
                    <a:pos x="T0" y="T1"/>
                  </a:cxn>
                  <a:cxn ang="0">
                    <a:pos x="T2" y="T3"/>
                  </a:cxn>
                  <a:cxn ang="0">
                    <a:pos x="T4" y="T5"/>
                  </a:cxn>
                  <a:cxn ang="0">
                    <a:pos x="T6" y="T7"/>
                  </a:cxn>
                  <a:cxn ang="0">
                    <a:pos x="T8" y="T9"/>
                  </a:cxn>
                  <a:cxn ang="0">
                    <a:pos x="T10" y="T11"/>
                  </a:cxn>
                </a:cxnLst>
                <a:rect l="0" t="0" r="r" b="b"/>
                <a:pathLst>
                  <a:path w="1179" h="2930">
                    <a:moveTo>
                      <a:pt x="940" y="2930"/>
                    </a:moveTo>
                    <a:lnTo>
                      <a:pt x="0" y="2041"/>
                    </a:lnTo>
                    <a:lnTo>
                      <a:pt x="1179" y="0"/>
                    </a:lnTo>
                    <a:lnTo>
                      <a:pt x="940" y="2930"/>
                    </a:lnTo>
                    <a:moveTo>
                      <a:pt x="1179" y="0"/>
                    </a:moveTo>
                    <a:lnTo>
                      <a:pt x="1179"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5" name="Freeform 483"/>
              <p:cNvSpPr>
                <a:spLocks/>
              </p:cNvSpPr>
              <p:nvPr/>
            </p:nvSpPr>
            <p:spPr bwMode="auto">
              <a:xfrm>
                <a:off x="-2771775" y="1125537"/>
                <a:ext cx="1917700" cy="1557338"/>
              </a:xfrm>
              <a:custGeom>
                <a:avLst/>
                <a:gdLst>
                  <a:gd name="T0" fmla="*/ 566 w 1208"/>
                  <a:gd name="T1" fmla="*/ 981 h 981"/>
                  <a:gd name="T2" fmla="*/ 566 w 1208"/>
                  <a:gd name="T3" fmla="*/ 981 h 981"/>
                  <a:gd name="T4" fmla="*/ 0 w 1208"/>
                  <a:gd name="T5" fmla="*/ 0 h 981"/>
                  <a:gd name="T6" fmla="*/ 1208 w 1208"/>
                  <a:gd name="T7" fmla="*/ 410 h 981"/>
                  <a:gd name="T8" fmla="*/ 1208 w 1208"/>
                  <a:gd name="T9" fmla="*/ 621 h 981"/>
                  <a:gd name="T10" fmla="*/ 933 w 1208"/>
                  <a:gd name="T11" fmla="*/ 775 h 981"/>
                  <a:gd name="T12" fmla="*/ 566 w 1208"/>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208" h="981">
                    <a:moveTo>
                      <a:pt x="566" y="981"/>
                    </a:moveTo>
                    <a:lnTo>
                      <a:pt x="566" y="981"/>
                    </a:lnTo>
                    <a:lnTo>
                      <a:pt x="0" y="0"/>
                    </a:lnTo>
                    <a:lnTo>
                      <a:pt x="1208" y="410"/>
                    </a:lnTo>
                    <a:lnTo>
                      <a:pt x="1208" y="621"/>
                    </a:lnTo>
                    <a:lnTo>
                      <a:pt x="933" y="775"/>
                    </a:lnTo>
                    <a:lnTo>
                      <a:pt x="566"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6" name="Freeform 484"/>
              <p:cNvSpPr>
                <a:spLocks/>
              </p:cNvSpPr>
              <p:nvPr/>
            </p:nvSpPr>
            <p:spPr bwMode="auto">
              <a:xfrm>
                <a:off x="-2054225" y="2682875"/>
                <a:ext cx="1200150" cy="2232025"/>
              </a:xfrm>
              <a:custGeom>
                <a:avLst/>
                <a:gdLst>
                  <a:gd name="T0" fmla="*/ 0 w 756"/>
                  <a:gd name="T1" fmla="*/ 1406 h 1406"/>
                  <a:gd name="T2" fmla="*/ 114 w 756"/>
                  <a:gd name="T3" fmla="*/ 0 h 1406"/>
                  <a:gd name="T4" fmla="*/ 756 w 756"/>
                  <a:gd name="T5" fmla="*/ 0 h 1406"/>
                  <a:gd name="T6" fmla="*/ 756 w 756"/>
                  <a:gd name="T7" fmla="*/ 553 h 1406"/>
                  <a:gd name="T8" fmla="*/ 0 w 756"/>
                  <a:gd name="T9" fmla="*/ 1406 h 1406"/>
                </a:gdLst>
                <a:ahLst/>
                <a:cxnLst>
                  <a:cxn ang="0">
                    <a:pos x="T0" y="T1"/>
                  </a:cxn>
                  <a:cxn ang="0">
                    <a:pos x="T2" y="T3"/>
                  </a:cxn>
                  <a:cxn ang="0">
                    <a:pos x="T4" y="T5"/>
                  </a:cxn>
                  <a:cxn ang="0">
                    <a:pos x="T6" y="T7"/>
                  </a:cxn>
                  <a:cxn ang="0">
                    <a:pos x="T8" y="T9"/>
                  </a:cxn>
                </a:cxnLst>
                <a:rect l="0" t="0" r="r" b="b"/>
                <a:pathLst>
                  <a:path w="756" h="1406">
                    <a:moveTo>
                      <a:pt x="0" y="1406"/>
                    </a:moveTo>
                    <a:lnTo>
                      <a:pt x="114" y="0"/>
                    </a:lnTo>
                    <a:lnTo>
                      <a:pt x="756" y="0"/>
                    </a:lnTo>
                    <a:lnTo>
                      <a:pt x="756" y="553"/>
                    </a:lnTo>
                    <a:lnTo>
                      <a:pt x="0" y="140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7" name="Freeform 485"/>
              <p:cNvSpPr>
                <a:spLocks noEditPoints="1"/>
              </p:cNvSpPr>
              <p:nvPr/>
            </p:nvSpPr>
            <p:spPr bwMode="auto">
              <a:xfrm>
                <a:off x="-4413250" y="1125537"/>
                <a:ext cx="2540000" cy="1987550"/>
              </a:xfrm>
              <a:custGeom>
                <a:avLst/>
                <a:gdLst>
                  <a:gd name="T0" fmla="*/ 0 w 3333"/>
                  <a:gd name="T1" fmla="*/ 2608 h 2608"/>
                  <a:gd name="T2" fmla="*/ 0 w 3333"/>
                  <a:gd name="T3" fmla="*/ 2608 h 2608"/>
                  <a:gd name="T4" fmla="*/ 0 w 3333"/>
                  <a:gd name="T5" fmla="*/ 2608 h 2608"/>
                  <a:gd name="T6" fmla="*/ 0 w 3333"/>
                  <a:gd name="T7" fmla="*/ 2608 h 2608"/>
                  <a:gd name="T8" fmla="*/ 0 w 3333"/>
                  <a:gd name="T9" fmla="*/ 2608 h 2608"/>
                  <a:gd name="T10" fmla="*/ 2154 w 3333"/>
                  <a:gd name="T11" fmla="*/ 0 h 2608"/>
                  <a:gd name="T12" fmla="*/ 3333 w 3333"/>
                  <a:gd name="T13" fmla="*/ 2042 h 2608"/>
                  <a:gd name="T14" fmla="*/ 3333 w 3333"/>
                  <a:gd name="T15" fmla="*/ 2042 h 2608"/>
                  <a:gd name="T16" fmla="*/ 0 w 3333"/>
                  <a:gd name="T17" fmla="*/ 2608 h 2608"/>
                  <a:gd name="T18" fmla="*/ 3333 w 3333"/>
                  <a:gd name="T19" fmla="*/ 2042 h 2608"/>
                  <a:gd name="T20" fmla="*/ 3333 w 3333"/>
                  <a:gd name="T21" fmla="*/ 2042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33" h="2608">
                    <a:moveTo>
                      <a:pt x="0" y="2608"/>
                    </a:moveTo>
                    <a:lnTo>
                      <a:pt x="0" y="2608"/>
                    </a:lnTo>
                    <a:lnTo>
                      <a:pt x="0" y="2608"/>
                    </a:lnTo>
                    <a:lnTo>
                      <a:pt x="0" y="2608"/>
                    </a:lnTo>
                    <a:moveTo>
                      <a:pt x="0" y="2608"/>
                    </a:moveTo>
                    <a:lnTo>
                      <a:pt x="2154" y="0"/>
                    </a:lnTo>
                    <a:lnTo>
                      <a:pt x="3333" y="2042"/>
                    </a:lnTo>
                    <a:lnTo>
                      <a:pt x="3333" y="2042"/>
                    </a:lnTo>
                    <a:lnTo>
                      <a:pt x="0" y="2608"/>
                    </a:lnTo>
                    <a:moveTo>
                      <a:pt x="3333" y="2042"/>
                    </a:moveTo>
                    <a:lnTo>
                      <a:pt x="3333" y="2042"/>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8" name="Freeform 486"/>
              <p:cNvSpPr>
                <a:spLocks/>
              </p:cNvSpPr>
              <p:nvPr/>
            </p:nvSpPr>
            <p:spPr bwMode="auto">
              <a:xfrm>
                <a:off x="-1873250" y="2111375"/>
                <a:ext cx="1019175" cy="571500"/>
              </a:xfrm>
              <a:custGeom>
                <a:avLst/>
                <a:gdLst>
                  <a:gd name="T0" fmla="*/ 0 w 642"/>
                  <a:gd name="T1" fmla="*/ 360 h 360"/>
                  <a:gd name="T2" fmla="*/ 0 w 642"/>
                  <a:gd name="T3" fmla="*/ 360 h 360"/>
                  <a:gd name="T4" fmla="*/ 367 w 642"/>
                  <a:gd name="T5" fmla="*/ 154 h 360"/>
                  <a:gd name="T6" fmla="*/ 642 w 642"/>
                  <a:gd name="T7" fmla="*/ 0 h 360"/>
                  <a:gd name="T8" fmla="*/ 642 w 642"/>
                  <a:gd name="T9" fmla="*/ 360 h 360"/>
                  <a:gd name="T10" fmla="*/ 0 w 642"/>
                  <a:gd name="T11" fmla="*/ 360 h 360"/>
                </a:gdLst>
                <a:ahLst/>
                <a:cxnLst>
                  <a:cxn ang="0">
                    <a:pos x="T0" y="T1"/>
                  </a:cxn>
                  <a:cxn ang="0">
                    <a:pos x="T2" y="T3"/>
                  </a:cxn>
                  <a:cxn ang="0">
                    <a:pos x="T4" y="T5"/>
                  </a:cxn>
                  <a:cxn ang="0">
                    <a:pos x="T6" y="T7"/>
                  </a:cxn>
                  <a:cxn ang="0">
                    <a:pos x="T8" y="T9"/>
                  </a:cxn>
                  <a:cxn ang="0">
                    <a:pos x="T10" y="T11"/>
                  </a:cxn>
                </a:cxnLst>
                <a:rect l="0" t="0" r="r" b="b"/>
                <a:pathLst>
                  <a:path w="642" h="360">
                    <a:moveTo>
                      <a:pt x="0" y="360"/>
                    </a:moveTo>
                    <a:lnTo>
                      <a:pt x="0" y="360"/>
                    </a:lnTo>
                    <a:lnTo>
                      <a:pt x="367" y="154"/>
                    </a:lnTo>
                    <a:lnTo>
                      <a:pt x="642" y="0"/>
                    </a:lnTo>
                    <a:lnTo>
                      <a:pt x="642" y="360"/>
                    </a:lnTo>
                    <a:lnTo>
                      <a:pt x="0" y="36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9" name="Freeform 487"/>
              <p:cNvSpPr>
                <a:spLocks/>
              </p:cNvSpPr>
              <p:nvPr/>
            </p:nvSpPr>
            <p:spPr bwMode="auto">
              <a:xfrm>
                <a:off x="-1290638" y="2111375"/>
                <a:ext cx="436563" cy="244475"/>
              </a:xfrm>
              <a:custGeom>
                <a:avLst/>
                <a:gdLst>
                  <a:gd name="T0" fmla="*/ 0 w 275"/>
                  <a:gd name="T1" fmla="*/ 154 h 154"/>
                  <a:gd name="T2" fmla="*/ 275 w 275"/>
                  <a:gd name="T3" fmla="*/ 0 h 154"/>
                  <a:gd name="T4" fmla="*/ 275 w 275"/>
                  <a:gd name="T5" fmla="*/ 0 h 154"/>
                  <a:gd name="T6" fmla="*/ 0 w 275"/>
                  <a:gd name="T7" fmla="*/ 154 h 154"/>
                </a:gdLst>
                <a:ahLst/>
                <a:cxnLst>
                  <a:cxn ang="0">
                    <a:pos x="T0" y="T1"/>
                  </a:cxn>
                  <a:cxn ang="0">
                    <a:pos x="T2" y="T3"/>
                  </a:cxn>
                  <a:cxn ang="0">
                    <a:pos x="T4" y="T5"/>
                  </a:cxn>
                  <a:cxn ang="0">
                    <a:pos x="T6" y="T7"/>
                  </a:cxn>
                </a:cxnLst>
                <a:rect l="0" t="0" r="r" b="b"/>
                <a:pathLst>
                  <a:path w="275" h="154">
                    <a:moveTo>
                      <a:pt x="0" y="154"/>
                    </a:moveTo>
                    <a:lnTo>
                      <a:pt x="275" y="0"/>
                    </a:lnTo>
                    <a:lnTo>
                      <a:pt x="275" y="0"/>
                    </a:lnTo>
                    <a:lnTo>
                      <a:pt x="0" y="15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0" name="Freeform 488"/>
              <p:cNvSpPr>
                <a:spLocks/>
              </p:cNvSpPr>
              <p:nvPr/>
            </p:nvSpPr>
            <p:spPr bwMode="auto">
              <a:xfrm>
                <a:off x="-4413250" y="2682875"/>
                <a:ext cx="2540000" cy="1554163"/>
              </a:xfrm>
              <a:custGeom>
                <a:avLst/>
                <a:gdLst>
                  <a:gd name="T0" fmla="*/ 1034 w 1600"/>
                  <a:gd name="T1" fmla="*/ 979 h 979"/>
                  <a:gd name="T2" fmla="*/ 0 w 1600"/>
                  <a:gd name="T3" fmla="*/ 271 h 979"/>
                  <a:gd name="T4" fmla="*/ 0 w 1600"/>
                  <a:gd name="T5" fmla="*/ 271 h 979"/>
                  <a:gd name="T6" fmla="*/ 1600 w 1600"/>
                  <a:gd name="T7" fmla="*/ 0 h 979"/>
                  <a:gd name="T8" fmla="*/ 1034 w 1600"/>
                  <a:gd name="T9" fmla="*/ 979 h 979"/>
                </a:gdLst>
                <a:ahLst/>
                <a:cxnLst>
                  <a:cxn ang="0">
                    <a:pos x="T0" y="T1"/>
                  </a:cxn>
                  <a:cxn ang="0">
                    <a:pos x="T2" y="T3"/>
                  </a:cxn>
                  <a:cxn ang="0">
                    <a:pos x="T4" y="T5"/>
                  </a:cxn>
                  <a:cxn ang="0">
                    <a:pos x="T6" y="T7"/>
                  </a:cxn>
                  <a:cxn ang="0">
                    <a:pos x="T8" y="T9"/>
                  </a:cxn>
                </a:cxnLst>
                <a:rect l="0" t="0" r="r" b="b"/>
                <a:pathLst>
                  <a:path w="1600" h="979">
                    <a:moveTo>
                      <a:pt x="1034" y="979"/>
                    </a:moveTo>
                    <a:lnTo>
                      <a:pt x="0" y="271"/>
                    </a:lnTo>
                    <a:lnTo>
                      <a:pt x="0" y="271"/>
                    </a:lnTo>
                    <a:lnTo>
                      <a:pt x="1600" y="0"/>
                    </a:lnTo>
                    <a:lnTo>
                      <a:pt x="1034"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1" name="Freeform 489"/>
              <p:cNvSpPr>
                <a:spLocks noEditPoints="1"/>
              </p:cNvSpPr>
              <p:nvPr/>
            </p:nvSpPr>
            <p:spPr bwMode="auto">
              <a:xfrm>
                <a:off x="-2438400" y="5792787"/>
                <a:ext cx="1517650" cy="1866900"/>
              </a:xfrm>
              <a:custGeom>
                <a:avLst/>
                <a:gdLst>
                  <a:gd name="T0" fmla="*/ 184 w 1992"/>
                  <a:gd name="T1" fmla="*/ 2449 h 2449"/>
                  <a:gd name="T2" fmla="*/ 0 w 1992"/>
                  <a:gd name="T3" fmla="*/ 2449 h 2449"/>
                  <a:gd name="T4" fmla="*/ 742 w 1992"/>
                  <a:gd name="T5" fmla="*/ 0 h 2449"/>
                  <a:gd name="T6" fmla="*/ 1342 w 1992"/>
                  <a:gd name="T7" fmla="*/ 650 h 2449"/>
                  <a:gd name="T8" fmla="*/ 1992 w 1992"/>
                  <a:gd name="T9" fmla="*/ 1354 h 2449"/>
                  <a:gd name="T10" fmla="*/ 184 w 1992"/>
                  <a:gd name="T11" fmla="*/ 2449 h 2449"/>
                  <a:gd name="T12" fmla="*/ 742 w 1992"/>
                  <a:gd name="T13" fmla="*/ 0 h 2449"/>
                  <a:gd name="T14" fmla="*/ 742 w 1992"/>
                  <a:gd name="T15" fmla="*/ 0 h 2449"/>
                  <a:gd name="T16" fmla="*/ 742 w 1992"/>
                  <a:gd name="T17" fmla="*/ 0 h 2449"/>
                  <a:gd name="T18" fmla="*/ 742 w 1992"/>
                  <a:gd name="T19" fmla="*/ 0 h 2449"/>
                  <a:gd name="T20" fmla="*/ 742 w 1992"/>
                  <a:gd name="T21" fmla="*/ 0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2" h="2449">
                    <a:moveTo>
                      <a:pt x="184" y="2449"/>
                    </a:moveTo>
                    <a:lnTo>
                      <a:pt x="0" y="2449"/>
                    </a:lnTo>
                    <a:lnTo>
                      <a:pt x="742" y="0"/>
                    </a:lnTo>
                    <a:lnTo>
                      <a:pt x="1342" y="650"/>
                    </a:lnTo>
                    <a:lnTo>
                      <a:pt x="1992" y="1354"/>
                    </a:lnTo>
                    <a:lnTo>
                      <a:pt x="184" y="2449"/>
                    </a:lnTo>
                    <a:moveTo>
                      <a:pt x="742" y="0"/>
                    </a:moveTo>
                    <a:lnTo>
                      <a:pt x="742" y="0"/>
                    </a:lnTo>
                    <a:moveTo>
                      <a:pt x="742" y="0"/>
                    </a:moveTo>
                    <a:lnTo>
                      <a:pt x="742" y="0"/>
                    </a:lnTo>
                    <a:lnTo>
                      <a:pt x="742"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2" name="Freeform 490"/>
              <p:cNvSpPr>
                <a:spLocks/>
              </p:cNvSpPr>
              <p:nvPr/>
            </p:nvSpPr>
            <p:spPr bwMode="auto">
              <a:xfrm>
                <a:off x="-2771775" y="4237037"/>
                <a:ext cx="898525" cy="1555750"/>
              </a:xfrm>
              <a:custGeom>
                <a:avLst/>
                <a:gdLst>
                  <a:gd name="T0" fmla="*/ 566 w 566"/>
                  <a:gd name="T1" fmla="*/ 980 h 980"/>
                  <a:gd name="T2" fmla="*/ 0 w 566"/>
                  <a:gd name="T3" fmla="*/ 0 h 980"/>
                  <a:gd name="T4" fmla="*/ 452 w 566"/>
                  <a:gd name="T5" fmla="*/ 427 h 980"/>
                  <a:gd name="T6" fmla="*/ 547 w 566"/>
                  <a:gd name="T7" fmla="*/ 885 h 980"/>
                  <a:gd name="T8" fmla="*/ 566 w 566"/>
                  <a:gd name="T9" fmla="*/ 980 h 980"/>
                </a:gdLst>
                <a:ahLst/>
                <a:cxnLst>
                  <a:cxn ang="0">
                    <a:pos x="T0" y="T1"/>
                  </a:cxn>
                  <a:cxn ang="0">
                    <a:pos x="T2" y="T3"/>
                  </a:cxn>
                  <a:cxn ang="0">
                    <a:pos x="T4" y="T5"/>
                  </a:cxn>
                  <a:cxn ang="0">
                    <a:pos x="T6" y="T7"/>
                  </a:cxn>
                  <a:cxn ang="0">
                    <a:pos x="T8" y="T9"/>
                  </a:cxn>
                </a:cxnLst>
                <a:rect l="0" t="0" r="r" b="b"/>
                <a:pathLst>
                  <a:path w="566" h="980">
                    <a:moveTo>
                      <a:pt x="566" y="980"/>
                    </a:moveTo>
                    <a:lnTo>
                      <a:pt x="0" y="0"/>
                    </a:lnTo>
                    <a:lnTo>
                      <a:pt x="452" y="427"/>
                    </a:lnTo>
                    <a:lnTo>
                      <a:pt x="547" y="88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3" name="Freeform 491"/>
              <p:cNvSpPr>
                <a:spLocks/>
              </p:cNvSpPr>
              <p:nvPr/>
            </p:nvSpPr>
            <p:spPr bwMode="auto">
              <a:xfrm>
                <a:off x="-1873250" y="5792787"/>
                <a:ext cx="1019175" cy="1031875"/>
              </a:xfrm>
              <a:custGeom>
                <a:avLst/>
                <a:gdLst>
                  <a:gd name="T0" fmla="*/ 600 w 642"/>
                  <a:gd name="T1" fmla="*/ 650 h 650"/>
                  <a:gd name="T2" fmla="*/ 288 w 642"/>
                  <a:gd name="T3" fmla="*/ 312 h 650"/>
                  <a:gd name="T4" fmla="*/ 0 w 642"/>
                  <a:gd name="T5" fmla="*/ 0 h 650"/>
                  <a:gd name="T6" fmla="*/ 642 w 642"/>
                  <a:gd name="T7" fmla="*/ 0 h 650"/>
                  <a:gd name="T8" fmla="*/ 642 w 642"/>
                  <a:gd name="T9" fmla="*/ 600 h 650"/>
                  <a:gd name="T10" fmla="*/ 600 w 642"/>
                  <a:gd name="T11" fmla="*/ 650 h 650"/>
                </a:gdLst>
                <a:ahLst/>
                <a:cxnLst>
                  <a:cxn ang="0">
                    <a:pos x="T0" y="T1"/>
                  </a:cxn>
                  <a:cxn ang="0">
                    <a:pos x="T2" y="T3"/>
                  </a:cxn>
                  <a:cxn ang="0">
                    <a:pos x="T4" y="T5"/>
                  </a:cxn>
                  <a:cxn ang="0">
                    <a:pos x="T6" y="T7"/>
                  </a:cxn>
                  <a:cxn ang="0">
                    <a:pos x="T8" y="T9"/>
                  </a:cxn>
                  <a:cxn ang="0">
                    <a:pos x="T10" y="T11"/>
                  </a:cxn>
                </a:cxnLst>
                <a:rect l="0" t="0" r="r" b="b"/>
                <a:pathLst>
                  <a:path w="642" h="650">
                    <a:moveTo>
                      <a:pt x="600" y="650"/>
                    </a:moveTo>
                    <a:lnTo>
                      <a:pt x="288" y="312"/>
                    </a:lnTo>
                    <a:lnTo>
                      <a:pt x="0" y="0"/>
                    </a:lnTo>
                    <a:lnTo>
                      <a:pt x="642" y="0"/>
                    </a:lnTo>
                    <a:lnTo>
                      <a:pt x="642" y="600"/>
                    </a:lnTo>
                    <a:lnTo>
                      <a:pt x="600" y="650"/>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4" name="Freeform 492"/>
              <p:cNvSpPr>
                <a:spLocks noEditPoints="1"/>
              </p:cNvSpPr>
              <p:nvPr/>
            </p:nvSpPr>
            <p:spPr bwMode="auto">
              <a:xfrm>
                <a:off x="-4214813" y="4237037"/>
                <a:ext cx="2341563" cy="2058988"/>
              </a:xfrm>
              <a:custGeom>
                <a:avLst/>
                <a:gdLst>
                  <a:gd name="T0" fmla="*/ 0 w 3073"/>
                  <a:gd name="T1" fmla="*/ 2701 h 2701"/>
                  <a:gd name="T2" fmla="*/ 0 w 3073"/>
                  <a:gd name="T3" fmla="*/ 2701 h 2701"/>
                  <a:gd name="T4" fmla="*/ 0 w 3073"/>
                  <a:gd name="T5" fmla="*/ 2701 h 2701"/>
                  <a:gd name="T6" fmla="*/ 0 w 3073"/>
                  <a:gd name="T7" fmla="*/ 2701 h 2701"/>
                  <a:gd name="T8" fmla="*/ 0 w 3073"/>
                  <a:gd name="T9" fmla="*/ 2701 h 2701"/>
                  <a:gd name="T10" fmla="*/ 1894 w 3073"/>
                  <a:gd name="T11" fmla="*/ 0 h 2701"/>
                  <a:gd name="T12" fmla="*/ 3073 w 3073"/>
                  <a:gd name="T13" fmla="*/ 2042 h 2701"/>
                  <a:gd name="T14" fmla="*/ 3073 w 3073"/>
                  <a:gd name="T15" fmla="*/ 2042 h 2701"/>
                  <a:gd name="T16" fmla="*/ 0 w 3073"/>
                  <a:gd name="T17" fmla="*/ 2701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701">
                    <a:moveTo>
                      <a:pt x="0" y="2701"/>
                    </a:moveTo>
                    <a:lnTo>
                      <a:pt x="0" y="2701"/>
                    </a:lnTo>
                    <a:lnTo>
                      <a:pt x="0" y="2701"/>
                    </a:lnTo>
                    <a:lnTo>
                      <a:pt x="0" y="2701"/>
                    </a:lnTo>
                    <a:moveTo>
                      <a:pt x="0" y="2701"/>
                    </a:moveTo>
                    <a:lnTo>
                      <a:pt x="1894" y="0"/>
                    </a:lnTo>
                    <a:lnTo>
                      <a:pt x="3073" y="2042"/>
                    </a:lnTo>
                    <a:lnTo>
                      <a:pt x="3073" y="2042"/>
                    </a:lnTo>
                    <a:lnTo>
                      <a:pt x="0" y="270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5" name="Freeform 493"/>
              <p:cNvSpPr>
                <a:spLocks/>
              </p:cNvSpPr>
              <p:nvPr/>
            </p:nvSpPr>
            <p:spPr bwMode="auto">
              <a:xfrm>
                <a:off x="-2054225" y="4914900"/>
                <a:ext cx="1200150" cy="877888"/>
              </a:xfrm>
              <a:custGeom>
                <a:avLst/>
                <a:gdLst>
                  <a:gd name="T0" fmla="*/ 114 w 756"/>
                  <a:gd name="T1" fmla="*/ 553 h 553"/>
                  <a:gd name="T2" fmla="*/ 114 w 756"/>
                  <a:gd name="T3" fmla="*/ 553 h 553"/>
                  <a:gd name="T4" fmla="*/ 114 w 756"/>
                  <a:gd name="T5" fmla="*/ 553 h 553"/>
                  <a:gd name="T6" fmla="*/ 95 w 756"/>
                  <a:gd name="T7" fmla="*/ 458 h 553"/>
                  <a:gd name="T8" fmla="*/ 0 w 756"/>
                  <a:gd name="T9" fmla="*/ 0 h 553"/>
                  <a:gd name="T10" fmla="*/ 756 w 756"/>
                  <a:gd name="T11" fmla="*/ 336 h 553"/>
                  <a:gd name="T12" fmla="*/ 756 w 756"/>
                  <a:gd name="T13" fmla="*/ 553 h 553"/>
                  <a:gd name="T14" fmla="*/ 114 w 756"/>
                  <a:gd name="T15" fmla="*/ 553 h 5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6" h="553">
                    <a:moveTo>
                      <a:pt x="114" y="553"/>
                    </a:moveTo>
                    <a:lnTo>
                      <a:pt x="114" y="553"/>
                    </a:lnTo>
                    <a:lnTo>
                      <a:pt x="114" y="553"/>
                    </a:lnTo>
                    <a:lnTo>
                      <a:pt x="95" y="458"/>
                    </a:lnTo>
                    <a:lnTo>
                      <a:pt x="0" y="0"/>
                    </a:lnTo>
                    <a:lnTo>
                      <a:pt x="756" y="336"/>
                    </a:lnTo>
                    <a:lnTo>
                      <a:pt x="756" y="553"/>
                    </a:lnTo>
                    <a:lnTo>
                      <a:pt x="114" y="5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6" name="Freeform 494"/>
              <p:cNvSpPr>
                <a:spLocks noEditPoints="1"/>
              </p:cNvSpPr>
              <p:nvPr/>
            </p:nvSpPr>
            <p:spPr bwMode="auto">
              <a:xfrm>
                <a:off x="-4214813" y="5792787"/>
                <a:ext cx="2341563" cy="1866900"/>
              </a:xfrm>
              <a:custGeom>
                <a:avLst/>
                <a:gdLst>
                  <a:gd name="T0" fmla="*/ 2331 w 3073"/>
                  <a:gd name="T1" fmla="*/ 2449 h 2449"/>
                  <a:gd name="T2" fmla="*/ 2127 w 3073"/>
                  <a:gd name="T3" fmla="*/ 2449 h 2449"/>
                  <a:gd name="T4" fmla="*/ 0 w 3073"/>
                  <a:gd name="T5" fmla="*/ 659 h 2449"/>
                  <a:gd name="T6" fmla="*/ 3073 w 3073"/>
                  <a:gd name="T7" fmla="*/ 0 h 2449"/>
                  <a:gd name="T8" fmla="*/ 2331 w 3073"/>
                  <a:gd name="T9" fmla="*/ 2449 h 2449"/>
                  <a:gd name="T10" fmla="*/ 0 w 3073"/>
                  <a:gd name="T11" fmla="*/ 659 h 2449"/>
                  <a:gd name="T12" fmla="*/ 0 w 3073"/>
                  <a:gd name="T13" fmla="*/ 659 h 2449"/>
                  <a:gd name="T14" fmla="*/ 0 w 3073"/>
                  <a:gd name="T15" fmla="*/ 659 h 2449"/>
                  <a:gd name="T16" fmla="*/ 0 w 3073"/>
                  <a:gd name="T17" fmla="*/ 659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449">
                    <a:moveTo>
                      <a:pt x="2331" y="2449"/>
                    </a:moveTo>
                    <a:lnTo>
                      <a:pt x="2127" y="2449"/>
                    </a:lnTo>
                    <a:lnTo>
                      <a:pt x="0" y="659"/>
                    </a:lnTo>
                    <a:lnTo>
                      <a:pt x="3073" y="0"/>
                    </a:lnTo>
                    <a:lnTo>
                      <a:pt x="2331" y="2449"/>
                    </a:lnTo>
                    <a:moveTo>
                      <a:pt x="0" y="659"/>
                    </a:moveTo>
                    <a:lnTo>
                      <a:pt x="0" y="659"/>
                    </a:lnTo>
                    <a:lnTo>
                      <a:pt x="0" y="659"/>
                    </a:lnTo>
                    <a:lnTo>
                      <a:pt x="0" y="659"/>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7" name="Rectangle 495"/>
              <p:cNvSpPr>
                <a:spLocks noChangeArrowheads="1"/>
              </p:cNvSpPr>
              <p:nvPr/>
            </p:nvSpPr>
            <p:spPr bwMode="auto">
              <a:xfrm>
                <a:off x="-4214813" y="6296025"/>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8" name="Freeform 496"/>
              <p:cNvSpPr>
                <a:spLocks/>
              </p:cNvSpPr>
              <p:nvPr/>
            </p:nvSpPr>
            <p:spPr bwMode="auto">
              <a:xfrm>
                <a:off x="-2438400" y="5792787"/>
                <a:ext cx="565150" cy="1866900"/>
              </a:xfrm>
              <a:custGeom>
                <a:avLst/>
                <a:gdLst>
                  <a:gd name="T0" fmla="*/ 0 w 356"/>
                  <a:gd name="T1" fmla="*/ 1176 h 1176"/>
                  <a:gd name="T2" fmla="*/ 0 w 356"/>
                  <a:gd name="T3" fmla="*/ 1176 h 1176"/>
                  <a:gd name="T4" fmla="*/ 356 w 356"/>
                  <a:gd name="T5" fmla="*/ 0 h 1176"/>
                  <a:gd name="T6" fmla="*/ 356 w 356"/>
                  <a:gd name="T7" fmla="*/ 0 h 1176"/>
                  <a:gd name="T8" fmla="*/ 0 w 356"/>
                  <a:gd name="T9" fmla="*/ 1176 h 1176"/>
                </a:gdLst>
                <a:ahLst/>
                <a:cxnLst>
                  <a:cxn ang="0">
                    <a:pos x="T0" y="T1"/>
                  </a:cxn>
                  <a:cxn ang="0">
                    <a:pos x="T2" y="T3"/>
                  </a:cxn>
                  <a:cxn ang="0">
                    <a:pos x="T4" y="T5"/>
                  </a:cxn>
                  <a:cxn ang="0">
                    <a:pos x="T6" y="T7"/>
                  </a:cxn>
                  <a:cxn ang="0">
                    <a:pos x="T8" y="T9"/>
                  </a:cxn>
                </a:cxnLst>
                <a:rect l="0" t="0" r="r" b="b"/>
                <a:pathLst>
                  <a:path w="356" h="1176">
                    <a:moveTo>
                      <a:pt x="0" y="1176"/>
                    </a:moveTo>
                    <a:lnTo>
                      <a:pt x="0" y="1176"/>
                    </a:lnTo>
                    <a:lnTo>
                      <a:pt x="356" y="0"/>
                    </a:lnTo>
                    <a:lnTo>
                      <a:pt x="356" y="0"/>
                    </a:lnTo>
                    <a:lnTo>
                      <a:pt x="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9" name="Freeform 497"/>
              <p:cNvSpPr>
                <a:spLocks/>
              </p:cNvSpPr>
              <p:nvPr/>
            </p:nvSpPr>
            <p:spPr bwMode="auto">
              <a:xfrm>
                <a:off x="-4214813" y="5792787"/>
                <a:ext cx="2341563" cy="503238"/>
              </a:xfrm>
              <a:custGeom>
                <a:avLst/>
                <a:gdLst>
                  <a:gd name="T0" fmla="*/ 0 w 1475"/>
                  <a:gd name="T1" fmla="*/ 317 h 317"/>
                  <a:gd name="T2" fmla="*/ 0 w 1475"/>
                  <a:gd name="T3" fmla="*/ 317 h 317"/>
                  <a:gd name="T4" fmla="*/ 0 w 1475"/>
                  <a:gd name="T5" fmla="*/ 317 h 317"/>
                  <a:gd name="T6" fmla="*/ 1475 w 1475"/>
                  <a:gd name="T7" fmla="*/ 0 h 317"/>
                  <a:gd name="T8" fmla="*/ 1475 w 1475"/>
                  <a:gd name="T9" fmla="*/ 0 h 317"/>
                  <a:gd name="T10" fmla="*/ 0 w 1475"/>
                  <a:gd name="T11" fmla="*/ 317 h 317"/>
                </a:gdLst>
                <a:ahLst/>
                <a:cxnLst>
                  <a:cxn ang="0">
                    <a:pos x="T0" y="T1"/>
                  </a:cxn>
                  <a:cxn ang="0">
                    <a:pos x="T2" y="T3"/>
                  </a:cxn>
                  <a:cxn ang="0">
                    <a:pos x="T4" y="T5"/>
                  </a:cxn>
                  <a:cxn ang="0">
                    <a:pos x="T6" y="T7"/>
                  </a:cxn>
                  <a:cxn ang="0">
                    <a:pos x="T8" y="T9"/>
                  </a:cxn>
                  <a:cxn ang="0">
                    <a:pos x="T10" y="T11"/>
                  </a:cxn>
                </a:cxnLst>
                <a:rect l="0" t="0" r="r" b="b"/>
                <a:pathLst>
                  <a:path w="1475" h="317">
                    <a:moveTo>
                      <a:pt x="0" y="317"/>
                    </a:moveTo>
                    <a:lnTo>
                      <a:pt x="0" y="317"/>
                    </a:lnTo>
                    <a:lnTo>
                      <a:pt x="0" y="317"/>
                    </a:lnTo>
                    <a:lnTo>
                      <a:pt x="1475" y="0"/>
                    </a:lnTo>
                    <a:lnTo>
                      <a:pt x="1475" y="0"/>
                    </a:lnTo>
                    <a:lnTo>
                      <a:pt x="0" y="317"/>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0" name="Freeform 498"/>
              <p:cNvSpPr>
                <a:spLocks/>
              </p:cNvSpPr>
              <p:nvPr/>
            </p:nvSpPr>
            <p:spPr bwMode="auto">
              <a:xfrm>
                <a:off x="-2054225" y="3560762"/>
                <a:ext cx="1200150" cy="1354138"/>
              </a:xfrm>
              <a:custGeom>
                <a:avLst/>
                <a:gdLst>
                  <a:gd name="T0" fmla="*/ 0 w 756"/>
                  <a:gd name="T1" fmla="*/ 853 h 853"/>
                  <a:gd name="T2" fmla="*/ 0 w 756"/>
                  <a:gd name="T3" fmla="*/ 853 h 853"/>
                  <a:gd name="T4" fmla="*/ 756 w 756"/>
                  <a:gd name="T5" fmla="*/ 0 h 853"/>
                  <a:gd name="T6" fmla="*/ 756 w 756"/>
                  <a:gd name="T7" fmla="*/ 675 h 853"/>
                  <a:gd name="T8" fmla="*/ 0 w 756"/>
                  <a:gd name="T9" fmla="*/ 853 h 853"/>
                </a:gdLst>
                <a:ahLst/>
                <a:cxnLst>
                  <a:cxn ang="0">
                    <a:pos x="T0" y="T1"/>
                  </a:cxn>
                  <a:cxn ang="0">
                    <a:pos x="T2" y="T3"/>
                  </a:cxn>
                  <a:cxn ang="0">
                    <a:pos x="T4" y="T5"/>
                  </a:cxn>
                  <a:cxn ang="0">
                    <a:pos x="T6" y="T7"/>
                  </a:cxn>
                  <a:cxn ang="0">
                    <a:pos x="T8" y="T9"/>
                  </a:cxn>
                </a:cxnLst>
                <a:rect l="0" t="0" r="r" b="b"/>
                <a:pathLst>
                  <a:path w="756" h="853">
                    <a:moveTo>
                      <a:pt x="0" y="853"/>
                    </a:moveTo>
                    <a:lnTo>
                      <a:pt x="0" y="853"/>
                    </a:lnTo>
                    <a:lnTo>
                      <a:pt x="756" y="0"/>
                    </a:lnTo>
                    <a:lnTo>
                      <a:pt x="756" y="675"/>
                    </a:lnTo>
                    <a:lnTo>
                      <a:pt x="0" y="853"/>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1" name="Freeform 499"/>
              <p:cNvSpPr>
                <a:spLocks/>
              </p:cNvSpPr>
              <p:nvPr/>
            </p:nvSpPr>
            <p:spPr bwMode="auto">
              <a:xfrm>
                <a:off x="-2054225" y="3560762"/>
                <a:ext cx="1200150" cy="1354138"/>
              </a:xfrm>
              <a:custGeom>
                <a:avLst/>
                <a:gdLst>
                  <a:gd name="T0" fmla="*/ 0 w 756"/>
                  <a:gd name="T1" fmla="*/ 853 h 853"/>
                  <a:gd name="T2" fmla="*/ 756 w 756"/>
                  <a:gd name="T3" fmla="*/ 0 h 853"/>
                  <a:gd name="T4" fmla="*/ 756 w 756"/>
                  <a:gd name="T5" fmla="*/ 0 h 853"/>
                  <a:gd name="T6" fmla="*/ 0 w 756"/>
                  <a:gd name="T7" fmla="*/ 853 h 853"/>
                </a:gdLst>
                <a:ahLst/>
                <a:cxnLst>
                  <a:cxn ang="0">
                    <a:pos x="T0" y="T1"/>
                  </a:cxn>
                  <a:cxn ang="0">
                    <a:pos x="T2" y="T3"/>
                  </a:cxn>
                  <a:cxn ang="0">
                    <a:pos x="T4" y="T5"/>
                  </a:cxn>
                  <a:cxn ang="0">
                    <a:pos x="T6" y="T7"/>
                  </a:cxn>
                </a:cxnLst>
                <a:rect l="0" t="0" r="r" b="b"/>
                <a:pathLst>
                  <a:path w="756" h="853">
                    <a:moveTo>
                      <a:pt x="0" y="853"/>
                    </a:moveTo>
                    <a:lnTo>
                      <a:pt x="756" y="0"/>
                    </a:lnTo>
                    <a:lnTo>
                      <a:pt x="756" y="0"/>
                    </a:lnTo>
                    <a:lnTo>
                      <a:pt x="0" y="853"/>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2" name="Freeform 500"/>
              <p:cNvSpPr>
                <a:spLocks/>
              </p:cNvSpPr>
              <p:nvPr/>
            </p:nvSpPr>
            <p:spPr bwMode="auto">
              <a:xfrm>
                <a:off x="-2054225" y="4632325"/>
                <a:ext cx="1200150" cy="815975"/>
              </a:xfrm>
              <a:custGeom>
                <a:avLst/>
                <a:gdLst>
                  <a:gd name="T0" fmla="*/ 756 w 756"/>
                  <a:gd name="T1" fmla="*/ 514 h 514"/>
                  <a:gd name="T2" fmla="*/ 0 w 756"/>
                  <a:gd name="T3" fmla="*/ 178 h 514"/>
                  <a:gd name="T4" fmla="*/ 756 w 756"/>
                  <a:gd name="T5" fmla="*/ 0 h 514"/>
                  <a:gd name="T6" fmla="*/ 756 w 756"/>
                  <a:gd name="T7" fmla="*/ 514 h 514"/>
                </a:gdLst>
                <a:ahLst/>
                <a:cxnLst>
                  <a:cxn ang="0">
                    <a:pos x="T0" y="T1"/>
                  </a:cxn>
                  <a:cxn ang="0">
                    <a:pos x="T2" y="T3"/>
                  </a:cxn>
                  <a:cxn ang="0">
                    <a:pos x="T4" y="T5"/>
                  </a:cxn>
                  <a:cxn ang="0">
                    <a:pos x="T6" y="T7"/>
                  </a:cxn>
                </a:cxnLst>
                <a:rect l="0" t="0" r="r" b="b"/>
                <a:pathLst>
                  <a:path w="756" h="514">
                    <a:moveTo>
                      <a:pt x="756" y="514"/>
                    </a:moveTo>
                    <a:lnTo>
                      <a:pt x="0" y="178"/>
                    </a:lnTo>
                    <a:lnTo>
                      <a:pt x="756" y="0"/>
                    </a:lnTo>
                    <a:lnTo>
                      <a:pt x="756" y="514"/>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3" name="Freeform 501"/>
              <p:cNvSpPr>
                <a:spLocks/>
              </p:cNvSpPr>
              <p:nvPr/>
            </p:nvSpPr>
            <p:spPr bwMode="auto">
              <a:xfrm>
                <a:off x="-2298700" y="6824662"/>
                <a:ext cx="1377950" cy="835025"/>
              </a:xfrm>
              <a:custGeom>
                <a:avLst/>
                <a:gdLst>
                  <a:gd name="T0" fmla="*/ 661 w 868"/>
                  <a:gd name="T1" fmla="*/ 526 h 526"/>
                  <a:gd name="T2" fmla="*/ 0 w 868"/>
                  <a:gd name="T3" fmla="*/ 526 h 526"/>
                  <a:gd name="T4" fmla="*/ 868 w 868"/>
                  <a:gd name="T5" fmla="*/ 0 h 526"/>
                  <a:gd name="T6" fmla="*/ 661 w 868"/>
                  <a:gd name="T7" fmla="*/ 526 h 526"/>
                </a:gdLst>
                <a:ahLst/>
                <a:cxnLst>
                  <a:cxn ang="0">
                    <a:pos x="T0" y="T1"/>
                  </a:cxn>
                  <a:cxn ang="0">
                    <a:pos x="T2" y="T3"/>
                  </a:cxn>
                  <a:cxn ang="0">
                    <a:pos x="T4" y="T5"/>
                  </a:cxn>
                  <a:cxn ang="0">
                    <a:pos x="T6" y="T7"/>
                  </a:cxn>
                </a:cxnLst>
                <a:rect l="0" t="0" r="r" b="b"/>
                <a:pathLst>
                  <a:path w="868" h="526">
                    <a:moveTo>
                      <a:pt x="661" y="526"/>
                    </a:moveTo>
                    <a:lnTo>
                      <a:pt x="0" y="526"/>
                    </a:lnTo>
                    <a:lnTo>
                      <a:pt x="868" y="0"/>
                    </a:lnTo>
                    <a:lnTo>
                      <a:pt x="661" y="526"/>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4" name="Freeform 502"/>
              <p:cNvSpPr>
                <a:spLocks/>
              </p:cNvSpPr>
              <p:nvPr/>
            </p:nvSpPr>
            <p:spPr bwMode="auto">
              <a:xfrm>
                <a:off x="-1249363" y="6824662"/>
                <a:ext cx="395288" cy="835025"/>
              </a:xfrm>
              <a:custGeom>
                <a:avLst/>
                <a:gdLst>
                  <a:gd name="T0" fmla="*/ 249 w 249"/>
                  <a:gd name="T1" fmla="*/ 526 h 526"/>
                  <a:gd name="T2" fmla="*/ 0 w 249"/>
                  <a:gd name="T3" fmla="*/ 526 h 526"/>
                  <a:gd name="T4" fmla="*/ 207 w 249"/>
                  <a:gd name="T5" fmla="*/ 0 h 526"/>
                  <a:gd name="T6" fmla="*/ 249 w 249"/>
                  <a:gd name="T7" fmla="*/ 166 h 526"/>
                  <a:gd name="T8" fmla="*/ 249 w 249"/>
                  <a:gd name="T9" fmla="*/ 526 h 526"/>
                </a:gdLst>
                <a:ahLst/>
                <a:cxnLst>
                  <a:cxn ang="0">
                    <a:pos x="T0" y="T1"/>
                  </a:cxn>
                  <a:cxn ang="0">
                    <a:pos x="T2" y="T3"/>
                  </a:cxn>
                  <a:cxn ang="0">
                    <a:pos x="T4" y="T5"/>
                  </a:cxn>
                  <a:cxn ang="0">
                    <a:pos x="T6" y="T7"/>
                  </a:cxn>
                  <a:cxn ang="0">
                    <a:pos x="T8" y="T9"/>
                  </a:cxn>
                </a:cxnLst>
                <a:rect l="0" t="0" r="r" b="b"/>
                <a:pathLst>
                  <a:path w="249" h="526">
                    <a:moveTo>
                      <a:pt x="249" y="526"/>
                    </a:moveTo>
                    <a:lnTo>
                      <a:pt x="0" y="526"/>
                    </a:lnTo>
                    <a:lnTo>
                      <a:pt x="207" y="0"/>
                    </a:lnTo>
                    <a:lnTo>
                      <a:pt x="249" y="166"/>
                    </a:lnTo>
                    <a:lnTo>
                      <a:pt x="249" y="52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5" name="Freeform 503"/>
              <p:cNvSpPr>
                <a:spLocks/>
              </p:cNvSpPr>
              <p:nvPr/>
            </p:nvSpPr>
            <p:spPr bwMode="auto">
              <a:xfrm>
                <a:off x="-920750" y="6745287"/>
                <a:ext cx="66675" cy="79375"/>
              </a:xfrm>
              <a:custGeom>
                <a:avLst/>
                <a:gdLst>
                  <a:gd name="T0" fmla="*/ 0 w 42"/>
                  <a:gd name="T1" fmla="*/ 50 h 50"/>
                  <a:gd name="T2" fmla="*/ 0 w 42"/>
                  <a:gd name="T3" fmla="*/ 50 h 50"/>
                  <a:gd name="T4" fmla="*/ 42 w 42"/>
                  <a:gd name="T5" fmla="*/ 0 h 50"/>
                  <a:gd name="T6" fmla="*/ 42 w 42"/>
                  <a:gd name="T7" fmla="*/ 47 h 50"/>
                  <a:gd name="T8" fmla="*/ 0 w 42"/>
                  <a:gd name="T9" fmla="*/ 50 h 50"/>
                </a:gdLst>
                <a:ahLst/>
                <a:cxnLst>
                  <a:cxn ang="0">
                    <a:pos x="T0" y="T1"/>
                  </a:cxn>
                  <a:cxn ang="0">
                    <a:pos x="T2" y="T3"/>
                  </a:cxn>
                  <a:cxn ang="0">
                    <a:pos x="T4" y="T5"/>
                  </a:cxn>
                  <a:cxn ang="0">
                    <a:pos x="T6" y="T7"/>
                  </a:cxn>
                  <a:cxn ang="0">
                    <a:pos x="T8" y="T9"/>
                  </a:cxn>
                </a:cxnLst>
                <a:rect l="0" t="0" r="r" b="b"/>
                <a:pathLst>
                  <a:path w="42" h="50">
                    <a:moveTo>
                      <a:pt x="0" y="50"/>
                    </a:moveTo>
                    <a:lnTo>
                      <a:pt x="0" y="50"/>
                    </a:lnTo>
                    <a:lnTo>
                      <a:pt x="42" y="0"/>
                    </a:lnTo>
                    <a:lnTo>
                      <a:pt x="42" y="47"/>
                    </a:lnTo>
                    <a:lnTo>
                      <a:pt x="0" y="5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6" name="Freeform 504"/>
              <p:cNvSpPr>
                <a:spLocks/>
              </p:cNvSpPr>
              <p:nvPr/>
            </p:nvSpPr>
            <p:spPr bwMode="auto">
              <a:xfrm>
                <a:off x="-920750" y="6819900"/>
                <a:ext cx="66675" cy="268288"/>
              </a:xfrm>
              <a:custGeom>
                <a:avLst/>
                <a:gdLst>
                  <a:gd name="T0" fmla="*/ 42 w 42"/>
                  <a:gd name="T1" fmla="*/ 169 h 169"/>
                  <a:gd name="T2" fmla="*/ 0 w 42"/>
                  <a:gd name="T3" fmla="*/ 3 h 169"/>
                  <a:gd name="T4" fmla="*/ 42 w 42"/>
                  <a:gd name="T5" fmla="*/ 0 h 169"/>
                  <a:gd name="T6" fmla="*/ 42 w 42"/>
                  <a:gd name="T7" fmla="*/ 169 h 169"/>
                </a:gdLst>
                <a:ahLst/>
                <a:cxnLst>
                  <a:cxn ang="0">
                    <a:pos x="T0" y="T1"/>
                  </a:cxn>
                  <a:cxn ang="0">
                    <a:pos x="T2" y="T3"/>
                  </a:cxn>
                  <a:cxn ang="0">
                    <a:pos x="T4" y="T5"/>
                  </a:cxn>
                  <a:cxn ang="0">
                    <a:pos x="T6" y="T7"/>
                  </a:cxn>
                </a:cxnLst>
                <a:rect l="0" t="0" r="r" b="b"/>
                <a:pathLst>
                  <a:path w="42" h="169">
                    <a:moveTo>
                      <a:pt x="42" y="169"/>
                    </a:moveTo>
                    <a:lnTo>
                      <a:pt x="0" y="3"/>
                    </a:lnTo>
                    <a:lnTo>
                      <a:pt x="42" y="0"/>
                    </a:lnTo>
                    <a:lnTo>
                      <a:pt x="42" y="16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grpSp>
        <p:sp>
          <p:nvSpPr>
            <p:cNvPr id="85" name="AutoShape 303"/>
            <p:cNvSpPr>
              <a:spLocks noChangeArrowheads="1" noTextEdit="1"/>
            </p:cNvSpPr>
            <p:nvPr/>
          </p:nvSpPr>
          <p:spPr bwMode="auto">
            <a:xfrm>
              <a:off x="749301" y="-1"/>
              <a:ext cx="8961438" cy="6721475"/>
            </a:xfrm>
            <a:prstGeom prst="rect">
              <a:avLst/>
            </a:prstGeom>
            <a:solidFill>
              <a:schemeClr val="accent4">
                <a:alpha val="83000"/>
              </a:schemeClr>
            </a:solidFill>
            <a:ln>
              <a:noFill/>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grpSp>
      <p:sp>
        <p:nvSpPr>
          <p:cNvPr id="347" name="AutoShape 250"/>
          <p:cNvSpPr>
            <a:spLocks noChangeArrowheads="1"/>
          </p:cNvSpPr>
          <p:nvPr/>
        </p:nvSpPr>
        <p:spPr bwMode="auto">
          <a:xfrm>
            <a:off x="119064" y="776540"/>
            <a:ext cx="951583" cy="234285"/>
          </a:xfrm>
          <a:prstGeom prst="leftRightArrow">
            <a:avLst>
              <a:gd name="adj1" fmla="val 100000"/>
              <a:gd name="adj2" fmla="val 0"/>
            </a:avLst>
          </a:prstGeom>
          <a:noFill/>
          <a:ln>
            <a:noFill/>
          </a:ln>
          <a:effectLst/>
        </p:spPr>
        <p:txBody>
          <a:bodyPr wrap="square" lIns="0" tIns="0" rIns="0" bIns="18659" anchor="b">
            <a:spAutoFit/>
          </a:bodyPr>
          <a:lstStyle/>
          <a:p>
            <a:pPr>
              <a:defRPr/>
            </a:pPr>
            <a:r>
              <a:rPr lang="zh-CN" sz="1400" dirty="0">
                <a:solidFill>
                  <a:srgbClr val="FFCA21"/>
                </a:solidFill>
                <a:latin typeface="+mn-lt"/>
                <a:ea typeface="楷体" panose="02010609060101010101" pitchFamily="49" charset="-122"/>
                <a:cs typeface="SimSun"/>
              </a:rPr>
              <a:t>特性</a:t>
            </a:r>
          </a:p>
        </p:txBody>
      </p:sp>
      <p:sp>
        <p:nvSpPr>
          <p:cNvPr id="349" name="Rectangle 27"/>
          <p:cNvSpPr>
            <a:spLocks/>
          </p:cNvSpPr>
          <p:nvPr/>
        </p:nvSpPr>
        <p:spPr>
          <a:xfrm>
            <a:off x="1265291" y="1093059"/>
            <a:ext cx="7533269" cy="5230260"/>
          </a:xfrm>
          <a:custGeom>
            <a:avLst/>
            <a:gdLst>
              <a:gd name="connsiteX0" fmla="*/ 0 w 930255"/>
              <a:gd name="connsiteY0" fmla="*/ 0 h 614332"/>
              <a:gd name="connsiteX1" fmla="*/ 930255 w 930255"/>
              <a:gd name="connsiteY1" fmla="*/ 0 h 614332"/>
              <a:gd name="connsiteX2" fmla="*/ 930255 w 930255"/>
              <a:gd name="connsiteY2" fmla="*/ 614332 h 614332"/>
              <a:gd name="connsiteX3" fmla="*/ 0 w 930255"/>
              <a:gd name="connsiteY3" fmla="*/ 614332 h 614332"/>
              <a:gd name="connsiteX4" fmla="*/ 0 w 930255"/>
              <a:gd name="connsiteY4" fmla="*/ 0 h 614332"/>
              <a:gd name="connsiteX0" fmla="*/ 930255 w 1021695"/>
              <a:gd name="connsiteY0" fmla="*/ 614332 h 705772"/>
              <a:gd name="connsiteX1" fmla="*/ 0 w 1021695"/>
              <a:gd name="connsiteY1" fmla="*/ 614332 h 705772"/>
              <a:gd name="connsiteX2" fmla="*/ 0 w 1021695"/>
              <a:gd name="connsiteY2" fmla="*/ 0 h 705772"/>
              <a:gd name="connsiteX3" fmla="*/ 930255 w 1021695"/>
              <a:gd name="connsiteY3" fmla="*/ 0 h 705772"/>
              <a:gd name="connsiteX4" fmla="*/ 1021695 w 1021695"/>
              <a:gd name="connsiteY4" fmla="*/ 705772 h 705772"/>
              <a:gd name="connsiteX0" fmla="*/ 930255 w 930255"/>
              <a:gd name="connsiteY0" fmla="*/ 614332 h 614332"/>
              <a:gd name="connsiteX1" fmla="*/ 0 w 930255"/>
              <a:gd name="connsiteY1" fmla="*/ 614332 h 614332"/>
              <a:gd name="connsiteX2" fmla="*/ 0 w 930255"/>
              <a:gd name="connsiteY2" fmla="*/ 0 h 614332"/>
              <a:gd name="connsiteX3" fmla="*/ 930255 w 930255"/>
              <a:gd name="connsiteY3" fmla="*/ 0 h 614332"/>
              <a:gd name="connsiteX0" fmla="*/ 0 w 930255"/>
              <a:gd name="connsiteY0" fmla="*/ 614332 h 614332"/>
              <a:gd name="connsiteX1" fmla="*/ 0 w 930255"/>
              <a:gd name="connsiteY1" fmla="*/ 0 h 614332"/>
              <a:gd name="connsiteX2" fmla="*/ 930255 w 930255"/>
              <a:gd name="connsiteY2" fmla="*/ 0 h 614332"/>
            </a:gdLst>
            <a:ahLst/>
            <a:cxnLst>
              <a:cxn ang="0">
                <a:pos x="connsiteX0" y="connsiteY0"/>
              </a:cxn>
              <a:cxn ang="0">
                <a:pos x="connsiteX1" y="connsiteY1"/>
              </a:cxn>
              <a:cxn ang="0">
                <a:pos x="connsiteX2" y="connsiteY2"/>
              </a:cxn>
            </a:cxnLst>
            <a:rect l="l" t="t" r="r" b="b"/>
            <a:pathLst>
              <a:path w="930255" h="614332">
                <a:moveTo>
                  <a:pt x="0" y="614332"/>
                </a:moveTo>
                <a:lnTo>
                  <a:pt x="0" y="0"/>
                </a:lnTo>
                <a:lnTo>
                  <a:pt x="930255" y="0"/>
                </a:lnTo>
              </a:path>
            </a:pathLst>
          </a:custGeom>
          <a:ln w="3175">
            <a:solidFill>
              <a:srgbClr val="FFCA2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err="1">
              <a:ea typeface="楷体" panose="02010609060101010101" pitchFamily="49" charset="-122"/>
            </a:endParaRPr>
          </a:p>
        </p:txBody>
      </p:sp>
      <p:sp>
        <p:nvSpPr>
          <p:cNvPr id="2" name="Title 1"/>
          <p:cNvSpPr>
            <a:spLocks noGrp="1"/>
          </p:cNvSpPr>
          <p:nvPr>
            <p:ph type="title"/>
          </p:nvPr>
        </p:nvSpPr>
        <p:spPr/>
        <p:txBody>
          <a:bodyPr/>
          <a:lstStyle/>
          <a:p>
            <a:r>
              <a:rPr lang="zh-CN" altLang="en-US" dirty="0">
                <a:solidFill>
                  <a:schemeClr val="bg1"/>
                </a:solidFill>
                <a:latin typeface="+mn-lt"/>
                <a:ea typeface="楷体" panose="02010609060101010101" pitchFamily="49" charset="-122"/>
                <a:cs typeface="SimSun"/>
              </a:rPr>
              <a:t>深度学习如今为何飞速发展？</a:t>
            </a:r>
            <a:r>
              <a:rPr lang="zh-CN" dirty="0">
                <a:solidFill>
                  <a:schemeClr val="bg1"/>
                </a:solidFill>
                <a:latin typeface="+mn-lt"/>
                <a:ea typeface="楷体" panose="02010609060101010101" pitchFamily="49" charset="-122"/>
                <a:cs typeface="SimSun"/>
              </a:rPr>
              <a:t>(2/3)</a:t>
            </a:r>
          </a:p>
        </p:txBody>
      </p:sp>
      <p:sp>
        <p:nvSpPr>
          <p:cNvPr id="13" name="Rectangle 7"/>
          <p:cNvSpPr>
            <a:spLocks noChangeArrowheads="1"/>
          </p:cNvSpPr>
          <p:nvPr>
            <p:custDataLst>
              <p:tags r:id="rId1"/>
            </p:custDataLst>
          </p:nvPr>
        </p:nvSpPr>
        <p:spPr bwMode="auto">
          <a:xfrm>
            <a:off x="3046233" y="2767042"/>
            <a:ext cx="3244789" cy="647632"/>
          </a:xfrm>
          <a:prstGeom prst="rect">
            <a:avLst/>
          </a:prstGeom>
          <a:noFill/>
          <a:ln>
            <a:noFill/>
          </a:ln>
          <a:effectLst/>
        </p:spPr>
        <p:txBody>
          <a:bodyPr wrap="square" lIns="0" tIns="0" rIns="0" bIns="0">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235199" lvl="1" indent="-233272" defTabSz="1087313">
              <a:spcBef>
                <a:spcPct val="30000"/>
              </a:spcBef>
              <a:buFont typeface="Arial" charset="0"/>
              <a:buChar char="▪"/>
              <a:defRPr/>
            </a:pPr>
            <a:endParaRPr lang="en-US" sz="1100" dirty="0">
              <a:latin typeface="+mn-lt"/>
              <a:ea typeface="楷体" panose="02010609060101010101" pitchFamily="49" charset="-122"/>
              <a:cs typeface="Times New Roman" panose="02020603050405020304" pitchFamily="18" charset="0"/>
            </a:endParaRPr>
          </a:p>
        </p:txBody>
      </p:sp>
      <p:sp>
        <p:nvSpPr>
          <p:cNvPr id="157" name="Text Placeholder 2"/>
          <p:cNvSpPr>
            <a:spLocks noGrp="1"/>
          </p:cNvSpPr>
          <p:nvPr>
            <p:custDataLst>
              <p:tags r:id="rId2"/>
            </p:custDataLst>
          </p:nvPr>
        </p:nvSpPr>
        <p:spPr bwMode="auto">
          <a:xfrm>
            <a:off x="8121650" y="4348163"/>
            <a:ext cx="417513"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18FA422-E115-4E80-A687-126C12408D44}" type="datetime'''2''''0''''''''''''2''''''''''0''''''''E'''''''''''''">
              <a:rPr lang="en-US" altLang="en-US" sz="1100" smtClean="0">
                <a:solidFill>
                  <a:schemeClr val="bg1"/>
                </a:solidFill>
                <a:ea typeface="楷体" panose="02010609060101010101" pitchFamily="49" charset="-122"/>
                <a:sym typeface="+mn-lt"/>
              </a:rPr>
              <a:pPr/>
              <a:t>2020E</a:t>
            </a:fld>
            <a:endParaRPr lang="zh-CN" sz="1100" dirty="0">
              <a:solidFill>
                <a:schemeClr val="bg1"/>
              </a:solidFill>
              <a:ea typeface="楷体" panose="02010609060101010101" pitchFamily="49" charset="-122"/>
              <a:sym typeface="+mn-lt"/>
            </a:endParaRPr>
          </a:p>
        </p:txBody>
      </p:sp>
      <p:sp>
        <p:nvSpPr>
          <p:cNvPr id="151" name="Text Placeholder 2"/>
          <p:cNvSpPr>
            <a:spLocks noGrp="1"/>
          </p:cNvSpPr>
          <p:nvPr>
            <p:custDataLst>
              <p:tags r:id="rId3"/>
            </p:custDataLst>
          </p:nvPr>
        </p:nvSpPr>
        <p:spPr bwMode="auto">
          <a:xfrm>
            <a:off x="6281738" y="4348163"/>
            <a:ext cx="323850"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zh-CN" altLang="en-US" sz="1100" dirty="0">
                <a:solidFill>
                  <a:schemeClr val="bg1"/>
                </a:solidFill>
                <a:ea typeface="楷体" panose="02010609060101010101" pitchFamily="49" charset="-122"/>
                <a:cs typeface="SimSun"/>
                <a:sym typeface="+mn-lt"/>
              </a:rPr>
              <a:t>20</a:t>
            </a:r>
            <a:fld id="{8956ED22-36D9-49EE-99FE-CEAF082FC7D3}" type="datetime'''''''''''''''0''''''''''''''''2'''''''''''''''''''''''''">
              <a:rPr lang="en-US" altLang="en-US" sz="1100">
                <a:solidFill>
                  <a:schemeClr val="bg1"/>
                </a:solidFill>
                <a:ea typeface="楷体" panose="02010609060101010101" pitchFamily="49" charset="-122"/>
                <a:sym typeface="+mn-lt"/>
              </a:rPr>
              <a:pPr/>
              <a:t>02</a:t>
            </a:fld>
            <a:endParaRPr lang="zh-CN" sz="1100" dirty="0">
              <a:solidFill>
                <a:schemeClr val="bg1"/>
              </a:solidFill>
              <a:ea typeface="楷体" panose="02010609060101010101" pitchFamily="49" charset="-122"/>
              <a:sym typeface="+mn-lt"/>
            </a:endParaRPr>
          </a:p>
        </p:txBody>
      </p:sp>
      <p:sp>
        <p:nvSpPr>
          <p:cNvPr id="154" name="Text Placeholder 2"/>
          <p:cNvSpPr>
            <a:spLocks noGrp="1"/>
          </p:cNvSpPr>
          <p:nvPr>
            <p:custDataLst>
              <p:tags r:id="rId4"/>
            </p:custDataLst>
          </p:nvPr>
        </p:nvSpPr>
        <p:spPr bwMode="gray">
          <a:xfrm>
            <a:off x="7156450" y="3978275"/>
            <a:ext cx="461963"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altLang="en-US" sz="1100" dirty="0">
                <a:solidFill>
                  <a:schemeClr val="bg1"/>
                </a:solidFill>
                <a:ea typeface="楷体" panose="02010609060101010101" pitchFamily="49" charset="-122"/>
                <a:cs typeface="SimSun"/>
                <a:sym typeface="+mn-lt"/>
              </a:rPr>
              <a:t>10,000</a:t>
            </a:r>
            <a:endParaRPr lang="zh-CN" sz="1100" dirty="0">
              <a:solidFill>
                <a:schemeClr val="bg1"/>
              </a:solidFill>
              <a:ea typeface="楷体" panose="02010609060101010101" pitchFamily="49" charset="-122"/>
              <a:sym typeface="+mn-lt"/>
            </a:endParaRPr>
          </a:p>
        </p:txBody>
      </p:sp>
      <p:sp>
        <p:nvSpPr>
          <p:cNvPr id="153" name="Text Placeholder 2"/>
          <p:cNvSpPr>
            <a:spLocks noGrp="1"/>
          </p:cNvSpPr>
          <p:nvPr>
            <p:custDataLst>
              <p:tags r:id="rId5"/>
            </p:custDataLst>
          </p:nvPr>
        </p:nvSpPr>
        <p:spPr bwMode="auto">
          <a:xfrm>
            <a:off x="7224713" y="4348163"/>
            <a:ext cx="323850"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zh-CN" altLang="en-US" sz="1100" dirty="0">
                <a:solidFill>
                  <a:schemeClr val="bg1"/>
                </a:solidFill>
                <a:ea typeface="楷体" panose="02010609060101010101" pitchFamily="49" charset="-122"/>
                <a:cs typeface="SimSun"/>
                <a:sym typeface="+mn-lt"/>
              </a:rPr>
              <a:t>20</a:t>
            </a:r>
            <a:fld id="{6F6254AB-448A-434F-BE2A-8250E33912A4}" type="datetime'''1''''''''''''''''''''''''''''''5'''''''">
              <a:rPr lang="en-US" altLang="en-US" sz="1100">
                <a:solidFill>
                  <a:schemeClr val="bg1"/>
                </a:solidFill>
                <a:ea typeface="楷体" panose="02010609060101010101" pitchFamily="49" charset="-122"/>
                <a:sym typeface="+mn-lt"/>
              </a:rPr>
              <a:pPr/>
              <a:t>15</a:t>
            </a:fld>
            <a:endParaRPr lang="zh-CN" sz="1100" dirty="0">
              <a:solidFill>
                <a:schemeClr val="bg1"/>
              </a:solidFill>
              <a:ea typeface="楷体" panose="02010609060101010101" pitchFamily="49" charset="-122"/>
              <a:sym typeface="+mn-lt"/>
            </a:endParaRPr>
          </a:p>
        </p:txBody>
      </p:sp>
      <p:sp>
        <p:nvSpPr>
          <p:cNvPr id="152" name="Text Placeholder 2"/>
          <p:cNvSpPr>
            <a:spLocks noGrp="1"/>
          </p:cNvSpPr>
          <p:nvPr>
            <p:custDataLst>
              <p:tags r:id="rId6"/>
            </p:custDataLst>
          </p:nvPr>
        </p:nvSpPr>
        <p:spPr bwMode="gray">
          <a:xfrm>
            <a:off x="5270500" y="4073525"/>
            <a:ext cx="4603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altLang="en-US" sz="1100" dirty="0">
                <a:solidFill>
                  <a:schemeClr val="bg1"/>
                </a:solidFill>
                <a:ea typeface="楷体" panose="02010609060101010101" pitchFamily="49" charset="-122"/>
                <a:cs typeface="SimSun"/>
                <a:sym typeface="+mn-lt"/>
              </a:rPr>
              <a:t> 0.001 </a:t>
            </a:r>
            <a:endParaRPr lang="zh-CN" sz="1100" dirty="0">
              <a:solidFill>
                <a:schemeClr val="bg1"/>
              </a:solidFill>
              <a:ea typeface="楷体" panose="02010609060101010101" pitchFamily="49" charset="-122"/>
              <a:sym typeface="+mn-lt"/>
            </a:endParaRPr>
          </a:p>
        </p:txBody>
      </p:sp>
      <p:sp>
        <p:nvSpPr>
          <p:cNvPr id="156" name="Text Placeholder 2"/>
          <p:cNvSpPr>
            <a:spLocks noGrp="1"/>
          </p:cNvSpPr>
          <p:nvPr>
            <p:custDataLst>
              <p:tags r:id="rId7"/>
            </p:custDataLst>
          </p:nvPr>
        </p:nvSpPr>
        <p:spPr bwMode="auto">
          <a:xfrm>
            <a:off x="5338763" y="4348163"/>
            <a:ext cx="323850"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AE4688F3-0AE1-4F78-91B2-CE2F10D21BA8}" type="datetime'1''''9''''''''''''9''''''2'''''''''''">
              <a:rPr lang="en-US" altLang="en-US" sz="1100">
                <a:solidFill>
                  <a:schemeClr val="bg1"/>
                </a:solidFill>
                <a:ea typeface="楷体" panose="02010609060101010101" pitchFamily="49" charset="-122"/>
                <a:sym typeface="+mn-lt"/>
              </a:rPr>
              <a:pPr/>
              <a:t>1992</a:t>
            </a:fld>
            <a:endParaRPr lang="zh-CN" sz="1100" dirty="0">
              <a:solidFill>
                <a:schemeClr val="bg1"/>
              </a:solidFill>
              <a:ea typeface="楷体" panose="02010609060101010101" pitchFamily="49" charset="-122"/>
              <a:sym typeface="+mn-lt"/>
            </a:endParaRPr>
          </a:p>
        </p:txBody>
      </p:sp>
      <p:sp>
        <p:nvSpPr>
          <p:cNvPr id="158" name="Text Placeholder 2"/>
          <p:cNvSpPr>
            <a:spLocks noGrp="1"/>
          </p:cNvSpPr>
          <p:nvPr>
            <p:custDataLst>
              <p:tags r:id="rId8"/>
            </p:custDataLst>
          </p:nvPr>
        </p:nvSpPr>
        <p:spPr bwMode="gray">
          <a:xfrm>
            <a:off x="6310313" y="4073525"/>
            <a:ext cx="26828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altLang="en-US" sz="1100" dirty="0">
                <a:solidFill>
                  <a:schemeClr val="bg1"/>
                </a:solidFill>
                <a:ea typeface="楷体" panose="02010609060101010101" pitchFamily="49" charset="-122"/>
                <a:cs typeface="SimSun"/>
                <a:sym typeface="+mn-lt"/>
              </a:rPr>
              <a:t>100</a:t>
            </a:r>
            <a:endParaRPr lang="zh-CN" sz="1100" dirty="0">
              <a:solidFill>
                <a:schemeClr val="bg1"/>
              </a:solidFill>
              <a:ea typeface="楷体" panose="02010609060101010101" pitchFamily="49" charset="-122"/>
              <a:sym typeface="+mn-lt"/>
            </a:endParaRPr>
          </a:p>
        </p:txBody>
      </p:sp>
      <p:sp>
        <p:nvSpPr>
          <p:cNvPr id="155" name="Text Placeholder 2"/>
          <p:cNvSpPr>
            <a:spLocks noGrp="1"/>
          </p:cNvSpPr>
          <p:nvPr>
            <p:custDataLst>
              <p:tags r:id="rId9"/>
            </p:custDataLst>
          </p:nvPr>
        </p:nvSpPr>
        <p:spPr bwMode="gray">
          <a:xfrm>
            <a:off x="8099425" y="3511550"/>
            <a:ext cx="461963"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altLang="en-US" sz="1100" dirty="0">
                <a:solidFill>
                  <a:schemeClr val="bg1"/>
                </a:solidFill>
                <a:ea typeface="楷体" panose="02010609060101010101" pitchFamily="49" charset="-122"/>
                <a:cs typeface="SimSun"/>
                <a:sym typeface="+mn-lt"/>
              </a:rPr>
              <a:t>61,000</a:t>
            </a:r>
            <a:endParaRPr lang="zh-CN" sz="1100" dirty="0">
              <a:solidFill>
                <a:schemeClr val="bg1"/>
              </a:solidFill>
              <a:ea typeface="楷体" panose="02010609060101010101" pitchFamily="49" charset="-122"/>
              <a:sym typeface="+mn-lt"/>
            </a:endParaRPr>
          </a:p>
        </p:txBody>
      </p:sp>
      <p:sp>
        <p:nvSpPr>
          <p:cNvPr id="161" name="Text Placeholder 2"/>
          <p:cNvSpPr>
            <a:spLocks noGrp="1"/>
          </p:cNvSpPr>
          <p:nvPr>
            <p:custDataLst>
              <p:tags r:id="rId10"/>
            </p:custDataLst>
          </p:nvPr>
        </p:nvSpPr>
        <p:spPr bwMode="gray">
          <a:xfrm>
            <a:off x="5286375" y="1925638"/>
            <a:ext cx="193675" cy="15081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13A21BA0-F11E-4E9B-B2D3-162BCC6E3A8B}" type="datetime'0.''''''''''''''''''''''''''''''''9'''''''''''''''''''''''">
              <a:rPr lang="en-US" altLang="en-US" sz="1100">
                <a:solidFill>
                  <a:schemeClr val="bg1"/>
                </a:solidFill>
                <a:ea typeface="楷体" panose="02010609060101010101" pitchFamily="49" charset="-122"/>
                <a:sym typeface="+mn-lt"/>
              </a:rPr>
              <a:pPr/>
              <a:t>0.9</a:t>
            </a:fld>
            <a:endParaRPr lang="zh-CN" sz="1100" dirty="0">
              <a:solidFill>
                <a:schemeClr val="bg1"/>
              </a:solidFill>
              <a:ea typeface="楷体" panose="02010609060101010101" pitchFamily="49" charset="-122"/>
              <a:sym typeface="+mn-lt"/>
            </a:endParaRPr>
          </a:p>
        </p:txBody>
      </p:sp>
      <p:sp>
        <p:nvSpPr>
          <p:cNvPr id="162" name="Text Placeholder 2"/>
          <p:cNvSpPr>
            <a:spLocks noGrp="1"/>
          </p:cNvSpPr>
          <p:nvPr>
            <p:custDataLst>
              <p:tags r:id="rId11"/>
            </p:custDataLst>
          </p:nvPr>
        </p:nvSpPr>
        <p:spPr bwMode="gray">
          <a:xfrm>
            <a:off x="5286375" y="2335213"/>
            <a:ext cx="193675" cy="15081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88174452-902E-4830-8FA9-B32869B3CD40}" type="datetime'0''.''''''''''8'''''''''''''''''''''''''''">
              <a:rPr lang="en-US" altLang="en-US" sz="1100">
                <a:solidFill>
                  <a:schemeClr val="bg1"/>
                </a:solidFill>
                <a:ea typeface="楷体" panose="02010609060101010101" pitchFamily="49" charset="-122"/>
                <a:sym typeface="+mn-lt"/>
              </a:rPr>
              <a:pPr/>
              <a:t>0.8</a:t>
            </a:fld>
            <a:endParaRPr lang="zh-CN" sz="1100" dirty="0">
              <a:solidFill>
                <a:schemeClr val="bg1"/>
              </a:solidFill>
              <a:ea typeface="楷体" panose="02010609060101010101" pitchFamily="49" charset="-122"/>
              <a:sym typeface="+mn-lt"/>
            </a:endParaRPr>
          </a:p>
        </p:txBody>
      </p:sp>
      <p:sp>
        <p:nvSpPr>
          <p:cNvPr id="163" name="Text Placeholder 2"/>
          <p:cNvSpPr>
            <a:spLocks noGrp="1"/>
          </p:cNvSpPr>
          <p:nvPr>
            <p:custDataLst>
              <p:tags r:id="rId12"/>
            </p:custDataLst>
          </p:nvPr>
        </p:nvSpPr>
        <p:spPr bwMode="gray">
          <a:xfrm>
            <a:off x="5286375" y="2754313"/>
            <a:ext cx="193675" cy="15081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8430740F-EC62-420D-A1F6-D14AF0CF44A3}" type="datetime'''''''0''''''''''.7'''''''''''''">
              <a:rPr lang="en-US" altLang="en-US" sz="1100">
                <a:solidFill>
                  <a:schemeClr val="bg1"/>
                </a:solidFill>
                <a:ea typeface="楷体" panose="02010609060101010101" pitchFamily="49" charset="-122"/>
                <a:sym typeface="+mn-lt"/>
              </a:rPr>
              <a:pPr/>
              <a:t>0.7</a:t>
            </a:fld>
            <a:endParaRPr lang="zh-CN" sz="1100" dirty="0">
              <a:solidFill>
                <a:schemeClr val="bg1"/>
              </a:solidFill>
              <a:ea typeface="楷体" panose="02010609060101010101" pitchFamily="49" charset="-122"/>
              <a:sym typeface="+mn-lt"/>
            </a:endParaRPr>
          </a:p>
        </p:txBody>
      </p:sp>
      <p:sp>
        <p:nvSpPr>
          <p:cNvPr id="164" name="Text Placeholder 2"/>
          <p:cNvSpPr>
            <a:spLocks noGrp="1"/>
          </p:cNvSpPr>
          <p:nvPr>
            <p:custDataLst>
              <p:tags r:id="rId13"/>
            </p:custDataLst>
          </p:nvPr>
        </p:nvSpPr>
        <p:spPr bwMode="gray">
          <a:xfrm>
            <a:off x="5286375" y="1506538"/>
            <a:ext cx="193675" cy="15081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46DC6D70-7440-4841-BB11-C267B599BD20}" type="datetime'''''''''''''''''''1''''''.''''''''''''''''''''''''''0'''">
              <a:rPr lang="en-US" altLang="en-US" sz="1100">
                <a:solidFill>
                  <a:schemeClr val="bg1"/>
                </a:solidFill>
                <a:ea typeface="楷体" panose="02010609060101010101" pitchFamily="49" charset="-122"/>
                <a:sym typeface="+mn-lt"/>
              </a:rPr>
              <a:pPr/>
              <a:t>1.0</a:t>
            </a:fld>
            <a:endParaRPr lang="zh-CN" sz="1100" dirty="0">
              <a:solidFill>
                <a:schemeClr val="bg1"/>
              </a:solidFill>
              <a:ea typeface="楷体" panose="02010609060101010101" pitchFamily="49" charset="-122"/>
              <a:sym typeface="+mn-lt"/>
            </a:endParaRPr>
          </a:p>
        </p:txBody>
      </p:sp>
      <p:cxnSp>
        <p:nvCxnSpPr>
          <p:cNvPr id="165" name="Straight Connector 164"/>
          <p:cNvCxnSpPr/>
          <p:nvPr>
            <p:custDataLst>
              <p:tags r:id="rId14"/>
            </p:custDataLst>
          </p:nvPr>
        </p:nvCxnSpPr>
        <p:spPr bwMode="gray">
          <a:xfrm>
            <a:off x="7681913" y="592138"/>
            <a:ext cx="285750" cy="0"/>
          </a:xfrm>
          <a:prstGeom prst="line">
            <a:avLst/>
          </a:prstGeom>
          <a:ln w="1905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custDataLst>
              <p:tags r:id="rId15"/>
            </p:custDataLst>
          </p:nvPr>
        </p:nvCxnSpPr>
        <p:spPr bwMode="gray">
          <a:xfrm>
            <a:off x="6246813" y="350838"/>
            <a:ext cx="285750"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custDataLst>
              <p:tags r:id="rId16"/>
            </p:custDataLst>
          </p:nvPr>
        </p:nvCxnSpPr>
        <p:spPr bwMode="gray">
          <a:xfrm>
            <a:off x="7681913" y="350838"/>
            <a:ext cx="285750" cy="0"/>
          </a:xfrm>
          <a:prstGeom prst="line">
            <a:avLst/>
          </a:prstGeom>
          <a:ln w="19050">
            <a:solidFill>
              <a:schemeClr val="hlink"/>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custDataLst>
              <p:tags r:id="rId17"/>
            </p:custDataLst>
          </p:nvPr>
        </p:nvCxnSpPr>
        <p:spPr bwMode="gray">
          <a:xfrm>
            <a:off x="6246813" y="592138"/>
            <a:ext cx="285750"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0" name="Diamond 169"/>
          <p:cNvSpPr/>
          <p:nvPr>
            <p:custDataLst>
              <p:tags r:id="rId18"/>
            </p:custDataLst>
          </p:nvPr>
        </p:nvSpPr>
        <p:spPr bwMode="auto">
          <a:xfrm>
            <a:off x="7796213" y="563563"/>
            <a:ext cx="57150" cy="57150"/>
          </a:xfrm>
          <a:prstGeom prst="diamond">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a typeface="楷体" panose="02010609060101010101" pitchFamily="49" charset="-122"/>
            </a:endParaRPr>
          </a:p>
        </p:txBody>
      </p:sp>
      <p:sp>
        <p:nvSpPr>
          <p:cNvPr id="169" name="Rectangle 168"/>
          <p:cNvSpPr/>
          <p:nvPr>
            <p:custDataLst>
              <p:tags r:id="rId19"/>
            </p:custDataLst>
          </p:nvPr>
        </p:nvSpPr>
        <p:spPr bwMode="auto">
          <a:xfrm>
            <a:off x="6361113" y="563563"/>
            <a:ext cx="57150" cy="5715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a typeface="楷体" panose="02010609060101010101" pitchFamily="49" charset="-122"/>
            </a:endParaRPr>
          </a:p>
        </p:txBody>
      </p:sp>
      <p:sp>
        <p:nvSpPr>
          <p:cNvPr id="172" name="Oval 171"/>
          <p:cNvSpPr/>
          <p:nvPr>
            <p:custDataLst>
              <p:tags r:id="rId20"/>
            </p:custDataLst>
          </p:nvPr>
        </p:nvSpPr>
        <p:spPr bwMode="auto">
          <a:xfrm>
            <a:off x="6361113" y="322263"/>
            <a:ext cx="57150" cy="57150"/>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a typeface="楷体" panose="02010609060101010101" pitchFamily="49" charset="-122"/>
            </a:endParaRPr>
          </a:p>
        </p:txBody>
      </p:sp>
      <p:sp>
        <p:nvSpPr>
          <p:cNvPr id="171" name="Isosceles Triangle 170"/>
          <p:cNvSpPr/>
          <p:nvPr>
            <p:custDataLst>
              <p:tags r:id="rId21"/>
            </p:custDataLst>
          </p:nvPr>
        </p:nvSpPr>
        <p:spPr bwMode="auto">
          <a:xfrm>
            <a:off x="7796213" y="322263"/>
            <a:ext cx="57150" cy="57150"/>
          </a:xfrm>
          <a:prstGeom prst="triangle">
            <a:avLst/>
          </a:prstGeom>
          <a:solidFill>
            <a:schemeClr val="hlink"/>
          </a:solidFill>
          <a:ln w="9525">
            <a:solidFill>
              <a:schemeClr val="hlin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a typeface="楷体" panose="02010609060101010101" pitchFamily="49" charset="-122"/>
            </a:endParaRPr>
          </a:p>
        </p:txBody>
      </p:sp>
      <p:sp>
        <p:nvSpPr>
          <p:cNvPr id="174" name="Text Placeholder 50"/>
          <p:cNvSpPr>
            <a:spLocks noGrp="1"/>
          </p:cNvSpPr>
          <p:nvPr>
            <p:custDataLst>
              <p:tags r:id="rId22"/>
            </p:custDataLst>
          </p:nvPr>
        </p:nvSpPr>
        <p:spPr bwMode="auto">
          <a:xfrm>
            <a:off x="8069263" y="522288"/>
            <a:ext cx="4508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BE65E7A-A1CB-4880-B416-49BC0E731B48}" type="datetime'''''''''W''i''n''n''o''''''''''''''''w'''">
              <a:rPr lang="en-US" altLang="en-US" sz="1000">
                <a:solidFill>
                  <a:schemeClr val="bg1"/>
                </a:solidFill>
                <a:ea typeface="楷体" panose="02010609060101010101" pitchFamily="49" charset="-122"/>
                <a:sym typeface="+mn-lt"/>
              </a:rPr>
              <a:pPr/>
              <a:t>Winnow</a:t>
            </a:fld>
            <a:endParaRPr lang="zh-CN" sz="1000" dirty="0">
              <a:solidFill>
                <a:schemeClr val="bg1"/>
              </a:solidFill>
              <a:ea typeface="楷体" panose="02010609060101010101" pitchFamily="49" charset="-122"/>
              <a:sym typeface="+mn-lt"/>
            </a:endParaRPr>
          </a:p>
        </p:txBody>
      </p:sp>
      <p:sp>
        <p:nvSpPr>
          <p:cNvPr id="173" name="Text Placeholder 46"/>
          <p:cNvSpPr>
            <a:spLocks noGrp="1"/>
          </p:cNvSpPr>
          <p:nvPr>
            <p:custDataLst>
              <p:tags r:id="rId23"/>
            </p:custDataLst>
          </p:nvPr>
        </p:nvSpPr>
        <p:spPr bwMode="auto">
          <a:xfrm>
            <a:off x="8069263" y="280988"/>
            <a:ext cx="6175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zh-CN" altLang="en-US" sz="1000" dirty="0">
                <a:solidFill>
                  <a:schemeClr val="bg1"/>
                </a:solidFill>
                <a:ea typeface="楷体" panose="02010609060101010101" pitchFamily="49" charset="-122"/>
                <a:sym typeface="+mn-lt"/>
              </a:rPr>
              <a:t>感知机</a:t>
            </a:r>
            <a:endParaRPr lang="zh-CN" sz="1000" dirty="0">
              <a:solidFill>
                <a:schemeClr val="bg1"/>
              </a:solidFill>
              <a:ea typeface="楷体" panose="02010609060101010101" pitchFamily="49" charset="-122"/>
              <a:sym typeface="+mn-lt"/>
            </a:endParaRPr>
          </a:p>
        </p:txBody>
      </p:sp>
      <p:sp>
        <p:nvSpPr>
          <p:cNvPr id="176" name="Text Placeholder 47"/>
          <p:cNvSpPr>
            <a:spLocks noGrp="1"/>
          </p:cNvSpPr>
          <p:nvPr>
            <p:custDataLst>
              <p:tags r:id="rId24"/>
            </p:custDataLst>
          </p:nvPr>
        </p:nvSpPr>
        <p:spPr bwMode="auto">
          <a:xfrm>
            <a:off x="6634163" y="280988"/>
            <a:ext cx="844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zh-CN" altLang="en-US" sz="1000" dirty="0">
                <a:solidFill>
                  <a:schemeClr val="bg1"/>
                </a:solidFill>
                <a:ea typeface="楷体" panose="02010609060101010101" pitchFamily="49" charset="-122"/>
                <a:sym typeface="+mn-lt"/>
              </a:rPr>
              <a:t>基于记忆</a:t>
            </a:r>
            <a:endParaRPr lang="zh-CN" sz="1000" dirty="0">
              <a:solidFill>
                <a:schemeClr val="bg1"/>
              </a:solidFill>
              <a:ea typeface="楷体" panose="02010609060101010101" pitchFamily="49" charset="-122"/>
              <a:sym typeface="+mn-lt"/>
            </a:endParaRPr>
          </a:p>
        </p:txBody>
      </p:sp>
      <p:sp>
        <p:nvSpPr>
          <p:cNvPr id="175" name="Text Placeholder 48"/>
          <p:cNvSpPr>
            <a:spLocks noGrp="1"/>
          </p:cNvSpPr>
          <p:nvPr>
            <p:custDataLst>
              <p:tags r:id="rId25"/>
            </p:custDataLst>
          </p:nvPr>
        </p:nvSpPr>
        <p:spPr bwMode="auto">
          <a:xfrm>
            <a:off x="6634163" y="522288"/>
            <a:ext cx="7159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zh-CN" altLang="en-US" sz="1000" dirty="0">
                <a:solidFill>
                  <a:schemeClr val="bg1"/>
                </a:solidFill>
                <a:ea typeface="楷体" panose="02010609060101010101" pitchFamily="49" charset="-122"/>
                <a:sym typeface="+mn-lt"/>
              </a:rPr>
              <a:t>朴素贝叶斯</a:t>
            </a:r>
            <a:endParaRPr lang="zh-CN" sz="1000" dirty="0">
              <a:solidFill>
                <a:schemeClr val="bg1"/>
              </a:solidFill>
              <a:ea typeface="楷体" panose="02010609060101010101" pitchFamily="49" charset="-122"/>
              <a:sym typeface="+mn-lt"/>
            </a:endParaRPr>
          </a:p>
        </p:txBody>
      </p:sp>
      <p:sp>
        <p:nvSpPr>
          <p:cNvPr id="177" name="TextBox 176"/>
          <p:cNvSpPr txBox="1"/>
          <p:nvPr/>
        </p:nvSpPr>
        <p:spPr>
          <a:xfrm rot="16200000">
            <a:off x="4789432" y="1733550"/>
            <a:ext cx="643175" cy="169277"/>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b="1" dirty="0">
                <a:solidFill>
                  <a:schemeClr val="bg1"/>
                </a:solidFill>
                <a:ea typeface="楷体" panose="02010609060101010101" pitchFamily="49" charset="-122"/>
                <a:cs typeface="SimSun"/>
              </a:rPr>
              <a:t>准确率</a:t>
            </a:r>
          </a:p>
        </p:txBody>
      </p:sp>
      <p:sp>
        <p:nvSpPr>
          <p:cNvPr id="178" name="TextBox 177"/>
          <p:cNvSpPr txBox="1"/>
          <p:nvPr/>
        </p:nvSpPr>
        <p:spPr>
          <a:xfrm>
            <a:off x="7712972" y="2924175"/>
            <a:ext cx="1035840" cy="169277"/>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b="1" dirty="0">
                <a:solidFill>
                  <a:schemeClr val="bg1"/>
                </a:solidFill>
                <a:ea typeface="楷体" panose="02010609060101010101" pitchFamily="49" charset="-122"/>
                <a:cs typeface="SimSun"/>
              </a:rPr>
              <a:t>数据量</a:t>
            </a:r>
          </a:p>
        </p:txBody>
      </p:sp>
      <p:grpSp>
        <p:nvGrpSpPr>
          <p:cNvPr id="35" name="Group 34"/>
          <p:cNvGrpSpPr/>
          <p:nvPr/>
        </p:nvGrpSpPr>
        <p:grpSpPr>
          <a:xfrm>
            <a:off x="119064" y="1168400"/>
            <a:ext cx="472128" cy="426412"/>
            <a:chOff x="1589480" y="3822558"/>
            <a:chExt cx="390188" cy="478266"/>
          </a:xfrm>
          <a:solidFill>
            <a:srgbClr val="FFCA21"/>
          </a:solidFill>
        </p:grpSpPr>
        <p:sp>
          <p:nvSpPr>
            <p:cNvPr id="36" name="Freeform 92238"/>
            <p:cNvSpPr>
              <a:spLocks/>
            </p:cNvSpPr>
            <p:nvPr/>
          </p:nvSpPr>
          <p:spPr bwMode="auto">
            <a:xfrm>
              <a:off x="1589480" y="4019736"/>
              <a:ext cx="390188" cy="163618"/>
            </a:xfrm>
            <a:custGeom>
              <a:avLst/>
              <a:gdLst>
                <a:gd name="T0" fmla="*/ 35 w 71"/>
                <a:gd name="T1" fmla="*/ 12 h 30"/>
                <a:gd name="T2" fmla="*/ 1 w 71"/>
                <a:gd name="T3" fmla="*/ 0 h 30"/>
                <a:gd name="T4" fmla="*/ 0 w 71"/>
                <a:gd name="T5" fmla="*/ 4 h 30"/>
                <a:gd name="T6" fmla="*/ 0 w 71"/>
                <a:gd name="T7" fmla="*/ 15 h 30"/>
                <a:gd name="T8" fmla="*/ 35 w 71"/>
                <a:gd name="T9" fmla="*/ 30 h 30"/>
                <a:gd name="T10" fmla="*/ 71 w 71"/>
                <a:gd name="T11" fmla="*/ 15 h 30"/>
                <a:gd name="T12" fmla="*/ 71 w 71"/>
                <a:gd name="T13" fmla="*/ 4 h 30"/>
                <a:gd name="T14" fmla="*/ 70 w 71"/>
                <a:gd name="T15" fmla="*/ 0 h 30"/>
                <a:gd name="T16" fmla="*/ 35 w 71"/>
                <a:gd name="T17"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0">
                  <a:moveTo>
                    <a:pt x="35" y="12"/>
                  </a:moveTo>
                  <a:cubicBezTo>
                    <a:pt x="19" y="12"/>
                    <a:pt x="5" y="7"/>
                    <a:pt x="1" y="0"/>
                  </a:cubicBezTo>
                  <a:cubicBezTo>
                    <a:pt x="0" y="1"/>
                    <a:pt x="0" y="3"/>
                    <a:pt x="0" y="4"/>
                  </a:cubicBezTo>
                  <a:cubicBezTo>
                    <a:pt x="0" y="15"/>
                    <a:pt x="0" y="15"/>
                    <a:pt x="0" y="15"/>
                  </a:cubicBezTo>
                  <a:cubicBezTo>
                    <a:pt x="0" y="23"/>
                    <a:pt x="16" y="30"/>
                    <a:pt x="35" y="30"/>
                  </a:cubicBezTo>
                  <a:cubicBezTo>
                    <a:pt x="55" y="30"/>
                    <a:pt x="71" y="23"/>
                    <a:pt x="71" y="15"/>
                  </a:cubicBezTo>
                  <a:cubicBezTo>
                    <a:pt x="71" y="4"/>
                    <a:pt x="71" y="4"/>
                    <a:pt x="71" y="4"/>
                  </a:cubicBezTo>
                  <a:cubicBezTo>
                    <a:pt x="71" y="3"/>
                    <a:pt x="70" y="1"/>
                    <a:pt x="70" y="0"/>
                  </a:cubicBezTo>
                  <a:cubicBezTo>
                    <a:pt x="66" y="7"/>
                    <a:pt x="52" y="12"/>
                    <a:pt x="35"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s-CR" sz="1200" dirty="0">
                <a:latin typeface="+mn-lt"/>
                <a:ea typeface="楷体" panose="02010609060101010101" pitchFamily="49" charset="-122"/>
              </a:endParaRPr>
            </a:p>
          </p:txBody>
        </p:sp>
        <p:sp>
          <p:nvSpPr>
            <p:cNvPr id="37" name="Freeform 92239"/>
            <p:cNvSpPr>
              <a:spLocks/>
            </p:cNvSpPr>
            <p:nvPr/>
          </p:nvSpPr>
          <p:spPr bwMode="auto">
            <a:xfrm>
              <a:off x="1589480" y="4137206"/>
              <a:ext cx="390188" cy="163618"/>
            </a:xfrm>
            <a:custGeom>
              <a:avLst/>
              <a:gdLst>
                <a:gd name="T0" fmla="*/ 35 w 71"/>
                <a:gd name="T1" fmla="*/ 12 h 30"/>
                <a:gd name="T2" fmla="*/ 1 w 71"/>
                <a:gd name="T3" fmla="*/ 0 h 30"/>
                <a:gd name="T4" fmla="*/ 0 w 71"/>
                <a:gd name="T5" fmla="*/ 4 h 30"/>
                <a:gd name="T6" fmla="*/ 0 w 71"/>
                <a:gd name="T7" fmla="*/ 15 h 30"/>
                <a:gd name="T8" fmla="*/ 35 w 71"/>
                <a:gd name="T9" fmla="*/ 30 h 30"/>
                <a:gd name="T10" fmla="*/ 71 w 71"/>
                <a:gd name="T11" fmla="*/ 15 h 30"/>
                <a:gd name="T12" fmla="*/ 71 w 71"/>
                <a:gd name="T13" fmla="*/ 4 h 30"/>
                <a:gd name="T14" fmla="*/ 70 w 71"/>
                <a:gd name="T15" fmla="*/ 0 h 30"/>
                <a:gd name="T16" fmla="*/ 35 w 71"/>
                <a:gd name="T17"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30">
                  <a:moveTo>
                    <a:pt x="35" y="12"/>
                  </a:moveTo>
                  <a:cubicBezTo>
                    <a:pt x="19" y="12"/>
                    <a:pt x="5" y="7"/>
                    <a:pt x="1" y="0"/>
                  </a:cubicBezTo>
                  <a:cubicBezTo>
                    <a:pt x="0" y="2"/>
                    <a:pt x="0" y="3"/>
                    <a:pt x="0" y="4"/>
                  </a:cubicBezTo>
                  <a:cubicBezTo>
                    <a:pt x="0" y="15"/>
                    <a:pt x="0" y="15"/>
                    <a:pt x="0" y="15"/>
                  </a:cubicBezTo>
                  <a:cubicBezTo>
                    <a:pt x="0" y="23"/>
                    <a:pt x="16" y="30"/>
                    <a:pt x="35" y="30"/>
                  </a:cubicBezTo>
                  <a:cubicBezTo>
                    <a:pt x="55" y="30"/>
                    <a:pt x="71" y="23"/>
                    <a:pt x="71" y="15"/>
                  </a:cubicBezTo>
                  <a:cubicBezTo>
                    <a:pt x="71" y="4"/>
                    <a:pt x="71" y="4"/>
                    <a:pt x="71" y="4"/>
                  </a:cubicBezTo>
                  <a:cubicBezTo>
                    <a:pt x="71" y="3"/>
                    <a:pt x="70" y="2"/>
                    <a:pt x="70" y="0"/>
                  </a:cubicBezTo>
                  <a:cubicBezTo>
                    <a:pt x="66" y="7"/>
                    <a:pt x="52" y="12"/>
                    <a:pt x="35"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s-CR" sz="1200" dirty="0">
                <a:latin typeface="+mn-lt"/>
                <a:ea typeface="楷体" panose="02010609060101010101" pitchFamily="49" charset="-122"/>
              </a:endParaRPr>
            </a:p>
          </p:txBody>
        </p:sp>
        <p:sp>
          <p:nvSpPr>
            <p:cNvPr id="38" name="Freeform 92240"/>
            <p:cNvSpPr>
              <a:spLocks/>
            </p:cNvSpPr>
            <p:nvPr/>
          </p:nvSpPr>
          <p:spPr bwMode="auto">
            <a:xfrm>
              <a:off x="1589480" y="3902268"/>
              <a:ext cx="390188" cy="163618"/>
            </a:xfrm>
            <a:custGeom>
              <a:avLst/>
              <a:gdLst>
                <a:gd name="T0" fmla="*/ 70 w 71"/>
                <a:gd name="T1" fmla="*/ 0 h 29"/>
                <a:gd name="T2" fmla="*/ 35 w 71"/>
                <a:gd name="T3" fmla="*/ 11 h 29"/>
                <a:gd name="T4" fmla="*/ 1 w 71"/>
                <a:gd name="T5" fmla="*/ 0 h 29"/>
                <a:gd name="T6" fmla="*/ 0 w 71"/>
                <a:gd name="T7" fmla="*/ 3 h 29"/>
                <a:gd name="T8" fmla="*/ 0 w 71"/>
                <a:gd name="T9" fmla="*/ 14 h 29"/>
                <a:gd name="T10" fmla="*/ 35 w 71"/>
                <a:gd name="T11" fmla="*/ 29 h 29"/>
                <a:gd name="T12" fmla="*/ 71 w 71"/>
                <a:gd name="T13" fmla="*/ 14 h 29"/>
                <a:gd name="T14" fmla="*/ 71 w 71"/>
                <a:gd name="T15" fmla="*/ 3 h 29"/>
                <a:gd name="T16" fmla="*/ 70 w 71"/>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29">
                  <a:moveTo>
                    <a:pt x="70" y="0"/>
                  </a:moveTo>
                  <a:cubicBezTo>
                    <a:pt x="69" y="6"/>
                    <a:pt x="54" y="11"/>
                    <a:pt x="35" y="11"/>
                  </a:cubicBezTo>
                  <a:cubicBezTo>
                    <a:pt x="17" y="11"/>
                    <a:pt x="1" y="6"/>
                    <a:pt x="1" y="0"/>
                  </a:cubicBezTo>
                  <a:cubicBezTo>
                    <a:pt x="0" y="1"/>
                    <a:pt x="0" y="2"/>
                    <a:pt x="0" y="3"/>
                  </a:cubicBezTo>
                  <a:cubicBezTo>
                    <a:pt x="0" y="14"/>
                    <a:pt x="0" y="14"/>
                    <a:pt x="0" y="14"/>
                  </a:cubicBezTo>
                  <a:cubicBezTo>
                    <a:pt x="0" y="22"/>
                    <a:pt x="16" y="29"/>
                    <a:pt x="35" y="29"/>
                  </a:cubicBezTo>
                  <a:cubicBezTo>
                    <a:pt x="55" y="29"/>
                    <a:pt x="71" y="22"/>
                    <a:pt x="71" y="14"/>
                  </a:cubicBezTo>
                  <a:cubicBezTo>
                    <a:pt x="71" y="3"/>
                    <a:pt x="71" y="3"/>
                    <a:pt x="71" y="3"/>
                  </a:cubicBezTo>
                  <a:cubicBezTo>
                    <a:pt x="71" y="2"/>
                    <a:pt x="70" y="1"/>
                    <a:pt x="7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s-CR" sz="1200" dirty="0">
                <a:latin typeface="+mn-lt"/>
                <a:ea typeface="楷体" panose="02010609060101010101" pitchFamily="49" charset="-122"/>
              </a:endParaRPr>
            </a:p>
          </p:txBody>
        </p:sp>
        <p:sp>
          <p:nvSpPr>
            <p:cNvPr id="39" name="Oval 92241"/>
            <p:cNvSpPr>
              <a:spLocks noChangeArrowheads="1"/>
            </p:cNvSpPr>
            <p:nvPr/>
          </p:nvSpPr>
          <p:spPr bwMode="auto">
            <a:xfrm>
              <a:off x="1602066" y="3822558"/>
              <a:ext cx="365015" cy="12586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s-CR" sz="1200" dirty="0">
                <a:latin typeface="+mn-lt"/>
                <a:ea typeface="楷体" panose="02010609060101010101" pitchFamily="49" charset="-122"/>
              </a:endParaRPr>
            </a:p>
          </p:txBody>
        </p:sp>
      </p:grpSp>
      <p:sp>
        <p:nvSpPr>
          <p:cNvPr id="88" name="TextBox 87"/>
          <p:cNvSpPr txBox="1">
            <a:spLocks/>
          </p:cNvSpPr>
          <p:nvPr/>
        </p:nvSpPr>
        <p:spPr>
          <a:xfrm>
            <a:off x="119064" y="1673857"/>
            <a:ext cx="951583" cy="449728"/>
          </a:xfrm>
          <a:prstGeom prst="rect">
            <a:avLst/>
          </a:prstGeom>
          <a:noFill/>
          <a:ln>
            <a:noFill/>
          </a:ln>
          <a:effectLst/>
        </p:spPr>
        <p:txBody>
          <a:bodyPr wrap="square" lIns="0" tIns="0" rIns="0" bIns="18659" anchor="b">
            <a:spAutoFit/>
          </a:bodyPr>
          <a:lstStyle>
            <a:defPPr>
              <a:defRPr lang="en-US"/>
            </a:defPPr>
            <a:lvl1pPr>
              <a:defRPr sz="1400">
                <a:solidFill>
                  <a:srgbClr val="FFCA21"/>
                </a:solidFill>
                <a:latin typeface="Georgia" panose="02040502050405020303" pitchFamily="18" charset="0"/>
                <a:cs typeface="Times New Roman" panose="02020603050405020304" pitchFamily="18" charset="0"/>
              </a:defRPr>
            </a:lvl1pPr>
          </a:lstStyle>
          <a:p>
            <a:r>
              <a:rPr lang="zh-CN" dirty="0">
                <a:latin typeface="+mn-lt"/>
                <a:ea typeface="楷体" panose="02010609060101010101" pitchFamily="49" charset="-122"/>
                <a:cs typeface="SimSun"/>
              </a:rPr>
              <a:t>大数据可用性</a:t>
            </a:r>
          </a:p>
        </p:txBody>
      </p:sp>
      <p:sp>
        <p:nvSpPr>
          <p:cNvPr id="22" name="TextBox 21"/>
          <p:cNvSpPr txBox="1">
            <a:spLocks/>
          </p:cNvSpPr>
          <p:nvPr/>
        </p:nvSpPr>
        <p:spPr>
          <a:xfrm>
            <a:off x="1374210" y="1168400"/>
            <a:ext cx="3025386" cy="1338828"/>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ts val="0"/>
              </a:spcBef>
              <a:spcAft>
                <a:spcPts val="600"/>
              </a:spcAft>
              <a:buClr>
                <a:schemeClr val="bg1"/>
              </a:buClr>
            </a:pPr>
            <a:r>
              <a:rPr lang="zh-CN" sz="1100" dirty="0">
                <a:solidFill>
                  <a:schemeClr val="bg1"/>
                </a:solidFill>
                <a:ea typeface="楷体" panose="02010609060101010101" pitchFamily="49" charset="-122"/>
                <a:cs typeface="SimSun"/>
              </a:rPr>
              <a:t>深度学习通常需</a:t>
            </a:r>
            <a:r>
              <a:rPr lang="zh-CN" altLang="en-US" sz="1100" dirty="0">
                <a:solidFill>
                  <a:schemeClr val="bg1"/>
                </a:solidFill>
                <a:ea typeface="楷体" panose="02010609060101010101" pitchFamily="49" charset="-122"/>
                <a:cs typeface="SimSun"/>
              </a:rPr>
              <a:t>利用</a:t>
            </a:r>
            <a:r>
              <a:rPr lang="zh-CN" sz="1100" dirty="0">
                <a:solidFill>
                  <a:schemeClr val="bg1"/>
                </a:solidFill>
                <a:ea typeface="楷体" panose="02010609060101010101" pitchFamily="49" charset="-122"/>
                <a:cs typeface="SimSun"/>
              </a:rPr>
              <a:t>大型数据集</a:t>
            </a:r>
            <a:r>
              <a:rPr lang="zh-CN" altLang="en-US" sz="1100" dirty="0">
                <a:solidFill>
                  <a:schemeClr val="bg1"/>
                </a:solidFill>
                <a:ea typeface="楷体" panose="02010609060101010101" pitchFamily="49" charset="-122"/>
                <a:cs typeface="SimSun"/>
              </a:rPr>
              <a:t>进行</a:t>
            </a:r>
            <a:r>
              <a:rPr lang="zh-CN" sz="1100" dirty="0">
                <a:solidFill>
                  <a:schemeClr val="bg1"/>
                </a:solidFill>
                <a:ea typeface="楷体" panose="02010609060101010101" pitchFamily="49" charset="-122"/>
                <a:cs typeface="SimSun"/>
              </a:rPr>
              <a:t>训练，规模从几千个样本到数百万</a:t>
            </a:r>
            <a:r>
              <a:rPr lang="zh-CN" altLang="en-US" sz="1100" dirty="0">
                <a:solidFill>
                  <a:schemeClr val="bg1"/>
                </a:solidFill>
                <a:ea typeface="楷体" panose="02010609060101010101" pitchFamily="49" charset="-122"/>
                <a:cs typeface="SimSun"/>
              </a:rPr>
              <a:t>个</a:t>
            </a:r>
            <a:r>
              <a:rPr lang="zh-CN" sz="1100" dirty="0">
                <a:solidFill>
                  <a:schemeClr val="bg1"/>
                </a:solidFill>
                <a:ea typeface="楷体" panose="02010609060101010101" pitchFamily="49" charset="-122"/>
                <a:cs typeface="SimSun"/>
              </a:rPr>
              <a:t>不等</a:t>
            </a:r>
            <a:r>
              <a:rPr lang="zh-CN" altLang="en-US" sz="1100" dirty="0">
                <a:solidFill>
                  <a:schemeClr val="bg1"/>
                </a:solidFill>
                <a:ea typeface="楷体" panose="02010609060101010101" pitchFamily="49" charset="-122"/>
                <a:cs typeface="SimSun"/>
              </a:rPr>
              <a:t>。</a:t>
            </a:r>
            <a:r>
              <a:rPr lang="zh-CN" sz="1100" b="1" dirty="0">
                <a:solidFill>
                  <a:schemeClr val="bg1"/>
                </a:solidFill>
                <a:ea typeface="楷体" panose="02010609060101010101" pitchFamily="49" charset="-122"/>
                <a:cs typeface="SimSun"/>
              </a:rPr>
              <a:t>不论使用哪种算法，数据越多，准确率越高</a:t>
            </a:r>
          </a:p>
          <a:p>
            <a:pPr lvl="1">
              <a:spcBef>
                <a:spcPts val="0"/>
              </a:spcBef>
              <a:spcAft>
                <a:spcPts val="600"/>
              </a:spcAft>
              <a:buClr>
                <a:schemeClr val="bg1"/>
              </a:buClr>
            </a:pPr>
            <a:r>
              <a:rPr lang="zh-CN" sz="1100" dirty="0">
                <a:solidFill>
                  <a:schemeClr val="bg1"/>
                </a:solidFill>
                <a:ea typeface="楷体" panose="02010609060101010101" pitchFamily="49" charset="-122"/>
                <a:cs typeface="SimSun"/>
              </a:rPr>
              <a:t>数据</a:t>
            </a:r>
            <a:r>
              <a:rPr lang="zh-CN" altLang="en-US" sz="1100" dirty="0">
                <a:solidFill>
                  <a:schemeClr val="bg1"/>
                </a:solidFill>
                <a:ea typeface="楷体" panose="02010609060101010101" pitchFamily="49" charset="-122"/>
                <a:cs typeface="SimSun"/>
              </a:rPr>
              <a:t>创建及</a:t>
            </a:r>
            <a:r>
              <a:rPr lang="zh-CN" sz="1100" dirty="0">
                <a:solidFill>
                  <a:schemeClr val="bg1"/>
                </a:solidFill>
                <a:ea typeface="楷体" panose="02010609060101010101" pitchFamily="49" charset="-122"/>
                <a:cs typeface="SimSun"/>
              </a:rPr>
              <a:t>可用性</a:t>
            </a:r>
            <a:r>
              <a:rPr lang="zh-CN" altLang="en-US" sz="1100" dirty="0">
                <a:solidFill>
                  <a:schemeClr val="bg1"/>
                </a:solidFill>
                <a:ea typeface="楷体" panose="02010609060101010101" pitchFamily="49" charset="-122"/>
                <a:cs typeface="SimSun"/>
              </a:rPr>
              <a:t>呈现</a:t>
            </a:r>
            <a:r>
              <a:rPr lang="zh-CN" sz="1100" dirty="0">
                <a:solidFill>
                  <a:schemeClr val="bg1"/>
                </a:solidFill>
                <a:ea typeface="楷体" panose="02010609060101010101" pitchFamily="49" charset="-122"/>
                <a:cs typeface="SimSun"/>
              </a:rPr>
              <a:t>指数式增长</a:t>
            </a:r>
          </a:p>
          <a:p>
            <a:pPr lvl="1">
              <a:spcBef>
                <a:spcPts val="0"/>
              </a:spcBef>
              <a:spcAft>
                <a:spcPts val="600"/>
              </a:spcAft>
              <a:buClr>
                <a:schemeClr val="bg1"/>
              </a:buClr>
            </a:pPr>
            <a:r>
              <a:rPr lang="zh-CN" sz="1100" dirty="0">
                <a:solidFill>
                  <a:schemeClr val="bg1"/>
                </a:solidFill>
                <a:ea typeface="楷体" panose="02010609060101010101" pitchFamily="49" charset="-122"/>
                <a:cs typeface="SimSun"/>
              </a:rPr>
              <a:t>如今人类每天产生2.2艾字节（23亿吉字节）数据；世界上90%的数据都是在过去24个月产生的</a:t>
            </a:r>
          </a:p>
        </p:txBody>
      </p:sp>
      <p:sp>
        <p:nvSpPr>
          <p:cNvPr id="73"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zh-CN" sz="800" dirty="0">
                <a:solidFill>
                  <a:schemeClr val="bg1"/>
                </a:solidFill>
                <a:latin typeface="+mn-lt"/>
                <a:ea typeface="楷体" panose="02010609060101010101" pitchFamily="49" charset="-122"/>
                <a:cs typeface="SimSun"/>
              </a:rPr>
              <a:t>资料来源：PD# 842342</a:t>
            </a:r>
            <a:endParaRPr lang="zh-CN" sz="800" dirty="0">
              <a:solidFill>
                <a:schemeClr val="bg1"/>
              </a:solidFill>
              <a:latin typeface="+mn-lt"/>
              <a:ea typeface="楷体" panose="02010609060101010101" pitchFamily="49" charset="-122"/>
            </a:endParaRPr>
          </a:p>
        </p:txBody>
      </p:sp>
      <p:sp>
        <p:nvSpPr>
          <p:cNvPr id="100" name="Rectangle 7"/>
          <p:cNvSpPr>
            <a:spLocks noChangeArrowheads="1"/>
          </p:cNvSpPr>
          <p:nvPr>
            <p:custDataLst>
              <p:tags r:id="rId26"/>
            </p:custDataLst>
          </p:nvPr>
        </p:nvSpPr>
        <p:spPr bwMode="auto">
          <a:xfrm>
            <a:off x="1374210" y="4807324"/>
            <a:ext cx="3025386" cy="754053"/>
          </a:xfrm>
          <a:prstGeom prst="rect">
            <a:avLst/>
          </a:prstGeom>
          <a:noFill/>
          <a:ln>
            <a:noFill/>
          </a:ln>
          <a:effectLst/>
        </p:spPr>
        <p:txBody>
          <a:bodyPr wrap="square" lIns="0" tIns="0" rIns="0" bIns="0">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lvl="1">
              <a:spcBef>
                <a:spcPts val="0"/>
              </a:spcBef>
              <a:spcAft>
                <a:spcPts val="600"/>
              </a:spcAft>
              <a:buClr>
                <a:schemeClr val="bg1"/>
              </a:buClr>
            </a:pPr>
            <a:r>
              <a:rPr lang="zh-CN" sz="1100" dirty="0">
                <a:solidFill>
                  <a:schemeClr val="bg1"/>
                </a:solidFill>
                <a:latin typeface="+mn-lt"/>
                <a:ea typeface="楷体" panose="02010609060101010101" pitchFamily="49" charset="-122"/>
                <a:cs typeface="SimSun"/>
              </a:rPr>
              <a:t>新的方法已经出现，可通过数据对网络进行预训练，以避免之前</a:t>
            </a:r>
            <a:r>
              <a:rPr lang="zh-CN" altLang="en-US" sz="1100" dirty="0">
                <a:solidFill>
                  <a:schemeClr val="bg1"/>
                </a:solidFill>
                <a:latin typeface="+mn-lt"/>
                <a:ea typeface="楷体" panose="02010609060101010101" pitchFamily="49" charset="-122"/>
                <a:cs typeface="SimSun"/>
              </a:rPr>
              <a:t>的</a:t>
            </a:r>
            <a:r>
              <a:rPr lang="zh-CN" sz="1100" dirty="0">
                <a:solidFill>
                  <a:schemeClr val="bg1"/>
                </a:solidFill>
                <a:latin typeface="+mn-lt"/>
                <a:ea typeface="楷体" panose="02010609060101010101" pitchFamily="49" charset="-122"/>
                <a:cs typeface="SimSun"/>
              </a:rPr>
              <a:t>网络层数限制</a:t>
            </a:r>
          </a:p>
          <a:p>
            <a:pPr lvl="1">
              <a:spcBef>
                <a:spcPts val="0"/>
              </a:spcBef>
              <a:spcAft>
                <a:spcPts val="600"/>
              </a:spcAft>
              <a:buClr>
                <a:schemeClr val="bg1"/>
              </a:buClr>
            </a:pPr>
            <a:r>
              <a:rPr lang="zh-CN" sz="1100" dirty="0">
                <a:solidFill>
                  <a:schemeClr val="bg1"/>
                </a:solidFill>
                <a:latin typeface="+mn-lt"/>
                <a:ea typeface="楷体" panose="02010609060101010101" pitchFamily="49" charset="-122"/>
                <a:cs typeface="SimSun"/>
              </a:rPr>
              <a:t>更有效的参数估计方法也已产生，网络能在更短的时间内变得更加准确</a:t>
            </a:r>
          </a:p>
        </p:txBody>
      </p:sp>
      <p:sp>
        <p:nvSpPr>
          <p:cNvPr id="101" name="Rectangle 7"/>
          <p:cNvSpPr>
            <a:spLocks noChangeArrowheads="1"/>
          </p:cNvSpPr>
          <p:nvPr>
            <p:custDataLst>
              <p:tags r:id="rId27"/>
            </p:custDataLst>
          </p:nvPr>
        </p:nvSpPr>
        <p:spPr bwMode="auto">
          <a:xfrm>
            <a:off x="3046413" y="5532438"/>
            <a:ext cx="3244789" cy="647632"/>
          </a:xfrm>
          <a:prstGeom prst="rect">
            <a:avLst/>
          </a:prstGeom>
          <a:noFill/>
          <a:ln>
            <a:noFill/>
          </a:ln>
          <a:effectLst/>
        </p:spPr>
        <p:txBody>
          <a:bodyPr wrap="square" lIns="0" tIns="0" rIns="0" bIns="0">
            <a:no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235199" lvl="1" indent="-233272" defTabSz="1087313">
              <a:spcBef>
                <a:spcPct val="30000"/>
              </a:spcBef>
              <a:buFont typeface="Arial" charset="0"/>
              <a:buChar char="▪"/>
              <a:defRPr/>
            </a:pPr>
            <a:endParaRPr lang="en-US" sz="1200" dirty="0">
              <a:latin typeface="+mn-lt"/>
              <a:ea typeface="楷体" panose="02010609060101010101" pitchFamily="49" charset="-122"/>
              <a:cs typeface="Times New Roman" panose="02020603050405020304" pitchFamily="18" charset="0"/>
            </a:endParaRPr>
          </a:p>
        </p:txBody>
      </p:sp>
      <p:sp>
        <p:nvSpPr>
          <p:cNvPr id="104" name="Text Placeholder 2"/>
          <p:cNvSpPr>
            <a:spLocks noGrp="1"/>
          </p:cNvSpPr>
          <p:nvPr>
            <p:custDataLst>
              <p:tags r:id="rId28"/>
            </p:custDataLst>
          </p:nvPr>
        </p:nvSpPr>
        <p:spPr bwMode="auto">
          <a:xfrm>
            <a:off x="6753225" y="6024563"/>
            <a:ext cx="323850"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zh-CN" altLang="en-US" sz="1100" dirty="0">
                <a:solidFill>
                  <a:schemeClr val="bg1"/>
                </a:solidFill>
                <a:ea typeface="楷体" panose="02010609060101010101" pitchFamily="49" charset="-122"/>
                <a:cs typeface="SimSun"/>
                <a:sym typeface="+mn-lt"/>
              </a:rPr>
              <a:t>20</a:t>
            </a:r>
            <a:fld id="{F5E33E11-A0D9-4FBA-B46B-3620566EE883}" type="datetime'''''''''''''1''''''''''''''''''''''''''3'''">
              <a:rPr lang="en-US" altLang="en-US" sz="1100">
                <a:solidFill>
                  <a:schemeClr val="bg1"/>
                </a:solidFill>
                <a:ea typeface="楷体" panose="02010609060101010101" pitchFamily="49" charset="-122"/>
                <a:sym typeface="+mn-lt"/>
              </a:rPr>
              <a:pPr/>
              <a:t>13</a:t>
            </a:fld>
            <a:endParaRPr lang="zh-CN" sz="1100" dirty="0">
              <a:solidFill>
                <a:schemeClr val="bg1"/>
              </a:solidFill>
              <a:ea typeface="楷体" panose="02010609060101010101" pitchFamily="49" charset="-122"/>
              <a:sym typeface="+mn-lt"/>
            </a:endParaRPr>
          </a:p>
        </p:txBody>
      </p:sp>
      <p:sp>
        <p:nvSpPr>
          <p:cNvPr id="105" name="Text Placeholder 2"/>
          <p:cNvSpPr>
            <a:spLocks noGrp="1"/>
          </p:cNvSpPr>
          <p:nvPr>
            <p:custDataLst>
              <p:tags r:id="rId29"/>
            </p:custDataLst>
          </p:nvPr>
        </p:nvSpPr>
        <p:spPr bwMode="auto">
          <a:xfrm>
            <a:off x="5495925" y="6024563"/>
            <a:ext cx="323850"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6E0615D8-6F3A-4679-8AE4-381AF4A47B54}" type="datetime'''''''''''''''2''0''''''''''10'''''''''''''''''''''''''''''''">
              <a:rPr lang="en-US" altLang="en-US" sz="1100">
                <a:solidFill>
                  <a:schemeClr val="bg1"/>
                </a:solidFill>
                <a:ea typeface="楷体" panose="02010609060101010101" pitchFamily="49" charset="-122"/>
                <a:sym typeface="+mn-lt"/>
              </a:rPr>
              <a:pPr/>
              <a:t>2010</a:t>
            </a:fld>
            <a:endParaRPr lang="zh-CN" sz="1100" dirty="0">
              <a:solidFill>
                <a:schemeClr val="bg1"/>
              </a:solidFill>
              <a:ea typeface="楷体" panose="02010609060101010101" pitchFamily="49" charset="-122"/>
              <a:sym typeface="+mn-lt"/>
            </a:endParaRPr>
          </a:p>
        </p:txBody>
      </p:sp>
      <p:sp>
        <p:nvSpPr>
          <p:cNvPr id="106" name="Text Placeholder 2"/>
          <p:cNvSpPr>
            <a:spLocks noGrp="1"/>
          </p:cNvSpPr>
          <p:nvPr>
            <p:custDataLst>
              <p:tags r:id="rId30"/>
            </p:custDataLst>
          </p:nvPr>
        </p:nvSpPr>
        <p:spPr bwMode="auto">
          <a:xfrm>
            <a:off x="8010525" y="6024563"/>
            <a:ext cx="323850"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A865F279-8CFC-4CC6-9AAD-BBC0AF0B7161}" type="datetime'''''''''''''''''2''0''''''''1''''''''''''''''''5'''''''''''">
              <a:rPr lang="en-US" altLang="en-US" sz="1100">
                <a:solidFill>
                  <a:schemeClr val="bg1"/>
                </a:solidFill>
                <a:ea typeface="楷体" panose="02010609060101010101" pitchFamily="49" charset="-122"/>
                <a:sym typeface="+mn-lt"/>
              </a:rPr>
              <a:pPr/>
              <a:t>2015</a:t>
            </a:fld>
            <a:endParaRPr lang="zh-CN" sz="1100" dirty="0">
              <a:solidFill>
                <a:schemeClr val="bg1"/>
              </a:solidFill>
              <a:ea typeface="楷体" panose="02010609060101010101" pitchFamily="49" charset="-122"/>
              <a:sym typeface="+mn-lt"/>
            </a:endParaRPr>
          </a:p>
        </p:txBody>
      </p:sp>
      <p:sp>
        <p:nvSpPr>
          <p:cNvPr id="107" name="Text Placeholder 2"/>
          <p:cNvSpPr>
            <a:spLocks noGrp="1"/>
          </p:cNvSpPr>
          <p:nvPr>
            <p:custDataLst>
              <p:tags r:id="rId31"/>
            </p:custDataLst>
          </p:nvPr>
        </p:nvSpPr>
        <p:spPr bwMode="gray">
          <a:xfrm>
            <a:off x="8237538" y="5645150"/>
            <a:ext cx="3937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altLang="en-US" sz="1100" dirty="0">
                <a:solidFill>
                  <a:schemeClr val="bg1"/>
                </a:solidFill>
                <a:ea typeface="楷体" panose="02010609060101010101" pitchFamily="49" charset="-122"/>
                <a:cs typeface="SimSun"/>
                <a:sym typeface="+mn-lt"/>
              </a:rPr>
              <a:t> &lt;</a:t>
            </a:r>
            <a:fld id="{06BF0B96-BD79-4B49-A304-675585056BA0}" type="datetime'''''''''''''''''5''''''''''''''''''''%'''''''">
              <a:rPr lang="en-US" altLang="en-US" sz="1100" smtClean="0">
                <a:solidFill>
                  <a:schemeClr val="bg1"/>
                </a:solidFill>
                <a:ea typeface="楷体" panose="02010609060101010101" pitchFamily="49" charset="-122"/>
                <a:sym typeface="+mn-lt"/>
              </a:rPr>
              <a:pPr/>
              <a:t>5%</a:t>
            </a:fld>
            <a:r>
              <a:rPr lang="zh-CN" dirty="0">
                <a:ea typeface="楷体" panose="02010609060101010101" pitchFamily="49" charset="-122"/>
                <a:cs typeface="SimSun"/>
              </a:rPr>
              <a:t> </a:t>
            </a:r>
            <a:endParaRPr lang="zh-CN" sz="1100" dirty="0">
              <a:solidFill>
                <a:schemeClr val="bg1"/>
              </a:solidFill>
              <a:ea typeface="楷体" panose="02010609060101010101" pitchFamily="49" charset="-122"/>
              <a:sym typeface="+mn-lt"/>
            </a:endParaRPr>
          </a:p>
        </p:txBody>
      </p:sp>
      <p:sp>
        <p:nvSpPr>
          <p:cNvPr id="360" name="Text Placeholder 2"/>
          <p:cNvSpPr>
            <a:spLocks noGrp="1"/>
          </p:cNvSpPr>
          <p:nvPr>
            <p:custDataLst>
              <p:tags r:id="rId32"/>
            </p:custDataLst>
          </p:nvPr>
        </p:nvSpPr>
        <p:spPr bwMode="gray">
          <a:xfrm>
            <a:off x="7754938" y="5635625"/>
            <a:ext cx="31273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dirty="0">
                <a:ea typeface="楷体" panose="02010609060101010101" pitchFamily="49" charset="-122"/>
                <a:cs typeface="SimSun"/>
              </a:rPr>
              <a:t> </a:t>
            </a:r>
            <a:fld id="{74E92F44-64B2-42D3-B671-0A0D138C4C46}" type="datetime'''''''''''''''5''''''''''''''''''''''''''''%'''''''''''''''''">
              <a:rPr lang="en-US" altLang="en-US" sz="1100" smtClean="0">
                <a:solidFill>
                  <a:schemeClr val="bg1"/>
                </a:solidFill>
                <a:ea typeface="楷体" panose="02010609060101010101" pitchFamily="49" charset="-122"/>
                <a:sym typeface="+mn-lt"/>
              </a:rPr>
              <a:pPr algn="ctr"/>
              <a:t>5%</a:t>
            </a:fld>
            <a:r>
              <a:rPr lang="zh-CN" dirty="0">
                <a:ea typeface="楷体" panose="02010609060101010101" pitchFamily="49" charset="-122"/>
                <a:cs typeface="SimSun"/>
              </a:rPr>
              <a:t> </a:t>
            </a:r>
            <a:endParaRPr lang="zh-CN" sz="1100" dirty="0">
              <a:solidFill>
                <a:schemeClr val="bg1"/>
              </a:solidFill>
              <a:ea typeface="楷体" panose="02010609060101010101" pitchFamily="49" charset="-122"/>
              <a:sym typeface="+mn-lt"/>
            </a:endParaRPr>
          </a:p>
        </p:txBody>
      </p:sp>
      <p:sp>
        <p:nvSpPr>
          <p:cNvPr id="359" name="Text Placeholder 2"/>
          <p:cNvSpPr>
            <a:spLocks noGrp="1"/>
          </p:cNvSpPr>
          <p:nvPr>
            <p:custDataLst>
              <p:tags r:id="rId33"/>
            </p:custDataLst>
          </p:nvPr>
        </p:nvSpPr>
        <p:spPr bwMode="gray">
          <a:xfrm>
            <a:off x="6981825" y="5492750"/>
            <a:ext cx="39052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dirty="0">
                <a:ea typeface="楷体" panose="02010609060101010101" pitchFamily="49" charset="-122"/>
                <a:cs typeface="SimSun"/>
              </a:rPr>
              <a:t> </a:t>
            </a:r>
            <a:fld id="{747C681C-027F-4ECF-98D4-D3572B7D8334}" type="datetime'''''''''1''''1''''''''''''''''''''''''''''''''%'''''''''''">
              <a:rPr lang="en-US" altLang="en-US" sz="1100" smtClean="0">
                <a:solidFill>
                  <a:schemeClr val="bg1"/>
                </a:solidFill>
                <a:ea typeface="楷体" panose="02010609060101010101" pitchFamily="49" charset="-122"/>
                <a:sym typeface="+mn-lt"/>
              </a:rPr>
              <a:pPr algn="ctr"/>
              <a:t>11%</a:t>
            </a:fld>
            <a:r>
              <a:rPr lang="zh-CN" dirty="0">
                <a:ea typeface="楷体" panose="02010609060101010101" pitchFamily="49" charset="-122"/>
                <a:cs typeface="SimSun"/>
              </a:rPr>
              <a:t> </a:t>
            </a:r>
            <a:endParaRPr lang="zh-CN" sz="1100" dirty="0">
              <a:solidFill>
                <a:schemeClr val="bg1"/>
              </a:solidFill>
              <a:ea typeface="楷体" panose="02010609060101010101" pitchFamily="49" charset="-122"/>
              <a:sym typeface="+mn-lt"/>
            </a:endParaRPr>
          </a:p>
        </p:txBody>
      </p:sp>
      <p:sp>
        <p:nvSpPr>
          <p:cNvPr id="358" name="Text Placeholder 2"/>
          <p:cNvSpPr>
            <a:spLocks noGrp="1"/>
          </p:cNvSpPr>
          <p:nvPr>
            <p:custDataLst>
              <p:tags r:id="rId34"/>
            </p:custDataLst>
          </p:nvPr>
        </p:nvSpPr>
        <p:spPr bwMode="gray">
          <a:xfrm>
            <a:off x="6497638" y="5635625"/>
            <a:ext cx="31273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dirty="0">
                <a:ea typeface="楷体" panose="02010609060101010101" pitchFamily="49" charset="-122"/>
                <a:cs typeface="SimSun"/>
              </a:rPr>
              <a:t> </a:t>
            </a:r>
            <a:fld id="{3F1A939A-89B2-41FF-B9C4-EBB5A3E90B94}" type="datetime'''''''''''''''''''''''''''''''''''''''''''''5''''''''''''%'">
              <a:rPr lang="en-US" altLang="en-US" sz="1100" smtClean="0">
                <a:solidFill>
                  <a:schemeClr val="bg1"/>
                </a:solidFill>
                <a:ea typeface="楷体" panose="02010609060101010101" pitchFamily="49" charset="-122"/>
                <a:sym typeface="+mn-lt"/>
              </a:rPr>
              <a:pPr algn="ctr"/>
              <a:t>5%</a:t>
            </a:fld>
            <a:r>
              <a:rPr lang="zh-CN" dirty="0">
                <a:ea typeface="楷体" panose="02010609060101010101" pitchFamily="49" charset="-122"/>
                <a:cs typeface="SimSun"/>
              </a:rPr>
              <a:t> </a:t>
            </a:r>
            <a:endParaRPr lang="zh-CN" sz="1100" dirty="0">
              <a:solidFill>
                <a:schemeClr val="bg1"/>
              </a:solidFill>
              <a:ea typeface="楷体" panose="02010609060101010101" pitchFamily="49" charset="-122"/>
              <a:sym typeface="+mn-lt"/>
            </a:endParaRPr>
          </a:p>
        </p:txBody>
      </p:sp>
      <p:sp>
        <p:nvSpPr>
          <p:cNvPr id="361" name="Text Placeholder 2"/>
          <p:cNvSpPr>
            <a:spLocks noGrp="1"/>
          </p:cNvSpPr>
          <p:nvPr>
            <p:custDataLst>
              <p:tags r:id="rId35"/>
            </p:custDataLst>
          </p:nvPr>
        </p:nvSpPr>
        <p:spPr bwMode="gray">
          <a:xfrm>
            <a:off x="5724525" y="5102225"/>
            <a:ext cx="39052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dirty="0">
                <a:ea typeface="楷体" panose="02010609060101010101" pitchFamily="49" charset="-122"/>
                <a:cs typeface="SimSun"/>
              </a:rPr>
              <a:t> </a:t>
            </a:r>
            <a:fld id="{4F00206E-2178-4B30-B417-48DE8A5A970E}" type="datetime'''''''''2''''''8''''''''''''%'''''''''''''''''">
              <a:rPr lang="en-US" altLang="en-US" sz="1100" smtClean="0">
                <a:solidFill>
                  <a:schemeClr val="bg1"/>
                </a:solidFill>
                <a:ea typeface="楷体" panose="02010609060101010101" pitchFamily="49" charset="-122"/>
                <a:sym typeface="+mn-lt"/>
              </a:rPr>
              <a:pPr algn="ctr"/>
              <a:t>28%</a:t>
            </a:fld>
            <a:r>
              <a:rPr lang="zh-CN" dirty="0">
                <a:ea typeface="楷体" panose="02010609060101010101" pitchFamily="49" charset="-122"/>
                <a:cs typeface="SimSun"/>
              </a:rPr>
              <a:t> </a:t>
            </a:r>
            <a:endParaRPr lang="zh-CN" sz="1100" dirty="0">
              <a:solidFill>
                <a:schemeClr val="bg1"/>
              </a:solidFill>
              <a:ea typeface="楷体" panose="02010609060101010101" pitchFamily="49" charset="-122"/>
              <a:sym typeface="+mn-lt"/>
            </a:endParaRPr>
          </a:p>
        </p:txBody>
      </p:sp>
      <p:sp>
        <p:nvSpPr>
          <p:cNvPr id="356" name="Text Placeholder 2"/>
          <p:cNvSpPr>
            <a:spLocks noGrp="1"/>
          </p:cNvSpPr>
          <p:nvPr>
            <p:custDataLst>
              <p:tags r:id="rId36"/>
            </p:custDataLst>
          </p:nvPr>
        </p:nvSpPr>
        <p:spPr bwMode="gray">
          <a:xfrm>
            <a:off x="5240338" y="5635625"/>
            <a:ext cx="31273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dirty="0">
                <a:ea typeface="楷体" panose="02010609060101010101" pitchFamily="49" charset="-122"/>
                <a:cs typeface="SimSun"/>
              </a:rPr>
              <a:t> </a:t>
            </a:r>
            <a:fld id="{E76F5BC1-85D8-4177-97F9-1E18013C627C}" type="datetime'''''''''''5''''''''''''''''''''''%'''">
              <a:rPr lang="en-US" altLang="en-US" sz="1100" smtClean="0">
                <a:solidFill>
                  <a:schemeClr val="bg1"/>
                </a:solidFill>
                <a:ea typeface="楷体" panose="02010609060101010101" pitchFamily="49" charset="-122"/>
                <a:sym typeface="+mn-lt"/>
              </a:rPr>
              <a:pPr algn="ctr"/>
              <a:t>5%</a:t>
            </a:fld>
            <a:r>
              <a:rPr lang="zh-CN" dirty="0">
                <a:ea typeface="楷体" panose="02010609060101010101" pitchFamily="49" charset="-122"/>
                <a:cs typeface="SimSun"/>
              </a:rPr>
              <a:t> </a:t>
            </a:r>
            <a:endParaRPr lang="zh-CN" sz="1100" dirty="0">
              <a:solidFill>
                <a:schemeClr val="bg1"/>
              </a:solidFill>
              <a:ea typeface="楷体" panose="02010609060101010101" pitchFamily="49" charset="-122"/>
              <a:sym typeface="+mn-lt"/>
            </a:endParaRPr>
          </a:p>
        </p:txBody>
      </p:sp>
      <p:sp>
        <p:nvSpPr>
          <p:cNvPr id="159" name="TextBox 158"/>
          <p:cNvSpPr txBox="1">
            <a:spLocks/>
          </p:cNvSpPr>
          <p:nvPr/>
        </p:nvSpPr>
        <p:spPr>
          <a:xfrm>
            <a:off x="5026381" y="3150831"/>
            <a:ext cx="3772179" cy="234285"/>
          </a:xfrm>
          <a:prstGeom prst="rect">
            <a:avLst/>
          </a:prstGeom>
          <a:noFill/>
          <a:ln>
            <a:noFill/>
          </a:ln>
          <a:effectLst/>
        </p:spPr>
        <p:txBody>
          <a:bodyPr lIns="0" tIns="0" rIns="0" bIns="18659" anchor="t">
            <a:spAutoFit/>
          </a:bodyPr>
          <a:lstStyle>
            <a:defPPr>
              <a:defRPr lang="en-US"/>
            </a:defPPr>
            <a:lvl1pPr>
              <a:defRPr sz="1400">
                <a:solidFill>
                  <a:srgbClr val="FFCA21"/>
                </a:solidFill>
                <a:latin typeface="Georgia" panose="02040502050405020303" pitchFamily="18" charset="0"/>
                <a:cs typeface="Times New Roman" panose="02020603050405020304" pitchFamily="18" charset="0"/>
              </a:defRPr>
            </a:lvl1pPr>
          </a:lstStyle>
          <a:p>
            <a:r>
              <a:rPr lang="zh-CN" dirty="0">
                <a:latin typeface="+mn-lt"/>
                <a:ea typeface="楷体" panose="02010609060101010101" pitchFamily="49" charset="-122"/>
                <a:cs typeface="SimSun"/>
              </a:rPr>
              <a:t>全球互联网流量（吉字节/秒）</a:t>
            </a:r>
          </a:p>
        </p:txBody>
      </p:sp>
      <p:sp>
        <p:nvSpPr>
          <p:cNvPr id="108" name="TextBox 107"/>
          <p:cNvSpPr txBox="1">
            <a:spLocks/>
          </p:cNvSpPr>
          <p:nvPr/>
        </p:nvSpPr>
        <p:spPr>
          <a:xfrm>
            <a:off x="5026381" y="4807324"/>
            <a:ext cx="3772179" cy="234285"/>
          </a:xfrm>
          <a:prstGeom prst="rect">
            <a:avLst/>
          </a:prstGeom>
          <a:noFill/>
          <a:ln>
            <a:noFill/>
          </a:ln>
          <a:effectLst/>
        </p:spPr>
        <p:txBody>
          <a:bodyPr lIns="0" tIns="0" rIns="0" bIns="18659" anchor="b">
            <a:spAutoFit/>
          </a:bodyPr>
          <a:lstStyle>
            <a:defPPr>
              <a:defRPr lang="en-US"/>
            </a:defPPr>
            <a:lvl1pPr>
              <a:defRPr sz="1400">
                <a:solidFill>
                  <a:srgbClr val="FFCA21"/>
                </a:solidFill>
                <a:latin typeface="Georgia" panose="02040502050405020303" pitchFamily="18" charset="0"/>
                <a:cs typeface="Times New Roman" panose="02020603050405020304" pitchFamily="18" charset="0"/>
              </a:defRPr>
            </a:lvl1pPr>
          </a:lstStyle>
          <a:p>
            <a:r>
              <a:rPr lang="zh-CN" dirty="0">
                <a:latin typeface="+mn-lt"/>
                <a:ea typeface="楷体" panose="02010609060101010101" pitchFamily="49" charset="-122"/>
                <a:cs typeface="SimSun"/>
              </a:rPr>
              <a:t>图像识别错误率</a:t>
            </a:r>
          </a:p>
        </p:txBody>
      </p:sp>
      <p:grpSp>
        <p:nvGrpSpPr>
          <p:cNvPr id="7" name="Group 6"/>
          <p:cNvGrpSpPr/>
          <p:nvPr/>
        </p:nvGrpSpPr>
        <p:grpSpPr>
          <a:xfrm>
            <a:off x="6419850" y="5177243"/>
            <a:ext cx="996146" cy="239951"/>
            <a:chOff x="6000750" y="4710518"/>
            <a:chExt cx="996146" cy="239951"/>
          </a:xfrm>
        </p:grpSpPr>
        <p:cxnSp>
          <p:nvCxnSpPr>
            <p:cNvPr id="130" name="Straight Arrow Connector 129"/>
            <p:cNvCxnSpPr>
              <a:cxnSpLocks/>
            </p:cNvCxnSpPr>
            <p:nvPr/>
          </p:nvCxnSpPr>
          <p:spPr>
            <a:xfrm>
              <a:off x="6000750" y="4710518"/>
              <a:ext cx="996146"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1" name="TextBox 130"/>
            <p:cNvSpPr txBox="1">
              <a:spLocks/>
            </p:cNvSpPr>
            <p:nvPr/>
          </p:nvSpPr>
          <p:spPr>
            <a:xfrm>
              <a:off x="6000750" y="4781192"/>
              <a:ext cx="996146" cy="169277"/>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dirty="0">
                  <a:solidFill>
                    <a:schemeClr val="bg1"/>
                  </a:solidFill>
                  <a:ea typeface="楷体" panose="02010609060101010101" pitchFamily="49" charset="-122"/>
                  <a:cs typeface="SimSun"/>
                </a:rPr>
                <a:t>深度学习</a:t>
              </a:r>
            </a:p>
          </p:txBody>
        </p:sp>
      </p:grpSp>
      <p:sp>
        <p:nvSpPr>
          <p:cNvPr id="350" name="AutoShape 250"/>
          <p:cNvSpPr>
            <a:spLocks noChangeArrowheads="1"/>
          </p:cNvSpPr>
          <p:nvPr/>
        </p:nvSpPr>
        <p:spPr bwMode="auto">
          <a:xfrm>
            <a:off x="1374210" y="775923"/>
            <a:ext cx="3025386" cy="234285"/>
          </a:xfrm>
          <a:prstGeom prst="leftRightArrow">
            <a:avLst>
              <a:gd name="adj1" fmla="val 100000"/>
              <a:gd name="adj2" fmla="val 0"/>
            </a:avLst>
          </a:prstGeom>
          <a:noFill/>
          <a:ln>
            <a:noFill/>
          </a:ln>
          <a:effectLst/>
        </p:spPr>
        <p:txBody>
          <a:bodyPr lIns="0" tIns="0" rIns="0" bIns="18659" anchor="b">
            <a:spAutoFit/>
          </a:bodyPr>
          <a:lstStyle/>
          <a:p>
            <a:pPr>
              <a:defRPr/>
            </a:pPr>
            <a:r>
              <a:rPr lang="zh-CN" sz="1400" dirty="0">
                <a:solidFill>
                  <a:srgbClr val="FFCA21"/>
                </a:solidFill>
                <a:latin typeface="+mn-lt"/>
                <a:ea typeface="楷体" panose="02010609060101010101" pitchFamily="49" charset="-122"/>
                <a:cs typeface="SimSun"/>
              </a:rPr>
              <a:t>描述</a:t>
            </a:r>
          </a:p>
        </p:txBody>
      </p:sp>
      <p:cxnSp>
        <p:nvCxnSpPr>
          <p:cNvPr id="353" name="Straight Connector 352"/>
          <p:cNvCxnSpPr>
            <a:cxnSpLocks/>
          </p:cNvCxnSpPr>
          <p:nvPr/>
        </p:nvCxnSpPr>
        <p:spPr>
          <a:xfrm>
            <a:off x="4712989" y="1168400"/>
            <a:ext cx="0" cy="5126069"/>
          </a:xfrm>
          <a:prstGeom prst="line">
            <a:avLst/>
          </a:prstGeom>
          <a:ln w="9525">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28" name="TextBox 127"/>
          <p:cNvSpPr txBox="1">
            <a:spLocks/>
          </p:cNvSpPr>
          <p:nvPr/>
        </p:nvSpPr>
        <p:spPr>
          <a:xfrm>
            <a:off x="119064" y="5679440"/>
            <a:ext cx="951583" cy="449728"/>
          </a:xfrm>
          <a:prstGeom prst="rect">
            <a:avLst/>
          </a:prstGeom>
          <a:noFill/>
          <a:ln>
            <a:noFill/>
          </a:ln>
          <a:effectLst/>
        </p:spPr>
        <p:txBody>
          <a:bodyPr wrap="square" lIns="0" tIns="0" rIns="0" bIns="18659" anchor="b">
            <a:spAutoFit/>
          </a:bodyPr>
          <a:lstStyle>
            <a:defPPr>
              <a:defRPr lang="en-US"/>
            </a:defPPr>
            <a:lvl1pPr>
              <a:defRPr sz="1400">
                <a:solidFill>
                  <a:srgbClr val="FFCA21"/>
                </a:solidFill>
                <a:latin typeface="Georgia" panose="02040502050405020303" pitchFamily="18" charset="0"/>
                <a:cs typeface="Times New Roman" panose="02020603050405020304" pitchFamily="18" charset="0"/>
              </a:defRPr>
            </a:lvl1pPr>
          </a:lstStyle>
          <a:p>
            <a:r>
              <a:rPr lang="zh-CN" dirty="0">
                <a:latin typeface="+mn-lt"/>
                <a:ea typeface="楷体" panose="02010609060101010101" pitchFamily="49" charset="-122"/>
                <a:cs typeface="SimSun"/>
              </a:rPr>
              <a:t>算法和训练方式改善</a:t>
            </a:r>
          </a:p>
        </p:txBody>
      </p:sp>
      <p:sp>
        <p:nvSpPr>
          <p:cNvPr id="354" name="Freeform 50"/>
          <p:cNvSpPr>
            <a:spLocks/>
          </p:cNvSpPr>
          <p:nvPr/>
        </p:nvSpPr>
        <p:spPr bwMode="auto">
          <a:xfrm>
            <a:off x="119064" y="4807324"/>
            <a:ext cx="422621" cy="432794"/>
          </a:xfrm>
          <a:custGeom>
            <a:avLst/>
            <a:gdLst>
              <a:gd name="T0" fmla="*/ 23 w 3806"/>
              <a:gd name="T1" fmla="*/ 3415 h 3901"/>
              <a:gd name="T2" fmla="*/ 483 w 3806"/>
              <a:gd name="T3" fmla="*/ 2693 h 3901"/>
              <a:gd name="T4" fmla="*/ 574 w 3806"/>
              <a:gd name="T5" fmla="*/ 2241 h 3901"/>
              <a:gd name="T6" fmla="*/ 584 w 3806"/>
              <a:gd name="T7" fmla="*/ 1641 h 3901"/>
              <a:gd name="T8" fmla="*/ 1004 w 3806"/>
              <a:gd name="T9" fmla="*/ 1523 h 3901"/>
              <a:gd name="T10" fmla="*/ 1533 w 3806"/>
              <a:gd name="T11" fmla="*/ 755 h 3901"/>
              <a:gd name="T12" fmla="*/ 1504 w 3806"/>
              <a:gd name="T13" fmla="*/ 319 h 3901"/>
              <a:gd name="T14" fmla="*/ 2278 w 3806"/>
              <a:gd name="T15" fmla="*/ 685 h 3901"/>
              <a:gd name="T16" fmla="*/ 2514 w 3806"/>
              <a:gd name="T17" fmla="*/ 1146 h 3901"/>
              <a:gd name="T18" fmla="*/ 2901 w 3806"/>
              <a:gd name="T19" fmla="*/ 1526 h 3901"/>
              <a:gd name="T20" fmla="*/ 3322 w 3806"/>
              <a:gd name="T21" fmla="*/ 1945 h 3901"/>
              <a:gd name="T22" fmla="*/ 3163 w 3806"/>
              <a:gd name="T23" fmla="*/ 2286 h 3901"/>
              <a:gd name="T24" fmla="*/ 3479 w 3806"/>
              <a:gd name="T25" fmla="*/ 3112 h 3901"/>
              <a:gd name="T26" fmla="*/ 3091 w 3806"/>
              <a:gd name="T27" fmla="*/ 3613 h 3901"/>
              <a:gd name="T28" fmla="*/ 3165 w 3806"/>
              <a:gd name="T29" fmla="*/ 3188 h 3901"/>
              <a:gd name="T30" fmla="*/ 2901 w 3806"/>
              <a:gd name="T31" fmla="*/ 2420 h 3901"/>
              <a:gd name="T32" fmla="*/ 2634 w 3806"/>
              <a:gd name="T33" fmla="*/ 3192 h 3901"/>
              <a:gd name="T34" fmla="*/ 2594 w 3806"/>
              <a:gd name="T35" fmla="*/ 3755 h 3901"/>
              <a:gd name="T36" fmla="*/ 2050 w 3806"/>
              <a:gd name="T37" fmla="*/ 3534 h 3901"/>
              <a:gd name="T38" fmla="*/ 2369 w 3806"/>
              <a:gd name="T39" fmla="*/ 3080 h 3901"/>
              <a:gd name="T40" fmla="*/ 2637 w 3806"/>
              <a:gd name="T41" fmla="*/ 2287 h 3901"/>
              <a:gd name="T42" fmla="*/ 2516 w 3806"/>
              <a:gd name="T43" fmla="*/ 1758 h 3901"/>
              <a:gd name="T44" fmla="*/ 2282 w 3806"/>
              <a:gd name="T45" fmla="*/ 1308 h 3901"/>
              <a:gd name="T46" fmla="*/ 1892 w 3806"/>
              <a:gd name="T47" fmla="*/ 928 h 3901"/>
              <a:gd name="T48" fmla="*/ 1500 w 3806"/>
              <a:gd name="T49" fmla="*/ 1307 h 3901"/>
              <a:gd name="T50" fmla="*/ 1266 w 3806"/>
              <a:gd name="T51" fmla="*/ 1758 h 3901"/>
              <a:gd name="T52" fmla="*/ 1145 w 3806"/>
              <a:gd name="T53" fmla="*/ 2287 h 3901"/>
              <a:gd name="T54" fmla="*/ 1413 w 3806"/>
              <a:gd name="T55" fmla="*/ 3080 h 3901"/>
              <a:gd name="T56" fmla="*/ 1731 w 3806"/>
              <a:gd name="T57" fmla="*/ 3534 h 3901"/>
              <a:gd name="T58" fmla="*/ 1187 w 3806"/>
              <a:gd name="T59" fmla="*/ 3755 h 3901"/>
              <a:gd name="T60" fmla="*/ 1148 w 3806"/>
              <a:gd name="T61" fmla="*/ 3192 h 3901"/>
              <a:gd name="T62" fmla="*/ 881 w 3806"/>
              <a:gd name="T63" fmla="*/ 2420 h 3901"/>
              <a:gd name="T64" fmla="*/ 617 w 3806"/>
              <a:gd name="T65" fmla="*/ 3188 h 3901"/>
              <a:gd name="T66" fmla="*/ 727 w 3806"/>
              <a:gd name="T67" fmla="*/ 3430 h 3901"/>
              <a:gd name="T68" fmla="*/ 256 w 3806"/>
              <a:gd name="T69" fmla="*/ 3794 h 3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06" h="3901">
                <a:moveTo>
                  <a:pt x="256" y="3794"/>
                </a:moveTo>
                <a:cubicBezTo>
                  <a:pt x="108" y="3740"/>
                  <a:pt x="0" y="3563"/>
                  <a:pt x="23" y="3415"/>
                </a:cubicBezTo>
                <a:cubicBezTo>
                  <a:pt x="46" y="3271"/>
                  <a:pt x="161" y="3146"/>
                  <a:pt x="303" y="3112"/>
                </a:cubicBezTo>
                <a:cubicBezTo>
                  <a:pt x="345" y="3101"/>
                  <a:pt x="356" y="3075"/>
                  <a:pt x="483" y="2693"/>
                </a:cubicBezTo>
                <a:lnTo>
                  <a:pt x="619" y="2286"/>
                </a:lnTo>
                <a:lnTo>
                  <a:pt x="574" y="2241"/>
                </a:lnTo>
                <a:cubicBezTo>
                  <a:pt x="493" y="2160"/>
                  <a:pt x="460" y="2073"/>
                  <a:pt x="460" y="1945"/>
                </a:cubicBezTo>
                <a:cubicBezTo>
                  <a:pt x="460" y="1813"/>
                  <a:pt x="494" y="1729"/>
                  <a:pt x="584" y="1641"/>
                </a:cubicBezTo>
                <a:cubicBezTo>
                  <a:pt x="668" y="1558"/>
                  <a:pt x="743" y="1529"/>
                  <a:pt x="881" y="1526"/>
                </a:cubicBezTo>
                <a:lnTo>
                  <a:pt x="1004" y="1523"/>
                </a:lnTo>
                <a:lnTo>
                  <a:pt x="1268" y="1146"/>
                </a:lnTo>
                <a:cubicBezTo>
                  <a:pt x="1414" y="938"/>
                  <a:pt x="1533" y="763"/>
                  <a:pt x="1533" y="755"/>
                </a:cubicBezTo>
                <a:cubicBezTo>
                  <a:pt x="1533" y="748"/>
                  <a:pt x="1520" y="717"/>
                  <a:pt x="1503" y="685"/>
                </a:cubicBezTo>
                <a:cubicBezTo>
                  <a:pt x="1463" y="607"/>
                  <a:pt x="1463" y="400"/>
                  <a:pt x="1504" y="319"/>
                </a:cubicBezTo>
                <a:cubicBezTo>
                  <a:pt x="1663" y="0"/>
                  <a:pt x="2119" y="0"/>
                  <a:pt x="2278" y="319"/>
                </a:cubicBezTo>
                <a:cubicBezTo>
                  <a:pt x="2318" y="400"/>
                  <a:pt x="2319" y="607"/>
                  <a:pt x="2278" y="685"/>
                </a:cubicBezTo>
                <a:cubicBezTo>
                  <a:pt x="2262" y="717"/>
                  <a:pt x="2249" y="748"/>
                  <a:pt x="2249" y="755"/>
                </a:cubicBezTo>
                <a:cubicBezTo>
                  <a:pt x="2249" y="763"/>
                  <a:pt x="2368" y="938"/>
                  <a:pt x="2514" y="1146"/>
                </a:cubicBezTo>
                <a:lnTo>
                  <a:pt x="2778" y="1523"/>
                </a:lnTo>
                <a:lnTo>
                  <a:pt x="2901" y="1526"/>
                </a:lnTo>
                <a:cubicBezTo>
                  <a:pt x="3039" y="1529"/>
                  <a:pt x="3113" y="1558"/>
                  <a:pt x="3198" y="1641"/>
                </a:cubicBezTo>
                <a:cubicBezTo>
                  <a:pt x="3288" y="1729"/>
                  <a:pt x="3322" y="1813"/>
                  <a:pt x="3322" y="1945"/>
                </a:cubicBezTo>
                <a:cubicBezTo>
                  <a:pt x="3322" y="2073"/>
                  <a:pt x="3289" y="2160"/>
                  <a:pt x="3208" y="2241"/>
                </a:cubicBezTo>
                <a:lnTo>
                  <a:pt x="3163" y="2286"/>
                </a:lnTo>
                <a:lnTo>
                  <a:pt x="3299" y="2693"/>
                </a:lnTo>
                <a:cubicBezTo>
                  <a:pt x="3426" y="3075"/>
                  <a:pt x="3437" y="3101"/>
                  <a:pt x="3479" y="3112"/>
                </a:cubicBezTo>
                <a:cubicBezTo>
                  <a:pt x="3684" y="3162"/>
                  <a:pt x="3806" y="3373"/>
                  <a:pt x="3742" y="3567"/>
                </a:cubicBezTo>
                <a:cubicBezTo>
                  <a:pt x="3641" y="3872"/>
                  <a:pt x="3232" y="3901"/>
                  <a:pt x="3091" y="3613"/>
                </a:cubicBezTo>
                <a:cubicBezTo>
                  <a:pt x="3030" y="3490"/>
                  <a:pt x="3039" y="3367"/>
                  <a:pt x="3115" y="3259"/>
                </a:cubicBezTo>
                <a:lnTo>
                  <a:pt x="3165" y="3188"/>
                </a:lnTo>
                <a:lnTo>
                  <a:pt x="3038" y="2804"/>
                </a:lnTo>
                <a:cubicBezTo>
                  <a:pt x="2968" y="2593"/>
                  <a:pt x="2906" y="2420"/>
                  <a:pt x="2901" y="2420"/>
                </a:cubicBezTo>
                <a:cubicBezTo>
                  <a:pt x="2895" y="2420"/>
                  <a:pt x="2833" y="2594"/>
                  <a:pt x="2762" y="2806"/>
                </a:cubicBezTo>
                <a:lnTo>
                  <a:pt x="2634" y="3192"/>
                </a:lnTo>
                <a:lnTo>
                  <a:pt x="2673" y="3239"/>
                </a:lnTo>
                <a:cubicBezTo>
                  <a:pt x="2800" y="3389"/>
                  <a:pt x="2759" y="3653"/>
                  <a:pt x="2594" y="3755"/>
                </a:cubicBezTo>
                <a:cubicBezTo>
                  <a:pt x="2437" y="3851"/>
                  <a:pt x="2272" y="3832"/>
                  <a:pt x="2147" y="3704"/>
                </a:cubicBezTo>
                <a:cubicBezTo>
                  <a:pt x="2085" y="3640"/>
                  <a:pt x="2065" y="3605"/>
                  <a:pt x="2050" y="3534"/>
                </a:cubicBezTo>
                <a:cubicBezTo>
                  <a:pt x="2014" y="3359"/>
                  <a:pt x="2108" y="3191"/>
                  <a:pt x="2278" y="3127"/>
                </a:cubicBezTo>
                <a:cubicBezTo>
                  <a:pt x="2322" y="3111"/>
                  <a:pt x="2363" y="3089"/>
                  <a:pt x="2369" y="3080"/>
                </a:cubicBezTo>
                <a:cubicBezTo>
                  <a:pt x="2376" y="3071"/>
                  <a:pt x="2438" y="2888"/>
                  <a:pt x="2509" y="2675"/>
                </a:cubicBezTo>
                <a:lnTo>
                  <a:pt x="2637" y="2287"/>
                </a:lnTo>
                <a:lnTo>
                  <a:pt x="2577" y="2221"/>
                </a:lnTo>
                <a:cubicBezTo>
                  <a:pt x="2465" y="2097"/>
                  <a:pt x="2442" y="1925"/>
                  <a:pt x="2516" y="1758"/>
                </a:cubicBezTo>
                <a:lnTo>
                  <a:pt x="2548" y="1687"/>
                </a:lnTo>
                <a:lnTo>
                  <a:pt x="2282" y="1308"/>
                </a:lnTo>
                <a:lnTo>
                  <a:pt x="2017" y="929"/>
                </a:lnTo>
                <a:lnTo>
                  <a:pt x="1892" y="928"/>
                </a:lnTo>
                <a:lnTo>
                  <a:pt x="1766" y="927"/>
                </a:lnTo>
                <a:lnTo>
                  <a:pt x="1500" y="1307"/>
                </a:lnTo>
                <a:lnTo>
                  <a:pt x="1234" y="1687"/>
                </a:lnTo>
                <a:lnTo>
                  <a:pt x="1266" y="1758"/>
                </a:lnTo>
                <a:cubicBezTo>
                  <a:pt x="1340" y="1925"/>
                  <a:pt x="1317" y="2097"/>
                  <a:pt x="1205" y="2221"/>
                </a:cubicBezTo>
                <a:lnTo>
                  <a:pt x="1145" y="2287"/>
                </a:lnTo>
                <a:lnTo>
                  <a:pt x="1273" y="2675"/>
                </a:lnTo>
                <a:cubicBezTo>
                  <a:pt x="1344" y="2888"/>
                  <a:pt x="1406" y="3071"/>
                  <a:pt x="1413" y="3080"/>
                </a:cubicBezTo>
                <a:cubicBezTo>
                  <a:pt x="1419" y="3089"/>
                  <a:pt x="1460" y="3111"/>
                  <a:pt x="1504" y="3127"/>
                </a:cubicBezTo>
                <a:cubicBezTo>
                  <a:pt x="1674" y="3191"/>
                  <a:pt x="1768" y="3359"/>
                  <a:pt x="1731" y="3534"/>
                </a:cubicBezTo>
                <a:cubicBezTo>
                  <a:pt x="1717" y="3605"/>
                  <a:pt x="1697" y="3640"/>
                  <a:pt x="1635" y="3704"/>
                </a:cubicBezTo>
                <a:cubicBezTo>
                  <a:pt x="1510" y="3832"/>
                  <a:pt x="1345" y="3851"/>
                  <a:pt x="1187" y="3755"/>
                </a:cubicBezTo>
                <a:cubicBezTo>
                  <a:pt x="1023" y="3653"/>
                  <a:pt x="982" y="3389"/>
                  <a:pt x="1108" y="3239"/>
                </a:cubicBezTo>
                <a:lnTo>
                  <a:pt x="1148" y="3192"/>
                </a:lnTo>
                <a:lnTo>
                  <a:pt x="1020" y="2806"/>
                </a:lnTo>
                <a:cubicBezTo>
                  <a:pt x="949" y="2594"/>
                  <a:pt x="887" y="2420"/>
                  <a:pt x="881" y="2420"/>
                </a:cubicBezTo>
                <a:cubicBezTo>
                  <a:pt x="876" y="2420"/>
                  <a:pt x="814" y="2593"/>
                  <a:pt x="744" y="2804"/>
                </a:cubicBezTo>
                <a:lnTo>
                  <a:pt x="617" y="3188"/>
                </a:lnTo>
                <a:lnTo>
                  <a:pt x="668" y="3260"/>
                </a:lnTo>
                <a:cubicBezTo>
                  <a:pt x="706" y="3314"/>
                  <a:pt x="721" y="3356"/>
                  <a:pt x="727" y="3430"/>
                </a:cubicBezTo>
                <a:cubicBezTo>
                  <a:pt x="735" y="3516"/>
                  <a:pt x="730" y="3540"/>
                  <a:pt x="688" y="3620"/>
                </a:cubicBezTo>
                <a:cubicBezTo>
                  <a:pt x="603" y="3780"/>
                  <a:pt x="419" y="3854"/>
                  <a:pt x="256" y="3794"/>
                </a:cubicBezTo>
                <a:close/>
              </a:path>
            </a:pathLst>
          </a:custGeom>
          <a:solidFill>
            <a:srgbClr val="FFCA2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n-lt"/>
              <a:ea typeface="楷体" panose="02010609060101010101" pitchFamily="49" charset="-122"/>
            </a:endParaRPr>
          </a:p>
        </p:txBody>
      </p:sp>
      <p:cxnSp>
        <p:nvCxnSpPr>
          <p:cNvPr id="89" name="Straight Connector 88"/>
          <p:cNvCxnSpPr>
            <a:cxnSpLocks/>
          </p:cNvCxnSpPr>
          <p:nvPr/>
        </p:nvCxnSpPr>
        <p:spPr bwMode="auto">
          <a:xfrm>
            <a:off x="119064" y="4656932"/>
            <a:ext cx="951583" cy="0"/>
          </a:xfrm>
          <a:prstGeom prst="line">
            <a:avLst/>
          </a:prstGeom>
          <a:ln w="3175">
            <a:solidFill>
              <a:srgbClr val="FFCA21"/>
            </a:solidFill>
          </a:ln>
        </p:spPr>
        <p:style>
          <a:lnRef idx="1">
            <a:schemeClr val="accent1"/>
          </a:lnRef>
          <a:fillRef idx="0">
            <a:schemeClr val="accent1"/>
          </a:fillRef>
          <a:effectRef idx="0">
            <a:schemeClr val="accent1"/>
          </a:effectRef>
          <a:fontRef idx="minor">
            <a:schemeClr val="tx1"/>
          </a:fontRef>
        </p:style>
      </p:cxnSp>
      <p:cxnSp>
        <p:nvCxnSpPr>
          <p:cNvPr id="352" name="Straight Connector 351"/>
          <p:cNvCxnSpPr>
            <a:cxnSpLocks/>
          </p:cNvCxnSpPr>
          <p:nvPr/>
        </p:nvCxnSpPr>
        <p:spPr>
          <a:xfrm>
            <a:off x="5026381" y="4656932"/>
            <a:ext cx="3772179" cy="0"/>
          </a:xfrm>
          <a:prstGeom prst="line">
            <a:avLst/>
          </a:prstGeom>
          <a:ln w="9525">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a:cxnSpLocks/>
          </p:cNvCxnSpPr>
          <p:nvPr/>
        </p:nvCxnSpPr>
        <p:spPr>
          <a:xfrm>
            <a:off x="1374210" y="4656932"/>
            <a:ext cx="3025386" cy="0"/>
          </a:xfrm>
          <a:prstGeom prst="line">
            <a:avLst/>
          </a:prstGeom>
          <a:ln w="9525">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348" name="Slide Number"/>
          <p:cNvSpPr txBox="1">
            <a:spLocks/>
          </p:cNvSpPr>
          <p:nvPr/>
        </p:nvSpPr>
        <p:spPr bwMode="auto">
          <a:xfrm>
            <a:off x="8564563" y="6508272"/>
            <a:ext cx="115416"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r>
              <a:rPr lang="zh-CN" sz="800" dirty="0">
                <a:solidFill>
                  <a:schemeClr val="bg1"/>
                </a:solidFill>
                <a:ea typeface="楷体" panose="02010609060101010101" pitchFamily="49" charset="-122"/>
                <a:cs typeface="SimSun"/>
              </a:rPr>
              <a:t>10</a:t>
            </a:r>
          </a:p>
        </p:txBody>
      </p:sp>
      <p:sp>
        <p:nvSpPr>
          <p:cNvPr id="351" name="SlideLogoText"/>
          <p:cNvSpPr>
            <a:spLocks noChangeArrowheads="1"/>
          </p:cNvSpPr>
          <p:nvPr>
            <p:custDataLst>
              <p:tags r:id="rId37"/>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zh-CN" sz="800" dirty="0">
                <a:solidFill>
                  <a:schemeClr val="bg1"/>
                </a:solidFill>
                <a:latin typeface="+mn-lt"/>
                <a:ea typeface="楷体" panose="02010609060101010101" pitchFamily="49" charset="-122"/>
                <a:cs typeface="SimSun"/>
              </a:rPr>
              <a:t>McKinsey &amp; Company</a:t>
            </a:r>
          </a:p>
        </p:txBody>
      </p:sp>
      <p:sp>
        <p:nvSpPr>
          <p:cNvPr id="4" name="Rectangle 3"/>
          <p:cNvSpPr/>
          <p:nvPr>
            <p:custDataLst>
              <p:tags r:id="rId38"/>
            </p:custDataLst>
          </p:nvPr>
        </p:nvSpPr>
        <p:spPr bwMode="auto">
          <a:xfrm>
            <a:off x="7834313" y="777875"/>
            <a:ext cx="138112" cy="138112"/>
          </a:xfrm>
          <a:prstGeom prst="rect">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a typeface="楷体" panose="02010609060101010101" pitchFamily="49" charset="-122"/>
            </a:endParaRPr>
          </a:p>
        </p:txBody>
      </p:sp>
      <p:sp>
        <p:nvSpPr>
          <p:cNvPr id="3" name="Rectangle 2"/>
          <p:cNvSpPr/>
          <p:nvPr>
            <p:custDataLst>
              <p:tags r:id="rId39"/>
            </p:custDataLst>
          </p:nvPr>
        </p:nvSpPr>
        <p:spPr bwMode="auto">
          <a:xfrm>
            <a:off x="6983413" y="777875"/>
            <a:ext cx="138112" cy="138112"/>
          </a:xfrm>
          <a:prstGeom prst="rect">
            <a:avLst/>
          </a:prstGeom>
          <a:solidFill>
            <a:schemeClr val="accent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a typeface="楷体" panose="02010609060101010101" pitchFamily="49" charset="-122"/>
            </a:endParaRPr>
          </a:p>
        </p:txBody>
      </p:sp>
      <p:sp>
        <p:nvSpPr>
          <p:cNvPr id="369" name="Text Placeholder 2"/>
          <p:cNvSpPr>
            <a:spLocks noGrp="1"/>
          </p:cNvSpPr>
          <p:nvPr>
            <p:custDataLst>
              <p:tags r:id="rId40"/>
            </p:custDataLst>
          </p:nvPr>
        </p:nvSpPr>
        <p:spPr bwMode="auto">
          <a:xfrm>
            <a:off x="8074025" y="776288"/>
            <a:ext cx="555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zh-CN" altLang="en-US" sz="1000" dirty="0">
                <a:solidFill>
                  <a:schemeClr val="bg1"/>
                </a:solidFill>
                <a:ea typeface="楷体" panose="02010609060101010101" pitchFamily="49" charset="-122"/>
                <a:sym typeface="+mn-lt"/>
              </a:rPr>
              <a:t>计算机</a:t>
            </a:r>
            <a:endParaRPr lang="zh-CN" sz="1000" dirty="0">
              <a:solidFill>
                <a:schemeClr val="bg1"/>
              </a:solidFill>
              <a:ea typeface="楷体" panose="02010609060101010101" pitchFamily="49" charset="-122"/>
              <a:sym typeface="+mn-lt"/>
            </a:endParaRPr>
          </a:p>
        </p:txBody>
      </p:sp>
      <p:sp>
        <p:nvSpPr>
          <p:cNvPr id="370" name="Text Placeholder 2"/>
          <p:cNvSpPr>
            <a:spLocks noGrp="1"/>
          </p:cNvSpPr>
          <p:nvPr>
            <p:custDataLst>
              <p:tags r:id="rId41"/>
            </p:custDataLst>
          </p:nvPr>
        </p:nvSpPr>
        <p:spPr bwMode="auto">
          <a:xfrm>
            <a:off x="7223125" y="776288"/>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zh-CN" altLang="en-US" sz="1000" dirty="0">
                <a:solidFill>
                  <a:schemeClr val="bg1"/>
                </a:solidFill>
                <a:ea typeface="楷体" panose="02010609060101010101" pitchFamily="49" charset="-122"/>
                <a:sym typeface="+mn-lt"/>
              </a:rPr>
              <a:t>人类</a:t>
            </a:r>
            <a:endParaRPr lang="zh-CN" sz="1000" dirty="0">
              <a:solidFill>
                <a:schemeClr val="bg1"/>
              </a:solidFill>
              <a:ea typeface="楷体" panose="02010609060101010101" pitchFamily="49" charset="-122"/>
              <a:sym typeface="+mn-lt"/>
            </a:endParaRPr>
          </a:p>
        </p:txBody>
      </p:sp>
      <p:sp>
        <p:nvSpPr>
          <p:cNvPr id="371" name="TextBox 370"/>
          <p:cNvSpPr txBox="1">
            <a:spLocks/>
          </p:cNvSpPr>
          <p:nvPr/>
        </p:nvSpPr>
        <p:spPr>
          <a:xfrm>
            <a:off x="4972830" y="1189970"/>
            <a:ext cx="3772179" cy="234285"/>
          </a:xfrm>
          <a:prstGeom prst="rect">
            <a:avLst/>
          </a:prstGeom>
          <a:noFill/>
          <a:ln>
            <a:noFill/>
          </a:ln>
          <a:effectLst/>
        </p:spPr>
        <p:txBody>
          <a:bodyPr lIns="0" tIns="0" rIns="0" bIns="18659" anchor="t">
            <a:spAutoFit/>
          </a:bodyPr>
          <a:lstStyle>
            <a:defPPr>
              <a:defRPr lang="en-US"/>
            </a:defPPr>
            <a:lvl1pPr>
              <a:defRPr sz="1400">
                <a:solidFill>
                  <a:srgbClr val="FFCA21"/>
                </a:solidFill>
                <a:latin typeface="Georgia" panose="02040502050405020303" pitchFamily="18" charset="0"/>
                <a:cs typeface="Times New Roman" panose="02020603050405020304" pitchFamily="18" charset="0"/>
              </a:defRPr>
            </a:lvl1pPr>
          </a:lstStyle>
          <a:p>
            <a:r>
              <a:rPr lang="zh-CN" dirty="0">
                <a:latin typeface="+mn-lt"/>
                <a:ea typeface="楷体" panose="02010609060101010101" pitchFamily="49" charset="-122"/>
                <a:cs typeface="SimSun"/>
              </a:rPr>
              <a:t>各种机器学习算法的准确率</a:t>
            </a:r>
          </a:p>
        </p:txBody>
      </p:sp>
      <p:pic>
        <p:nvPicPr>
          <p:cNvPr id="307220" name="Picture 20"/>
          <p:cNvPicPr>
            <a:picLocks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4914900" y="3581400"/>
            <a:ext cx="39751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21" name="Picture 21"/>
          <p:cNvPicPr>
            <a:picLocks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5410200" y="1447800"/>
            <a:ext cx="3479800" cy="148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22" name="Picture 22"/>
          <p:cNvPicPr>
            <a:picLocks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4914900" y="5181600"/>
            <a:ext cx="39751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55413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8" name="Group 277"/>
          <p:cNvGrpSpPr>
            <a:grpSpLocks/>
          </p:cNvGrpSpPr>
          <p:nvPr/>
        </p:nvGrpSpPr>
        <p:grpSpPr>
          <a:xfrm>
            <a:off x="0" y="-7952"/>
            <a:ext cx="8961438" cy="6721475"/>
            <a:chOff x="749301" y="-1"/>
            <a:chExt cx="8961438" cy="6721475"/>
          </a:xfrm>
        </p:grpSpPr>
        <p:grpSp>
          <p:nvGrpSpPr>
            <p:cNvPr id="279" name="Group 278"/>
            <p:cNvGrpSpPr>
              <a:grpSpLocks/>
            </p:cNvGrpSpPr>
            <p:nvPr/>
          </p:nvGrpSpPr>
          <p:grpSpPr>
            <a:xfrm>
              <a:off x="749301" y="-1"/>
              <a:ext cx="8961438" cy="6721475"/>
              <a:chOff x="-12625388" y="-4110038"/>
              <a:chExt cx="11771313" cy="11769726"/>
            </a:xfrm>
          </p:grpSpPr>
          <p:sp>
            <p:nvSpPr>
              <p:cNvPr id="281" name="Freeform 305"/>
              <p:cNvSpPr>
                <a:spLocks noEditPoints="1"/>
              </p:cNvSpPr>
              <p:nvPr/>
            </p:nvSpPr>
            <p:spPr bwMode="auto">
              <a:xfrm>
                <a:off x="-12625388" y="-4110038"/>
                <a:ext cx="11771313" cy="11769725"/>
              </a:xfrm>
              <a:custGeom>
                <a:avLst/>
                <a:gdLst>
                  <a:gd name="T0" fmla="*/ 15360 w 15446"/>
                  <a:gd name="T1" fmla="*/ 14351 h 15446"/>
                  <a:gd name="T2" fmla="*/ 11037 w 15446"/>
                  <a:gd name="T3" fmla="*/ 13656 h 15446"/>
                  <a:gd name="T4" fmla="*/ 5936 w 15446"/>
                  <a:gd name="T5" fmla="*/ 12632 h 15446"/>
                  <a:gd name="T6" fmla="*/ 13164 w 15446"/>
                  <a:gd name="T7" fmla="*/ 15446 h 15446"/>
                  <a:gd name="T8" fmla="*/ 7984 w 15446"/>
                  <a:gd name="T9" fmla="*/ 14465 h 15446"/>
                  <a:gd name="T10" fmla="*/ 4300 w 15446"/>
                  <a:gd name="T11" fmla="*/ 15446 h 15446"/>
                  <a:gd name="T12" fmla="*/ 750 w 15446"/>
                  <a:gd name="T13" fmla="*/ 12746 h 15446"/>
                  <a:gd name="T14" fmla="*/ 750 w 15446"/>
                  <a:gd name="T15" fmla="*/ 12746 h 15446"/>
                  <a:gd name="T16" fmla="*/ 750 w 15446"/>
                  <a:gd name="T17" fmla="*/ 12746 h 15446"/>
                  <a:gd name="T18" fmla="*/ 371 w 15446"/>
                  <a:gd name="T19" fmla="*/ 15010 h 15446"/>
                  <a:gd name="T20" fmla="*/ 14542 w 15446"/>
                  <a:gd name="T21" fmla="*/ 0 h 15446"/>
                  <a:gd name="T22" fmla="*/ 7468 w 15446"/>
                  <a:gd name="T23" fmla="*/ 1574 h 15446"/>
                  <a:gd name="T24" fmla="*/ 7468 w 15446"/>
                  <a:gd name="T25" fmla="*/ 1574 h 15446"/>
                  <a:gd name="T26" fmla="*/ 3502 w 15446"/>
                  <a:gd name="T27" fmla="*/ 2789 h 15446"/>
                  <a:gd name="T28" fmla="*/ 1065 w 15446"/>
                  <a:gd name="T29" fmla="*/ 1273 h 15446"/>
                  <a:gd name="T30" fmla="*/ 120 w 15446"/>
                  <a:gd name="T31" fmla="*/ 3894 h 15446"/>
                  <a:gd name="T32" fmla="*/ 1145 w 15446"/>
                  <a:gd name="T33" fmla="*/ 6872 h 15446"/>
                  <a:gd name="T34" fmla="*/ 0 w 15446"/>
                  <a:gd name="T35" fmla="*/ 7970 h 15446"/>
                  <a:gd name="T36" fmla="*/ 2324 w 15446"/>
                  <a:gd name="T37" fmla="*/ 8914 h 15446"/>
                  <a:gd name="T38" fmla="*/ 3502 w 15446"/>
                  <a:gd name="T39" fmla="*/ 10955 h 15446"/>
                  <a:gd name="T40" fmla="*/ 2324 w 15446"/>
                  <a:gd name="T41" fmla="*/ 8914 h 15446"/>
                  <a:gd name="T42" fmla="*/ 586 w 15446"/>
                  <a:gd name="T43" fmla="*/ 11428 h 15446"/>
                  <a:gd name="T44" fmla="*/ 3502 w 15446"/>
                  <a:gd name="T45" fmla="*/ 10956 h 15446"/>
                  <a:gd name="T46" fmla="*/ 4943 w 15446"/>
                  <a:gd name="T47" fmla="*/ 15446 h 15446"/>
                  <a:gd name="T48" fmla="*/ 901 w 15446"/>
                  <a:gd name="T49" fmla="*/ 1246 h 15446"/>
                  <a:gd name="T50" fmla="*/ 2324 w 15446"/>
                  <a:gd name="T51" fmla="*/ 748 h 15446"/>
                  <a:gd name="T52" fmla="*/ 45 w 15446"/>
                  <a:gd name="T53" fmla="*/ 0 h 15446"/>
                  <a:gd name="T54" fmla="*/ 3737 w 15446"/>
                  <a:gd name="T55" fmla="*/ 15446 h 15446"/>
                  <a:gd name="T56" fmla="*/ 11037 w 15446"/>
                  <a:gd name="T57" fmla="*/ 13656 h 15446"/>
                  <a:gd name="T58" fmla="*/ 8413 w 15446"/>
                  <a:gd name="T59" fmla="*/ 8879 h 15446"/>
                  <a:gd name="T60" fmla="*/ 10777 w 15446"/>
                  <a:gd name="T61" fmla="*/ 9480 h 15446"/>
                  <a:gd name="T62" fmla="*/ 14110 w 15446"/>
                  <a:gd name="T63" fmla="*/ 8914 h 15446"/>
                  <a:gd name="T64" fmla="*/ 12931 w 15446"/>
                  <a:gd name="T65" fmla="*/ 10955 h 15446"/>
                  <a:gd name="T66" fmla="*/ 14110 w 15446"/>
                  <a:gd name="T67" fmla="*/ 12997 h 15446"/>
                  <a:gd name="T68" fmla="*/ 2324 w 15446"/>
                  <a:gd name="T69" fmla="*/ 12997 h 15446"/>
                  <a:gd name="T70" fmla="*/ 5935 w 15446"/>
                  <a:gd name="T71" fmla="*/ 12631 h 15446"/>
                  <a:gd name="T72" fmla="*/ 5936 w 15446"/>
                  <a:gd name="T73" fmla="*/ 12632 h 15446"/>
                  <a:gd name="T74" fmla="*/ 12931 w 15446"/>
                  <a:gd name="T75" fmla="*/ 6872 h 15446"/>
                  <a:gd name="T76" fmla="*/ 12931 w 15446"/>
                  <a:gd name="T77" fmla="*/ 6872 h 15446"/>
                  <a:gd name="T78" fmla="*/ 5860 w 15446"/>
                  <a:gd name="T79" fmla="*/ 6872 h 15446"/>
                  <a:gd name="T80" fmla="*/ 7038 w 15446"/>
                  <a:gd name="T81" fmla="*/ 8914 h 15446"/>
                  <a:gd name="T82" fmla="*/ 15446 w 15446"/>
                  <a:gd name="T83" fmla="*/ 8914 h 15446"/>
                  <a:gd name="T84" fmla="*/ 8217 w 15446"/>
                  <a:gd name="T85" fmla="*/ 6872 h 15446"/>
                  <a:gd name="T86" fmla="*/ 4159 w 15446"/>
                  <a:gd name="T87" fmla="*/ 4109 h 15446"/>
                  <a:gd name="T88" fmla="*/ 4159 w 15446"/>
                  <a:gd name="T89" fmla="*/ 4109 h 15446"/>
                  <a:gd name="T90" fmla="*/ 2557 w 15446"/>
                  <a:gd name="T91" fmla="*/ 7302 h 15446"/>
                  <a:gd name="T92" fmla="*/ 5860 w 15446"/>
                  <a:gd name="T93" fmla="*/ 6872 h 15446"/>
                  <a:gd name="T94" fmla="*/ 15446 w 15446"/>
                  <a:gd name="T95" fmla="*/ 7072 h 15446"/>
                  <a:gd name="T96" fmla="*/ 10574 w 15446"/>
                  <a:gd name="T97" fmla="*/ 6872 h 15446"/>
                  <a:gd name="T98" fmla="*/ 10574 w 15446"/>
                  <a:gd name="T99" fmla="*/ 6872 h 15446"/>
                  <a:gd name="T100" fmla="*/ 9316 w 15446"/>
                  <a:gd name="T101" fmla="*/ 6257 h 15446"/>
                  <a:gd name="T102" fmla="*/ 12655 w 15446"/>
                  <a:gd name="T103" fmla="*/ 5604 h 15446"/>
                  <a:gd name="T104" fmla="*/ 9316 w 15446"/>
                  <a:gd name="T105" fmla="*/ 6257 h 15446"/>
                  <a:gd name="T106" fmla="*/ 12655 w 15446"/>
                  <a:gd name="T107" fmla="*/ 5604 h 15446"/>
                  <a:gd name="T108" fmla="*/ 8410 w 15446"/>
                  <a:gd name="T109" fmla="*/ 2581 h 15446"/>
                  <a:gd name="T110" fmla="*/ 7038 w 15446"/>
                  <a:gd name="T111" fmla="*/ 4831 h 15446"/>
                  <a:gd name="T112" fmla="*/ 14110 w 15446"/>
                  <a:gd name="T113" fmla="*/ 4831 h 15446"/>
                  <a:gd name="T114" fmla="*/ 14110 w 15446"/>
                  <a:gd name="T115" fmla="*/ 4831 h 15446"/>
                  <a:gd name="T116" fmla="*/ 4603 w 15446"/>
                  <a:gd name="T117" fmla="*/ 3765 h 15446"/>
                  <a:gd name="T118" fmla="*/ 9396 w 15446"/>
                  <a:gd name="T119" fmla="*/ 748 h 15446"/>
                  <a:gd name="T120" fmla="*/ 5859 w 15446"/>
                  <a:gd name="T121" fmla="*/ 2790 h 15446"/>
                  <a:gd name="T122" fmla="*/ 15446 w 15446"/>
                  <a:gd name="T123" fmla="*/ 1876 h 15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46" h="15446">
                    <a:moveTo>
                      <a:pt x="14929" y="15446"/>
                    </a:moveTo>
                    <a:lnTo>
                      <a:pt x="14929" y="15446"/>
                    </a:lnTo>
                    <a:lnTo>
                      <a:pt x="15360" y="14351"/>
                    </a:lnTo>
                    <a:lnTo>
                      <a:pt x="13552" y="15446"/>
                    </a:lnTo>
                    <a:lnTo>
                      <a:pt x="15360" y="14351"/>
                    </a:lnTo>
                    <a:lnTo>
                      <a:pt x="14710" y="13647"/>
                    </a:lnTo>
                    <a:lnTo>
                      <a:pt x="15360" y="14351"/>
                    </a:lnTo>
                    <a:lnTo>
                      <a:pt x="15446" y="14344"/>
                    </a:lnTo>
                    <a:lnTo>
                      <a:pt x="15446" y="14344"/>
                    </a:lnTo>
                    <a:lnTo>
                      <a:pt x="15360" y="14351"/>
                    </a:lnTo>
                    <a:lnTo>
                      <a:pt x="14929" y="15446"/>
                    </a:lnTo>
                    <a:moveTo>
                      <a:pt x="13164" y="15446"/>
                    </a:moveTo>
                    <a:lnTo>
                      <a:pt x="13164" y="15446"/>
                    </a:lnTo>
                    <a:lnTo>
                      <a:pt x="11037" y="13656"/>
                    </a:lnTo>
                    <a:lnTo>
                      <a:pt x="11394" y="15446"/>
                    </a:lnTo>
                    <a:lnTo>
                      <a:pt x="11394" y="15446"/>
                    </a:lnTo>
                    <a:lnTo>
                      <a:pt x="11037" y="13656"/>
                    </a:lnTo>
                    <a:lnTo>
                      <a:pt x="9396" y="12997"/>
                    </a:lnTo>
                    <a:lnTo>
                      <a:pt x="9395" y="12997"/>
                    </a:lnTo>
                    <a:lnTo>
                      <a:pt x="9396" y="12997"/>
                    </a:lnTo>
                    <a:lnTo>
                      <a:pt x="5936" y="12632"/>
                    </a:lnTo>
                    <a:lnTo>
                      <a:pt x="9395" y="12997"/>
                    </a:lnTo>
                    <a:lnTo>
                      <a:pt x="9395" y="12997"/>
                    </a:lnTo>
                    <a:lnTo>
                      <a:pt x="11037" y="13656"/>
                    </a:lnTo>
                    <a:lnTo>
                      <a:pt x="11037" y="13656"/>
                    </a:lnTo>
                    <a:lnTo>
                      <a:pt x="11037" y="13656"/>
                    </a:lnTo>
                    <a:lnTo>
                      <a:pt x="11037" y="13656"/>
                    </a:lnTo>
                    <a:lnTo>
                      <a:pt x="13164" y="15446"/>
                    </a:lnTo>
                    <a:moveTo>
                      <a:pt x="8513" y="15446"/>
                    </a:moveTo>
                    <a:lnTo>
                      <a:pt x="6538" y="15446"/>
                    </a:lnTo>
                    <a:lnTo>
                      <a:pt x="7984" y="14465"/>
                    </a:lnTo>
                    <a:lnTo>
                      <a:pt x="6538" y="15446"/>
                    </a:lnTo>
                    <a:lnTo>
                      <a:pt x="7984" y="14465"/>
                    </a:lnTo>
                    <a:lnTo>
                      <a:pt x="7376" y="13922"/>
                    </a:lnTo>
                    <a:lnTo>
                      <a:pt x="7984" y="14465"/>
                    </a:lnTo>
                    <a:lnTo>
                      <a:pt x="8513" y="15446"/>
                    </a:lnTo>
                    <a:moveTo>
                      <a:pt x="4943" y="15446"/>
                    </a:moveTo>
                    <a:lnTo>
                      <a:pt x="4943" y="15446"/>
                    </a:lnTo>
                    <a:lnTo>
                      <a:pt x="3564" y="14028"/>
                    </a:lnTo>
                    <a:lnTo>
                      <a:pt x="3502" y="15039"/>
                    </a:lnTo>
                    <a:lnTo>
                      <a:pt x="4300" y="15446"/>
                    </a:lnTo>
                    <a:lnTo>
                      <a:pt x="4300" y="15446"/>
                    </a:lnTo>
                    <a:lnTo>
                      <a:pt x="3502" y="15039"/>
                    </a:lnTo>
                    <a:lnTo>
                      <a:pt x="3502" y="15039"/>
                    </a:lnTo>
                    <a:lnTo>
                      <a:pt x="3502" y="15039"/>
                    </a:lnTo>
                    <a:lnTo>
                      <a:pt x="3564" y="14028"/>
                    </a:lnTo>
                    <a:lnTo>
                      <a:pt x="2324" y="12997"/>
                    </a:lnTo>
                    <a:lnTo>
                      <a:pt x="2324" y="12997"/>
                    </a:lnTo>
                    <a:lnTo>
                      <a:pt x="750" y="12746"/>
                    </a:lnTo>
                    <a:lnTo>
                      <a:pt x="750" y="12746"/>
                    </a:lnTo>
                    <a:lnTo>
                      <a:pt x="750" y="12746"/>
                    </a:lnTo>
                    <a:lnTo>
                      <a:pt x="750" y="12746"/>
                    </a:lnTo>
                    <a:lnTo>
                      <a:pt x="586" y="11428"/>
                    </a:lnTo>
                    <a:lnTo>
                      <a:pt x="0" y="11274"/>
                    </a:lnTo>
                    <a:lnTo>
                      <a:pt x="0" y="12062"/>
                    </a:lnTo>
                    <a:lnTo>
                      <a:pt x="750" y="12746"/>
                    </a:lnTo>
                    <a:lnTo>
                      <a:pt x="750" y="12746"/>
                    </a:lnTo>
                    <a:lnTo>
                      <a:pt x="0" y="12062"/>
                    </a:lnTo>
                    <a:lnTo>
                      <a:pt x="750" y="12746"/>
                    </a:lnTo>
                    <a:lnTo>
                      <a:pt x="0" y="13667"/>
                    </a:lnTo>
                    <a:lnTo>
                      <a:pt x="0" y="15111"/>
                    </a:lnTo>
                    <a:lnTo>
                      <a:pt x="371" y="15010"/>
                    </a:lnTo>
                    <a:lnTo>
                      <a:pt x="750" y="12746"/>
                    </a:lnTo>
                    <a:lnTo>
                      <a:pt x="750" y="12746"/>
                    </a:lnTo>
                    <a:lnTo>
                      <a:pt x="372" y="15010"/>
                    </a:lnTo>
                    <a:lnTo>
                      <a:pt x="1152" y="14205"/>
                    </a:lnTo>
                    <a:lnTo>
                      <a:pt x="372" y="15010"/>
                    </a:lnTo>
                    <a:lnTo>
                      <a:pt x="482" y="15446"/>
                    </a:lnTo>
                    <a:lnTo>
                      <a:pt x="482" y="15446"/>
                    </a:lnTo>
                    <a:lnTo>
                      <a:pt x="371" y="15010"/>
                    </a:lnTo>
                    <a:lnTo>
                      <a:pt x="0" y="15111"/>
                    </a:lnTo>
                    <a:lnTo>
                      <a:pt x="0" y="15446"/>
                    </a:lnTo>
                    <a:lnTo>
                      <a:pt x="0" y="0"/>
                    </a:lnTo>
                    <a:lnTo>
                      <a:pt x="15446" y="0"/>
                    </a:lnTo>
                    <a:lnTo>
                      <a:pt x="14542" y="0"/>
                    </a:lnTo>
                    <a:lnTo>
                      <a:pt x="14110" y="748"/>
                    </a:lnTo>
                    <a:lnTo>
                      <a:pt x="14542" y="0"/>
                    </a:lnTo>
                    <a:lnTo>
                      <a:pt x="8964" y="0"/>
                    </a:lnTo>
                    <a:lnTo>
                      <a:pt x="9395" y="747"/>
                    </a:lnTo>
                    <a:lnTo>
                      <a:pt x="9395" y="747"/>
                    </a:lnTo>
                    <a:lnTo>
                      <a:pt x="8964" y="0"/>
                    </a:lnTo>
                    <a:lnTo>
                      <a:pt x="7879" y="0"/>
                    </a:lnTo>
                    <a:lnTo>
                      <a:pt x="7468" y="1574"/>
                    </a:lnTo>
                    <a:lnTo>
                      <a:pt x="7468" y="1574"/>
                    </a:lnTo>
                    <a:lnTo>
                      <a:pt x="7879" y="0"/>
                    </a:lnTo>
                    <a:lnTo>
                      <a:pt x="6111" y="0"/>
                    </a:lnTo>
                    <a:lnTo>
                      <a:pt x="7468" y="1574"/>
                    </a:lnTo>
                    <a:lnTo>
                      <a:pt x="6111" y="0"/>
                    </a:lnTo>
                    <a:lnTo>
                      <a:pt x="4249" y="0"/>
                    </a:lnTo>
                    <a:lnTo>
                      <a:pt x="4681" y="748"/>
                    </a:lnTo>
                    <a:lnTo>
                      <a:pt x="7468" y="1574"/>
                    </a:lnTo>
                    <a:lnTo>
                      <a:pt x="7468" y="1574"/>
                    </a:lnTo>
                    <a:lnTo>
                      <a:pt x="4681" y="748"/>
                    </a:lnTo>
                    <a:lnTo>
                      <a:pt x="5860" y="2789"/>
                    </a:lnTo>
                    <a:lnTo>
                      <a:pt x="5859" y="2789"/>
                    </a:lnTo>
                    <a:lnTo>
                      <a:pt x="4681" y="748"/>
                    </a:lnTo>
                    <a:lnTo>
                      <a:pt x="3502" y="2790"/>
                    </a:lnTo>
                    <a:lnTo>
                      <a:pt x="3502" y="2789"/>
                    </a:lnTo>
                    <a:lnTo>
                      <a:pt x="4681" y="748"/>
                    </a:lnTo>
                    <a:lnTo>
                      <a:pt x="2324" y="748"/>
                    </a:lnTo>
                    <a:lnTo>
                      <a:pt x="3502" y="2789"/>
                    </a:lnTo>
                    <a:lnTo>
                      <a:pt x="3502" y="2789"/>
                    </a:lnTo>
                    <a:lnTo>
                      <a:pt x="2324" y="748"/>
                    </a:lnTo>
                    <a:lnTo>
                      <a:pt x="1065" y="1273"/>
                    </a:lnTo>
                    <a:lnTo>
                      <a:pt x="1065" y="1273"/>
                    </a:lnTo>
                    <a:lnTo>
                      <a:pt x="1065" y="1273"/>
                    </a:lnTo>
                    <a:lnTo>
                      <a:pt x="1065" y="1273"/>
                    </a:lnTo>
                    <a:lnTo>
                      <a:pt x="120" y="3894"/>
                    </a:lnTo>
                    <a:lnTo>
                      <a:pt x="2324" y="4831"/>
                    </a:lnTo>
                    <a:lnTo>
                      <a:pt x="2324" y="4831"/>
                    </a:lnTo>
                    <a:lnTo>
                      <a:pt x="120" y="3894"/>
                    </a:lnTo>
                    <a:lnTo>
                      <a:pt x="120" y="3894"/>
                    </a:lnTo>
                    <a:lnTo>
                      <a:pt x="1065" y="1273"/>
                    </a:lnTo>
                    <a:lnTo>
                      <a:pt x="0" y="1982"/>
                    </a:lnTo>
                    <a:lnTo>
                      <a:pt x="0" y="3795"/>
                    </a:lnTo>
                    <a:lnTo>
                      <a:pt x="120" y="3894"/>
                    </a:lnTo>
                    <a:lnTo>
                      <a:pt x="120" y="3894"/>
                    </a:lnTo>
                    <a:lnTo>
                      <a:pt x="270" y="4331"/>
                    </a:lnTo>
                    <a:lnTo>
                      <a:pt x="1145" y="6872"/>
                    </a:lnTo>
                    <a:lnTo>
                      <a:pt x="270" y="4331"/>
                    </a:lnTo>
                    <a:lnTo>
                      <a:pt x="1145" y="6872"/>
                    </a:lnTo>
                    <a:lnTo>
                      <a:pt x="2088" y="5239"/>
                    </a:lnTo>
                    <a:lnTo>
                      <a:pt x="1145" y="6872"/>
                    </a:lnTo>
                    <a:lnTo>
                      <a:pt x="1145" y="6872"/>
                    </a:lnTo>
                    <a:lnTo>
                      <a:pt x="1109" y="6907"/>
                    </a:lnTo>
                    <a:lnTo>
                      <a:pt x="0" y="7970"/>
                    </a:lnTo>
                    <a:lnTo>
                      <a:pt x="1109" y="6907"/>
                    </a:lnTo>
                    <a:lnTo>
                      <a:pt x="0" y="7970"/>
                    </a:lnTo>
                    <a:lnTo>
                      <a:pt x="0" y="8978"/>
                    </a:lnTo>
                    <a:lnTo>
                      <a:pt x="2324" y="8914"/>
                    </a:lnTo>
                    <a:lnTo>
                      <a:pt x="1145" y="6872"/>
                    </a:lnTo>
                    <a:lnTo>
                      <a:pt x="2324" y="8914"/>
                    </a:lnTo>
                    <a:lnTo>
                      <a:pt x="2324" y="8914"/>
                    </a:lnTo>
                    <a:lnTo>
                      <a:pt x="4116" y="9609"/>
                    </a:lnTo>
                    <a:lnTo>
                      <a:pt x="3114" y="8126"/>
                    </a:lnTo>
                    <a:lnTo>
                      <a:pt x="4116" y="9609"/>
                    </a:lnTo>
                    <a:lnTo>
                      <a:pt x="5860" y="10955"/>
                    </a:lnTo>
                    <a:lnTo>
                      <a:pt x="5859" y="10955"/>
                    </a:lnTo>
                    <a:lnTo>
                      <a:pt x="4116" y="9609"/>
                    </a:lnTo>
                    <a:lnTo>
                      <a:pt x="3502" y="10955"/>
                    </a:lnTo>
                    <a:lnTo>
                      <a:pt x="3502" y="10955"/>
                    </a:lnTo>
                    <a:lnTo>
                      <a:pt x="3502" y="10955"/>
                    </a:lnTo>
                    <a:lnTo>
                      <a:pt x="3502" y="10955"/>
                    </a:lnTo>
                    <a:lnTo>
                      <a:pt x="4116" y="9609"/>
                    </a:lnTo>
                    <a:lnTo>
                      <a:pt x="2324" y="8914"/>
                    </a:lnTo>
                    <a:lnTo>
                      <a:pt x="2324" y="8914"/>
                    </a:lnTo>
                    <a:lnTo>
                      <a:pt x="2324" y="8914"/>
                    </a:lnTo>
                    <a:lnTo>
                      <a:pt x="2324" y="8914"/>
                    </a:lnTo>
                    <a:lnTo>
                      <a:pt x="2324" y="8914"/>
                    </a:lnTo>
                    <a:lnTo>
                      <a:pt x="0" y="8978"/>
                    </a:lnTo>
                    <a:lnTo>
                      <a:pt x="0" y="11274"/>
                    </a:lnTo>
                    <a:lnTo>
                      <a:pt x="586" y="11428"/>
                    </a:lnTo>
                    <a:lnTo>
                      <a:pt x="1542" y="10045"/>
                    </a:lnTo>
                    <a:lnTo>
                      <a:pt x="586" y="11428"/>
                    </a:lnTo>
                    <a:lnTo>
                      <a:pt x="3502" y="10955"/>
                    </a:lnTo>
                    <a:lnTo>
                      <a:pt x="586" y="11428"/>
                    </a:lnTo>
                    <a:lnTo>
                      <a:pt x="750" y="12746"/>
                    </a:lnTo>
                    <a:lnTo>
                      <a:pt x="2324" y="12997"/>
                    </a:lnTo>
                    <a:lnTo>
                      <a:pt x="2324" y="12997"/>
                    </a:lnTo>
                    <a:lnTo>
                      <a:pt x="3564" y="14028"/>
                    </a:lnTo>
                    <a:lnTo>
                      <a:pt x="3502" y="10956"/>
                    </a:lnTo>
                    <a:lnTo>
                      <a:pt x="3564" y="14028"/>
                    </a:lnTo>
                    <a:lnTo>
                      <a:pt x="5860" y="10956"/>
                    </a:lnTo>
                    <a:lnTo>
                      <a:pt x="5860" y="10956"/>
                    </a:lnTo>
                    <a:lnTo>
                      <a:pt x="3564" y="14028"/>
                    </a:lnTo>
                    <a:lnTo>
                      <a:pt x="3564" y="14028"/>
                    </a:lnTo>
                    <a:lnTo>
                      <a:pt x="3564" y="14028"/>
                    </a:lnTo>
                    <a:lnTo>
                      <a:pt x="4943" y="15446"/>
                    </a:lnTo>
                    <a:moveTo>
                      <a:pt x="0" y="3795"/>
                    </a:moveTo>
                    <a:lnTo>
                      <a:pt x="120" y="3894"/>
                    </a:lnTo>
                    <a:lnTo>
                      <a:pt x="0" y="3795"/>
                    </a:lnTo>
                    <a:moveTo>
                      <a:pt x="0" y="1099"/>
                    </a:moveTo>
                    <a:lnTo>
                      <a:pt x="0" y="1982"/>
                    </a:lnTo>
                    <a:lnTo>
                      <a:pt x="1065" y="1273"/>
                    </a:lnTo>
                    <a:lnTo>
                      <a:pt x="901" y="1246"/>
                    </a:lnTo>
                    <a:lnTo>
                      <a:pt x="1065" y="1273"/>
                    </a:lnTo>
                    <a:lnTo>
                      <a:pt x="2324" y="748"/>
                    </a:lnTo>
                    <a:lnTo>
                      <a:pt x="0" y="916"/>
                    </a:lnTo>
                    <a:lnTo>
                      <a:pt x="0" y="1099"/>
                    </a:lnTo>
                    <a:moveTo>
                      <a:pt x="0" y="52"/>
                    </a:moveTo>
                    <a:lnTo>
                      <a:pt x="0" y="916"/>
                    </a:lnTo>
                    <a:lnTo>
                      <a:pt x="2324" y="748"/>
                    </a:lnTo>
                    <a:lnTo>
                      <a:pt x="4681" y="748"/>
                    </a:lnTo>
                    <a:lnTo>
                      <a:pt x="4249" y="0"/>
                    </a:lnTo>
                    <a:lnTo>
                      <a:pt x="1892" y="0"/>
                    </a:lnTo>
                    <a:lnTo>
                      <a:pt x="2324" y="748"/>
                    </a:lnTo>
                    <a:lnTo>
                      <a:pt x="2324" y="748"/>
                    </a:lnTo>
                    <a:lnTo>
                      <a:pt x="1892" y="0"/>
                    </a:lnTo>
                    <a:lnTo>
                      <a:pt x="45" y="0"/>
                    </a:lnTo>
                    <a:lnTo>
                      <a:pt x="0" y="52"/>
                    </a:lnTo>
                    <a:moveTo>
                      <a:pt x="0" y="0"/>
                    </a:moveTo>
                    <a:lnTo>
                      <a:pt x="0" y="52"/>
                    </a:lnTo>
                    <a:lnTo>
                      <a:pt x="44" y="0"/>
                    </a:lnTo>
                    <a:lnTo>
                      <a:pt x="0" y="0"/>
                    </a:lnTo>
                    <a:moveTo>
                      <a:pt x="3737" y="15446"/>
                    </a:moveTo>
                    <a:lnTo>
                      <a:pt x="3737" y="15446"/>
                    </a:lnTo>
                    <a:lnTo>
                      <a:pt x="3502" y="15039"/>
                    </a:lnTo>
                    <a:lnTo>
                      <a:pt x="3737" y="15446"/>
                    </a:lnTo>
                    <a:moveTo>
                      <a:pt x="1074" y="15446"/>
                    </a:moveTo>
                    <a:lnTo>
                      <a:pt x="1074" y="15446"/>
                    </a:lnTo>
                    <a:lnTo>
                      <a:pt x="800" y="15275"/>
                    </a:lnTo>
                    <a:lnTo>
                      <a:pt x="1074" y="15446"/>
                    </a:lnTo>
                    <a:moveTo>
                      <a:pt x="11037" y="13656"/>
                    </a:moveTo>
                    <a:lnTo>
                      <a:pt x="12931" y="10955"/>
                    </a:lnTo>
                    <a:lnTo>
                      <a:pt x="10777" y="9480"/>
                    </a:lnTo>
                    <a:lnTo>
                      <a:pt x="10433" y="11715"/>
                    </a:lnTo>
                    <a:lnTo>
                      <a:pt x="10433" y="11715"/>
                    </a:lnTo>
                    <a:lnTo>
                      <a:pt x="10433" y="11715"/>
                    </a:lnTo>
                    <a:lnTo>
                      <a:pt x="10777" y="9480"/>
                    </a:lnTo>
                    <a:lnTo>
                      <a:pt x="8413" y="8879"/>
                    </a:lnTo>
                    <a:lnTo>
                      <a:pt x="8413" y="8879"/>
                    </a:lnTo>
                    <a:lnTo>
                      <a:pt x="8413" y="8879"/>
                    </a:lnTo>
                    <a:lnTo>
                      <a:pt x="8413" y="8879"/>
                    </a:lnTo>
                    <a:lnTo>
                      <a:pt x="7038" y="8914"/>
                    </a:lnTo>
                    <a:lnTo>
                      <a:pt x="7038" y="8914"/>
                    </a:lnTo>
                    <a:lnTo>
                      <a:pt x="8413" y="8879"/>
                    </a:lnTo>
                    <a:lnTo>
                      <a:pt x="10777" y="9480"/>
                    </a:lnTo>
                    <a:lnTo>
                      <a:pt x="10777" y="9480"/>
                    </a:lnTo>
                    <a:lnTo>
                      <a:pt x="10777" y="9480"/>
                    </a:lnTo>
                    <a:lnTo>
                      <a:pt x="10777" y="9480"/>
                    </a:lnTo>
                    <a:lnTo>
                      <a:pt x="12931" y="10955"/>
                    </a:lnTo>
                    <a:lnTo>
                      <a:pt x="13871" y="11844"/>
                    </a:lnTo>
                    <a:lnTo>
                      <a:pt x="14110" y="8914"/>
                    </a:lnTo>
                    <a:lnTo>
                      <a:pt x="14110" y="8914"/>
                    </a:lnTo>
                    <a:lnTo>
                      <a:pt x="13871" y="11844"/>
                    </a:lnTo>
                    <a:lnTo>
                      <a:pt x="15446" y="11473"/>
                    </a:lnTo>
                    <a:lnTo>
                      <a:pt x="15446" y="11473"/>
                    </a:lnTo>
                    <a:lnTo>
                      <a:pt x="13871" y="11844"/>
                    </a:lnTo>
                    <a:lnTo>
                      <a:pt x="14069" y="12799"/>
                    </a:lnTo>
                    <a:lnTo>
                      <a:pt x="13871" y="11844"/>
                    </a:lnTo>
                    <a:lnTo>
                      <a:pt x="12931" y="10955"/>
                    </a:lnTo>
                    <a:lnTo>
                      <a:pt x="14110" y="12997"/>
                    </a:lnTo>
                    <a:lnTo>
                      <a:pt x="14110" y="12997"/>
                    </a:lnTo>
                    <a:lnTo>
                      <a:pt x="14110" y="12997"/>
                    </a:lnTo>
                    <a:lnTo>
                      <a:pt x="12931" y="10955"/>
                    </a:lnTo>
                    <a:lnTo>
                      <a:pt x="11037" y="13656"/>
                    </a:lnTo>
                    <a:moveTo>
                      <a:pt x="15446" y="12997"/>
                    </a:moveTo>
                    <a:lnTo>
                      <a:pt x="14110" y="12997"/>
                    </a:lnTo>
                    <a:lnTo>
                      <a:pt x="14110" y="12997"/>
                    </a:lnTo>
                    <a:lnTo>
                      <a:pt x="15446" y="12997"/>
                    </a:lnTo>
                    <a:lnTo>
                      <a:pt x="15446" y="12997"/>
                    </a:lnTo>
                    <a:moveTo>
                      <a:pt x="2324" y="12997"/>
                    </a:moveTo>
                    <a:lnTo>
                      <a:pt x="586" y="11428"/>
                    </a:lnTo>
                    <a:lnTo>
                      <a:pt x="2324" y="12997"/>
                    </a:lnTo>
                    <a:lnTo>
                      <a:pt x="2324" y="12997"/>
                    </a:lnTo>
                    <a:moveTo>
                      <a:pt x="750" y="12746"/>
                    </a:moveTo>
                    <a:lnTo>
                      <a:pt x="750" y="12746"/>
                    </a:lnTo>
                    <a:lnTo>
                      <a:pt x="750" y="12746"/>
                    </a:lnTo>
                    <a:lnTo>
                      <a:pt x="750" y="12746"/>
                    </a:lnTo>
                    <a:lnTo>
                      <a:pt x="750" y="12746"/>
                    </a:lnTo>
                    <a:moveTo>
                      <a:pt x="5936" y="12632"/>
                    </a:moveTo>
                    <a:lnTo>
                      <a:pt x="5935" y="12631"/>
                    </a:lnTo>
                    <a:lnTo>
                      <a:pt x="7357" y="11428"/>
                    </a:lnTo>
                    <a:lnTo>
                      <a:pt x="5860" y="10955"/>
                    </a:lnTo>
                    <a:lnTo>
                      <a:pt x="5860" y="10955"/>
                    </a:lnTo>
                    <a:lnTo>
                      <a:pt x="7357" y="11428"/>
                    </a:lnTo>
                    <a:lnTo>
                      <a:pt x="7093" y="9346"/>
                    </a:lnTo>
                    <a:lnTo>
                      <a:pt x="7357" y="11428"/>
                    </a:lnTo>
                    <a:lnTo>
                      <a:pt x="5936" y="12632"/>
                    </a:lnTo>
                    <a:moveTo>
                      <a:pt x="5935" y="12632"/>
                    </a:moveTo>
                    <a:lnTo>
                      <a:pt x="5927" y="12440"/>
                    </a:lnTo>
                    <a:lnTo>
                      <a:pt x="5935" y="12631"/>
                    </a:lnTo>
                    <a:moveTo>
                      <a:pt x="10777" y="9480"/>
                    </a:moveTo>
                    <a:lnTo>
                      <a:pt x="12931" y="6872"/>
                    </a:lnTo>
                    <a:lnTo>
                      <a:pt x="10574" y="6872"/>
                    </a:lnTo>
                    <a:lnTo>
                      <a:pt x="12931" y="6872"/>
                    </a:lnTo>
                    <a:lnTo>
                      <a:pt x="12818" y="6352"/>
                    </a:lnTo>
                    <a:lnTo>
                      <a:pt x="12931" y="6872"/>
                    </a:lnTo>
                    <a:lnTo>
                      <a:pt x="15446" y="7725"/>
                    </a:lnTo>
                    <a:lnTo>
                      <a:pt x="15446" y="7725"/>
                    </a:lnTo>
                    <a:lnTo>
                      <a:pt x="12931" y="6872"/>
                    </a:lnTo>
                    <a:lnTo>
                      <a:pt x="14110" y="8914"/>
                    </a:lnTo>
                    <a:lnTo>
                      <a:pt x="12931" y="6872"/>
                    </a:lnTo>
                    <a:lnTo>
                      <a:pt x="10777" y="9480"/>
                    </a:lnTo>
                    <a:lnTo>
                      <a:pt x="10777" y="9480"/>
                    </a:lnTo>
                    <a:moveTo>
                      <a:pt x="7038" y="8914"/>
                    </a:moveTo>
                    <a:lnTo>
                      <a:pt x="7038" y="8914"/>
                    </a:lnTo>
                    <a:lnTo>
                      <a:pt x="8217" y="6872"/>
                    </a:lnTo>
                    <a:lnTo>
                      <a:pt x="5860" y="6872"/>
                    </a:lnTo>
                    <a:lnTo>
                      <a:pt x="5860" y="6872"/>
                    </a:lnTo>
                    <a:lnTo>
                      <a:pt x="8217" y="6872"/>
                    </a:lnTo>
                    <a:lnTo>
                      <a:pt x="7366" y="5398"/>
                    </a:lnTo>
                    <a:lnTo>
                      <a:pt x="8217" y="6872"/>
                    </a:lnTo>
                    <a:lnTo>
                      <a:pt x="9050" y="6406"/>
                    </a:lnTo>
                    <a:lnTo>
                      <a:pt x="8217" y="6872"/>
                    </a:lnTo>
                    <a:lnTo>
                      <a:pt x="8217" y="6872"/>
                    </a:lnTo>
                    <a:lnTo>
                      <a:pt x="7038" y="8914"/>
                    </a:lnTo>
                    <a:moveTo>
                      <a:pt x="7038" y="8914"/>
                    </a:moveTo>
                    <a:lnTo>
                      <a:pt x="5868" y="6886"/>
                    </a:lnTo>
                    <a:lnTo>
                      <a:pt x="7038" y="8914"/>
                    </a:lnTo>
                    <a:lnTo>
                      <a:pt x="7038" y="8914"/>
                    </a:lnTo>
                    <a:moveTo>
                      <a:pt x="15446" y="8914"/>
                    </a:moveTo>
                    <a:lnTo>
                      <a:pt x="14110" y="8914"/>
                    </a:lnTo>
                    <a:lnTo>
                      <a:pt x="15446" y="8914"/>
                    </a:lnTo>
                    <a:lnTo>
                      <a:pt x="15446" y="8914"/>
                    </a:lnTo>
                    <a:moveTo>
                      <a:pt x="14110" y="8914"/>
                    </a:moveTo>
                    <a:lnTo>
                      <a:pt x="14110" y="8914"/>
                    </a:lnTo>
                    <a:lnTo>
                      <a:pt x="14874" y="8485"/>
                    </a:lnTo>
                    <a:lnTo>
                      <a:pt x="14110" y="8914"/>
                    </a:lnTo>
                    <a:moveTo>
                      <a:pt x="8413" y="8878"/>
                    </a:moveTo>
                    <a:lnTo>
                      <a:pt x="8217" y="6872"/>
                    </a:lnTo>
                    <a:lnTo>
                      <a:pt x="8217" y="6872"/>
                    </a:lnTo>
                    <a:lnTo>
                      <a:pt x="8413" y="8878"/>
                    </a:lnTo>
                    <a:lnTo>
                      <a:pt x="8413" y="8878"/>
                    </a:lnTo>
                    <a:moveTo>
                      <a:pt x="2557" y="7302"/>
                    </a:moveTo>
                    <a:lnTo>
                      <a:pt x="2557" y="7302"/>
                    </a:lnTo>
                    <a:lnTo>
                      <a:pt x="2557" y="7302"/>
                    </a:lnTo>
                    <a:lnTo>
                      <a:pt x="4159" y="4109"/>
                    </a:lnTo>
                    <a:lnTo>
                      <a:pt x="2324" y="4831"/>
                    </a:lnTo>
                    <a:lnTo>
                      <a:pt x="2324" y="4831"/>
                    </a:lnTo>
                    <a:lnTo>
                      <a:pt x="2324" y="4831"/>
                    </a:lnTo>
                    <a:lnTo>
                      <a:pt x="2324" y="4831"/>
                    </a:lnTo>
                    <a:lnTo>
                      <a:pt x="2324" y="4831"/>
                    </a:lnTo>
                    <a:lnTo>
                      <a:pt x="4159" y="4109"/>
                    </a:lnTo>
                    <a:lnTo>
                      <a:pt x="4159" y="4109"/>
                    </a:lnTo>
                    <a:lnTo>
                      <a:pt x="4159" y="4109"/>
                    </a:lnTo>
                    <a:lnTo>
                      <a:pt x="4159" y="4109"/>
                    </a:lnTo>
                    <a:lnTo>
                      <a:pt x="4159" y="4109"/>
                    </a:lnTo>
                    <a:lnTo>
                      <a:pt x="5860" y="6872"/>
                    </a:lnTo>
                    <a:lnTo>
                      <a:pt x="5859" y="6872"/>
                    </a:lnTo>
                    <a:lnTo>
                      <a:pt x="4159" y="4109"/>
                    </a:lnTo>
                    <a:lnTo>
                      <a:pt x="2557" y="7302"/>
                    </a:lnTo>
                    <a:lnTo>
                      <a:pt x="2557" y="7302"/>
                    </a:lnTo>
                    <a:moveTo>
                      <a:pt x="2557" y="7302"/>
                    </a:moveTo>
                    <a:lnTo>
                      <a:pt x="2324" y="4831"/>
                    </a:lnTo>
                    <a:lnTo>
                      <a:pt x="2324" y="4831"/>
                    </a:lnTo>
                    <a:lnTo>
                      <a:pt x="2557" y="7302"/>
                    </a:lnTo>
                    <a:moveTo>
                      <a:pt x="2909" y="7256"/>
                    </a:moveTo>
                    <a:lnTo>
                      <a:pt x="5860" y="6872"/>
                    </a:lnTo>
                    <a:lnTo>
                      <a:pt x="5860" y="6872"/>
                    </a:lnTo>
                    <a:lnTo>
                      <a:pt x="5860" y="6872"/>
                    </a:lnTo>
                    <a:lnTo>
                      <a:pt x="2909" y="7256"/>
                    </a:lnTo>
                    <a:moveTo>
                      <a:pt x="15446" y="7072"/>
                    </a:moveTo>
                    <a:lnTo>
                      <a:pt x="15229" y="6708"/>
                    </a:lnTo>
                    <a:lnTo>
                      <a:pt x="15446" y="7072"/>
                    </a:lnTo>
                    <a:lnTo>
                      <a:pt x="15446" y="7072"/>
                    </a:lnTo>
                    <a:moveTo>
                      <a:pt x="1145" y="6872"/>
                    </a:moveTo>
                    <a:lnTo>
                      <a:pt x="1145" y="6872"/>
                    </a:lnTo>
                    <a:moveTo>
                      <a:pt x="10574" y="6872"/>
                    </a:moveTo>
                    <a:lnTo>
                      <a:pt x="10574" y="6872"/>
                    </a:lnTo>
                    <a:lnTo>
                      <a:pt x="10574" y="6872"/>
                    </a:lnTo>
                    <a:lnTo>
                      <a:pt x="12458" y="5724"/>
                    </a:lnTo>
                    <a:lnTo>
                      <a:pt x="10574" y="6872"/>
                    </a:lnTo>
                    <a:moveTo>
                      <a:pt x="8217" y="6872"/>
                    </a:moveTo>
                    <a:lnTo>
                      <a:pt x="8217" y="6872"/>
                    </a:lnTo>
                    <a:lnTo>
                      <a:pt x="8217" y="6872"/>
                    </a:lnTo>
                    <a:lnTo>
                      <a:pt x="8217" y="6872"/>
                    </a:lnTo>
                    <a:moveTo>
                      <a:pt x="10574" y="6872"/>
                    </a:moveTo>
                    <a:lnTo>
                      <a:pt x="9445" y="6321"/>
                    </a:lnTo>
                    <a:lnTo>
                      <a:pt x="10574" y="6872"/>
                    </a:lnTo>
                    <a:lnTo>
                      <a:pt x="10574" y="6872"/>
                    </a:lnTo>
                    <a:moveTo>
                      <a:pt x="9316" y="6257"/>
                    </a:moveTo>
                    <a:lnTo>
                      <a:pt x="9316" y="6257"/>
                    </a:lnTo>
                    <a:lnTo>
                      <a:pt x="9316" y="6257"/>
                    </a:lnTo>
                    <a:lnTo>
                      <a:pt x="9316" y="6257"/>
                    </a:lnTo>
                    <a:lnTo>
                      <a:pt x="9316" y="6257"/>
                    </a:lnTo>
                    <a:lnTo>
                      <a:pt x="9316" y="6257"/>
                    </a:lnTo>
                    <a:lnTo>
                      <a:pt x="12655" y="5604"/>
                    </a:lnTo>
                    <a:lnTo>
                      <a:pt x="12655" y="5604"/>
                    </a:lnTo>
                    <a:lnTo>
                      <a:pt x="12655" y="5604"/>
                    </a:lnTo>
                    <a:lnTo>
                      <a:pt x="12655" y="5604"/>
                    </a:lnTo>
                    <a:lnTo>
                      <a:pt x="14110" y="4831"/>
                    </a:lnTo>
                    <a:lnTo>
                      <a:pt x="12655" y="5604"/>
                    </a:lnTo>
                    <a:lnTo>
                      <a:pt x="12655" y="5604"/>
                    </a:lnTo>
                    <a:lnTo>
                      <a:pt x="12655" y="5604"/>
                    </a:lnTo>
                    <a:lnTo>
                      <a:pt x="9316" y="6257"/>
                    </a:lnTo>
                    <a:moveTo>
                      <a:pt x="9316" y="6257"/>
                    </a:moveTo>
                    <a:lnTo>
                      <a:pt x="7038" y="4831"/>
                    </a:lnTo>
                    <a:lnTo>
                      <a:pt x="7038" y="4831"/>
                    </a:lnTo>
                    <a:lnTo>
                      <a:pt x="9316" y="6257"/>
                    </a:lnTo>
                    <a:lnTo>
                      <a:pt x="9316" y="6257"/>
                    </a:lnTo>
                    <a:moveTo>
                      <a:pt x="9316" y="6257"/>
                    </a:moveTo>
                    <a:lnTo>
                      <a:pt x="9316" y="3550"/>
                    </a:lnTo>
                    <a:lnTo>
                      <a:pt x="9316" y="6257"/>
                    </a:lnTo>
                    <a:moveTo>
                      <a:pt x="12655" y="5604"/>
                    </a:moveTo>
                    <a:lnTo>
                      <a:pt x="12655" y="5604"/>
                    </a:lnTo>
                    <a:lnTo>
                      <a:pt x="12201" y="3434"/>
                    </a:lnTo>
                    <a:lnTo>
                      <a:pt x="12655" y="5604"/>
                    </a:lnTo>
                    <a:moveTo>
                      <a:pt x="7038" y="4831"/>
                    </a:moveTo>
                    <a:lnTo>
                      <a:pt x="7038" y="4831"/>
                    </a:lnTo>
                    <a:lnTo>
                      <a:pt x="9316" y="3550"/>
                    </a:lnTo>
                    <a:lnTo>
                      <a:pt x="5859" y="2789"/>
                    </a:lnTo>
                    <a:lnTo>
                      <a:pt x="5860" y="2789"/>
                    </a:lnTo>
                    <a:lnTo>
                      <a:pt x="9316" y="3550"/>
                    </a:lnTo>
                    <a:lnTo>
                      <a:pt x="8410" y="2581"/>
                    </a:lnTo>
                    <a:lnTo>
                      <a:pt x="9316" y="3550"/>
                    </a:lnTo>
                    <a:lnTo>
                      <a:pt x="9319" y="3444"/>
                    </a:lnTo>
                    <a:lnTo>
                      <a:pt x="9316" y="3550"/>
                    </a:lnTo>
                    <a:lnTo>
                      <a:pt x="10574" y="2789"/>
                    </a:lnTo>
                    <a:lnTo>
                      <a:pt x="9316" y="3550"/>
                    </a:lnTo>
                    <a:lnTo>
                      <a:pt x="7038" y="4831"/>
                    </a:lnTo>
                    <a:moveTo>
                      <a:pt x="7038" y="4831"/>
                    </a:moveTo>
                    <a:lnTo>
                      <a:pt x="6499" y="3898"/>
                    </a:lnTo>
                    <a:lnTo>
                      <a:pt x="7038" y="4831"/>
                    </a:lnTo>
                    <a:moveTo>
                      <a:pt x="2324" y="4831"/>
                    </a:moveTo>
                    <a:lnTo>
                      <a:pt x="1405" y="2233"/>
                    </a:lnTo>
                    <a:lnTo>
                      <a:pt x="2324" y="4831"/>
                    </a:lnTo>
                    <a:lnTo>
                      <a:pt x="2324" y="4831"/>
                    </a:lnTo>
                    <a:moveTo>
                      <a:pt x="14110" y="4831"/>
                    </a:moveTo>
                    <a:lnTo>
                      <a:pt x="12201" y="3434"/>
                    </a:lnTo>
                    <a:lnTo>
                      <a:pt x="12066" y="2627"/>
                    </a:lnTo>
                    <a:lnTo>
                      <a:pt x="12201" y="3434"/>
                    </a:lnTo>
                    <a:lnTo>
                      <a:pt x="15446" y="2602"/>
                    </a:lnTo>
                    <a:lnTo>
                      <a:pt x="15446" y="2602"/>
                    </a:lnTo>
                    <a:lnTo>
                      <a:pt x="12201" y="3434"/>
                    </a:lnTo>
                    <a:lnTo>
                      <a:pt x="14110" y="4831"/>
                    </a:lnTo>
                    <a:moveTo>
                      <a:pt x="14110" y="4831"/>
                    </a:moveTo>
                    <a:lnTo>
                      <a:pt x="14110" y="4831"/>
                    </a:lnTo>
                    <a:lnTo>
                      <a:pt x="15358" y="3331"/>
                    </a:lnTo>
                    <a:lnTo>
                      <a:pt x="14110" y="4831"/>
                    </a:lnTo>
                    <a:moveTo>
                      <a:pt x="4159" y="4109"/>
                    </a:moveTo>
                    <a:lnTo>
                      <a:pt x="4159" y="4109"/>
                    </a:lnTo>
                    <a:lnTo>
                      <a:pt x="4603" y="3765"/>
                    </a:lnTo>
                    <a:lnTo>
                      <a:pt x="4159" y="4109"/>
                    </a:lnTo>
                    <a:moveTo>
                      <a:pt x="12201" y="3434"/>
                    </a:moveTo>
                    <a:lnTo>
                      <a:pt x="10574" y="2789"/>
                    </a:lnTo>
                    <a:lnTo>
                      <a:pt x="10574" y="2789"/>
                    </a:lnTo>
                    <a:lnTo>
                      <a:pt x="10574" y="2789"/>
                    </a:lnTo>
                    <a:lnTo>
                      <a:pt x="11753" y="748"/>
                    </a:lnTo>
                    <a:lnTo>
                      <a:pt x="9396" y="748"/>
                    </a:lnTo>
                    <a:lnTo>
                      <a:pt x="9396" y="748"/>
                    </a:lnTo>
                    <a:lnTo>
                      <a:pt x="11753" y="748"/>
                    </a:lnTo>
                    <a:lnTo>
                      <a:pt x="11753" y="748"/>
                    </a:lnTo>
                    <a:lnTo>
                      <a:pt x="11753" y="748"/>
                    </a:lnTo>
                    <a:lnTo>
                      <a:pt x="10574" y="2789"/>
                    </a:lnTo>
                    <a:lnTo>
                      <a:pt x="12201" y="3434"/>
                    </a:lnTo>
                    <a:moveTo>
                      <a:pt x="5859" y="2790"/>
                    </a:moveTo>
                    <a:lnTo>
                      <a:pt x="3502" y="2790"/>
                    </a:lnTo>
                    <a:lnTo>
                      <a:pt x="5860" y="2789"/>
                    </a:lnTo>
                    <a:lnTo>
                      <a:pt x="5859" y="2789"/>
                    </a:lnTo>
                    <a:lnTo>
                      <a:pt x="5859" y="2790"/>
                    </a:lnTo>
                    <a:moveTo>
                      <a:pt x="15446" y="1876"/>
                    </a:moveTo>
                    <a:lnTo>
                      <a:pt x="14110" y="748"/>
                    </a:lnTo>
                    <a:lnTo>
                      <a:pt x="15446" y="1876"/>
                    </a:lnTo>
                    <a:lnTo>
                      <a:pt x="15446" y="1876"/>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82" name="Freeform 306"/>
              <p:cNvSpPr>
                <a:spLocks/>
              </p:cNvSpPr>
              <p:nvPr/>
            </p:nvSpPr>
            <p:spPr bwMode="auto">
              <a:xfrm>
                <a:off x="-12625388" y="-3271838"/>
                <a:ext cx="811213" cy="671513"/>
              </a:xfrm>
              <a:custGeom>
                <a:avLst/>
                <a:gdLst>
                  <a:gd name="T0" fmla="*/ 0 w 511"/>
                  <a:gd name="T1" fmla="*/ 423 h 423"/>
                  <a:gd name="T2" fmla="*/ 0 w 511"/>
                  <a:gd name="T3" fmla="*/ 0 h 423"/>
                  <a:gd name="T4" fmla="*/ 433 w 511"/>
                  <a:gd name="T5" fmla="*/ 70 h 423"/>
                  <a:gd name="T6" fmla="*/ 511 w 511"/>
                  <a:gd name="T7" fmla="*/ 83 h 423"/>
                  <a:gd name="T8" fmla="*/ 0 w 511"/>
                  <a:gd name="T9" fmla="*/ 423 h 423"/>
                </a:gdLst>
                <a:ahLst/>
                <a:cxnLst>
                  <a:cxn ang="0">
                    <a:pos x="T0" y="T1"/>
                  </a:cxn>
                  <a:cxn ang="0">
                    <a:pos x="T2" y="T3"/>
                  </a:cxn>
                  <a:cxn ang="0">
                    <a:pos x="T4" y="T5"/>
                  </a:cxn>
                  <a:cxn ang="0">
                    <a:pos x="T6" y="T7"/>
                  </a:cxn>
                  <a:cxn ang="0">
                    <a:pos x="T8" y="T9"/>
                  </a:cxn>
                </a:cxnLst>
                <a:rect l="0" t="0" r="r" b="b"/>
                <a:pathLst>
                  <a:path w="511" h="423">
                    <a:moveTo>
                      <a:pt x="0" y="423"/>
                    </a:moveTo>
                    <a:lnTo>
                      <a:pt x="0" y="0"/>
                    </a:lnTo>
                    <a:lnTo>
                      <a:pt x="433" y="70"/>
                    </a:lnTo>
                    <a:lnTo>
                      <a:pt x="511" y="83"/>
                    </a:lnTo>
                    <a:lnTo>
                      <a:pt x="0" y="42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83" name="Freeform 307"/>
              <p:cNvSpPr>
                <a:spLocks/>
              </p:cNvSpPr>
              <p:nvPr/>
            </p:nvSpPr>
            <p:spPr bwMode="auto">
              <a:xfrm>
                <a:off x="-12625388" y="-4110038"/>
                <a:ext cx="33338" cy="39688"/>
              </a:xfrm>
              <a:custGeom>
                <a:avLst/>
                <a:gdLst>
                  <a:gd name="T0" fmla="*/ 0 w 21"/>
                  <a:gd name="T1" fmla="*/ 25 h 25"/>
                  <a:gd name="T2" fmla="*/ 0 w 21"/>
                  <a:gd name="T3" fmla="*/ 0 h 25"/>
                  <a:gd name="T4" fmla="*/ 21 w 21"/>
                  <a:gd name="T5" fmla="*/ 0 h 25"/>
                  <a:gd name="T6" fmla="*/ 0 w 21"/>
                  <a:gd name="T7" fmla="*/ 25 h 25"/>
                </a:gdLst>
                <a:ahLst/>
                <a:cxnLst>
                  <a:cxn ang="0">
                    <a:pos x="T0" y="T1"/>
                  </a:cxn>
                  <a:cxn ang="0">
                    <a:pos x="T2" y="T3"/>
                  </a:cxn>
                  <a:cxn ang="0">
                    <a:pos x="T4" y="T5"/>
                  </a:cxn>
                  <a:cxn ang="0">
                    <a:pos x="T6" y="T7"/>
                  </a:cxn>
                </a:cxnLst>
                <a:rect l="0" t="0" r="r" b="b"/>
                <a:pathLst>
                  <a:path w="21" h="25">
                    <a:moveTo>
                      <a:pt x="0" y="25"/>
                    </a:moveTo>
                    <a:lnTo>
                      <a:pt x="0" y="0"/>
                    </a:lnTo>
                    <a:lnTo>
                      <a:pt x="21" y="0"/>
                    </a:lnTo>
                    <a:lnTo>
                      <a:pt x="0" y="25"/>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84" name="Freeform 308"/>
              <p:cNvSpPr>
                <a:spLocks/>
              </p:cNvSpPr>
              <p:nvPr/>
            </p:nvSpPr>
            <p:spPr bwMode="auto">
              <a:xfrm>
                <a:off x="-12625388" y="-3540126"/>
                <a:ext cx="1771650" cy="400050"/>
              </a:xfrm>
              <a:custGeom>
                <a:avLst/>
                <a:gdLst>
                  <a:gd name="T0" fmla="*/ 511 w 1116"/>
                  <a:gd name="T1" fmla="*/ 252 h 252"/>
                  <a:gd name="T2" fmla="*/ 433 w 1116"/>
                  <a:gd name="T3" fmla="*/ 239 h 252"/>
                  <a:gd name="T4" fmla="*/ 0 w 1116"/>
                  <a:gd name="T5" fmla="*/ 169 h 252"/>
                  <a:gd name="T6" fmla="*/ 0 w 1116"/>
                  <a:gd name="T7" fmla="*/ 81 h 252"/>
                  <a:gd name="T8" fmla="*/ 1116 w 1116"/>
                  <a:gd name="T9" fmla="*/ 0 h 252"/>
                  <a:gd name="T10" fmla="*/ 511 w 1116"/>
                  <a:gd name="T11" fmla="*/ 252 h 252"/>
                </a:gdLst>
                <a:ahLst/>
                <a:cxnLst>
                  <a:cxn ang="0">
                    <a:pos x="T0" y="T1"/>
                  </a:cxn>
                  <a:cxn ang="0">
                    <a:pos x="T2" y="T3"/>
                  </a:cxn>
                  <a:cxn ang="0">
                    <a:pos x="T4" y="T5"/>
                  </a:cxn>
                  <a:cxn ang="0">
                    <a:pos x="T6" y="T7"/>
                  </a:cxn>
                  <a:cxn ang="0">
                    <a:pos x="T8" y="T9"/>
                  </a:cxn>
                  <a:cxn ang="0">
                    <a:pos x="T10" y="T11"/>
                  </a:cxn>
                </a:cxnLst>
                <a:rect l="0" t="0" r="r" b="b"/>
                <a:pathLst>
                  <a:path w="1116" h="252">
                    <a:moveTo>
                      <a:pt x="511" y="252"/>
                    </a:moveTo>
                    <a:lnTo>
                      <a:pt x="433" y="239"/>
                    </a:lnTo>
                    <a:lnTo>
                      <a:pt x="0" y="169"/>
                    </a:lnTo>
                    <a:lnTo>
                      <a:pt x="0" y="81"/>
                    </a:lnTo>
                    <a:lnTo>
                      <a:pt x="1116" y="0"/>
                    </a:lnTo>
                    <a:lnTo>
                      <a:pt x="511" y="25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85" name="Freeform 309"/>
              <p:cNvSpPr>
                <a:spLocks/>
              </p:cNvSpPr>
              <p:nvPr/>
            </p:nvSpPr>
            <p:spPr bwMode="auto">
              <a:xfrm>
                <a:off x="-12625388" y="-4110038"/>
                <a:ext cx="1771650" cy="698500"/>
              </a:xfrm>
              <a:custGeom>
                <a:avLst/>
                <a:gdLst>
                  <a:gd name="T0" fmla="*/ 0 w 1116"/>
                  <a:gd name="T1" fmla="*/ 440 h 440"/>
                  <a:gd name="T2" fmla="*/ 0 w 1116"/>
                  <a:gd name="T3" fmla="*/ 25 h 440"/>
                  <a:gd name="T4" fmla="*/ 22 w 1116"/>
                  <a:gd name="T5" fmla="*/ 0 h 440"/>
                  <a:gd name="T6" fmla="*/ 908 w 1116"/>
                  <a:gd name="T7" fmla="*/ 0 h 440"/>
                  <a:gd name="T8" fmla="*/ 1116 w 1116"/>
                  <a:gd name="T9" fmla="*/ 359 h 440"/>
                  <a:gd name="T10" fmla="*/ 1116 w 1116"/>
                  <a:gd name="T11" fmla="*/ 359 h 440"/>
                  <a:gd name="T12" fmla="*/ 1116 w 1116"/>
                  <a:gd name="T13" fmla="*/ 359 h 440"/>
                  <a:gd name="T14" fmla="*/ 0 w 1116"/>
                  <a:gd name="T15" fmla="*/ 440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6" h="440">
                    <a:moveTo>
                      <a:pt x="0" y="440"/>
                    </a:moveTo>
                    <a:lnTo>
                      <a:pt x="0" y="25"/>
                    </a:lnTo>
                    <a:lnTo>
                      <a:pt x="22" y="0"/>
                    </a:lnTo>
                    <a:lnTo>
                      <a:pt x="908" y="0"/>
                    </a:lnTo>
                    <a:lnTo>
                      <a:pt x="1116" y="359"/>
                    </a:lnTo>
                    <a:lnTo>
                      <a:pt x="1116" y="359"/>
                    </a:lnTo>
                    <a:lnTo>
                      <a:pt x="1116" y="359"/>
                    </a:lnTo>
                    <a:lnTo>
                      <a:pt x="0" y="440"/>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86" name="Freeform 310"/>
              <p:cNvSpPr>
                <a:spLocks noEditPoints="1"/>
              </p:cNvSpPr>
              <p:nvPr/>
            </p:nvSpPr>
            <p:spPr bwMode="auto">
              <a:xfrm>
                <a:off x="-10853738" y="-4110038"/>
                <a:ext cx="1795463" cy="569913"/>
              </a:xfrm>
              <a:custGeom>
                <a:avLst/>
                <a:gdLst>
                  <a:gd name="T0" fmla="*/ 2357 w 2357"/>
                  <a:gd name="T1" fmla="*/ 748 h 748"/>
                  <a:gd name="T2" fmla="*/ 0 w 2357"/>
                  <a:gd name="T3" fmla="*/ 748 h 748"/>
                  <a:gd name="T4" fmla="*/ 432 w 2357"/>
                  <a:gd name="T5" fmla="*/ 0 h 748"/>
                  <a:gd name="T6" fmla="*/ 1925 w 2357"/>
                  <a:gd name="T7" fmla="*/ 0 h 748"/>
                  <a:gd name="T8" fmla="*/ 2357 w 2357"/>
                  <a:gd name="T9" fmla="*/ 748 h 748"/>
                  <a:gd name="T10" fmla="*/ 0 w 2357"/>
                  <a:gd name="T11" fmla="*/ 748 h 748"/>
                  <a:gd name="T12" fmla="*/ 0 w 2357"/>
                  <a:gd name="T13" fmla="*/ 748 h 748"/>
                  <a:gd name="T14" fmla="*/ 0 w 2357"/>
                  <a:gd name="T15" fmla="*/ 748 h 748"/>
                  <a:gd name="T16" fmla="*/ 0 w 2357"/>
                  <a:gd name="T17" fmla="*/ 748 h 748"/>
                  <a:gd name="T18" fmla="*/ 0 w 2357"/>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7" h="748">
                    <a:moveTo>
                      <a:pt x="2357" y="748"/>
                    </a:moveTo>
                    <a:lnTo>
                      <a:pt x="0" y="748"/>
                    </a:lnTo>
                    <a:lnTo>
                      <a:pt x="432" y="0"/>
                    </a:lnTo>
                    <a:lnTo>
                      <a:pt x="1925" y="0"/>
                    </a:lnTo>
                    <a:lnTo>
                      <a:pt x="2357" y="748"/>
                    </a:lnTo>
                    <a:moveTo>
                      <a:pt x="0" y="748"/>
                    </a:moveTo>
                    <a:lnTo>
                      <a:pt x="0" y="748"/>
                    </a:lnTo>
                    <a:lnTo>
                      <a:pt x="0" y="748"/>
                    </a:lnTo>
                    <a:lnTo>
                      <a:pt x="0" y="748"/>
                    </a:lnTo>
                    <a:lnTo>
                      <a:pt x="0"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87" name="Freeform 311"/>
              <p:cNvSpPr>
                <a:spLocks/>
              </p:cNvSpPr>
              <p:nvPr/>
            </p:nvSpPr>
            <p:spPr bwMode="auto">
              <a:xfrm>
                <a:off x="-9386888" y="-4110038"/>
                <a:ext cx="865188" cy="569913"/>
              </a:xfrm>
              <a:custGeom>
                <a:avLst/>
                <a:gdLst>
                  <a:gd name="T0" fmla="*/ 207 w 545"/>
                  <a:gd name="T1" fmla="*/ 359 h 359"/>
                  <a:gd name="T2" fmla="*/ 0 w 545"/>
                  <a:gd name="T3" fmla="*/ 0 h 359"/>
                  <a:gd name="T4" fmla="*/ 545 w 545"/>
                  <a:gd name="T5" fmla="*/ 0 h 359"/>
                  <a:gd name="T6" fmla="*/ 207 w 545"/>
                  <a:gd name="T7" fmla="*/ 359 h 359"/>
                </a:gdLst>
                <a:ahLst/>
                <a:cxnLst>
                  <a:cxn ang="0">
                    <a:pos x="T0" y="T1"/>
                  </a:cxn>
                  <a:cxn ang="0">
                    <a:pos x="T2" y="T3"/>
                  </a:cxn>
                  <a:cxn ang="0">
                    <a:pos x="T4" y="T5"/>
                  </a:cxn>
                  <a:cxn ang="0">
                    <a:pos x="T6" y="T7"/>
                  </a:cxn>
                </a:cxnLst>
                <a:rect l="0" t="0" r="r" b="b"/>
                <a:pathLst>
                  <a:path w="545" h="359">
                    <a:moveTo>
                      <a:pt x="207" y="359"/>
                    </a:moveTo>
                    <a:lnTo>
                      <a:pt x="0" y="0"/>
                    </a:lnTo>
                    <a:lnTo>
                      <a:pt x="545" y="0"/>
                    </a:lnTo>
                    <a:lnTo>
                      <a:pt x="207"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88" name="Freeform 312"/>
              <p:cNvSpPr>
                <a:spLocks/>
              </p:cNvSpPr>
              <p:nvPr/>
            </p:nvSpPr>
            <p:spPr bwMode="auto">
              <a:xfrm>
                <a:off x="-11183938" y="-4110038"/>
                <a:ext cx="658813" cy="569913"/>
              </a:xfrm>
              <a:custGeom>
                <a:avLst/>
                <a:gdLst>
                  <a:gd name="T0" fmla="*/ 208 w 415"/>
                  <a:gd name="T1" fmla="*/ 359 h 359"/>
                  <a:gd name="T2" fmla="*/ 0 w 415"/>
                  <a:gd name="T3" fmla="*/ 0 h 359"/>
                  <a:gd name="T4" fmla="*/ 415 w 415"/>
                  <a:gd name="T5" fmla="*/ 0 h 359"/>
                  <a:gd name="T6" fmla="*/ 208 w 415"/>
                  <a:gd name="T7" fmla="*/ 359 h 359"/>
                </a:gdLst>
                <a:ahLst/>
                <a:cxnLst>
                  <a:cxn ang="0">
                    <a:pos x="T0" y="T1"/>
                  </a:cxn>
                  <a:cxn ang="0">
                    <a:pos x="T2" y="T3"/>
                  </a:cxn>
                  <a:cxn ang="0">
                    <a:pos x="T4" y="T5"/>
                  </a:cxn>
                  <a:cxn ang="0">
                    <a:pos x="T6" y="T7"/>
                  </a:cxn>
                </a:cxnLst>
                <a:rect l="0" t="0" r="r" b="b"/>
                <a:pathLst>
                  <a:path w="415" h="359">
                    <a:moveTo>
                      <a:pt x="208" y="359"/>
                    </a:moveTo>
                    <a:lnTo>
                      <a:pt x="0" y="0"/>
                    </a:lnTo>
                    <a:lnTo>
                      <a:pt x="415" y="0"/>
                    </a:lnTo>
                    <a:lnTo>
                      <a:pt x="208"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89" name="Freeform 313"/>
              <p:cNvSpPr>
                <a:spLocks/>
              </p:cNvSpPr>
              <p:nvPr/>
            </p:nvSpPr>
            <p:spPr bwMode="auto">
              <a:xfrm>
                <a:off x="-10853738" y="-4110038"/>
                <a:ext cx="328613" cy="569913"/>
              </a:xfrm>
              <a:custGeom>
                <a:avLst/>
                <a:gdLst>
                  <a:gd name="T0" fmla="*/ 0 w 207"/>
                  <a:gd name="T1" fmla="*/ 359 h 359"/>
                  <a:gd name="T2" fmla="*/ 0 w 207"/>
                  <a:gd name="T3" fmla="*/ 359 h 359"/>
                  <a:gd name="T4" fmla="*/ 0 w 207"/>
                  <a:gd name="T5" fmla="*/ 359 h 359"/>
                  <a:gd name="T6" fmla="*/ 207 w 207"/>
                  <a:gd name="T7" fmla="*/ 0 h 359"/>
                  <a:gd name="T8" fmla="*/ 207 w 207"/>
                  <a:gd name="T9" fmla="*/ 0 h 359"/>
                  <a:gd name="T10" fmla="*/ 0 w 207"/>
                  <a:gd name="T11" fmla="*/ 359 h 359"/>
                </a:gdLst>
                <a:ahLst/>
                <a:cxnLst>
                  <a:cxn ang="0">
                    <a:pos x="T0" y="T1"/>
                  </a:cxn>
                  <a:cxn ang="0">
                    <a:pos x="T2" y="T3"/>
                  </a:cxn>
                  <a:cxn ang="0">
                    <a:pos x="T4" y="T5"/>
                  </a:cxn>
                  <a:cxn ang="0">
                    <a:pos x="T6" y="T7"/>
                  </a:cxn>
                  <a:cxn ang="0">
                    <a:pos x="T8" y="T9"/>
                  </a:cxn>
                  <a:cxn ang="0">
                    <a:pos x="T10" y="T11"/>
                  </a:cxn>
                </a:cxnLst>
                <a:rect l="0" t="0" r="r" b="b"/>
                <a:pathLst>
                  <a:path w="207" h="359">
                    <a:moveTo>
                      <a:pt x="0" y="359"/>
                    </a:moveTo>
                    <a:lnTo>
                      <a:pt x="0" y="359"/>
                    </a:lnTo>
                    <a:lnTo>
                      <a:pt x="0" y="359"/>
                    </a:lnTo>
                    <a:lnTo>
                      <a:pt x="207" y="0"/>
                    </a:lnTo>
                    <a:lnTo>
                      <a:pt x="207"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90" name="Freeform 314"/>
              <p:cNvSpPr>
                <a:spLocks noEditPoints="1"/>
              </p:cNvSpPr>
              <p:nvPr/>
            </p:nvSpPr>
            <p:spPr bwMode="auto">
              <a:xfrm>
                <a:off x="-12533313" y="-1143001"/>
                <a:ext cx="781050" cy="2268538"/>
              </a:xfrm>
              <a:custGeom>
                <a:avLst/>
                <a:gdLst>
                  <a:gd name="T0" fmla="*/ 1025 w 1025"/>
                  <a:gd name="T1" fmla="*/ 2978 h 2978"/>
                  <a:gd name="T2" fmla="*/ 150 w 1025"/>
                  <a:gd name="T3" fmla="*/ 437 h 2978"/>
                  <a:gd name="T4" fmla="*/ 1025 w 1025"/>
                  <a:gd name="T5" fmla="*/ 2978 h 2978"/>
                  <a:gd name="T6" fmla="*/ 0 w 1025"/>
                  <a:gd name="T7" fmla="*/ 0 h 2978"/>
                  <a:gd name="T8" fmla="*/ 0 w 1025"/>
                  <a:gd name="T9" fmla="*/ 0 h 2978"/>
                </a:gdLst>
                <a:ahLst/>
                <a:cxnLst>
                  <a:cxn ang="0">
                    <a:pos x="T0" y="T1"/>
                  </a:cxn>
                  <a:cxn ang="0">
                    <a:pos x="T2" y="T3"/>
                  </a:cxn>
                  <a:cxn ang="0">
                    <a:pos x="T4" y="T5"/>
                  </a:cxn>
                  <a:cxn ang="0">
                    <a:pos x="T6" y="T7"/>
                  </a:cxn>
                  <a:cxn ang="0">
                    <a:pos x="T8" y="T9"/>
                  </a:cxn>
                </a:cxnLst>
                <a:rect l="0" t="0" r="r" b="b"/>
                <a:pathLst>
                  <a:path w="1025" h="2978">
                    <a:moveTo>
                      <a:pt x="1025" y="2978"/>
                    </a:moveTo>
                    <a:lnTo>
                      <a:pt x="150" y="437"/>
                    </a:lnTo>
                    <a:lnTo>
                      <a:pt x="1025" y="2978"/>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91" name="Freeform 315"/>
              <p:cNvSpPr>
                <a:spLocks/>
              </p:cNvSpPr>
              <p:nvPr/>
            </p:nvSpPr>
            <p:spPr bwMode="auto">
              <a:xfrm>
                <a:off x="-12625388" y="-3140076"/>
                <a:ext cx="811213" cy="1997075"/>
              </a:xfrm>
              <a:custGeom>
                <a:avLst/>
                <a:gdLst>
                  <a:gd name="T0" fmla="*/ 58 w 511"/>
                  <a:gd name="T1" fmla="*/ 1258 h 1258"/>
                  <a:gd name="T2" fmla="*/ 0 w 511"/>
                  <a:gd name="T3" fmla="*/ 1211 h 1258"/>
                  <a:gd name="T4" fmla="*/ 0 w 511"/>
                  <a:gd name="T5" fmla="*/ 340 h 1258"/>
                  <a:gd name="T6" fmla="*/ 511 w 511"/>
                  <a:gd name="T7" fmla="*/ 0 h 1258"/>
                  <a:gd name="T8" fmla="*/ 58 w 511"/>
                  <a:gd name="T9" fmla="*/ 1258 h 1258"/>
                </a:gdLst>
                <a:ahLst/>
                <a:cxnLst>
                  <a:cxn ang="0">
                    <a:pos x="T0" y="T1"/>
                  </a:cxn>
                  <a:cxn ang="0">
                    <a:pos x="T2" y="T3"/>
                  </a:cxn>
                  <a:cxn ang="0">
                    <a:pos x="T4" y="T5"/>
                  </a:cxn>
                  <a:cxn ang="0">
                    <a:pos x="T6" y="T7"/>
                  </a:cxn>
                  <a:cxn ang="0">
                    <a:pos x="T8" y="T9"/>
                  </a:cxn>
                </a:cxnLst>
                <a:rect l="0" t="0" r="r" b="b"/>
                <a:pathLst>
                  <a:path w="511" h="1258">
                    <a:moveTo>
                      <a:pt x="58" y="1258"/>
                    </a:moveTo>
                    <a:lnTo>
                      <a:pt x="0" y="1211"/>
                    </a:lnTo>
                    <a:lnTo>
                      <a:pt x="0" y="340"/>
                    </a:lnTo>
                    <a:lnTo>
                      <a:pt x="511" y="0"/>
                    </a:lnTo>
                    <a:lnTo>
                      <a:pt x="58" y="1258"/>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92" name="Line 316"/>
              <p:cNvSpPr>
                <a:spLocks noChangeShapeType="1"/>
              </p:cNvSpPr>
              <p:nvPr/>
            </p:nvSpPr>
            <p:spPr bwMode="auto">
              <a:xfrm>
                <a:off x="-12533313" y="-1143001"/>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93" name="Freeform 317"/>
              <p:cNvSpPr>
                <a:spLocks noEditPoints="1"/>
              </p:cNvSpPr>
              <p:nvPr/>
            </p:nvSpPr>
            <p:spPr bwMode="auto">
              <a:xfrm>
                <a:off x="-12533313" y="-1143001"/>
                <a:ext cx="1679575" cy="2268538"/>
              </a:xfrm>
              <a:custGeom>
                <a:avLst/>
                <a:gdLst>
                  <a:gd name="T0" fmla="*/ 1025 w 2204"/>
                  <a:gd name="T1" fmla="*/ 2978 h 2978"/>
                  <a:gd name="T2" fmla="*/ 150 w 2204"/>
                  <a:gd name="T3" fmla="*/ 437 h 2978"/>
                  <a:gd name="T4" fmla="*/ 0 w 2204"/>
                  <a:gd name="T5" fmla="*/ 0 h 2978"/>
                  <a:gd name="T6" fmla="*/ 2204 w 2204"/>
                  <a:gd name="T7" fmla="*/ 937 h 2978"/>
                  <a:gd name="T8" fmla="*/ 2204 w 2204"/>
                  <a:gd name="T9" fmla="*/ 937 h 2978"/>
                  <a:gd name="T10" fmla="*/ 2204 w 2204"/>
                  <a:gd name="T11" fmla="*/ 937 h 2978"/>
                  <a:gd name="T12" fmla="*/ 2204 w 2204"/>
                  <a:gd name="T13" fmla="*/ 937 h 2978"/>
                  <a:gd name="T14" fmla="*/ 2204 w 2204"/>
                  <a:gd name="T15" fmla="*/ 937 h 2978"/>
                  <a:gd name="T16" fmla="*/ 1968 w 2204"/>
                  <a:gd name="T17" fmla="*/ 1345 h 2978"/>
                  <a:gd name="T18" fmla="*/ 1025 w 2204"/>
                  <a:gd name="T19" fmla="*/ 2978 h 2978"/>
                  <a:gd name="T20" fmla="*/ 150 w 2204"/>
                  <a:gd name="T21" fmla="*/ 437 h 2978"/>
                  <a:gd name="T22" fmla="*/ 0 w 2204"/>
                  <a:gd name="T23" fmla="*/ 0 h 2978"/>
                  <a:gd name="T24" fmla="*/ 150 w 2204"/>
                  <a:gd name="T25" fmla="*/ 437 h 2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4" h="2978">
                    <a:moveTo>
                      <a:pt x="1025" y="2978"/>
                    </a:moveTo>
                    <a:lnTo>
                      <a:pt x="150" y="437"/>
                    </a:lnTo>
                    <a:lnTo>
                      <a:pt x="0" y="0"/>
                    </a:lnTo>
                    <a:lnTo>
                      <a:pt x="2204" y="937"/>
                    </a:lnTo>
                    <a:lnTo>
                      <a:pt x="2204" y="937"/>
                    </a:lnTo>
                    <a:lnTo>
                      <a:pt x="2204" y="937"/>
                    </a:lnTo>
                    <a:lnTo>
                      <a:pt x="2204" y="937"/>
                    </a:lnTo>
                    <a:lnTo>
                      <a:pt x="2204" y="937"/>
                    </a:lnTo>
                    <a:lnTo>
                      <a:pt x="1968" y="1345"/>
                    </a:lnTo>
                    <a:lnTo>
                      <a:pt x="1025" y="2978"/>
                    </a:lnTo>
                    <a:moveTo>
                      <a:pt x="150" y="437"/>
                    </a:moveTo>
                    <a:lnTo>
                      <a:pt x="0" y="0"/>
                    </a:lnTo>
                    <a:lnTo>
                      <a:pt x="150" y="437"/>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94" name="Freeform 318"/>
              <p:cNvSpPr>
                <a:spLocks/>
              </p:cNvSpPr>
              <p:nvPr/>
            </p:nvSpPr>
            <p:spPr bwMode="auto">
              <a:xfrm>
                <a:off x="-12533313" y="-1143001"/>
                <a:ext cx="114300" cy="333375"/>
              </a:xfrm>
              <a:custGeom>
                <a:avLst/>
                <a:gdLst>
                  <a:gd name="T0" fmla="*/ 72 w 72"/>
                  <a:gd name="T1" fmla="*/ 210 h 210"/>
                  <a:gd name="T2" fmla="*/ 72 w 72"/>
                  <a:gd name="T3" fmla="*/ 210 h 210"/>
                  <a:gd name="T4" fmla="*/ 0 w 72"/>
                  <a:gd name="T5" fmla="*/ 0 h 210"/>
                  <a:gd name="T6" fmla="*/ 0 w 72"/>
                  <a:gd name="T7" fmla="*/ 0 h 210"/>
                  <a:gd name="T8" fmla="*/ 72 w 72"/>
                  <a:gd name="T9" fmla="*/ 210 h 210"/>
                </a:gdLst>
                <a:ahLst/>
                <a:cxnLst>
                  <a:cxn ang="0">
                    <a:pos x="T0" y="T1"/>
                  </a:cxn>
                  <a:cxn ang="0">
                    <a:pos x="T2" y="T3"/>
                  </a:cxn>
                  <a:cxn ang="0">
                    <a:pos x="T4" y="T5"/>
                  </a:cxn>
                  <a:cxn ang="0">
                    <a:pos x="T6" y="T7"/>
                  </a:cxn>
                  <a:cxn ang="0">
                    <a:pos x="T8" y="T9"/>
                  </a:cxn>
                </a:cxnLst>
                <a:rect l="0" t="0" r="r" b="b"/>
                <a:pathLst>
                  <a:path w="72" h="210">
                    <a:moveTo>
                      <a:pt x="72" y="210"/>
                    </a:moveTo>
                    <a:lnTo>
                      <a:pt x="72" y="210"/>
                    </a:lnTo>
                    <a:lnTo>
                      <a:pt x="0" y="0"/>
                    </a:lnTo>
                    <a:lnTo>
                      <a:pt x="0" y="0"/>
                    </a:lnTo>
                    <a:lnTo>
                      <a:pt x="72" y="210"/>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95" name="Freeform 319"/>
              <p:cNvSpPr>
                <a:spLocks/>
              </p:cNvSpPr>
              <p:nvPr/>
            </p:nvSpPr>
            <p:spPr bwMode="auto">
              <a:xfrm>
                <a:off x="-12625388" y="-1217613"/>
                <a:ext cx="92075" cy="74613"/>
              </a:xfrm>
              <a:custGeom>
                <a:avLst/>
                <a:gdLst>
                  <a:gd name="T0" fmla="*/ 58 w 58"/>
                  <a:gd name="T1" fmla="*/ 47 h 47"/>
                  <a:gd name="T2" fmla="*/ 0 w 58"/>
                  <a:gd name="T3" fmla="*/ 0 h 47"/>
                  <a:gd name="T4" fmla="*/ 58 w 58"/>
                  <a:gd name="T5" fmla="*/ 47 h 47"/>
                </a:gdLst>
                <a:ahLst/>
                <a:cxnLst>
                  <a:cxn ang="0">
                    <a:pos x="T0" y="T1"/>
                  </a:cxn>
                  <a:cxn ang="0">
                    <a:pos x="T2" y="T3"/>
                  </a:cxn>
                  <a:cxn ang="0">
                    <a:pos x="T4" y="T5"/>
                  </a:cxn>
                </a:cxnLst>
                <a:rect l="0" t="0" r="r" b="b"/>
                <a:pathLst>
                  <a:path w="58" h="47">
                    <a:moveTo>
                      <a:pt x="58" y="47"/>
                    </a:moveTo>
                    <a:lnTo>
                      <a:pt x="0" y="0"/>
                    </a:lnTo>
                    <a:lnTo>
                      <a:pt x="58" y="4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96" name="Freeform 320"/>
              <p:cNvSpPr>
                <a:spLocks noEditPoints="1"/>
              </p:cNvSpPr>
              <p:nvPr/>
            </p:nvSpPr>
            <p:spPr bwMode="auto">
              <a:xfrm>
                <a:off x="-12533313" y="-3140076"/>
                <a:ext cx="1679575" cy="2711450"/>
              </a:xfrm>
              <a:custGeom>
                <a:avLst/>
                <a:gdLst>
                  <a:gd name="T0" fmla="*/ 2204 w 2204"/>
                  <a:gd name="T1" fmla="*/ 3558 h 3558"/>
                  <a:gd name="T2" fmla="*/ 0 w 2204"/>
                  <a:gd name="T3" fmla="*/ 2621 h 3558"/>
                  <a:gd name="T4" fmla="*/ 945 w 2204"/>
                  <a:gd name="T5" fmla="*/ 0 h 3558"/>
                  <a:gd name="T6" fmla="*/ 945 w 2204"/>
                  <a:gd name="T7" fmla="*/ 0 h 3558"/>
                  <a:gd name="T8" fmla="*/ 945 w 2204"/>
                  <a:gd name="T9" fmla="*/ 0 h 3558"/>
                  <a:gd name="T10" fmla="*/ 1285 w 2204"/>
                  <a:gd name="T11" fmla="*/ 960 h 3558"/>
                  <a:gd name="T12" fmla="*/ 2204 w 2204"/>
                  <a:gd name="T13" fmla="*/ 3558 h 3558"/>
                  <a:gd name="T14" fmla="*/ 2204 w 2204"/>
                  <a:gd name="T15" fmla="*/ 3558 h 3558"/>
                  <a:gd name="T16" fmla="*/ 2204 w 2204"/>
                  <a:gd name="T17" fmla="*/ 3558 h 3558"/>
                  <a:gd name="T18" fmla="*/ 2204 w 2204"/>
                  <a:gd name="T19" fmla="*/ 3558 h 3558"/>
                  <a:gd name="T20" fmla="*/ 945 w 2204"/>
                  <a:gd name="T21" fmla="*/ 0 h 3558"/>
                  <a:gd name="T22" fmla="*/ 945 w 2204"/>
                  <a:gd name="T23" fmla="*/ 0 h 3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4" h="3558">
                    <a:moveTo>
                      <a:pt x="2204" y="3558"/>
                    </a:moveTo>
                    <a:lnTo>
                      <a:pt x="0" y="2621"/>
                    </a:lnTo>
                    <a:lnTo>
                      <a:pt x="945" y="0"/>
                    </a:lnTo>
                    <a:lnTo>
                      <a:pt x="945" y="0"/>
                    </a:lnTo>
                    <a:lnTo>
                      <a:pt x="945" y="0"/>
                    </a:lnTo>
                    <a:lnTo>
                      <a:pt x="1285" y="960"/>
                    </a:lnTo>
                    <a:lnTo>
                      <a:pt x="2204" y="3558"/>
                    </a:lnTo>
                    <a:lnTo>
                      <a:pt x="2204" y="3558"/>
                    </a:lnTo>
                    <a:lnTo>
                      <a:pt x="2204" y="3558"/>
                    </a:lnTo>
                    <a:lnTo>
                      <a:pt x="2204" y="3558"/>
                    </a:lnTo>
                    <a:moveTo>
                      <a:pt x="945" y="0"/>
                    </a:moveTo>
                    <a:lnTo>
                      <a:pt x="945" y="0"/>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97" name="Rectangle 321"/>
              <p:cNvSpPr>
                <a:spLocks noChangeArrowheads="1"/>
              </p:cNvSpPr>
              <p:nvPr/>
            </p:nvSpPr>
            <p:spPr bwMode="auto">
              <a:xfrm>
                <a:off x="-10853738" y="-428626"/>
                <a:ext cx="1588" cy="1588"/>
              </a:xfrm>
              <a:prstGeom prst="rect">
                <a:avLst/>
              </a:prstGeom>
              <a:solidFill>
                <a:srgbClr val="518DB3"/>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98" name="Freeform 322"/>
              <p:cNvSpPr>
                <a:spLocks/>
              </p:cNvSpPr>
              <p:nvPr/>
            </p:nvSpPr>
            <p:spPr bwMode="auto">
              <a:xfrm>
                <a:off x="-10853738" y="-1984376"/>
                <a:ext cx="1397000" cy="1555750"/>
              </a:xfrm>
              <a:custGeom>
                <a:avLst/>
                <a:gdLst>
                  <a:gd name="T0" fmla="*/ 0 w 880"/>
                  <a:gd name="T1" fmla="*/ 980 h 980"/>
                  <a:gd name="T2" fmla="*/ 565 w 880"/>
                  <a:gd name="T3" fmla="*/ 0 h 980"/>
                  <a:gd name="T4" fmla="*/ 880 w 880"/>
                  <a:gd name="T5" fmla="*/ 633 h 980"/>
                  <a:gd name="T6" fmla="*/ 0 w 880"/>
                  <a:gd name="T7" fmla="*/ 980 h 980"/>
                </a:gdLst>
                <a:ahLst/>
                <a:cxnLst>
                  <a:cxn ang="0">
                    <a:pos x="T0" y="T1"/>
                  </a:cxn>
                  <a:cxn ang="0">
                    <a:pos x="T2" y="T3"/>
                  </a:cxn>
                  <a:cxn ang="0">
                    <a:pos x="T4" y="T5"/>
                  </a:cxn>
                  <a:cxn ang="0">
                    <a:pos x="T6" y="T7"/>
                  </a:cxn>
                </a:cxnLst>
                <a:rect l="0" t="0" r="r" b="b"/>
                <a:pathLst>
                  <a:path w="880" h="980">
                    <a:moveTo>
                      <a:pt x="0" y="980"/>
                    </a:moveTo>
                    <a:lnTo>
                      <a:pt x="565" y="0"/>
                    </a:lnTo>
                    <a:lnTo>
                      <a:pt x="880" y="633"/>
                    </a:lnTo>
                    <a:lnTo>
                      <a:pt x="0"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99" name="Freeform 323"/>
              <p:cNvSpPr>
                <a:spLocks/>
              </p:cNvSpPr>
              <p:nvPr/>
            </p:nvSpPr>
            <p:spPr bwMode="auto">
              <a:xfrm>
                <a:off x="-10853738" y="-3540126"/>
                <a:ext cx="1795463" cy="1555750"/>
              </a:xfrm>
              <a:custGeom>
                <a:avLst/>
                <a:gdLst>
                  <a:gd name="T0" fmla="*/ 565 w 1131"/>
                  <a:gd name="T1" fmla="*/ 980 h 980"/>
                  <a:gd name="T2" fmla="*/ 565 w 1131"/>
                  <a:gd name="T3" fmla="*/ 980 h 980"/>
                  <a:gd name="T4" fmla="*/ 0 w 1131"/>
                  <a:gd name="T5" fmla="*/ 0 h 980"/>
                  <a:gd name="T6" fmla="*/ 1131 w 1131"/>
                  <a:gd name="T7" fmla="*/ 0 h 980"/>
                  <a:gd name="T8" fmla="*/ 565 w 1131"/>
                  <a:gd name="T9" fmla="*/ 980 h 980"/>
                </a:gdLst>
                <a:ahLst/>
                <a:cxnLst>
                  <a:cxn ang="0">
                    <a:pos x="T0" y="T1"/>
                  </a:cxn>
                  <a:cxn ang="0">
                    <a:pos x="T2" y="T3"/>
                  </a:cxn>
                  <a:cxn ang="0">
                    <a:pos x="T4" y="T5"/>
                  </a:cxn>
                  <a:cxn ang="0">
                    <a:pos x="T6" y="T7"/>
                  </a:cxn>
                  <a:cxn ang="0">
                    <a:pos x="T8" y="T9"/>
                  </a:cxn>
                </a:cxnLst>
                <a:rect l="0" t="0" r="r" b="b"/>
                <a:pathLst>
                  <a:path w="1131" h="980">
                    <a:moveTo>
                      <a:pt x="565" y="980"/>
                    </a:moveTo>
                    <a:lnTo>
                      <a:pt x="565" y="980"/>
                    </a:lnTo>
                    <a:lnTo>
                      <a:pt x="0" y="0"/>
                    </a:lnTo>
                    <a:lnTo>
                      <a:pt x="1131" y="0"/>
                    </a:lnTo>
                    <a:lnTo>
                      <a:pt x="565"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00" name="Freeform 324"/>
              <p:cNvSpPr>
                <a:spLocks/>
              </p:cNvSpPr>
              <p:nvPr/>
            </p:nvSpPr>
            <p:spPr bwMode="auto">
              <a:xfrm>
                <a:off x="-9956800" y="-1984376"/>
                <a:ext cx="1797050" cy="1004888"/>
              </a:xfrm>
              <a:custGeom>
                <a:avLst/>
                <a:gdLst>
                  <a:gd name="T0" fmla="*/ 315 w 1132"/>
                  <a:gd name="T1" fmla="*/ 633 h 633"/>
                  <a:gd name="T2" fmla="*/ 315 w 1132"/>
                  <a:gd name="T3" fmla="*/ 633 h 633"/>
                  <a:gd name="T4" fmla="*/ 0 w 1132"/>
                  <a:gd name="T5" fmla="*/ 0 h 633"/>
                  <a:gd name="T6" fmla="*/ 0 w 1132"/>
                  <a:gd name="T7" fmla="*/ 0 h 633"/>
                  <a:gd name="T8" fmla="*/ 1132 w 1132"/>
                  <a:gd name="T9" fmla="*/ 0 h 633"/>
                  <a:gd name="T10" fmla="*/ 529 w 1132"/>
                  <a:gd name="T11" fmla="*/ 468 h 633"/>
                  <a:gd name="T12" fmla="*/ 315 w 1132"/>
                  <a:gd name="T13" fmla="*/ 633 h 633"/>
                  <a:gd name="T14" fmla="*/ 315 w 1132"/>
                  <a:gd name="T15" fmla="*/ 633 h 633"/>
                  <a:gd name="T16" fmla="*/ 315 w 1132"/>
                  <a:gd name="T17" fmla="*/ 633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2" h="633">
                    <a:moveTo>
                      <a:pt x="315" y="633"/>
                    </a:moveTo>
                    <a:lnTo>
                      <a:pt x="315" y="633"/>
                    </a:lnTo>
                    <a:lnTo>
                      <a:pt x="0" y="0"/>
                    </a:lnTo>
                    <a:lnTo>
                      <a:pt x="0" y="0"/>
                    </a:lnTo>
                    <a:lnTo>
                      <a:pt x="1132" y="0"/>
                    </a:lnTo>
                    <a:lnTo>
                      <a:pt x="529" y="468"/>
                    </a:lnTo>
                    <a:lnTo>
                      <a:pt x="315" y="633"/>
                    </a:lnTo>
                    <a:lnTo>
                      <a:pt x="315" y="633"/>
                    </a:lnTo>
                    <a:lnTo>
                      <a:pt x="315" y="633"/>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01" name="Freeform 325"/>
              <p:cNvSpPr>
                <a:spLocks/>
              </p:cNvSpPr>
              <p:nvPr/>
            </p:nvSpPr>
            <p:spPr bwMode="auto">
              <a:xfrm>
                <a:off x="-9956800" y="-1984376"/>
                <a:ext cx="500063" cy="1004888"/>
              </a:xfrm>
              <a:custGeom>
                <a:avLst/>
                <a:gdLst>
                  <a:gd name="T0" fmla="*/ 315 w 315"/>
                  <a:gd name="T1" fmla="*/ 633 h 633"/>
                  <a:gd name="T2" fmla="*/ 0 w 315"/>
                  <a:gd name="T3" fmla="*/ 0 h 633"/>
                  <a:gd name="T4" fmla="*/ 0 w 315"/>
                  <a:gd name="T5" fmla="*/ 0 h 633"/>
                  <a:gd name="T6" fmla="*/ 315 w 315"/>
                  <a:gd name="T7" fmla="*/ 633 h 633"/>
                </a:gdLst>
                <a:ahLst/>
                <a:cxnLst>
                  <a:cxn ang="0">
                    <a:pos x="T0" y="T1"/>
                  </a:cxn>
                  <a:cxn ang="0">
                    <a:pos x="T2" y="T3"/>
                  </a:cxn>
                  <a:cxn ang="0">
                    <a:pos x="T4" y="T5"/>
                  </a:cxn>
                  <a:cxn ang="0">
                    <a:pos x="T6" y="T7"/>
                  </a:cxn>
                </a:cxnLst>
                <a:rect l="0" t="0" r="r" b="b"/>
                <a:pathLst>
                  <a:path w="315" h="633">
                    <a:moveTo>
                      <a:pt x="315" y="633"/>
                    </a:moveTo>
                    <a:lnTo>
                      <a:pt x="0" y="0"/>
                    </a:lnTo>
                    <a:lnTo>
                      <a:pt x="0" y="0"/>
                    </a:lnTo>
                    <a:lnTo>
                      <a:pt x="315" y="63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02" name="Freeform 326"/>
              <p:cNvSpPr>
                <a:spLocks/>
              </p:cNvSpPr>
              <p:nvPr/>
            </p:nvSpPr>
            <p:spPr bwMode="auto">
              <a:xfrm>
                <a:off x="-11814175" y="-3540126"/>
                <a:ext cx="1857375" cy="1555750"/>
              </a:xfrm>
              <a:custGeom>
                <a:avLst/>
                <a:gdLst>
                  <a:gd name="T0" fmla="*/ 1170 w 1170"/>
                  <a:gd name="T1" fmla="*/ 980 h 980"/>
                  <a:gd name="T2" fmla="*/ 0 w 1170"/>
                  <a:gd name="T3" fmla="*/ 252 h 980"/>
                  <a:gd name="T4" fmla="*/ 605 w 1170"/>
                  <a:gd name="T5" fmla="*/ 0 h 980"/>
                  <a:gd name="T6" fmla="*/ 1170 w 1170"/>
                  <a:gd name="T7" fmla="*/ 980 h 980"/>
                </a:gdLst>
                <a:ahLst/>
                <a:cxnLst>
                  <a:cxn ang="0">
                    <a:pos x="T0" y="T1"/>
                  </a:cxn>
                  <a:cxn ang="0">
                    <a:pos x="T2" y="T3"/>
                  </a:cxn>
                  <a:cxn ang="0">
                    <a:pos x="T4" y="T5"/>
                  </a:cxn>
                  <a:cxn ang="0">
                    <a:pos x="T6" y="T7"/>
                  </a:cxn>
                </a:cxnLst>
                <a:rect l="0" t="0" r="r" b="b"/>
                <a:pathLst>
                  <a:path w="1170" h="980">
                    <a:moveTo>
                      <a:pt x="1170" y="980"/>
                    </a:moveTo>
                    <a:lnTo>
                      <a:pt x="0" y="252"/>
                    </a:lnTo>
                    <a:lnTo>
                      <a:pt x="605" y="0"/>
                    </a:lnTo>
                    <a:lnTo>
                      <a:pt x="1170"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03" name="Freeform 327"/>
              <p:cNvSpPr>
                <a:spLocks/>
              </p:cNvSpPr>
              <p:nvPr/>
            </p:nvSpPr>
            <p:spPr bwMode="auto">
              <a:xfrm>
                <a:off x="-9956800" y="-3540126"/>
                <a:ext cx="1797050" cy="1555750"/>
              </a:xfrm>
              <a:custGeom>
                <a:avLst/>
                <a:gdLst>
                  <a:gd name="T0" fmla="*/ 0 w 1132"/>
                  <a:gd name="T1" fmla="*/ 980 h 980"/>
                  <a:gd name="T2" fmla="*/ 0 w 1132"/>
                  <a:gd name="T3" fmla="*/ 980 h 980"/>
                  <a:gd name="T4" fmla="*/ 566 w 1132"/>
                  <a:gd name="T5" fmla="*/ 0 h 980"/>
                  <a:gd name="T6" fmla="*/ 1132 w 1132"/>
                  <a:gd name="T7" fmla="*/ 980 h 980"/>
                  <a:gd name="T8" fmla="*/ 1132 w 1132"/>
                  <a:gd name="T9" fmla="*/ 980 h 980"/>
                  <a:gd name="T10" fmla="*/ 1132 w 1132"/>
                  <a:gd name="T11" fmla="*/ 980 h 980"/>
                  <a:gd name="T12" fmla="*/ 1132 w 1132"/>
                  <a:gd name="T13" fmla="*/ 980 h 980"/>
                  <a:gd name="T14" fmla="*/ 0 w 1132"/>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980">
                    <a:moveTo>
                      <a:pt x="0" y="980"/>
                    </a:moveTo>
                    <a:lnTo>
                      <a:pt x="0" y="980"/>
                    </a:lnTo>
                    <a:lnTo>
                      <a:pt x="566" y="0"/>
                    </a:lnTo>
                    <a:lnTo>
                      <a:pt x="1132" y="980"/>
                    </a:lnTo>
                    <a:lnTo>
                      <a:pt x="1132" y="980"/>
                    </a:lnTo>
                    <a:lnTo>
                      <a:pt x="1132" y="980"/>
                    </a:lnTo>
                    <a:lnTo>
                      <a:pt x="1132" y="980"/>
                    </a:lnTo>
                    <a:lnTo>
                      <a:pt x="0" y="98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04" name="Freeform 328"/>
              <p:cNvSpPr>
                <a:spLocks/>
              </p:cNvSpPr>
              <p:nvPr/>
            </p:nvSpPr>
            <p:spPr bwMode="auto">
              <a:xfrm>
                <a:off x="-11814175" y="-3140076"/>
                <a:ext cx="1857375" cy="2711450"/>
              </a:xfrm>
              <a:custGeom>
                <a:avLst/>
                <a:gdLst>
                  <a:gd name="T0" fmla="*/ 605 w 1170"/>
                  <a:gd name="T1" fmla="*/ 1708 h 1708"/>
                  <a:gd name="T2" fmla="*/ 605 w 1170"/>
                  <a:gd name="T3" fmla="*/ 1708 h 1708"/>
                  <a:gd name="T4" fmla="*/ 605 w 1170"/>
                  <a:gd name="T5" fmla="*/ 1708 h 1708"/>
                  <a:gd name="T6" fmla="*/ 163 w 1170"/>
                  <a:gd name="T7" fmla="*/ 461 h 1708"/>
                  <a:gd name="T8" fmla="*/ 0 w 1170"/>
                  <a:gd name="T9" fmla="*/ 0 h 1708"/>
                  <a:gd name="T10" fmla="*/ 0 w 1170"/>
                  <a:gd name="T11" fmla="*/ 0 h 1708"/>
                  <a:gd name="T12" fmla="*/ 1170 w 1170"/>
                  <a:gd name="T13" fmla="*/ 728 h 1708"/>
                  <a:gd name="T14" fmla="*/ 1170 w 1170"/>
                  <a:gd name="T15" fmla="*/ 728 h 1708"/>
                  <a:gd name="T16" fmla="*/ 1170 w 1170"/>
                  <a:gd name="T17" fmla="*/ 728 h 1708"/>
                  <a:gd name="T18" fmla="*/ 1170 w 1170"/>
                  <a:gd name="T19" fmla="*/ 728 h 1708"/>
                  <a:gd name="T20" fmla="*/ 1170 w 1170"/>
                  <a:gd name="T21" fmla="*/ 728 h 1708"/>
                  <a:gd name="T22" fmla="*/ 1170 w 1170"/>
                  <a:gd name="T23" fmla="*/ 728 h 1708"/>
                  <a:gd name="T24" fmla="*/ 605 w 1170"/>
                  <a:gd name="T25" fmla="*/ 1708 h 1708"/>
                  <a:gd name="T26" fmla="*/ 605 w 1170"/>
                  <a:gd name="T27" fmla="*/ 1708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0" h="1708">
                    <a:moveTo>
                      <a:pt x="605" y="1708"/>
                    </a:moveTo>
                    <a:lnTo>
                      <a:pt x="605" y="1708"/>
                    </a:lnTo>
                    <a:lnTo>
                      <a:pt x="605" y="1708"/>
                    </a:lnTo>
                    <a:lnTo>
                      <a:pt x="163" y="461"/>
                    </a:lnTo>
                    <a:lnTo>
                      <a:pt x="0" y="0"/>
                    </a:lnTo>
                    <a:lnTo>
                      <a:pt x="0" y="0"/>
                    </a:lnTo>
                    <a:lnTo>
                      <a:pt x="1170" y="728"/>
                    </a:lnTo>
                    <a:lnTo>
                      <a:pt x="1170" y="728"/>
                    </a:lnTo>
                    <a:lnTo>
                      <a:pt x="1170" y="728"/>
                    </a:lnTo>
                    <a:lnTo>
                      <a:pt x="1170" y="728"/>
                    </a:lnTo>
                    <a:lnTo>
                      <a:pt x="1170" y="728"/>
                    </a:lnTo>
                    <a:lnTo>
                      <a:pt x="1170" y="728"/>
                    </a:lnTo>
                    <a:lnTo>
                      <a:pt x="605" y="1708"/>
                    </a:lnTo>
                    <a:lnTo>
                      <a:pt x="605" y="1708"/>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05" name="Freeform 329"/>
              <p:cNvSpPr>
                <a:spLocks/>
              </p:cNvSpPr>
              <p:nvPr/>
            </p:nvSpPr>
            <p:spPr bwMode="auto">
              <a:xfrm>
                <a:off x="-12625388" y="3949700"/>
                <a:ext cx="446088" cy="647700"/>
              </a:xfrm>
              <a:custGeom>
                <a:avLst/>
                <a:gdLst>
                  <a:gd name="T0" fmla="*/ 281 w 281"/>
                  <a:gd name="T1" fmla="*/ 408 h 408"/>
                  <a:gd name="T2" fmla="*/ 0 w 281"/>
                  <a:gd name="T3" fmla="*/ 334 h 408"/>
                  <a:gd name="T4" fmla="*/ 0 w 281"/>
                  <a:gd name="T5" fmla="*/ 0 h 408"/>
                  <a:gd name="T6" fmla="*/ 281 w 281"/>
                  <a:gd name="T7" fmla="*/ 408 h 408"/>
                </a:gdLst>
                <a:ahLst/>
                <a:cxnLst>
                  <a:cxn ang="0">
                    <a:pos x="T0" y="T1"/>
                  </a:cxn>
                  <a:cxn ang="0">
                    <a:pos x="T2" y="T3"/>
                  </a:cxn>
                  <a:cxn ang="0">
                    <a:pos x="T4" y="T5"/>
                  </a:cxn>
                  <a:cxn ang="0">
                    <a:pos x="T6" y="T7"/>
                  </a:cxn>
                </a:cxnLst>
                <a:rect l="0" t="0" r="r" b="b"/>
                <a:pathLst>
                  <a:path w="281" h="408">
                    <a:moveTo>
                      <a:pt x="281" y="408"/>
                    </a:moveTo>
                    <a:lnTo>
                      <a:pt x="0" y="334"/>
                    </a:lnTo>
                    <a:lnTo>
                      <a:pt x="0" y="0"/>
                    </a:lnTo>
                    <a:lnTo>
                      <a:pt x="281" y="408"/>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06" name="Freeform 330"/>
              <p:cNvSpPr>
                <a:spLocks/>
              </p:cNvSpPr>
              <p:nvPr/>
            </p:nvSpPr>
            <p:spPr bwMode="auto">
              <a:xfrm>
                <a:off x="-12625388" y="1152525"/>
                <a:ext cx="844550" cy="811213"/>
              </a:xfrm>
              <a:custGeom>
                <a:avLst/>
                <a:gdLst>
                  <a:gd name="T0" fmla="*/ 0 w 532"/>
                  <a:gd name="T1" fmla="*/ 511 h 511"/>
                  <a:gd name="T2" fmla="*/ 0 w 532"/>
                  <a:gd name="T3" fmla="*/ 511 h 511"/>
                  <a:gd name="T4" fmla="*/ 532 w 532"/>
                  <a:gd name="T5" fmla="*/ 0 h 511"/>
                  <a:gd name="T6" fmla="*/ 0 w 532"/>
                  <a:gd name="T7" fmla="*/ 511 h 511"/>
                </a:gdLst>
                <a:ahLst/>
                <a:cxnLst>
                  <a:cxn ang="0">
                    <a:pos x="T0" y="T1"/>
                  </a:cxn>
                  <a:cxn ang="0">
                    <a:pos x="T2" y="T3"/>
                  </a:cxn>
                  <a:cxn ang="0">
                    <a:pos x="T4" y="T5"/>
                  </a:cxn>
                  <a:cxn ang="0">
                    <a:pos x="T6" y="T7"/>
                  </a:cxn>
                </a:cxnLst>
                <a:rect l="0" t="0" r="r" b="b"/>
                <a:pathLst>
                  <a:path w="532" h="511">
                    <a:moveTo>
                      <a:pt x="0" y="511"/>
                    </a:moveTo>
                    <a:lnTo>
                      <a:pt x="0" y="511"/>
                    </a:lnTo>
                    <a:lnTo>
                      <a:pt x="532" y="0"/>
                    </a:lnTo>
                    <a:lnTo>
                      <a:pt x="0" y="51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07" name="Freeform 331"/>
              <p:cNvSpPr>
                <a:spLocks noEditPoints="1"/>
              </p:cNvSpPr>
              <p:nvPr/>
            </p:nvSpPr>
            <p:spPr bwMode="auto">
              <a:xfrm>
                <a:off x="-12625388" y="2682875"/>
                <a:ext cx="1771650" cy="1914525"/>
              </a:xfrm>
              <a:custGeom>
                <a:avLst/>
                <a:gdLst>
                  <a:gd name="T0" fmla="*/ 586 w 2324"/>
                  <a:gd name="T1" fmla="*/ 2514 h 2514"/>
                  <a:gd name="T2" fmla="*/ 586 w 2324"/>
                  <a:gd name="T3" fmla="*/ 2514 h 2514"/>
                  <a:gd name="T4" fmla="*/ 0 w 2324"/>
                  <a:gd name="T5" fmla="*/ 1664 h 2514"/>
                  <a:gd name="T6" fmla="*/ 0 w 2324"/>
                  <a:gd name="T7" fmla="*/ 64 h 2514"/>
                  <a:gd name="T8" fmla="*/ 2324 w 2324"/>
                  <a:gd name="T9" fmla="*/ 0 h 2514"/>
                  <a:gd name="T10" fmla="*/ 1542 w 2324"/>
                  <a:gd name="T11" fmla="*/ 1131 h 2514"/>
                  <a:gd name="T12" fmla="*/ 586 w 2324"/>
                  <a:gd name="T13" fmla="*/ 2514 h 2514"/>
                  <a:gd name="T14" fmla="*/ 2324 w 2324"/>
                  <a:gd name="T15" fmla="*/ 0 h 2514"/>
                  <a:gd name="T16" fmla="*/ 2324 w 2324"/>
                  <a:gd name="T17" fmla="*/ 0 h 2514"/>
                  <a:gd name="T18" fmla="*/ 2324 w 2324"/>
                  <a:gd name="T19"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4" h="2514">
                    <a:moveTo>
                      <a:pt x="586" y="2514"/>
                    </a:moveTo>
                    <a:lnTo>
                      <a:pt x="586" y="2514"/>
                    </a:lnTo>
                    <a:lnTo>
                      <a:pt x="0" y="1664"/>
                    </a:lnTo>
                    <a:lnTo>
                      <a:pt x="0" y="64"/>
                    </a:lnTo>
                    <a:lnTo>
                      <a:pt x="2324" y="0"/>
                    </a:lnTo>
                    <a:lnTo>
                      <a:pt x="1542" y="1131"/>
                    </a:lnTo>
                    <a:lnTo>
                      <a:pt x="586" y="2514"/>
                    </a:lnTo>
                    <a:moveTo>
                      <a:pt x="2324" y="0"/>
                    </a:moveTo>
                    <a:lnTo>
                      <a:pt x="2324" y="0"/>
                    </a:lnTo>
                    <a:lnTo>
                      <a:pt x="2324"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08" name="Freeform 332"/>
              <p:cNvSpPr>
                <a:spLocks/>
              </p:cNvSpPr>
              <p:nvPr/>
            </p:nvSpPr>
            <p:spPr bwMode="auto">
              <a:xfrm>
                <a:off x="-12625388" y="1125537"/>
                <a:ext cx="1771650" cy="1604963"/>
              </a:xfrm>
              <a:custGeom>
                <a:avLst/>
                <a:gdLst>
                  <a:gd name="T0" fmla="*/ 0 w 1116"/>
                  <a:gd name="T1" fmla="*/ 1011 h 1011"/>
                  <a:gd name="T2" fmla="*/ 0 w 1116"/>
                  <a:gd name="T3" fmla="*/ 528 h 1011"/>
                  <a:gd name="T4" fmla="*/ 532 w 1116"/>
                  <a:gd name="T5" fmla="*/ 17 h 1011"/>
                  <a:gd name="T6" fmla="*/ 550 w 1116"/>
                  <a:gd name="T7" fmla="*/ 0 h 1011"/>
                  <a:gd name="T8" fmla="*/ 532 w 1116"/>
                  <a:gd name="T9" fmla="*/ 17 h 1011"/>
                  <a:gd name="T10" fmla="*/ 550 w 1116"/>
                  <a:gd name="T11" fmla="*/ 0 h 1011"/>
                  <a:gd name="T12" fmla="*/ 550 w 1116"/>
                  <a:gd name="T13" fmla="*/ 0 h 1011"/>
                  <a:gd name="T14" fmla="*/ 550 w 1116"/>
                  <a:gd name="T15" fmla="*/ 0 h 1011"/>
                  <a:gd name="T16" fmla="*/ 1116 w 1116"/>
                  <a:gd name="T17" fmla="*/ 981 h 1011"/>
                  <a:gd name="T18" fmla="*/ 0 w 1116"/>
                  <a:gd name="T19" fmla="*/ 1011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6" h="1011">
                    <a:moveTo>
                      <a:pt x="0" y="1011"/>
                    </a:moveTo>
                    <a:lnTo>
                      <a:pt x="0" y="528"/>
                    </a:lnTo>
                    <a:lnTo>
                      <a:pt x="532" y="17"/>
                    </a:lnTo>
                    <a:lnTo>
                      <a:pt x="550" y="0"/>
                    </a:lnTo>
                    <a:lnTo>
                      <a:pt x="532" y="17"/>
                    </a:lnTo>
                    <a:lnTo>
                      <a:pt x="550" y="0"/>
                    </a:lnTo>
                    <a:lnTo>
                      <a:pt x="550" y="0"/>
                    </a:lnTo>
                    <a:lnTo>
                      <a:pt x="550" y="0"/>
                    </a:lnTo>
                    <a:lnTo>
                      <a:pt x="1116" y="981"/>
                    </a:lnTo>
                    <a:lnTo>
                      <a:pt x="0" y="101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09" name="Freeform 333"/>
              <p:cNvSpPr>
                <a:spLocks/>
              </p:cNvSpPr>
              <p:nvPr/>
            </p:nvSpPr>
            <p:spPr bwMode="auto">
              <a:xfrm>
                <a:off x="-11780838" y="1125537"/>
                <a:ext cx="28575" cy="26988"/>
              </a:xfrm>
              <a:custGeom>
                <a:avLst/>
                <a:gdLst>
                  <a:gd name="T0" fmla="*/ 0 w 18"/>
                  <a:gd name="T1" fmla="*/ 17 h 17"/>
                  <a:gd name="T2" fmla="*/ 0 w 18"/>
                  <a:gd name="T3" fmla="*/ 17 h 17"/>
                  <a:gd name="T4" fmla="*/ 18 w 18"/>
                  <a:gd name="T5" fmla="*/ 0 h 17"/>
                  <a:gd name="T6" fmla="*/ 0 w 18"/>
                  <a:gd name="T7" fmla="*/ 17 h 17"/>
                </a:gdLst>
                <a:ahLst/>
                <a:cxnLst>
                  <a:cxn ang="0">
                    <a:pos x="T0" y="T1"/>
                  </a:cxn>
                  <a:cxn ang="0">
                    <a:pos x="T2" y="T3"/>
                  </a:cxn>
                  <a:cxn ang="0">
                    <a:pos x="T4" y="T5"/>
                  </a:cxn>
                  <a:cxn ang="0">
                    <a:pos x="T6" y="T7"/>
                  </a:cxn>
                </a:cxnLst>
                <a:rect l="0" t="0" r="r" b="b"/>
                <a:pathLst>
                  <a:path w="18" h="17">
                    <a:moveTo>
                      <a:pt x="0" y="17"/>
                    </a:moveTo>
                    <a:lnTo>
                      <a:pt x="0" y="17"/>
                    </a:lnTo>
                    <a:lnTo>
                      <a:pt x="18" y="0"/>
                    </a:lnTo>
                    <a:lnTo>
                      <a:pt x="0" y="1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10" name="Freeform 334"/>
              <p:cNvSpPr>
                <a:spLocks noEditPoints="1"/>
              </p:cNvSpPr>
              <p:nvPr/>
            </p:nvSpPr>
            <p:spPr bwMode="auto">
              <a:xfrm>
                <a:off x="-10853738" y="1454150"/>
                <a:ext cx="1365250" cy="1757363"/>
              </a:xfrm>
              <a:custGeom>
                <a:avLst/>
                <a:gdLst>
                  <a:gd name="T0" fmla="*/ 1792 w 1792"/>
                  <a:gd name="T1" fmla="*/ 2307 h 2307"/>
                  <a:gd name="T2" fmla="*/ 0 w 1792"/>
                  <a:gd name="T3" fmla="*/ 1612 h 2307"/>
                  <a:gd name="T4" fmla="*/ 0 w 1792"/>
                  <a:gd name="T5" fmla="*/ 1612 h 2307"/>
                  <a:gd name="T6" fmla="*/ 0 w 1792"/>
                  <a:gd name="T7" fmla="*/ 1612 h 2307"/>
                  <a:gd name="T8" fmla="*/ 233 w 1792"/>
                  <a:gd name="T9" fmla="*/ 0 h 2307"/>
                  <a:gd name="T10" fmla="*/ 790 w 1792"/>
                  <a:gd name="T11" fmla="*/ 824 h 2307"/>
                  <a:gd name="T12" fmla="*/ 1792 w 1792"/>
                  <a:gd name="T13" fmla="*/ 2307 h 2307"/>
                  <a:gd name="T14" fmla="*/ 233 w 1792"/>
                  <a:gd name="T15" fmla="*/ 0 h 2307"/>
                  <a:gd name="T16" fmla="*/ 233 w 1792"/>
                  <a:gd name="T17" fmla="*/ 0 h 2307"/>
                  <a:gd name="T18" fmla="*/ 233 w 1792"/>
                  <a:gd name="T19" fmla="*/ 0 h 2307"/>
                  <a:gd name="T20" fmla="*/ 233 w 1792"/>
                  <a:gd name="T21" fmla="*/ 0 h 2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2" h="2307">
                    <a:moveTo>
                      <a:pt x="1792" y="2307"/>
                    </a:moveTo>
                    <a:lnTo>
                      <a:pt x="0" y="1612"/>
                    </a:lnTo>
                    <a:lnTo>
                      <a:pt x="0" y="1612"/>
                    </a:lnTo>
                    <a:lnTo>
                      <a:pt x="0" y="1612"/>
                    </a:lnTo>
                    <a:lnTo>
                      <a:pt x="233" y="0"/>
                    </a:lnTo>
                    <a:lnTo>
                      <a:pt x="790" y="824"/>
                    </a:lnTo>
                    <a:lnTo>
                      <a:pt x="1792" y="2307"/>
                    </a:lnTo>
                    <a:moveTo>
                      <a:pt x="233" y="0"/>
                    </a:moveTo>
                    <a:lnTo>
                      <a:pt x="233" y="0"/>
                    </a:lnTo>
                    <a:lnTo>
                      <a:pt x="233" y="0"/>
                    </a:lnTo>
                    <a:lnTo>
                      <a:pt x="233"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11" name="Freeform 335"/>
              <p:cNvSpPr>
                <a:spLocks/>
              </p:cNvSpPr>
              <p:nvPr/>
            </p:nvSpPr>
            <p:spPr bwMode="auto">
              <a:xfrm>
                <a:off x="-10853738" y="-979488"/>
                <a:ext cx="1397000" cy="2433638"/>
              </a:xfrm>
              <a:custGeom>
                <a:avLst/>
                <a:gdLst>
                  <a:gd name="T0" fmla="*/ 111 w 880"/>
                  <a:gd name="T1" fmla="*/ 1533 h 1533"/>
                  <a:gd name="T2" fmla="*/ 111 w 880"/>
                  <a:gd name="T3" fmla="*/ 1533 h 1533"/>
                  <a:gd name="T4" fmla="*/ 0 w 880"/>
                  <a:gd name="T5" fmla="*/ 347 h 1533"/>
                  <a:gd name="T6" fmla="*/ 0 w 880"/>
                  <a:gd name="T7" fmla="*/ 347 h 1533"/>
                  <a:gd name="T8" fmla="*/ 0 w 880"/>
                  <a:gd name="T9" fmla="*/ 347 h 1533"/>
                  <a:gd name="T10" fmla="*/ 880 w 880"/>
                  <a:gd name="T11" fmla="*/ 0 h 1533"/>
                  <a:gd name="T12" fmla="*/ 111 w 880"/>
                  <a:gd name="T13" fmla="*/ 1533 h 1533"/>
                </a:gdLst>
                <a:ahLst/>
                <a:cxnLst>
                  <a:cxn ang="0">
                    <a:pos x="T0" y="T1"/>
                  </a:cxn>
                  <a:cxn ang="0">
                    <a:pos x="T2" y="T3"/>
                  </a:cxn>
                  <a:cxn ang="0">
                    <a:pos x="T4" y="T5"/>
                  </a:cxn>
                  <a:cxn ang="0">
                    <a:pos x="T6" y="T7"/>
                  </a:cxn>
                  <a:cxn ang="0">
                    <a:pos x="T8" y="T9"/>
                  </a:cxn>
                  <a:cxn ang="0">
                    <a:pos x="T10" y="T11"/>
                  </a:cxn>
                  <a:cxn ang="0">
                    <a:pos x="T12" y="T13"/>
                  </a:cxn>
                </a:cxnLst>
                <a:rect l="0" t="0" r="r" b="b"/>
                <a:pathLst>
                  <a:path w="880" h="1533">
                    <a:moveTo>
                      <a:pt x="111" y="1533"/>
                    </a:moveTo>
                    <a:lnTo>
                      <a:pt x="111" y="1533"/>
                    </a:lnTo>
                    <a:lnTo>
                      <a:pt x="0" y="347"/>
                    </a:lnTo>
                    <a:lnTo>
                      <a:pt x="0" y="347"/>
                    </a:lnTo>
                    <a:lnTo>
                      <a:pt x="0" y="347"/>
                    </a:lnTo>
                    <a:lnTo>
                      <a:pt x="880" y="0"/>
                    </a:lnTo>
                    <a:lnTo>
                      <a:pt x="111" y="15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12" name="Freeform 336"/>
              <p:cNvSpPr>
                <a:spLocks/>
              </p:cNvSpPr>
              <p:nvPr/>
            </p:nvSpPr>
            <p:spPr bwMode="auto">
              <a:xfrm>
                <a:off x="-10677525" y="1125537"/>
                <a:ext cx="2517775" cy="2085975"/>
              </a:xfrm>
              <a:custGeom>
                <a:avLst/>
                <a:gdLst>
                  <a:gd name="T0" fmla="*/ 749 w 1586"/>
                  <a:gd name="T1" fmla="*/ 1314 h 1314"/>
                  <a:gd name="T2" fmla="*/ 268 w 1586"/>
                  <a:gd name="T3" fmla="*/ 602 h 1314"/>
                  <a:gd name="T4" fmla="*/ 0 w 1586"/>
                  <a:gd name="T5" fmla="*/ 207 h 1314"/>
                  <a:gd name="T6" fmla="*/ 0 w 1586"/>
                  <a:gd name="T7" fmla="*/ 207 h 1314"/>
                  <a:gd name="T8" fmla="*/ 0 w 1586"/>
                  <a:gd name="T9" fmla="*/ 207 h 1314"/>
                  <a:gd name="T10" fmla="*/ 0 w 1586"/>
                  <a:gd name="T11" fmla="*/ 207 h 1314"/>
                  <a:gd name="T12" fmla="*/ 169 w 1586"/>
                  <a:gd name="T13" fmla="*/ 185 h 1314"/>
                  <a:gd name="T14" fmla="*/ 1586 w 1586"/>
                  <a:gd name="T15" fmla="*/ 0 h 1314"/>
                  <a:gd name="T16" fmla="*/ 749 w 1586"/>
                  <a:gd name="T17" fmla="*/ 1314 h 1314"/>
                  <a:gd name="T18" fmla="*/ 749 w 1586"/>
                  <a:gd name="T19" fmla="*/ 1314 h 1314"/>
                  <a:gd name="T20" fmla="*/ 749 w 1586"/>
                  <a:gd name="T21" fmla="*/ 1314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6" h="1314">
                    <a:moveTo>
                      <a:pt x="749" y="1314"/>
                    </a:moveTo>
                    <a:lnTo>
                      <a:pt x="268" y="602"/>
                    </a:lnTo>
                    <a:lnTo>
                      <a:pt x="0" y="207"/>
                    </a:lnTo>
                    <a:lnTo>
                      <a:pt x="0" y="207"/>
                    </a:lnTo>
                    <a:lnTo>
                      <a:pt x="0" y="207"/>
                    </a:lnTo>
                    <a:lnTo>
                      <a:pt x="0" y="207"/>
                    </a:lnTo>
                    <a:lnTo>
                      <a:pt x="169" y="185"/>
                    </a:lnTo>
                    <a:lnTo>
                      <a:pt x="1586" y="0"/>
                    </a:lnTo>
                    <a:lnTo>
                      <a:pt x="749" y="1314"/>
                    </a:lnTo>
                    <a:lnTo>
                      <a:pt x="749" y="1314"/>
                    </a:lnTo>
                    <a:lnTo>
                      <a:pt x="749" y="1314"/>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13" name="Freeform 337"/>
              <p:cNvSpPr>
                <a:spLocks/>
              </p:cNvSpPr>
              <p:nvPr/>
            </p:nvSpPr>
            <p:spPr bwMode="auto">
              <a:xfrm>
                <a:off x="-10677525" y="1454150"/>
                <a:ext cx="425450" cy="627063"/>
              </a:xfrm>
              <a:custGeom>
                <a:avLst/>
                <a:gdLst>
                  <a:gd name="T0" fmla="*/ 268 w 268"/>
                  <a:gd name="T1" fmla="*/ 395 h 395"/>
                  <a:gd name="T2" fmla="*/ 0 w 268"/>
                  <a:gd name="T3" fmla="*/ 0 h 395"/>
                  <a:gd name="T4" fmla="*/ 0 w 268"/>
                  <a:gd name="T5" fmla="*/ 0 h 395"/>
                  <a:gd name="T6" fmla="*/ 268 w 268"/>
                  <a:gd name="T7" fmla="*/ 395 h 395"/>
                </a:gdLst>
                <a:ahLst/>
                <a:cxnLst>
                  <a:cxn ang="0">
                    <a:pos x="T0" y="T1"/>
                  </a:cxn>
                  <a:cxn ang="0">
                    <a:pos x="T2" y="T3"/>
                  </a:cxn>
                  <a:cxn ang="0">
                    <a:pos x="T4" y="T5"/>
                  </a:cxn>
                  <a:cxn ang="0">
                    <a:pos x="T6" y="T7"/>
                  </a:cxn>
                </a:cxnLst>
                <a:rect l="0" t="0" r="r" b="b"/>
                <a:pathLst>
                  <a:path w="268" h="395">
                    <a:moveTo>
                      <a:pt x="268" y="395"/>
                    </a:moveTo>
                    <a:lnTo>
                      <a:pt x="0" y="0"/>
                    </a:lnTo>
                    <a:lnTo>
                      <a:pt x="0" y="0"/>
                    </a:lnTo>
                    <a:lnTo>
                      <a:pt x="268" y="39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14" name="Freeform 338"/>
              <p:cNvSpPr>
                <a:spLocks/>
              </p:cNvSpPr>
              <p:nvPr/>
            </p:nvSpPr>
            <p:spPr bwMode="auto">
              <a:xfrm>
                <a:off x="-11752263" y="-428626"/>
                <a:ext cx="1074738" cy="1882775"/>
              </a:xfrm>
              <a:custGeom>
                <a:avLst/>
                <a:gdLst>
                  <a:gd name="T0" fmla="*/ 677 w 677"/>
                  <a:gd name="T1" fmla="*/ 1186 h 1186"/>
                  <a:gd name="T2" fmla="*/ 0 w 677"/>
                  <a:gd name="T3" fmla="*/ 979 h 1186"/>
                  <a:gd name="T4" fmla="*/ 452 w 677"/>
                  <a:gd name="T5" fmla="*/ 196 h 1186"/>
                  <a:gd name="T6" fmla="*/ 566 w 677"/>
                  <a:gd name="T7" fmla="*/ 0 h 1186"/>
                  <a:gd name="T8" fmla="*/ 677 w 677"/>
                  <a:gd name="T9" fmla="*/ 1186 h 1186"/>
                  <a:gd name="T10" fmla="*/ 677 w 677"/>
                  <a:gd name="T11" fmla="*/ 1186 h 1186"/>
                </a:gdLst>
                <a:ahLst/>
                <a:cxnLst>
                  <a:cxn ang="0">
                    <a:pos x="T0" y="T1"/>
                  </a:cxn>
                  <a:cxn ang="0">
                    <a:pos x="T2" y="T3"/>
                  </a:cxn>
                  <a:cxn ang="0">
                    <a:pos x="T4" y="T5"/>
                  </a:cxn>
                  <a:cxn ang="0">
                    <a:pos x="T6" y="T7"/>
                  </a:cxn>
                  <a:cxn ang="0">
                    <a:pos x="T8" y="T9"/>
                  </a:cxn>
                  <a:cxn ang="0">
                    <a:pos x="T10" y="T11"/>
                  </a:cxn>
                </a:cxnLst>
                <a:rect l="0" t="0" r="r" b="b"/>
                <a:pathLst>
                  <a:path w="677" h="1186">
                    <a:moveTo>
                      <a:pt x="677" y="1186"/>
                    </a:moveTo>
                    <a:lnTo>
                      <a:pt x="0" y="979"/>
                    </a:lnTo>
                    <a:lnTo>
                      <a:pt x="452" y="196"/>
                    </a:lnTo>
                    <a:lnTo>
                      <a:pt x="566" y="0"/>
                    </a:lnTo>
                    <a:lnTo>
                      <a:pt x="677" y="1186"/>
                    </a:lnTo>
                    <a:lnTo>
                      <a:pt x="677" y="118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15" name="Rectangle 339"/>
              <p:cNvSpPr>
                <a:spLocks noChangeArrowheads="1"/>
              </p:cNvSpPr>
              <p:nvPr/>
            </p:nvSpPr>
            <p:spPr bwMode="auto">
              <a:xfrm>
                <a:off x="-10677525" y="1454150"/>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16" name="Rectangle 340"/>
              <p:cNvSpPr>
                <a:spLocks noChangeArrowheads="1"/>
              </p:cNvSpPr>
              <p:nvPr/>
            </p:nvSpPr>
            <p:spPr bwMode="auto">
              <a:xfrm>
                <a:off x="-11752263" y="1125537"/>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17" name="Freeform 341"/>
              <p:cNvSpPr>
                <a:spLocks/>
              </p:cNvSpPr>
              <p:nvPr/>
            </p:nvSpPr>
            <p:spPr bwMode="auto">
              <a:xfrm>
                <a:off x="-10677525" y="-979488"/>
                <a:ext cx="2517775" cy="2433638"/>
              </a:xfrm>
              <a:custGeom>
                <a:avLst/>
                <a:gdLst>
                  <a:gd name="T0" fmla="*/ 0 w 1586"/>
                  <a:gd name="T1" fmla="*/ 1533 h 1533"/>
                  <a:gd name="T2" fmla="*/ 769 w 1586"/>
                  <a:gd name="T3" fmla="*/ 0 h 1533"/>
                  <a:gd name="T4" fmla="*/ 1586 w 1586"/>
                  <a:gd name="T5" fmla="*/ 1326 h 1533"/>
                  <a:gd name="T6" fmla="*/ 1586 w 1586"/>
                  <a:gd name="T7" fmla="*/ 1326 h 1533"/>
                  <a:gd name="T8" fmla="*/ 1586 w 1586"/>
                  <a:gd name="T9" fmla="*/ 1326 h 1533"/>
                  <a:gd name="T10" fmla="*/ 1586 w 1586"/>
                  <a:gd name="T11" fmla="*/ 1326 h 1533"/>
                  <a:gd name="T12" fmla="*/ 169 w 1586"/>
                  <a:gd name="T13" fmla="*/ 1511 h 1533"/>
                  <a:gd name="T14" fmla="*/ 0 w 1586"/>
                  <a:gd name="T15" fmla="*/ 1533 h 15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6" h="1533">
                    <a:moveTo>
                      <a:pt x="0" y="1533"/>
                    </a:moveTo>
                    <a:lnTo>
                      <a:pt x="769" y="0"/>
                    </a:lnTo>
                    <a:lnTo>
                      <a:pt x="1586" y="1326"/>
                    </a:lnTo>
                    <a:lnTo>
                      <a:pt x="1586" y="1326"/>
                    </a:lnTo>
                    <a:lnTo>
                      <a:pt x="1586" y="1326"/>
                    </a:lnTo>
                    <a:lnTo>
                      <a:pt x="1586" y="1326"/>
                    </a:lnTo>
                    <a:lnTo>
                      <a:pt x="169" y="1511"/>
                    </a:lnTo>
                    <a:lnTo>
                      <a:pt x="0" y="1533"/>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18" name="Freeform 342"/>
              <p:cNvSpPr>
                <a:spLocks noEditPoints="1"/>
              </p:cNvSpPr>
              <p:nvPr/>
            </p:nvSpPr>
            <p:spPr bwMode="auto">
              <a:xfrm>
                <a:off x="-11752263" y="1125537"/>
                <a:ext cx="1074738" cy="1557338"/>
              </a:xfrm>
              <a:custGeom>
                <a:avLst/>
                <a:gdLst>
                  <a:gd name="T0" fmla="*/ 1179 w 1412"/>
                  <a:gd name="T1" fmla="*/ 2042 h 2042"/>
                  <a:gd name="T2" fmla="*/ 0 w 1412"/>
                  <a:gd name="T3" fmla="*/ 0 h 2042"/>
                  <a:gd name="T4" fmla="*/ 1412 w 1412"/>
                  <a:gd name="T5" fmla="*/ 430 h 2042"/>
                  <a:gd name="T6" fmla="*/ 1179 w 1412"/>
                  <a:gd name="T7" fmla="*/ 2042 h 2042"/>
                  <a:gd name="T8" fmla="*/ 1412 w 1412"/>
                  <a:gd name="T9" fmla="*/ 430 h 2042"/>
                  <a:gd name="T10" fmla="*/ 1412 w 1412"/>
                  <a:gd name="T11" fmla="*/ 430 h 2042"/>
                  <a:gd name="T12" fmla="*/ 1412 w 1412"/>
                  <a:gd name="T13" fmla="*/ 430 h 2042"/>
                  <a:gd name="T14" fmla="*/ 1412 w 1412"/>
                  <a:gd name="T15" fmla="*/ 430 h 20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2042">
                    <a:moveTo>
                      <a:pt x="1179" y="2042"/>
                    </a:moveTo>
                    <a:lnTo>
                      <a:pt x="0" y="0"/>
                    </a:lnTo>
                    <a:lnTo>
                      <a:pt x="1412" y="430"/>
                    </a:lnTo>
                    <a:lnTo>
                      <a:pt x="1179" y="2042"/>
                    </a:lnTo>
                    <a:moveTo>
                      <a:pt x="1412" y="430"/>
                    </a:moveTo>
                    <a:lnTo>
                      <a:pt x="1412" y="430"/>
                    </a:lnTo>
                    <a:lnTo>
                      <a:pt x="1412" y="430"/>
                    </a:lnTo>
                    <a:lnTo>
                      <a:pt x="1412" y="430"/>
                    </a:lnTo>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19" name="Freeform 343"/>
              <p:cNvSpPr>
                <a:spLocks/>
              </p:cNvSpPr>
              <p:nvPr/>
            </p:nvSpPr>
            <p:spPr bwMode="auto">
              <a:xfrm>
                <a:off x="-10853738" y="1454150"/>
                <a:ext cx="176213" cy="1228725"/>
              </a:xfrm>
              <a:custGeom>
                <a:avLst/>
                <a:gdLst>
                  <a:gd name="T0" fmla="*/ 0 w 111"/>
                  <a:gd name="T1" fmla="*/ 774 h 774"/>
                  <a:gd name="T2" fmla="*/ 0 w 111"/>
                  <a:gd name="T3" fmla="*/ 774 h 774"/>
                  <a:gd name="T4" fmla="*/ 111 w 111"/>
                  <a:gd name="T5" fmla="*/ 0 h 774"/>
                  <a:gd name="T6" fmla="*/ 111 w 111"/>
                  <a:gd name="T7" fmla="*/ 0 h 774"/>
                  <a:gd name="T8" fmla="*/ 111 w 111"/>
                  <a:gd name="T9" fmla="*/ 0 h 774"/>
                  <a:gd name="T10" fmla="*/ 111 w 111"/>
                  <a:gd name="T11" fmla="*/ 0 h 774"/>
                  <a:gd name="T12" fmla="*/ 111 w 111"/>
                  <a:gd name="T13" fmla="*/ 0 h 774"/>
                  <a:gd name="T14" fmla="*/ 111 w 111"/>
                  <a:gd name="T15" fmla="*/ 0 h 774"/>
                  <a:gd name="T16" fmla="*/ 0 w 111"/>
                  <a:gd name="T17" fmla="*/ 77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74">
                    <a:moveTo>
                      <a:pt x="0" y="774"/>
                    </a:moveTo>
                    <a:lnTo>
                      <a:pt x="0" y="774"/>
                    </a:lnTo>
                    <a:lnTo>
                      <a:pt x="111" y="0"/>
                    </a:lnTo>
                    <a:lnTo>
                      <a:pt x="111" y="0"/>
                    </a:lnTo>
                    <a:lnTo>
                      <a:pt x="111" y="0"/>
                    </a:lnTo>
                    <a:lnTo>
                      <a:pt x="111" y="0"/>
                    </a:lnTo>
                    <a:lnTo>
                      <a:pt x="111" y="0"/>
                    </a:lnTo>
                    <a:lnTo>
                      <a:pt x="111" y="0"/>
                    </a:lnTo>
                    <a:lnTo>
                      <a:pt x="0" y="774"/>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20" name="Rectangle 344"/>
              <p:cNvSpPr>
                <a:spLocks noChangeArrowheads="1"/>
              </p:cNvSpPr>
              <p:nvPr/>
            </p:nvSpPr>
            <p:spPr bwMode="auto">
              <a:xfrm>
                <a:off x="-11752263" y="1125537"/>
                <a:ext cx="1588" cy="1588"/>
              </a:xfrm>
              <a:prstGeom prst="rect">
                <a:avLst/>
              </a:prstGeom>
              <a:solidFill>
                <a:srgbClr val="579ABA"/>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21" name="Rectangle 345"/>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22" name="Rectangle 346"/>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23" name="Freeform 347"/>
              <p:cNvSpPr>
                <a:spLocks/>
              </p:cNvSpPr>
              <p:nvPr/>
            </p:nvSpPr>
            <p:spPr bwMode="auto">
              <a:xfrm>
                <a:off x="-11752263" y="1125537"/>
                <a:ext cx="1074738" cy="328613"/>
              </a:xfrm>
              <a:custGeom>
                <a:avLst/>
                <a:gdLst>
                  <a:gd name="T0" fmla="*/ 677 w 677"/>
                  <a:gd name="T1" fmla="*/ 207 h 207"/>
                  <a:gd name="T2" fmla="*/ 0 w 677"/>
                  <a:gd name="T3" fmla="*/ 0 h 207"/>
                  <a:gd name="T4" fmla="*/ 0 w 677"/>
                  <a:gd name="T5" fmla="*/ 0 h 207"/>
                  <a:gd name="T6" fmla="*/ 0 w 677"/>
                  <a:gd name="T7" fmla="*/ 0 h 207"/>
                  <a:gd name="T8" fmla="*/ 677 w 677"/>
                  <a:gd name="T9" fmla="*/ 207 h 207"/>
                  <a:gd name="T10" fmla="*/ 677 w 677"/>
                  <a:gd name="T11" fmla="*/ 207 h 207"/>
                </a:gdLst>
                <a:ahLst/>
                <a:cxnLst>
                  <a:cxn ang="0">
                    <a:pos x="T0" y="T1"/>
                  </a:cxn>
                  <a:cxn ang="0">
                    <a:pos x="T2" y="T3"/>
                  </a:cxn>
                  <a:cxn ang="0">
                    <a:pos x="T4" y="T5"/>
                  </a:cxn>
                  <a:cxn ang="0">
                    <a:pos x="T6" y="T7"/>
                  </a:cxn>
                  <a:cxn ang="0">
                    <a:pos x="T8" y="T9"/>
                  </a:cxn>
                  <a:cxn ang="0">
                    <a:pos x="T10" y="T11"/>
                  </a:cxn>
                </a:cxnLst>
                <a:rect l="0" t="0" r="r" b="b"/>
                <a:pathLst>
                  <a:path w="677" h="207">
                    <a:moveTo>
                      <a:pt x="677" y="207"/>
                    </a:moveTo>
                    <a:lnTo>
                      <a:pt x="0" y="0"/>
                    </a:lnTo>
                    <a:lnTo>
                      <a:pt x="0" y="0"/>
                    </a:lnTo>
                    <a:lnTo>
                      <a:pt x="0" y="0"/>
                    </a:lnTo>
                    <a:lnTo>
                      <a:pt x="677" y="207"/>
                    </a:lnTo>
                    <a:lnTo>
                      <a:pt x="677" y="20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24" name="Rectangle 348"/>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25" name="Freeform 349"/>
              <p:cNvSpPr>
                <a:spLocks noEditPoints="1"/>
              </p:cNvSpPr>
              <p:nvPr/>
            </p:nvSpPr>
            <p:spPr bwMode="auto">
              <a:xfrm>
                <a:off x="-12625388" y="5602287"/>
                <a:ext cx="571500" cy="1801813"/>
              </a:xfrm>
              <a:custGeom>
                <a:avLst/>
                <a:gdLst>
                  <a:gd name="T0" fmla="*/ 0 w 750"/>
                  <a:gd name="T1" fmla="*/ 2365 h 2365"/>
                  <a:gd name="T2" fmla="*/ 0 w 750"/>
                  <a:gd name="T3" fmla="*/ 921 h 2365"/>
                  <a:gd name="T4" fmla="*/ 750 w 750"/>
                  <a:gd name="T5" fmla="*/ 0 h 2365"/>
                  <a:gd name="T6" fmla="*/ 371 w 750"/>
                  <a:gd name="T7" fmla="*/ 2264 h 2365"/>
                  <a:gd name="T8" fmla="*/ 0 w 750"/>
                  <a:gd name="T9" fmla="*/ 2365 h 2365"/>
                  <a:gd name="T10" fmla="*/ 0 w 750"/>
                  <a:gd name="T11" fmla="*/ 921 h 2365"/>
                  <a:gd name="T12" fmla="*/ 0 w 750"/>
                  <a:gd name="T13" fmla="*/ 921 h 2365"/>
                  <a:gd name="T14" fmla="*/ 750 w 750"/>
                  <a:gd name="T15" fmla="*/ 0 h 2365"/>
                  <a:gd name="T16" fmla="*/ 750 w 750"/>
                  <a:gd name="T17" fmla="*/ 0 h 2365"/>
                  <a:gd name="T18" fmla="*/ 750 w 750"/>
                  <a:gd name="T19" fmla="*/ 0 h 2365"/>
                  <a:gd name="T20" fmla="*/ 0 w 750"/>
                  <a:gd name="T21" fmla="*/ 921 h 2365"/>
                  <a:gd name="T22" fmla="*/ 750 w 750"/>
                  <a:gd name="T23" fmla="*/ 0 h 2365"/>
                  <a:gd name="T24" fmla="*/ 750 w 750"/>
                  <a:gd name="T25" fmla="*/ 0 h 2365"/>
                  <a:gd name="T26" fmla="*/ 750 w 750"/>
                  <a:gd name="T27" fmla="*/ 0 h 2365"/>
                  <a:gd name="T28" fmla="*/ 750 w 750"/>
                  <a:gd name="T29" fmla="*/ 0 h 2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0" h="2365">
                    <a:moveTo>
                      <a:pt x="0" y="2365"/>
                    </a:moveTo>
                    <a:lnTo>
                      <a:pt x="0" y="921"/>
                    </a:lnTo>
                    <a:lnTo>
                      <a:pt x="750" y="0"/>
                    </a:lnTo>
                    <a:lnTo>
                      <a:pt x="371" y="2264"/>
                    </a:lnTo>
                    <a:lnTo>
                      <a:pt x="0" y="2365"/>
                    </a:lnTo>
                    <a:moveTo>
                      <a:pt x="0" y="921"/>
                    </a:moveTo>
                    <a:lnTo>
                      <a:pt x="0" y="921"/>
                    </a:lnTo>
                    <a:lnTo>
                      <a:pt x="750" y="0"/>
                    </a:lnTo>
                    <a:lnTo>
                      <a:pt x="750" y="0"/>
                    </a:lnTo>
                    <a:lnTo>
                      <a:pt x="750" y="0"/>
                    </a:lnTo>
                    <a:lnTo>
                      <a:pt x="0" y="921"/>
                    </a:lnTo>
                    <a:moveTo>
                      <a:pt x="750" y="0"/>
                    </a:moveTo>
                    <a:lnTo>
                      <a:pt x="750" y="0"/>
                    </a:lnTo>
                    <a:lnTo>
                      <a:pt x="750" y="0"/>
                    </a:lnTo>
                    <a:lnTo>
                      <a:pt x="750" y="0"/>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26" name="Freeform 350"/>
              <p:cNvSpPr>
                <a:spLocks/>
              </p:cNvSpPr>
              <p:nvPr/>
            </p:nvSpPr>
            <p:spPr bwMode="auto">
              <a:xfrm>
                <a:off x="-12625388" y="4479925"/>
                <a:ext cx="571500" cy="1122363"/>
              </a:xfrm>
              <a:custGeom>
                <a:avLst/>
                <a:gdLst>
                  <a:gd name="T0" fmla="*/ 360 w 360"/>
                  <a:gd name="T1" fmla="*/ 707 h 707"/>
                  <a:gd name="T2" fmla="*/ 0 w 360"/>
                  <a:gd name="T3" fmla="*/ 379 h 707"/>
                  <a:gd name="T4" fmla="*/ 0 w 360"/>
                  <a:gd name="T5" fmla="*/ 0 h 707"/>
                  <a:gd name="T6" fmla="*/ 281 w 360"/>
                  <a:gd name="T7" fmla="*/ 74 h 707"/>
                  <a:gd name="T8" fmla="*/ 360 w 360"/>
                  <a:gd name="T9" fmla="*/ 707 h 707"/>
                </a:gdLst>
                <a:ahLst/>
                <a:cxnLst>
                  <a:cxn ang="0">
                    <a:pos x="T0" y="T1"/>
                  </a:cxn>
                  <a:cxn ang="0">
                    <a:pos x="T2" y="T3"/>
                  </a:cxn>
                  <a:cxn ang="0">
                    <a:pos x="T4" y="T5"/>
                  </a:cxn>
                  <a:cxn ang="0">
                    <a:pos x="T6" y="T7"/>
                  </a:cxn>
                  <a:cxn ang="0">
                    <a:pos x="T8" y="T9"/>
                  </a:cxn>
                </a:cxnLst>
                <a:rect l="0" t="0" r="r" b="b"/>
                <a:pathLst>
                  <a:path w="360" h="707">
                    <a:moveTo>
                      <a:pt x="360" y="707"/>
                    </a:moveTo>
                    <a:lnTo>
                      <a:pt x="0" y="379"/>
                    </a:lnTo>
                    <a:lnTo>
                      <a:pt x="0" y="0"/>
                    </a:lnTo>
                    <a:lnTo>
                      <a:pt x="281" y="74"/>
                    </a:lnTo>
                    <a:lnTo>
                      <a:pt x="360" y="707"/>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27" name="Freeform 351"/>
              <p:cNvSpPr>
                <a:spLocks noEditPoints="1"/>
              </p:cNvSpPr>
              <p:nvPr/>
            </p:nvSpPr>
            <p:spPr bwMode="auto">
              <a:xfrm>
                <a:off x="-12341225" y="5602287"/>
                <a:ext cx="1487488" cy="1725613"/>
              </a:xfrm>
              <a:custGeom>
                <a:avLst/>
                <a:gdLst>
                  <a:gd name="T0" fmla="*/ 0 w 1952"/>
                  <a:gd name="T1" fmla="*/ 2264 h 2264"/>
                  <a:gd name="T2" fmla="*/ 378 w 1952"/>
                  <a:gd name="T3" fmla="*/ 0 h 2264"/>
                  <a:gd name="T4" fmla="*/ 378 w 1952"/>
                  <a:gd name="T5" fmla="*/ 0 h 2264"/>
                  <a:gd name="T6" fmla="*/ 1952 w 1952"/>
                  <a:gd name="T7" fmla="*/ 251 h 2264"/>
                  <a:gd name="T8" fmla="*/ 1952 w 1952"/>
                  <a:gd name="T9" fmla="*/ 251 h 2264"/>
                  <a:gd name="T10" fmla="*/ 1952 w 1952"/>
                  <a:gd name="T11" fmla="*/ 251 h 2264"/>
                  <a:gd name="T12" fmla="*/ 1952 w 1952"/>
                  <a:gd name="T13" fmla="*/ 251 h 2264"/>
                  <a:gd name="T14" fmla="*/ 780 w 1952"/>
                  <a:gd name="T15" fmla="*/ 1459 h 2264"/>
                  <a:gd name="T16" fmla="*/ 0 w 1952"/>
                  <a:gd name="T17" fmla="*/ 2264 h 2264"/>
                  <a:gd name="T18" fmla="*/ 378 w 1952"/>
                  <a:gd name="T19" fmla="*/ 0 h 2264"/>
                  <a:gd name="T20" fmla="*/ 378 w 1952"/>
                  <a:gd name="T21" fmla="*/ 0 h 2264"/>
                  <a:gd name="T22" fmla="*/ 378 w 1952"/>
                  <a:gd name="T23" fmla="*/ 0 h 2264"/>
                  <a:gd name="T24" fmla="*/ 378 w 1952"/>
                  <a:gd name="T25" fmla="*/ 0 h 2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52" h="2264">
                    <a:moveTo>
                      <a:pt x="0" y="2264"/>
                    </a:moveTo>
                    <a:lnTo>
                      <a:pt x="378" y="0"/>
                    </a:lnTo>
                    <a:lnTo>
                      <a:pt x="378" y="0"/>
                    </a:lnTo>
                    <a:lnTo>
                      <a:pt x="1952" y="251"/>
                    </a:lnTo>
                    <a:lnTo>
                      <a:pt x="1952" y="251"/>
                    </a:lnTo>
                    <a:lnTo>
                      <a:pt x="1952" y="251"/>
                    </a:lnTo>
                    <a:lnTo>
                      <a:pt x="1952" y="251"/>
                    </a:lnTo>
                    <a:lnTo>
                      <a:pt x="780" y="1459"/>
                    </a:lnTo>
                    <a:lnTo>
                      <a:pt x="0" y="2264"/>
                    </a:lnTo>
                    <a:moveTo>
                      <a:pt x="378" y="0"/>
                    </a:moveTo>
                    <a:lnTo>
                      <a:pt x="378" y="0"/>
                    </a:lnTo>
                    <a:lnTo>
                      <a:pt x="378" y="0"/>
                    </a:lnTo>
                    <a:lnTo>
                      <a:pt x="378"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28" name="Freeform 352"/>
              <p:cNvSpPr>
                <a:spLocks noEditPoints="1"/>
              </p:cNvSpPr>
              <p:nvPr/>
            </p:nvSpPr>
            <p:spPr bwMode="auto">
              <a:xfrm>
                <a:off x="-12625388" y="5081587"/>
                <a:ext cx="571500" cy="520700"/>
              </a:xfrm>
              <a:custGeom>
                <a:avLst/>
                <a:gdLst>
                  <a:gd name="T0" fmla="*/ 750 w 750"/>
                  <a:gd name="T1" fmla="*/ 684 h 684"/>
                  <a:gd name="T2" fmla="*/ 750 w 750"/>
                  <a:gd name="T3" fmla="*/ 684 h 684"/>
                  <a:gd name="T4" fmla="*/ 750 w 750"/>
                  <a:gd name="T5" fmla="*/ 684 h 684"/>
                  <a:gd name="T6" fmla="*/ 750 w 750"/>
                  <a:gd name="T7" fmla="*/ 684 h 684"/>
                  <a:gd name="T8" fmla="*/ 750 w 750"/>
                  <a:gd name="T9" fmla="*/ 684 h 684"/>
                  <a:gd name="T10" fmla="*/ 0 w 750"/>
                  <a:gd name="T11" fmla="*/ 0 h 684"/>
                  <a:gd name="T12" fmla="*/ 750 w 750"/>
                  <a:gd name="T13" fmla="*/ 684 h 684"/>
                </a:gdLst>
                <a:ahLst/>
                <a:cxnLst>
                  <a:cxn ang="0">
                    <a:pos x="T0" y="T1"/>
                  </a:cxn>
                  <a:cxn ang="0">
                    <a:pos x="T2" y="T3"/>
                  </a:cxn>
                  <a:cxn ang="0">
                    <a:pos x="T4" y="T5"/>
                  </a:cxn>
                  <a:cxn ang="0">
                    <a:pos x="T6" y="T7"/>
                  </a:cxn>
                  <a:cxn ang="0">
                    <a:pos x="T8" y="T9"/>
                  </a:cxn>
                  <a:cxn ang="0">
                    <a:pos x="T10" y="T11"/>
                  </a:cxn>
                  <a:cxn ang="0">
                    <a:pos x="T12" y="T13"/>
                  </a:cxn>
                </a:cxnLst>
                <a:rect l="0" t="0" r="r" b="b"/>
                <a:pathLst>
                  <a:path w="750" h="684">
                    <a:moveTo>
                      <a:pt x="750" y="684"/>
                    </a:moveTo>
                    <a:lnTo>
                      <a:pt x="750" y="684"/>
                    </a:lnTo>
                    <a:lnTo>
                      <a:pt x="750" y="684"/>
                    </a:lnTo>
                    <a:lnTo>
                      <a:pt x="750" y="684"/>
                    </a:lnTo>
                    <a:moveTo>
                      <a:pt x="750" y="684"/>
                    </a:moveTo>
                    <a:lnTo>
                      <a:pt x="0" y="0"/>
                    </a:lnTo>
                    <a:lnTo>
                      <a:pt x="750" y="684"/>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29" name="Rectangle 353"/>
              <p:cNvSpPr>
                <a:spLocks noChangeArrowheads="1"/>
              </p:cNvSpPr>
              <p:nvPr/>
            </p:nvSpPr>
            <p:spPr bwMode="auto">
              <a:xfrm>
                <a:off x="-12053888" y="5602287"/>
                <a:ext cx="1588" cy="1588"/>
              </a:xfrm>
              <a:prstGeom prst="rect">
                <a:avLst/>
              </a:prstGeom>
              <a:solidFill>
                <a:srgbClr val="599DBC"/>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30" name="Line 354"/>
              <p:cNvSpPr>
                <a:spLocks noChangeShapeType="1"/>
              </p:cNvSpPr>
              <p:nvPr/>
            </p:nvSpPr>
            <p:spPr bwMode="auto">
              <a:xfrm>
                <a:off x="-12053888" y="56022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31" name="Freeform 355"/>
              <p:cNvSpPr>
                <a:spLocks/>
              </p:cNvSpPr>
              <p:nvPr/>
            </p:nvSpPr>
            <p:spPr bwMode="auto">
              <a:xfrm>
                <a:off x="-12179300" y="4597400"/>
                <a:ext cx="1325563" cy="1195388"/>
              </a:xfrm>
              <a:custGeom>
                <a:avLst/>
                <a:gdLst>
                  <a:gd name="T0" fmla="*/ 835 w 835"/>
                  <a:gd name="T1" fmla="*/ 753 h 753"/>
                  <a:gd name="T2" fmla="*/ 79 w 835"/>
                  <a:gd name="T3" fmla="*/ 633 h 753"/>
                  <a:gd name="T4" fmla="*/ 0 w 835"/>
                  <a:gd name="T5" fmla="*/ 0 h 753"/>
                  <a:gd name="T6" fmla="*/ 835 w 835"/>
                  <a:gd name="T7" fmla="*/ 753 h 753"/>
                  <a:gd name="T8" fmla="*/ 835 w 835"/>
                  <a:gd name="T9" fmla="*/ 753 h 753"/>
                </a:gdLst>
                <a:ahLst/>
                <a:cxnLst>
                  <a:cxn ang="0">
                    <a:pos x="T0" y="T1"/>
                  </a:cxn>
                  <a:cxn ang="0">
                    <a:pos x="T2" y="T3"/>
                  </a:cxn>
                  <a:cxn ang="0">
                    <a:pos x="T4" y="T5"/>
                  </a:cxn>
                  <a:cxn ang="0">
                    <a:pos x="T6" y="T7"/>
                  </a:cxn>
                  <a:cxn ang="0">
                    <a:pos x="T8" y="T9"/>
                  </a:cxn>
                </a:cxnLst>
                <a:rect l="0" t="0" r="r" b="b"/>
                <a:pathLst>
                  <a:path w="835" h="753">
                    <a:moveTo>
                      <a:pt x="835" y="753"/>
                    </a:moveTo>
                    <a:lnTo>
                      <a:pt x="79" y="633"/>
                    </a:lnTo>
                    <a:lnTo>
                      <a:pt x="0" y="0"/>
                    </a:lnTo>
                    <a:lnTo>
                      <a:pt x="835" y="753"/>
                    </a:lnTo>
                    <a:lnTo>
                      <a:pt x="835" y="753"/>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32" name="Freeform 356"/>
              <p:cNvSpPr>
                <a:spLocks/>
              </p:cNvSpPr>
              <p:nvPr/>
            </p:nvSpPr>
            <p:spPr bwMode="auto">
              <a:xfrm>
                <a:off x="-12625388" y="5602287"/>
                <a:ext cx="571500" cy="701675"/>
              </a:xfrm>
              <a:custGeom>
                <a:avLst/>
                <a:gdLst>
                  <a:gd name="T0" fmla="*/ 0 w 360"/>
                  <a:gd name="T1" fmla="*/ 442 h 442"/>
                  <a:gd name="T2" fmla="*/ 0 w 360"/>
                  <a:gd name="T3" fmla="*/ 442 h 442"/>
                  <a:gd name="T4" fmla="*/ 360 w 360"/>
                  <a:gd name="T5" fmla="*/ 0 h 442"/>
                  <a:gd name="T6" fmla="*/ 360 w 360"/>
                  <a:gd name="T7" fmla="*/ 0 h 442"/>
                  <a:gd name="T8" fmla="*/ 360 w 360"/>
                  <a:gd name="T9" fmla="*/ 0 h 442"/>
                  <a:gd name="T10" fmla="*/ 360 w 360"/>
                  <a:gd name="T11" fmla="*/ 0 h 442"/>
                  <a:gd name="T12" fmla="*/ 360 w 360"/>
                  <a:gd name="T13" fmla="*/ 0 h 442"/>
                  <a:gd name="T14" fmla="*/ 0 w 36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442">
                    <a:moveTo>
                      <a:pt x="0" y="442"/>
                    </a:moveTo>
                    <a:lnTo>
                      <a:pt x="0" y="442"/>
                    </a:lnTo>
                    <a:lnTo>
                      <a:pt x="360" y="0"/>
                    </a:lnTo>
                    <a:lnTo>
                      <a:pt x="360" y="0"/>
                    </a:lnTo>
                    <a:lnTo>
                      <a:pt x="360" y="0"/>
                    </a:lnTo>
                    <a:lnTo>
                      <a:pt x="360" y="0"/>
                    </a:lnTo>
                    <a:lnTo>
                      <a:pt x="360" y="0"/>
                    </a:lnTo>
                    <a:lnTo>
                      <a:pt x="0" y="4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33" name="Freeform 357"/>
              <p:cNvSpPr>
                <a:spLocks noEditPoints="1"/>
              </p:cNvSpPr>
              <p:nvPr/>
            </p:nvSpPr>
            <p:spPr bwMode="auto">
              <a:xfrm>
                <a:off x="-10853738" y="4237037"/>
                <a:ext cx="944563" cy="2341563"/>
              </a:xfrm>
              <a:custGeom>
                <a:avLst/>
                <a:gdLst>
                  <a:gd name="T0" fmla="*/ 1240 w 1240"/>
                  <a:gd name="T1" fmla="*/ 3073 h 3073"/>
                  <a:gd name="T2" fmla="*/ 0 w 1240"/>
                  <a:gd name="T3" fmla="*/ 2042 h 3073"/>
                  <a:gd name="T4" fmla="*/ 0 w 1240"/>
                  <a:gd name="T5" fmla="*/ 2042 h 3073"/>
                  <a:gd name="T6" fmla="*/ 0 w 1240"/>
                  <a:gd name="T7" fmla="*/ 2042 h 3073"/>
                  <a:gd name="T8" fmla="*/ 0 w 1240"/>
                  <a:gd name="T9" fmla="*/ 2042 h 3073"/>
                  <a:gd name="T10" fmla="*/ 1178 w 1240"/>
                  <a:gd name="T11" fmla="*/ 1 h 3073"/>
                  <a:gd name="T12" fmla="*/ 1240 w 1240"/>
                  <a:gd name="T13" fmla="*/ 3073 h 3073"/>
                  <a:gd name="T14" fmla="*/ 1178 w 1240"/>
                  <a:gd name="T15" fmla="*/ 0 h 3073"/>
                  <a:gd name="T16" fmla="*/ 1178 w 1240"/>
                  <a:gd name="T17" fmla="*/ 0 h 3073"/>
                  <a:gd name="T18" fmla="*/ 1178 w 1240"/>
                  <a:gd name="T19" fmla="*/ 0 h 3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0" h="3073">
                    <a:moveTo>
                      <a:pt x="1240" y="3073"/>
                    </a:moveTo>
                    <a:lnTo>
                      <a:pt x="0" y="2042"/>
                    </a:lnTo>
                    <a:lnTo>
                      <a:pt x="0" y="2042"/>
                    </a:lnTo>
                    <a:lnTo>
                      <a:pt x="0" y="2042"/>
                    </a:lnTo>
                    <a:lnTo>
                      <a:pt x="0" y="2042"/>
                    </a:lnTo>
                    <a:lnTo>
                      <a:pt x="1178" y="1"/>
                    </a:lnTo>
                    <a:lnTo>
                      <a:pt x="1240" y="3073"/>
                    </a:lnTo>
                    <a:moveTo>
                      <a:pt x="1178" y="0"/>
                    </a:moveTo>
                    <a:lnTo>
                      <a:pt x="1178" y="0"/>
                    </a:lnTo>
                    <a:lnTo>
                      <a:pt x="1178" y="0"/>
                    </a:lnTo>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34" name="Rectangle 358"/>
              <p:cNvSpPr>
                <a:spLocks noChangeArrowheads="1"/>
              </p:cNvSpPr>
              <p:nvPr/>
            </p:nvSpPr>
            <p:spPr bwMode="auto">
              <a:xfrm>
                <a:off x="-10853738" y="5792787"/>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35" name="Freeform 359"/>
              <p:cNvSpPr>
                <a:spLocks/>
              </p:cNvSpPr>
              <p:nvPr/>
            </p:nvSpPr>
            <p:spPr bwMode="auto">
              <a:xfrm>
                <a:off x="-10853738" y="2682875"/>
                <a:ext cx="1365250" cy="1554163"/>
              </a:xfrm>
              <a:custGeom>
                <a:avLst/>
                <a:gdLst>
                  <a:gd name="T0" fmla="*/ 565 w 860"/>
                  <a:gd name="T1" fmla="*/ 979 h 979"/>
                  <a:gd name="T2" fmla="*/ 565 w 860"/>
                  <a:gd name="T3" fmla="*/ 979 h 979"/>
                  <a:gd name="T4" fmla="*/ 0 w 860"/>
                  <a:gd name="T5" fmla="*/ 0 h 979"/>
                  <a:gd name="T6" fmla="*/ 0 w 860"/>
                  <a:gd name="T7" fmla="*/ 0 h 979"/>
                  <a:gd name="T8" fmla="*/ 860 w 860"/>
                  <a:gd name="T9" fmla="*/ 333 h 979"/>
                  <a:gd name="T10" fmla="*/ 565 w 860"/>
                  <a:gd name="T11" fmla="*/ 979 h 979"/>
                </a:gdLst>
                <a:ahLst/>
                <a:cxnLst>
                  <a:cxn ang="0">
                    <a:pos x="T0" y="T1"/>
                  </a:cxn>
                  <a:cxn ang="0">
                    <a:pos x="T2" y="T3"/>
                  </a:cxn>
                  <a:cxn ang="0">
                    <a:pos x="T4" y="T5"/>
                  </a:cxn>
                  <a:cxn ang="0">
                    <a:pos x="T6" y="T7"/>
                  </a:cxn>
                  <a:cxn ang="0">
                    <a:pos x="T8" y="T9"/>
                  </a:cxn>
                  <a:cxn ang="0">
                    <a:pos x="T10" y="T11"/>
                  </a:cxn>
                </a:cxnLst>
                <a:rect l="0" t="0" r="r" b="b"/>
                <a:pathLst>
                  <a:path w="860" h="979">
                    <a:moveTo>
                      <a:pt x="565" y="979"/>
                    </a:moveTo>
                    <a:lnTo>
                      <a:pt x="565" y="979"/>
                    </a:lnTo>
                    <a:lnTo>
                      <a:pt x="0" y="0"/>
                    </a:lnTo>
                    <a:lnTo>
                      <a:pt x="0" y="0"/>
                    </a:lnTo>
                    <a:lnTo>
                      <a:pt x="860" y="333"/>
                    </a:lnTo>
                    <a:lnTo>
                      <a:pt x="565"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36" name="Freeform 360"/>
              <p:cNvSpPr>
                <a:spLocks/>
              </p:cNvSpPr>
              <p:nvPr/>
            </p:nvSpPr>
            <p:spPr bwMode="auto">
              <a:xfrm>
                <a:off x="-9956800" y="4237037"/>
                <a:ext cx="1797050" cy="2341563"/>
              </a:xfrm>
              <a:custGeom>
                <a:avLst/>
                <a:gdLst>
                  <a:gd name="T0" fmla="*/ 30 w 1132"/>
                  <a:gd name="T1" fmla="*/ 1475 h 1475"/>
                  <a:gd name="T2" fmla="*/ 0 w 1132"/>
                  <a:gd name="T3" fmla="*/ 1 h 1475"/>
                  <a:gd name="T4" fmla="*/ 0 w 1132"/>
                  <a:gd name="T5" fmla="*/ 0 h 1475"/>
                  <a:gd name="T6" fmla="*/ 0 w 1132"/>
                  <a:gd name="T7" fmla="*/ 0 h 1475"/>
                  <a:gd name="T8" fmla="*/ 0 w 1132"/>
                  <a:gd name="T9" fmla="*/ 0 h 1475"/>
                  <a:gd name="T10" fmla="*/ 1132 w 1132"/>
                  <a:gd name="T11" fmla="*/ 0 h 1475"/>
                  <a:gd name="T12" fmla="*/ 1132 w 1132"/>
                  <a:gd name="T13" fmla="*/ 1 h 1475"/>
                  <a:gd name="T14" fmla="*/ 30 w 1132"/>
                  <a:gd name="T15" fmla="*/ 1475 h 14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1475">
                    <a:moveTo>
                      <a:pt x="30" y="1475"/>
                    </a:moveTo>
                    <a:lnTo>
                      <a:pt x="0" y="1"/>
                    </a:lnTo>
                    <a:lnTo>
                      <a:pt x="0" y="0"/>
                    </a:lnTo>
                    <a:lnTo>
                      <a:pt x="0" y="0"/>
                    </a:lnTo>
                    <a:lnTo>
                      <a:pt x="0" y="0"/>
                    </a:lnTo>
                    <a:lnTo>
                      <a:pt x="1132" y="0"/>
                    </a:lnTo>
                    <a:lnTo>
                      <a:pt x="1132" y="1"/>
                    </a:lnTo>
                    <a:lnTo>
                      <a:pt x="30" y="147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37" name="Freeform 361"/>
              <p:cNvSpPr>
                <a:spLocks noEditPoints="1"/>
              </p:cNvSpPr>
              <p:nvPr/>
            </p:nvSpPr>
            <p:spPr bwMode="auto">
              <a:xfrm>
                <a:off x="-12179300" y="2682875"/>
                <a:ext cx="2222500" cy="1914525"/>
              </a:xfrm>
              <a:custGeom>
                <a:avLst/>
                <a:gdLst>
                  <a:gd name="T0" fmla="*/ 0 w 2916"/>
                  <a:gd name="T1" fmla="*/ 2514 h 2514"/>
                  <a:gd name="T2" fmla="*/ 956 w 2916"/>
                  <a:gd name="T3" fmla="*/ 1131 h 2514"/>
                  <a:gd name="T4" fmla="*/ 1738 w 2916"/>
                  <a:gd name="T5" fmla="*/ 0 h 2514"/>
                  <a:gd name="T6" fmla="*/ 2916 w 2916"/>
                  <a:gd name="T7" fmla="*/ 2041 h 2514"/>
                  <a:gd name="T8" fmla="*/ 0 w 2916"/>
                  <a:gd name="T9" fmla="*/ 2514 h 2514"/>
                  <a:gd name="T10" fmla="*/ 1738 w 2916"/>
                  <a:gd name="T11" fmla="*/ 0 h 2514"/>
                  <a:gd name="T12" fmla="*/ 1738 w 2916"/>
                  <a:gd name="T13" fmla="*/ 0 h 2514"/>
                </a:gdLst>
                <a:ahLst/>
                <a:cxnLst>
                  <a:cxn ang="0">
                    <a:pos x="T0" y="T1"/>
                  </a:cxn>
                  <a:cxn ang="0">
                    <a:pos x="T2" y="T3"/>
                  </a:cxn>
                  <a:cxn ang="0">
                    <a:pos x="T4" y="T5"/>
                  </a:cxn>
                  <a:cxn ang="0">
                    <a:pos x="T6" y="T7"/>
                  </a:cxn>
                  <a:cxn ang="0">
                    <a:pos x="T8" y="T9"/>
                  </a:cxn>
                  <a:cxn ang="0">
                    <a:pos x="T10" y="T11"/>
                  </a:cxn>
                  <a:cxn ang="0">
                    <a:pos x="T12" y="T13"/>
                  </a:cxn>
                </a:cxnLst>
                <a:rect l="0" t="0" r="r" b="b"/>
                <a:pathLst>
                  <a:path w="2916" h="2514">
                    <a:moveTo>
                      <a:pt x="0" y="2514"/>
                    </a:moveTo>
                    <a:lnTo>
                      <a:pt x="956" y="1131"/>
                    </a:lnTo>
                    <a:lnTo>
                      <a:pt x="1738" y="0"/>
                    </a:lnTo>
                    <a:lnTo>
                      <a:pt x="2916" y="2041"/>
                    </a:lnTo>
                    <a:lnTo>
                      <a:pt x="0" y="2514"/>
                    </a:lnTo>
                    <a:moveTo>
                      <a:pt x="1738" y="0"/>
                    </a:moveTo>
                    <a:lnTo>
                      <a:pt x="1738"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38" name="Freeform 362"/>
              <p:cNvSpPr>
                <a:spLocks/>
              </p:cNvSpPr>
              <p:nvPr/>
            </p:nvSpPr>
            <p:spPr bwMode="auto">
              <a:xfrm>
                <a:off x="-9956800" y="3211512"/>
                <a:ext cx="1797050" cy="1025525"/>
              </a:xfrm>
              <a:custGeom>
                <a:avLst/>
                <a:gdLst>
                  <a:gd name="T0" fmla="*/ 2358 w 2358"/>
                  <a:gd name="T1" fmla="*/ 1346 h 1346"/>
                  <a:gd name="T2" fmla="*/ 0 w 2358"/>
                  <a:gd name="T3" fmla="*/ 1346 h 1346"/>
                  <a:gd name="T4" fmla="*/ 614 w 2358"/>
                  <a:gd name="T5" fmla="*/ 0 h 1346"/>
                  <a:gd name="T6" fmla="*/ 2358 w 2358"/>
                  <a:gd name="T7" fmla="*/ 1346 h 1346"/>
                  <a:gd name="T8" fmla="*/ 2357 w 2358"/>
                  <a:gd name="T9" fmla="*/ 1346 h 1346"/>
                  <a:gd name="T10" fmla="*/ 2358 w 2358"/>
                  <a:gd name="T11" fmla="*/ 1346 h 1346"/>
                  <a:gd name="T12" fmla="*/ 2358 w 2358"/>
                  <a:gd name="T13" fmla="*/ 1346 h 1346"/>
                  <a:gd name="T14" fmla="*/ 2357 w 2358"/>
                  <a:gd name="T15" fmla="*/ 1346 h 13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8" h="1346">
                    <a:moveTo>
                      <a:pt x="2358" y="1346"/>
                    </a:moveTo>
                    <a:lnTo>
                      <a:pt x="0" y="1346"/>
                    </a:lnTo>
                    <a:lnTo>
                      <a:pt x="614" y="0"/>
                    </a:lnTo>
                    <a:lnTo>
                      <a:pt x="2358" y="1346"/>
                    </a:lnTo>
                    <a:lnTo>
                      <a:pt x="2357" y="1346"/>
                    </a:lnTo>
                    <a:lnTo>
                      <a:pt x="2358" y="1346"/>
                    </a:lnTo>
                    <a:lnTo>
                      <a:pt x="2358" y="1346"/>
                    </a:lnTo>
                    <a:lnTo>
                      <a:pt x="2357" y="1346"/>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39" name="Freeform 363"/>
              <p:cNvSpPr>
                <a:spLocks noEditPoints="1"/>
              </p:cNvSpPr>
              <p:nvPr/>
            </p:nvSpPr>
            <p:spPr bwMode="auto">
              <a:xfrm>
                <a:off x="-12179300" y="4237037"/>
                <a:ext cx="2222500" cy="1555750"/>
              </a:xfrm>
              <a:custGeom>
                <a:avLst/>
                <a:gdLst>
                  <a:gd name="T0" fmla="*/ 1738 w 2916"/>
                  <a:gd name="T1" fmla="*/ 2042 h 2042"/>
                  <a:gd name="T2" fmla="*/ 0 w 2916"/>
                  <a:gd name="T3" fmla="*/ 473 h 2042"/>
                  <a:gd name="T4" fmla="*/ 2916 w 2916"/>
                  <a:gd name="T5" fmla="*/ 0 h 2042"/>
                  <a:gd name="T6" fmla="*/ 1738 w 2916"/>
                  <a:gd name="T7" fmla="*/ 2042 h 2042"/>
                  <a:gd name="T8" fmla="*/ 2916 w 2916"/>
                  <a:gd name="T9" fmla="*/ 1 h 2042"/>
                  <a:gd name="T10" fmla="*/ 2916 w 2916"/>
                  <a:gd name="T11" fmla="*/ 0 h 2042"/>
                  <a:gd name="T12" fmla="*/ 2916 w 2916"/>
                  <a:gd name="T13" fmla="*/ 1 h 2042"/>
                </a:gdLst>
                <a:ahLst/>
                <a:cxnLst>
                  <a:cxn ang="0">
                    <a:pos x="T0" y="T1"/>
                  </a:cxn>
                  <a:cxn ang="0">
                    <a:pos x="T2" y="T3"/>
                  </a:cxn>
                  <a:cxn ang="0">
                    <a:pos x="T4" y="T5"/>
                  </a:cxn>
                  <a:cxn ang="0">
                    <a:pos x="T6" y="T7"/>
                  </a:cxn>
                  <a:cxn ang="0">
                    <a:pos x="T8" y="T9"/>
                  </a:cxn>
                  <a:cxn ang="0">
                    <a:pos x="T10" y="T11"/>
                  </a:cxn>
                  <a:cxn ang="0">
                    <a:pos x="T12" y="T13"/>
                  </a:cxn>
                </a:cxnLst>
                <a:rect l="0" t="0" r="r" b="b"/>
                <a:pathLst>
                  <a:path w="2916" h="2042">
                    <a:moveTo>
                      <a:pt x="1738" y="2042"/>
                    </a:moveTo>
                    <a:lnTo>
                      <a:pt x="0" y="473"/>
                    </a:lnTo>
                    <a:lnTo>
                      <a:pt x="2916" y="0"/>
                    </a:lnTo>
                    <a:lnTo>
                      <a:pt x="1738" y="2042"/>
                    </a:lnTo>
                    <a:moveTo>
                      <a:pt x="2916" y="1"/>
                    </a:moveTo>
                    <a:lnTo>
                      <a:pt x="2916" y="0"/>
                    </a:lnTo>
                    <a:lnTo>
                      <a:pt x="2916" y="1"/>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40" name="Freeform 364"/>
              <p:cNvSpPr>
                <a:spLocks/>
              </p:cNvSpPr>
              <p:nvPr/>
            </p:nvSpPr>
            <p:spPr bwMode="auto">
              <a:xfrm>
                <a:off x="-10853738" y="4237037"/>
                <a:ext cx="896938" cy="1555750"/>
              </a:xfrm>
              <a:custGeom>
                <a:avLst/>
                <a:gdLst>
                  <a:gd name="T0" fmla="*/ 0 w 565"/>
                  <a:gd name="T1" fmla="*/ 980 h 980"/>
                  <a:gd name="T2" fmla="*/ 0 w 565"/>
                  <a:gd name="T3" fmla="*/ 980 h 980"/>
                  <a:gd name="T4" fmla="*/ 565 w 565"/>
                  <a:gd name="T5" fmla="*/ 0 h 980"/>
                  <a:gd name="T6" fmla="*/ 565 w 565"/>
                  <a:gd name="T7" fmla="*/ 1 h 980"/>
                  <a:gd name="T8" fmla="*/ 0 w 565"/>
                  <a:gd name="T9" fmla="*/ 980 h 980"/>
                </a:gdLst>
                <a:ahLst/>
                <a:cxnLst>
                  <a:cxn ang="0">
                    <a:pos x="T0" y="T1"/>
                  </a:cxn>
                  <a:cxn ang="0">
                    <a:pos x="T2" y="T3"/>
                  </a:cxn>
                  <a:cxn ang="0">
                    <a:pos x="T4" y="T5"/>
                  </a:cxn>
                  <a:cxn ang="0">
                    <a:pos x="T6" y="T7"/>
                  </a:cxn>
                  <a:cxn ang="0">
                    <a:pos x="T8" y="T9"/>
                  </a:cxn>
                </a:cxnLst>
                <a:rect l="0" t="0" r="r" b="b"/>
                <a:pathLst>
                  <a:path w="565" h="980">
                    <a:moveTo>
                      <a:pt x="0" y="980"/>
                    </a:moveTo>
                    <a:lnTo>
                      <a:pt x="0" y="980"/>
                    </a:lnTo>
                    <a:lnTo>
                      <a:pt x="565" y="0"/>
                    </a:lnTo>
                    <a:lnTo>
                      <a:pt x="565" y="1"/>
                    </a:lnTo>
                    <a:lnTo>
                      <a:pt x="0" y="980"/>
                    </a:lnTo>
                    <a:close/>
                  </a:path>
                </a:pathLst>
              </a:custGeom>
              <a:solidFill>
                <a:srgbClr val="599FB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41" name="Rectangle 365"/>
              <p:cNvSpPr>
                <a:spLocks noChangeArrowheads="1"/>
              </p:cNvSpPr>
              <p:nvPr/>
            </p:nvSpPr>
            <p:spPr bwMode="auto">
              <a:xfrm>
                <a:off x="-9956800" y="4237037"/>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42" name="Freeform 366"/>
              <p:cNvSpPr>
                <a:spLocks/>
              </p:cNvSpPr>
              <p:nvPr/>
            </p:nvSpPr>
            <p:spPr bwMode="auto">
              <a:xfrm>
                <a:off x="-12625388" y="7327900"/>
                <a:ext cx="366713" cy="331788"/>
              </a:xfrm>
              <a:custGeom>
                <a:avLst/>
                <a:gdLst>
                  <a:gd name="T0" fmla="*/ 231 w 231"/>
                  <a:gd name="T1" fmla="*/ 209 h 209"/>
                  <a:gd name="T2" fmla="*/ 0 w 231"/>
                  <a:gd name="T3" fmla="*/ 209 h 209"/>
                  <a:gd name="T4" fmla="*/ 0 w 231"/>
                  <a:gd name="T5" fmla="*/ 48 h 209"/>
                  <a:gd name="T6" fmla="*/ 178 w 231"/>
                  <a:gd name="T7" fmla="*/ 0 h 209"/>
                  <a:gd name="T8" fmla="*/ 231 w 231"/>
                  <a:gd name="T9" fmla="*/ 209 h 209"/>
                </a:gdLst>
                <a:ahLst/>
                <a:cxnLst>
                  <a:cxn ang="0">
                    <a:pos x="T0" y="T1"/>
                  </a:cxn>
                  <a:cxn ang="0">
                    <a:pos x="T2" y="T3"/>
                  </a:cxn>
                  <a:cxn ang="0">
                    <a:pos x="T4" y="T5"/>
                  </a:cxn>
                  <a:cxn ang="0">
                    <a:pos x="T6" y="T7"/>
                  </a:cxn>
                  <a:cxn ang="0">
                    <a:pos x="T8" y="T9"/>
                  </a:cxn>
                </a:cxnLst>
                <a:rect l="0" t="0" r="r" b="b"/>
                <a:pathLst>
                  <a:path w="231" h="209">
                    <a:moveTo>
                      <a:pt x="231" y="209"/>
                    </a:moveTo>
                    <a:lnTo>
                      <a:pt x="0" y="209"/>
                    </a:lnTo>
                    <a:lnTo>
                      <a:pt x="0" y="48"/>
                    </a:lnTo>
                    <a:lnTo>
                      <a:pt x="178" y="0"/>
                    </a:lnTo>
                    <a:lnTo>
                      <a:pt x="231" y="20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43" name="Freeform 367"/>
              <p:cNvSpPr>
                <a:spLocks/>
              </p:cNvSpPr>
              <p:nvPr/>
            </p:nvSpPr>
            <p:spPr bwMode="auto">
              <a:xfrm>
                <a:off x="-12341225" y="7327900"/>
                <a:ext cx="534988" cy="331788"/>
              </a:xfrm>
              <a:custGeom>
                <a:avLst/>
                <a:gdLst>
                  <a:gd name="T0" fmla="*/ 337 w 337"/>
                  <a:gd name="T1" fmla="*/ 209 h 209"/>
                  <a:gd name="T2" fmla="*/ 52 w 337"/>
                  <a:gd name="T3" fmla="*/ 209 h 209"/>
                  <a:gd name="T4" fmla="*/ 0 w 337"/>
                  <a:gd name="T5" fmla="*/ 0 h 209"/>
                  <a:gd name="T6" fmla="*/ 205 w 337"/>
                  <a:gd name="T7" fmla="*/ 127 h 209"/>
                  <a:gd name="T8" fmla="*/ 337 w 337"/>
                  <a:gd name="T9" fmla="*/ 209 h 209"/>
                </a:gdLst>
                <a:ahLst/>
                <a:cxnLst>
                  <a:cxn ang="0">
                    <a:pos x="T0" y="T1"/>
                  </a:cxn>
                  <a:cxn ang="0">
                    <a:pos x="T2" y="T3"/>
                  </a:cxn>
                  <a:cxn ang="0">
                    <a:pos x="T4" y="T5"/>
                  </a:cxn>
                  <a:cxn ang="0">
                    <a:pos x="T6" y="T7"/>
                  </a:cxn>
                  <a:cxn ang="0">
                    <a:pos x="T8" y="T9"/>
                  </a:cxn>
                </a:cxnLst>
                <a:rect l="0" t="0" r="r" b="b"/>
                <a:pathLst>
                  <a:path w="337" h="209">
                    <a:moveTo>
                      <a:pt x="337" y="209"/>
                    </a:moveTo>
                    <a:lnTo>
                      <a:pt x="52" y="209"/>
                    </a:lnTo>
                    <a:lnTo>
                      <a:pt x="0" y="0"/>
                    </a:lnTo>
                    <a:lnTo>
                      <a:pt x="205" y="127"/>
                    </a:lnTo>
                    <a:lnTo>
                      <a:pt x="337" y="20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44" name="Freeform 368"/>
              <p:cNvSpPr>
                <a:spLocks/>
              </p:cNvSpPr>
              <p:nvPr/>
            </p:nvSpPr>
            <p:spPr bwMode="auto">
              <a:xfrm>
                <a:off x="-10125075" y="7350125"/>
                <a:ext cx="347663" cy="309563"/>
              </a:xfrm>
              <a:custGeom>
                <a:avLst/>
                <a:gdLst>
                  <a:gd name="T0" fmla="*/ 219 w 219"/>
                  <a:gd name="T1" fmla="*/ 195 h 195"/>
                  <a:gd name="T2" fmla="*/ 0 w 219"/>
                  <a:gd name="T3" fmla="*/ 195 h 195"/>
                  <a:gd name="T4" fmla="*/ 106 w 219"/>
                  <a:gd name="T5" fmla="*/ 0 h 195"/>
                  <a:gd name="T6" fmla="*/ 219 w 219"/>
                  <a:gd name="T7" fmla="*/ 195 h 195"/>
                </a:gdLst>
                <a:ahLst/>
                <a:cxnLst>
                  <a:cxn ang="0">
                    <a:pos x="T0" y="T1"/>
                  </a:cxn>
                  <a:cxn ang="0">
                    <a:pos x="T2" y="T3"/>
                  </a:cxn>
                  <a:cxn ang="0">
                    <a:pos x="T4" y="T5"/>
                  </a:cxn>
                  <a:cxn ang="0">
                    <a:pos x="T6" y="T7"/>
                  </a:cxn>
                </a:cxnLst>
                <a:rect l="0" t="0" r="r" b="b"/>
                <a:pathLst>
                  <a:path w="219" h="195">
                    <a:moveTo>
                      <a:pt x="219" y="195"/>
                    </a:moveTo>
                    <a:lnTo>
                      <a:pt x="0" y="195"/>
                    </a:lnTo>
                    <a:lnTo>
                      <a:pt x="106" y="0"/>
                    </a:lnTo>
                    <a:lnTo>
                      <a:pt x="219"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45" name="Freeform 369"/>
              <p:cNvSpPr>
                <a:spLocks/>
              </p:cNvSpPr>
              <p:nvPr/>
            </p:nvSpPr>
            <p:spPr bwMode="auto">
              <a:xfrm>
                <a:off x="-10853738" y="5792787"/>
                <a:ext cx="944563" cy="1557338"/>
              </a:xfrm>
              <a:custGeom>
                <a:avLst/>
                <a:gdLst>
                  <a:gd name="T0" fmla="*/ 565 w 595"/>
                  <a:gd name="T1" fmla="*/ 981 h 981"/>
                  <a:gd name="T2" fmla="*/ 565 w 595"/>
                  <a:gd name="T3" fmla="*/ 981 h 981"/>
                  <a:gd name="T4" fmla="*/ 0 w 595"/>
                  <a:gd name="T5" fmla="*/ 0 h 981"/>
                  <a:gd name="T6" fmla="*/ 0 w 595"/>
                  <a:gd name="T7" fmla="*/ 0 h 981"/>
                  <a:gd name="T8" fmla="*/ 595 w 595"/>
                  <a:gd name="T9" fmla="*/ 495 h 981"/>
                  <a:gd name="T10" fmla="*/ 565 w 595"/>
                  <a:gd name="T11" fmla="*/ 981 h 981"/>
                </a:gdLst>
                <a:ahLst/>
                <a:cxnLst>
                  <a:cxn ang="0">
                    <a:pos x="T0" y="T1"/>
                  </a:cxn>
                  <a:cxn ang="0">
                    <a:pos x="T2" y="T3"/>
                  </a:cxn>
                  <a:cxn ang="0">
                    <a:pos x="T4" y="T5"/>
                  </a:cxn>
                  <a:cxn ang="0">
                    <a:pos x="T6" y="T7"/>
                  </a:cxn>
                  <a:cxn ang="0">
                    <a:pos x="T8" y="T9"/>
                  </a:cxn>
                  <a:cxn ang="0">
                    <a:pos x="T10" y="T11"/>
                  </a:cxn>
                </a:cxnLst>
                <a:rect l="0" t="0" r="r" b="b"/>
                <a:pathLst>
                  <a:path w="595" h="981">
                    <a:moveTo>
                      <a:pt x="565" y="981"/>
                    </a:moveTo>
                    <a:lnTo>
                      <a:pt x="565" y="981"/>
                    </a:lnTo>
                    <a:lnTo>
                      <a:pt x="0" y="0"/>
                    </a:lnTo>
                    <a:lnTo>
                      <a:pt x="0" y="0"/>
                    </a:lnTo>
                    <a:lnTo>
                      <a:pt x="595" y="495"/>
                    </a:lnTo>
                    <a:lnTo>
                      <a:pt x="565"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46" name="Freeform 370"/>
              <p:cNvSpPr>
                <a:spLocks/>
              </p:cNvSpPr>
              <p:nvPr/>
            </p:nvSpPr>
            <p:spPr bwMode="auto">
              <a:xfrm>
                <a:off x="-9956800" y="7350125"/>
                <a:ext cx="608013" cy="309563"/>
              </a:xfrm>
              <a:custGeom>
                <a:avLst/>
                <a:gdLst>
                  <a:gd name="T0" fmla="*/ 383 w 383"/>
                  <a:gd name="T1" fmla="*/ 195 h 195"/>
                  <a:gd name="T2" fmla="*/ 113 w 383"/>
                  <a:gd name="T3" fmla="*/ 195 h 195"/>
                  <a:gd name="T4" fmla="*/ 0 w 383"/>
                  <a:gd name="T5" fmla="*/ 0 h 195"/>
                  <a:gd name="T6" fmla="*/ 0 w 383"/>
                  <a:gd name="T7" fmla="*/ 0 h 195"/>
                  <a:gd name="T8" fmla="*/ 383 w 383"/>
                  <a:gd name="T9" fmla="*/ 195 h 195"/>
                </a:gdLst>
                <a:ahLst/>
                <a:cxnLst>
                  <a:cxn ang="0">
                    <a:pos x="T0" y="T1"/>
                  </a:cxn>
                  <a:cxn ang="0">
                    <a:pos x="T2" y="T3"/>
                  </a:cxn>
                  <a:cxn ang="0">
                    <a:pos x="T4" y="T5"/>
                  </a:cxn>
                  <a:cxn ang="0">
                    <a:pos x="T6" y="T7"/>
                  </a:cxn>
                  <a:cxn ang="0">
                    <a:pos x="T8" y="T9"/>
                  </a:cxn>
                </a:cxnLst>
                <a:rect l="0" t="0" r="r" b="b"/>
                <a:pathLst>
                  <a:path w="383" h="195">
                    <a:moveTo>
                      <a:pt x="383" y="195"/>
                    </a:moveTo>
                    <a:lnTo>
                      <a:pt x="113" y="195"/>
                    </a:lnTo>
                    <a:lnTo>
                      <a:pt x="0" y="0"/>
                    </a:lnTo>
                    <a:lnTo>
                      <a:pt x="0" y="0"/>
                    </a:lnTo>
                    <a:lnTo>
                      <a:pt x="383"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47" name="Freeform 371"/>
              <p:cNvSpPr>
                <a:spLocks/>
              </p:cNvSpPr>
              <p:nvPr/>
            </p:nvSpPr>
            <p:spPr bwMode="auto">
              <a:xfrm>
                <a:off x="-12341225" y="5792787"/>
                <a:ext cx="2384425" cy="1557338"/>
              </a:xfrm>
              <a:custGeom>
                <a:avLst/>
                <a:gdLst>
                  <a:gd name="T0" fmla="*/ 1502 w 1502"/>
                  <a:gd name="T1" fmla="*/ 981 h 981"/>
                  <a:gd name="T2" fmla="*/ 0 w 1502"/>
                  <a:gd name="T3" fmla="*/ 967 h 981"/>
                  <a:gd name="T4" fmla="*/ 0 w 1502"/>
                  <a:gd name="T5" fmla="*/ 967 h 981"/>
                  <a:gd name="T6" fmla="*/ 0 w 1502"/>
                  <a:gd name="T7" fmla="*/ 967 h 981"/>
                  <a:gd name="T8" fmla="*/ 374 w 1502"/>
                  <a:gd name="T9" fmla="*/ 580 h 981"/>
                  <a:gd name="T10" fmla="*/ 937 w 1502"/>
                  <a:gd name="T11" fmla="*/ 0 h 981"/>
                  <a:gd name="T12" fmla="*/ 1502 w 1502"/>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502" h="981">
                    <a:moveTo>
                      <a:pt x="1502" y="981"/>
                    </a:moveTo>
                    <a:lnTo>
                      <a:pt x="0" y="967"/>
                    </a:lnTo>
                    <a:lnTo>
                      <a:pt x="0" y="967"/>
                    </a:lnTo>
                    <a:lnTo>
                      <a:pt x="0" y="967"/>
                    </a:lnTo>
                    <a:lnTo>
                      <a:pt x="374" y="580"/>
                    </a:lnTo>
                    <a:lnTo>
                      <a:pt x="937" y="0"/>
                    </a:lnTo>
                    <a:lnTo>
                      <a:pt x="1502" y="981"/>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48" name="Freeform 372"/>
              <p:cNvSpPr>
                <a:spLocks/>
              </p:cNvSpPr>
              <p:nvPr/>
            </p:nvSpPr>
            <p:spPr bwMode="auto">
              <a:xfrm>
                <a:off x="-9956800" y="6578600"/>
                <a:ext cx="1098550" cy="1081088"/>
              </a:xfrm>
              <a:custGeom>
                <a:avLst/>
                <a:gdLst>
                  <a:gd name="T0" fmla="*/ 692 w 692"/>
                  <a:gd name="T1" fmla="*/ 681 h 681"/>
                  <a:gd name="T2" fmla="*/ 383 w 692"/>
                  <a:gd name="T3" fmla="*/ 681 h 681"/>
                  <a:gd name="T4" fmla="*/ 0 w 692"/>
                  <a:gd name="T5" fmla="*/ 486 h 681"/>
                  <a:gd name="T6" fmla="*/ 30 w 692"/>
                  <a:gd name="T7" fmla="*/ 0 h 681"/>
                  <a:gd name="T8" fmla="*/ 692 w 692"/>
                  <a:gd name="T9" fmla="*/ 681 h 681"/>
                </a:gdLst>
                <a:ahLst/>
                <a:cxnLst>
                  <a:cxn ang="0">
                    <a:pos x="T0" y="T1"/>
                  </a:cxn>
                  <a:cxn ang="0">
                    <a:pos x="T2" y="T3"/>
                  </a:cxn>
                  <a:cxn ang="0">
                    <a:pos x="T4" y="T5"/>
                  </a:cxn>
                  <a:cxn ang="0">
                    <a:pos x="T6" y="T7"/>
                  </a:cxn>
                  <a:cxn ang="0">
                    <a:pos x="T8" y="T9"/>
                  </a:cxn>
                </a:cxnLst>
                <a:rect l="0" t="0" r="r" b="b"/>
                <a:pathLst>
                  <a:path w="692" h="681">
                    <a:moveTo>
                      <a:pt x="692" y="681"/>
                    </a:moveTo>
                    <a:lnTo>
                      <a:pt x="383" y="681"/>
                    </a:lnTo>
                    <a:lnTo>
                      <a:pt x="0" y="486"/>
                    </a:lnTo>
                    <a:lnTo>
                      <a:pt x="30" y="0"/>
                    </a:lnTo>
                    <a:lnTo>
                      <a:pt x="692" y="68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49" name="Freeform 373"/>
              <p:cNvSpPr>
                <a:spLocks noEditPoints="1"/>
              </p:cNvSpPr>
              <p:nvPr/>
            </p:nvSpPr>
            <p:spPr bwMode="auto">
              <a:xfrm>
                <a:off x="-12341225" y="7327900"/>
                <a:ext cx="2384425" cy="331788"/>
              </a:xfrm>
              <a:custGeom>
                <a:avLst/>
                <a:gdLst>
                  <a:gd name="T0" fmla="*/ 2910 w 3130"/>
                  <a:gd name="T1" fmla="*/ 436 h 436"/>
                  <a:gd name="T2" fmla="*/ 702 w 3130"/>
                  <a:gd name="T3" fmla="*/ 436 h 436"/>
                  <a:gd name="T4" fmla="*/ 428 w 3130"/>
                  <a:gd name="T5" fmla="*/ 265 h 436"/>
                  <a:gd name="T6" fmla="*/ 0 w 3130"/>
                  <a:gd name="T7" fmla="*/ 0 h 436"/>
                  <a:gd name="T8" fmla="*/ 3130 w 3130"/>
                  <a:gd name="T9" fmla="*/ 29 h 436"/>
                  <a:gd name="T10" fmla="*/ 2910 w 3130"/>
                  <a:gd name="T11" fmla="*/ 436 h 436"/>
                  <a:gd name="T12" fmla="*/ 3130 w 3130"/>
                  <a:gd name="T13" fmla="*/ 29 h 436"/>
                  <a:gd name="T14" fmla="*/ 3130 w 3130"/>
                  <a:gd name="T15" fmla="*/ 29 h 436"/>
                  <a:gd name="T16" fmla="*/ 3130 w 3130"/>
                  <a:gd name="T17" fmla="*/ 29 h 436"/>
                  <a:gd name="T18" fmla="*/ 3130 w 3130"/>
                  <a:gd name="T19" fmla="*/ 29 h 436"/>
                  <a:gd name="T20" fmla="*/ 3130 w 3130"/>
                  <a:gd name="T21" fmla="*/ 29 h 436"/>
                  <a:gd name="T22" fmla="*/ 3130 w 3130"/>
                  <a:gd name="T23" fmla="*/ 29 h 436"/>
                  <a:gd name="T24" fmla="*/ 0 w 3130"/>
                  <a:gd name="T25" fmla="*/ 0 h 436"/>
                  <a:gd name="T26" fmla="*/ 0 w 3130"/>
                  <a:gd name="T27" fmla="*/ 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30" h="436">
                    <a:moveTo>
                      <a:pt x="2910" y="436"/>
                    </a:moveTo>
                    <a:lnTo>
                      <a:pt x="702" y="436"/>
                    </a:lnTo>
                    <a:lnTo>
                      <a:pt x="428" y="265"/>
                    </a:lnTo>
                    <a:lnTo>
                      <a:pt x="0" y="0"/>
                    </a:lnTo>
                    <a:lnTo>
                      <a:pt x="3130" y="29"/>
                    </a:lnTo>
                    <a:lnTo>
                      <a:pt x="2910" y="436"/>
                    </a:lnTo>
                    <a:moveTo>
                      <a:pt x="3130" y="29"/>
                    </a:moveTo>
                    <a:lnTo>
                      <a:pt x="3130" y="29"/>
                    </a:lnTo>
                    <a:lnTo>
                      <a:pt x="3130" y="29"/>
                    </a:lnTo>
                    <a:lnTo>
                      <a:pt x="3130" y="29"/>
                    </a:lnTo>
                    <a:lnTo>
                      <a:pt x="3130" y="29"/>
                    </a:lnTo>
                    <a:lnTo>
                      <a:pt x="3130" y="29"/>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50" name="Freeform 374"/>
              <p:cNvSpPr>
                <a:spLocks/>
              </p:cNvSpPr>
              <p:nvPr/>
            </p:nvSpPr>
            <p:spPr bwMode="auto">
              <a:xfrm>
                <a:off x="-10125075" y="7350125"/>
                <a:ext cx="168275" cy="309563"/>
              </a:xfrm>
              <a:custGeom>
                <a:avLst/>
                <a:gdLst>
                  <a:gd name="T0" fmla="*/ 0 w 106"/>
                  <a:gd name="T1" fmla="*/ 195 h 195"/>
                  <a:gd name="T2" fmla="*/ 0 w 106"/>
                  <a:gd name="T3" fmla="*/ 195 h 195"/>
                  <a:gd name="T4" fmla="*/ 106 w 106"/>
                  <a:gd name="T5" fmla="*/ 0 h 195"/>
                  <a:gd name="T6" fmla="*/ 106 w 106"/>
                  <a:gd name="T7" fmla="*/ 0 h 195"/>
                  <a:gd name="T8" fmla="*/ 0 w 106"/>
                  <a:gd name="T9" fmla="*/ 195 h 195"/>
                </a:gdLst>
                <a:ahLst/>
                <a:cxnLst>
                  <a:cxn ang="0">
                    <a:pos x="T0" y="T1"/>
                  </a:cxn>
                  <a:cxn ang="0">
                    <a:pos x="T2" y="T3"/>
                  </a:cxn>
                  <a:cxn ang="0">
                    <a:pos x="T4" y="T5"/>
                  </a:cxn>
                  <a:cxn ang="0">
                    <a:pos x="T6" y="T7"/>
                  </a:cxn>
                  <a:cxn ang="0">
                    <a:pos x="T8" y="T9"/>
                  </a:cxn>
                </a:cxnLst>
                <a:rect l="0" t="0" r="r" b="b"/>
                <a:pathLst>
                  <a:path w="106" h="195">
                    <a:moveTo>
                      <a:pt x="0" y="195"/>
                    </a:moveTo>
                    <a:lnTo>
                      <a:pt x="0" y="195"/>
                    </a:lnTo>
                    <a:lnTo>
                      <a:pt x="106" y="0"/>
                    </a:lnTo>
                    <a:lnTo>
                      <a:pt x="106" y="0"/>
                    </a:lnTo>
                    <a:lnTo>
                      <a:pt x="0"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51" name="Rectangle 375"/>
              <p:cNvSpPr>
                <a:spLocks noChangeArrowheads="1"/>
              </p:cNvSpPr>
              <p:nvPr/>
            </p:nvSpPr>
            <p:spPr bwMode="auto">
              <a:xfrm>
                <a:off x="-9956800" y="7350125"/>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52" name="Freeform 376"/>
              <p:cNvSpPr>
                <a:spLocks noEditPoints="1"/>
              </p:cNvSpPr>
              <p:nvPr/>
            </p:nvSpPr>
            <p:spPr bwMode="auto">
              <a:xfrm>
                <a:off x="-12341225" y="7327900"/>
                <a:ext cx="2384425" cy="22225"/>
              </a:xfrm>
              <a:custGeom>
                <a:avLst/>
                <a:gdLst>
                  <a:gd name="T0" fmla="*/ 3130 w 3130"/>
                  <a:gd name="T1" fmla="*/ 29 h 29"/>
                  <a:gd name="T2" fmla="*/ 0 w 3130"/>
                  <a:gd name="T3" fmla="*/ 0 h 29"/>
                  <a:gd name="T4" fmla="*/ 0 w 3130"/>
                  <a:gd name="T5" fmla="*/ 0 h 29"/>
                  <a:gd name="T6" fmla="*/ 3130 w 3130"/>
                  <a:gd name="T7" fmla="*/ 29 h 29"/>
                  <a:gd name="T8" fmla="*/ 3130 w 3130"/>
                  <a:gd name="T9" fmla="*/ 29 h 29"/>
                  <a:gd name="T10" fmla="*/ 0 w 3130"/>
                  <a:gd name="T11" fmla="*/ 0 h 29"/>
                  <a:gd name="T12" fmla="*/ 0 w 3130"/>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130" h="29">
                    <a:moveTo>
                      <a:pt x="3130" y="29"/>
                    </a:moveTo>
                    <a:lnTo>
                      <a:pt x="0" y="0"/>
                    </a:lnTo>
                    <a:lnTo>
                      <a:pt x="0" y="0"/>
                    </a:lnTo>
                    <a:lnTo>
                      <a:pt x="3130" y="29"/>
                    </a:lnTo>
                    <a:lnTo>
                      <a:pt x="3130" y="29"/>
                    </a:lnTo>
                    <a:moveTo>
                      <a:pt x="0" y="0"/>
                    </a:moveTo>
                    <a:lnTo>
                      <a:pt x="0" y="0"/>
                    </a:lnTo>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53" name="Freeform 377"/>
              <p:cNvSpPr>
                <a:spLocks/>
              </p:cNvSpPr>
              <p:nvPr/>
            </p:nvSpPr>
            <p:spPr bwMode="auto">
              <a:xfrm>
                <a:off x="-8159750" y="-2909888"/>
                <a:ext cx="2633663" cy="1504950"/>
              </a:xfrm>
              <a:custGeom>
                <a:avLst/>
                <a:gdLst>
                  <a:gd name="T0" fmla="*/ 1659 w 1659"/>
                  <a:gd name="T1" fmla="*/ 948 h 948"/>
                  <a:gd name="T2" fmla="*/ 0 w 1659"/>
                  <a:gd name="T3" fmla="*/ 583 h 948"/>
                  <a:gd name="T4" fmla="*/ 0 w 1659"/>
                  <a:gd name="T5" fmla="*/ 583 h 948"/>
                  <a:gd name="T6" fmla="*/ 0 w 1659"/>
                  <a:gd name="T7" fmla="*/ 583 h 948"/>
                  <a:gd name="T8" fmla="*/ 0 w 1659"/>
                  <a:gd name="T9" fmla="*/ 583 h 948"/>
                  <a:gd name="T10" fmla="*/ 772 w 1659"/>
                  <a:gd name="T11" fmla="*/ 0 h 948"/>
                  <a:gd name="T12" fmla="*/ 772 w 1659"/>
                  <a:gd name="T13" fmla="*/ 0 h 948"/>
                  <a:gd name="T14" fmla="*/ 772 w 1659"/>
                  <a:gd name="T15" fmla="*/ 0 h 948"/>
                  <a:gd name="T16" fmla="*/ 772 w 1659"/>
                  <a:gd name="T17" fmla="*/ 0 h 948"/>
                  <a:gd name="T18" fmla="*/ 772 w 1659"/>
                  <a:gd name="T19" fmla="*/ 0 h 948"/>
                  <a:gd name="T20" fmla="*/ 1224 w 1659"/>
                  <a:gd name="T21" fmla="*/ 483 h 948"/>
                  <a:gd name="T22" fmla="*/ 1659 w 1659"/>
                  <a:gd name="T23" fmla="*/ 948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9" h="948">
                    <a:moveTo>
                      <a:pt x="1659" y="948"/>
                    </a:moveTo>
                    <a:lnTo>
                      <a:pt x="0" y="583"/>
                    </a:lnTo>
                    <a:lnTo>
                      <a:pt x="0" y="583"/>
                    </a:lnTo>
                    <a:lnTo>
                      <a:pt x="0" y="583"/>
                    </a:lnTo>
                    <a:lnTo>
                      <a:pt x="0" y="583"/>
                    </a:lnTo>
                    <a:lnTo>
                      <a:pt x="772" y="0"/>
                    </a:lnTo>
                    <a:lnTo>
                      <a:pt x="772" y="0"/>
                    </a:lnTo>
                    <a:lnTo>
                      <a:pt x="772" y="0"/>
                    </a:lnTo>
                    <a:lnTo>
                      <a:pt x="772" y="0"/>
                    </a:lnTo>
                    <a:lnTo>
                      <a:pt x="772" y="0"/>
                    </a:lnTo>
                    <a:lnTo>
                      <a:pt x="1224" y="483"/>
                    </a:lnTo>
                    <a:lnTo>
                      <a:pt x="1659" y="948"/>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54" name="Freeform 378"/>
              <p:cNvSpPr>
                <a:spLocks/>
              </p:cNvSpPr>
              <p:nvPr/>
            </p:nvSpPr>
            <p:spPr bwMode="auto">
              <a:xfrm>
                <a:off x="-7967663" y="-4110038"/>
                <a:ext cx="1346200" cy="1200150"/>
              </a:xfrm>
              <a:custGeom>
                <a:avLst/>
                <a:gdLst>
                  <a:gd name="T0" fmla="*/ 651 w 848"/>
                  <a:gd name="T1" fmla="*/ 756 h 756"/>
                  <a:gd name="T2" fmla="*/ 0 w 848"/>
                  <a:gd name="T3" fmla="*/ 0 h 756"/>
                  <a:gd name="T4" fmla="*/ 848 w 848"/>
                  <a:gd name="T5" fmla="*/ 0 h 756"/>
                  <a:gd name="T6" fmla="*/ 651 w 848"/>
                  <a:gd name="T7" fmla="*/ 756 h 756"/>
                </a:gdLst>
                <a:ahLst/>
                <a:cxnLst>
                  <a:cxn ang="0">
                    <a:pos x="T0" y="T1"/>
                  </a:cxn>
                  <a:cxn ang="0">
                    <a:pos x="T2" y="T3"/>
                  </a:cxn>
                  <a:cxn ang="0">
                    <a:pos x="T4" y="T5"/>
                  </a:cxn>
                  <a:cxn ang="0">
                    <a:pos x="T6" y="T7"/>
                  </a:cxn>
                </a:cxnLst>
                <a:rect l="0" t="0" r="r" b="b"/>
                <a:pathLst>
                  <a:path w="848" h="756">
                    <a:moveTo>
                      <a:pt x="651" y="756"/>
                    </a:moveTo>
                    <a:lnTo>
                      <a:pt x="0" y="0"/>
                    </a:lnTo>
                    <a:lnTo>
                      <a:pt x="848" y="0"/>
                    </a:lnTo>
                    <a:lnTo>
                      <a:pt x="651" y="756"/>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55" name="Freeform 379"/>
              <p:cNvSpPr>
                <a:spLocks/>
              </p:cNvSpPr>
              <p:nvPr/>
            </p:nvSpPr>
            <p:spPr bwMode="auto">
              <a:xfrm>
                <a:off x="-6934200" y="-3540126"/>
                <a:ext cx="1468438" cy="2135188"/>
              </a:xfrm>
              <a:custGeom>
                <a:avLst/>
                <a:gdLst>
                  <a:gd name="T0" fmla="*/ 887 w 925"/>
                  <a:gd name="T1" fmla="*/ 1345 h 1345"/>
                  <a:gd name="T2" fmla="*/ 452 w 925"/>
                  <a:gd name="T3" fmla="*/ 880 h 1345"/>
                  <a:gd name="T4" fmla="*/ 0 w 925"/>
                  <a:gd name="T5" fmla="*/ 397 h 1345"/>
                  <a:gd name="T6" fmla="*/ 925 w 925"/>
                  <a:gd name="T7" fmla="*/ 0 h 1345"/>
                  <a:gd name="T8" fmla="*/ 925 w 925"/>
                  <a:gd name="T9" fmla="*/ 0 h 1345"/>
                  <a:gd name="T10" fmla="*/ 888 w 925"/>
                  <a:gd name="T11" fmla="*/ 1294 h 1345"/>
                  <a:gd name="T12" fmla="*/ 887 w 925"/>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925" h="1345">
                    <a:moveTo>
                      <a:pt x="887" y="1345"/>
                    </a:moveTo>
                    <a:lnTo>
                      <a:pt x="452" y="880"/>
                    </a:lnTo>
                    <a:lnTo>
                      <a:pt x="0" y="397"/>
                    </a:lnTo>
                    <a:lnTo>
                      <a:pt x="925" y="0"/>
                    </a:lnTo>
                    <a:lnTo>
                      <a:pt x="925" y="0"/>
                    </a:lnTo>
                    <a:lnTo>
                      <a:pt x="888" y="1294"/>
                    </a:lnTo>
                    <a:lnTo>
                      <a:pt x="887" y="1345"/>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56" name="Freeform 380"/>
              <p:cNvSpPr>
                <a:spLocks/>
              </p:cNvSpPr>
              <p:nvPr/>
            </p:nvSpPr>
            <p:spPr bwMode="auto">
              <a:xfrm>
                <a:off x="-9058275" y="-4110038"/>
                <a:ext cx="2124075" cy="1200150"/>
              </a:xfrm>
              <a:custGeom>
                <a:avLst/>
                <a:gdLst>
                  <a:gd name="T0" fmla="*/ 1338 w 1338"/>
                  <a:gd name="T1" fmla="*/ 756 h 756"/>
                  <a:gd name="T2" fmla="*/ 1338 w 1338"/>
                  <a:gd name="T3" fmla="*/ 756 h 756"/>
                  <a:gd name="T4" fmla="*/ 0 w 1338"/>
                  <a:gd name="T5" fmla="*/ 359 h 756"/>
                  <a:gd name="T6" fmla="*/ 338 w 1338"/>
                  <a:gd name="T7" fmla="*/ 0 h 756"/>
                  <a:gd name="T8" fmla="*/ 687 w 1338"/>
                  <a:gd name="T9" fmla="*/ 0 h 756"/>
                  <a:gd name="T10" fmla="*/ 1338 w 1338"/>
                  <a:gd name="T11" fmla="*/ 756 h 756"/>
                </a:gdLst>
                <a:ahLst/>
                <a:cxnLst>
                  <a:cxn ang="0">
                    <a:pos x="T0" y="T1"/>
                  </a:cxn>
                  <a:cxn ang="0">
                    <a:pos x="T2" y="T3"/>
                  </a:cxn>
                  <a:cxn ang="0">
                    <a:pos x="T4" y="T5"/>
                  </a:cxn>
                  <a:cxn ang="0">
                    <a:pos x="T6" y="T7"/>
                  </a:cxn>
                  <a:cxn ang="0">
                    <a:pos x="T8" y="T9"/>
                  </a:cxn>
                  <a:cxn ang="0">
                    <a:pos x="T10" y="T11"/>
                  </a:cxn>
                </a:cxnLst>
                <a:rect l="0" t="0" r="r" b="b"/>
                <a:pathLst>
                  <a:path w="1338" h="756">
                    <a:moveTo>
                      <a:pt x="1338" y="756"/>
                    </a:moveTo>
                    <a:lnTo>
                      <a:pt x="1338" y="756"/>
                    </a:lnTo>
                    <a:lnTo>
                      <a:pt x="0" y="359"/>
                    </a:lnTo>
                    <a:lnTo>
                      <a:pt x="338" y="0"/>
                    </a:lnTo>
                    <a:lnTo>
                      <a:pt x="687" y="0"/>
                    </a:lnTo>
                    <a:lnTo>
                      <a:pt x="1338"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57" name="Freeform 381"/>
              <p:cNvSpPr>
                <a:spLocks/>
              </p:cNvSpPr>
              <p:nvPr/>
            </p:nvSpPr>
            <p:spPr bwMode="auto">
              <a:xfrm>
                <a:off x="-6934200" y="-4110038"/>
                <a:ext cx="1468438" cy="1200150"/>
              </a:xfrm>
              <a:custGeom>
                <a:avLst/>
                <a:gdLst>
                  <a:gd name="T0" fmla="*/ 0 w 925"/>
                  <a:gd name="T1" fmla="*/ 756 h 756"/>
                  <a:gd name="T2" fmla="*/ 0 w 925"/>
                  <a:gd name="T3" fmla="*/ 756 h 756"/>
                  <a:gd name="T4" fmla="*/ 197 w 925"/>
                  <a:gd name="T5" fmla="*/ 0 h 756"/>
                  <a:gd name="T6" fmla="*/ 718 w 925"/>
                  <a:gd name="T7" fmla="*/ 0 h 756"/>
                  <a:gd name="T8" fmla="*/ 925 w 925"/>
                  <a:gd name="T9" fmla="*/ 359 h 756"/>
                  <a:gd name="T10" fmla="*/ 925 w 925"/>
                  <a:gd name="T11" fmla="*/ 359 h 756"/>
                  <a:gd name="T12" fmla="*/ 925 w 925"/>
                  <a:gd name="T13" fmla="*/ 359 h 756"/>
                  <a:gd name="T14" fmla="*/ 925 w 925"/>
                  <a:gd name="T15" fmla="*/ 359 h 756"/>
                  <a:gd name="T16" fmla="*/ 925 w 925"/>
                  <a:gd name="T17" fmla="*/ 359 h 756"/>
                  <a:gd name="T18" fmla="*/ 925 w 925"/>
                  <a:gd name="T19" fmla="*/ 359 h 756"/>
                  <a:gd name="T20" fmla="*/ 0 w 925"/>
                  <a:gd name="T21" fmla="*/ 756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5" h="756">
                    <a:moveTo>
                      <a:pt x="0" y="756"/>
                    </a:moveTo>
                    <a:lnTo>
                      <a:pt x="0" y="756"/>
                    </a:lnTo>
                    <a:lnTo>
                      <a:pt x="197" y="0"/>
                    </a:lnTo>
                    <a:lnTo>
                      <a:pt x="718" y="0"/>
                    </a:lnTo>
                    <a:lnTo>
                      <a:pt x="925" y="359"/>
                    </a:lnTo>
                    <a:lnTo>
                      <a:pt x="925" y="359"/>
                    </a:lnTo>
                    <a:lnTo>
                      <a:pt x="925" y="359"/>
                    </a:lnTo>
                    <a:lnTo>
                      <a:pt x="925" y="359"/>
                    </a:lnTo>
                    <a:lnTo>
                      <a:pt x="925" y="359"/>
                    </a:lnTo>
                    <a:lnTo>
                      <a:pt x="925" y="359"/>
                    </a:lnTo>
                    <a:lnTo>
                      <a:pt x="0"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58" name="Freeform 382"/>
              <p:cNvSpPr>
                <a:spLocks/>
              </p:cNvSpPr>
              <p:nvPr/>
            </p:nvSpPr>
            <p:spPr bwMode="auto">
              <a:xfrm>
                <a:off x="-9058275" y="-3540126"/>
                <a:ext cx="2124075" cy="1555750"/>
              </a:xfrm>
              <a:custGeom>
                <a:avLst/>
                <a:gdLst>
                  <a:gd name="T0" fmla="*/ 566 w 1338"/>
                  <a:gd name="T1" fmla="*/ 980 h 980"/>
                  <a:gd name="T2" fmla="*/ 0 w 1338"/>
                  <a:gd name="T3" fmla="*/ 0 h 980"/>
                  <a:gd name="T4" fmla="*/ 1338 w 1338"/>
                  <a:gd name="T5" fmla="*/ 397 h 980"/>
                  <a:gd name="T6" fmla="*/ 566 w 1338"/>
                  <a:gd name="T7" fmla="*/ 980 h 980"/>
                </a:gdLst>
                <a:ahLst/>
                <a:cxnLst>
                  <a:cxn ang="0">
                    <a:pos x="T0" y="T1"/>
                  </a:cxn>
                  <a:cxn ang="0">
                    <a:pos x="T2" y="T3"/>
                  </a:cxn>
                  <a:cxn ang="0">
                    <a:pos x="T4" y="T5"/>
                  </a:cxn>
                  <a:cxn ang="0">
                    <a:pos x="T6" y="T7"/>
                  </a:cxn>
                </a:cxnLst>
                <a:rect l="0" t="0" r="r" b="b"/>
                <a:pathLst>
                  <a:path w="1338" h="980">
                    <a:moveTo>
                      <a:pt x="566" y="980"/>
                    </a:moveTo>
                    <a:lnTo>
                      <a:pt x="0" y="0"/>
                    </a:lnTo>
                    <a:lnTo>
                      <a:pt x="1338" y="397"/>
                    </a:lnTo>
                    <a:lnTo>
                      <a:pt x="566"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59" name="Freeform 383"/>
              <p:cNvSpPr>
                <a:spLocks/>
              </p:cNvSpPr>
              <p:nvPr/>
            </p:nvSpPr>
            <p:spPr bwMode="auto">
              <a:xfrm>
                <a:off x="-8159750" y="-2909888"/>
                <a:ext cx="1225550" cy="925513"/>
              </a:xfrm>
              <a:custGeom>
                <a:avLst/>
                <a:gdLst>
                  <a:gd name="T0" fmla="*/ 0 w 772"/>
                  <a:gd name="T1" fmla="*/ 583 h 583"/>
                  <a:gd name="T2" fmla="*/ 0 w 772"/>
                  <a:gd name="T3" fmla="*/ 583 h 583"/>
                  <a:gd name="T4" fmla="*/ 772 w 772"/>
                  <a:gd name="T5" fmla="*/ 0 h 583"/>
                  <a:gd name="T6" fmla="*/ 772 w 772"/>
                  <a:gd name="T7" fmla="*/ 0 h 583"/>
                  <a:gd name="T8" fmla="*/ 0 w 772"/>
                  <a:gd name="T9" fmla="*/ 583 h 583"/>
                </a:gdLst>
                <a:ahLst/>
                <a:cxnLst>
                  <a:cxn ang="0">
                    <a:pos x="T0" y="T1"/>
                  </a:cxn>
                  <a:cxn ang="0">
                    <a:pos x="T2" y="T3"/>
                  </a:cxn>
                  <a:cxn ang="0">
                    <a:pos x="T4" y="T5"/>
                  </a:cxn>
                  <a:cxn ang="0">
                    <a:pos x="T6" y="T7"/>
                  </a:cxn>
                  <a:cxn ang="0">
                    <a:pos x="T8" y="T9"/>
                  </a:cxn>
                </a:cxnLst>
                <a:rect l="0" t="0" r="r" b="b"/>
                <a:pathLst>
                  <a:path w="772" h="583">
                    <a:moveTo>
                      <a:pt x="0" y="583"/>
                    </a:moveTo>
                    <a:lnTo>
                      <a:pt x="0" y="583"/>
                    </a:lnTo>
                    <a:lnTo>
                      <a:pt x="772" y="0"/>
                    </a:lnTo>
                    <a:lnTo>
                      <a:pt x="772" y="0"/>
                    </a:lnTo>
                    <a:lnTo>
                      <a:pt x="0" y="58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60" name="Freeform 384"/>
              <p:cNvSpPr>
                <a:spLocks noEditPoints="1"/>
              </p:cNvSpPr>
              <p:nvPr/>
            </p:nvSpPr>
            <p:spPr bwMode="auto">
              <a:xfrm>
                <a:off x="-5465763" y="-4110038"/>
                <a:ext cx="1797050" cy="569913"/>
              </a:xfrm>
              <a:custGeom>
                <a:avLst/>
                <a:gdLst>
                  <a:gd name="T0" fmla="*/ 2358 w 2358"/>
                  <a:gd name="T1" fmla="*/ 748 h 748"/>
                  <a:gd name="T2" fmla="*/ 1 w 2358"/>
                  <a:gd name="T3" fmla="*/ 748 h 748"/>
                  <a:gd name="T4" fmla="*/ 247 w 2358"/>
                  <a:gd name="T5" fmla="*/ 0 h 748"/>
                  <a:gd name="T6" fmla="*/ 1489 w 2358"/>
                  <a:gd name="T7" fmla="*/ 0 h 748"/>
                  <a:gd name="T8" fmla="*/ 2358 w 2358"/>
                  <a:gd name="T9" fmla="*/ 748 h 748"/>
                  <a:gd name="T10" fmla="*/ 1 w 2358"/>
                  <a:gd name="T11" fmla="*/ 748 h 748"/>
                  <a:gd name="T12" fmla="*/ 0 w 2358"/>
                  <a:gd name="T13" fmla="*/ 748 h 748"/>
                  <a:gd name="T14" fmla="*/ 0 w 2358"/>
                  <a:gd name="T15" fmla="*/ 747 h 748"/>
                  <a:gd name="T16" fmla="*/ 0 w 2358"/>
                  <a:gd name="T17" fmla="*/ 747 h 748"/>
                  <a:gd name="T18" fmla="*/ 1 w 2358"/>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8" h="748">
                    <a:moveTo>
                      <a:pt x="2358" y="748"/>
                    </a:moveTo>
                    <a:lnTo>
                      <a:pt x="1" y="748"/>
                    </a:lnTo>
                    <a:lnTo>
                      <a:pt x="247" y="0"/>
                    </a:lnTo>
                    <a:lnTo>
                      <a:pt x="1489" y="0"/>
                    </a:lnTo>
                    <a:lnTo>
                      <a:pt x="2358" y="748"/>
                    </a:lnTo>
                    <a:moveTo>
                      <a:pt x="1" y="748"/>
                    </a:moveTo>
                    <a:lnTo>
                      <a:pt x="0" y="748"/>
                    </a:lnTo>
                    <a:lnTo>
                      <a:pt x="0" y="747"/>
                    </a:lnTo>
                    <a:lnTo>
                      <a:pt x="0" y="747"/>
                    </a:lnTo>
                    <a:lnTo>
                      <a:pt x="1"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61" name="Freeform 385"/>
              <p:cNvSpPr>
                <a:spLocks/>
              </p:cNvSpPr>
              <p:nvPr/>
            </p:nvSpPr>
            <p:spPr bwMode="auto">
              <a:xfrm>
                <a:off x="-4330700" y="-4110038"/>
                <a:ext cx="1114425" cy="569913"/>
              </a:xfrm>
              <a:custGeom>
                <a:avLst/>
                <a:gdLst>
                  <a:gd name="T0" fmla="*/ 417 w 702"/>
                  <a:gd name="T1" fmla="*/ 359 h 359"/>
                  <a:gd name="T2" fmla="*/ 417 w 702"/>
                  <a:gd name="T3" fmla="*/ 359 h 359"/>
                  <a:gd name="T4" fmla="*/ 417 w 702"/>
                  <a:gd name="T5" fmla="*/ 359 h 359"/>
                  <a:gd name="T6" fmla="*/ 0 w 702"/>
                  <a:gd name="T7" fmla="*/ 0 h 359"/>
                  <a:gd name="T8" fmla="*/ 702 w 702"/>
                  <a:gd name="T9" fmla="*/ 0 h 359"/>
                  <a:gd name="T10" fmla="*/ 417 w 702"/>
                  <a:gd name="T11" fmla="*/ 359 h 359"/>
                  <a:gd name="T12" fmla="*/ 417 w 702"/>
                  <a:gd name="T13" fmla="*/ 359 h 359"/>
                  <a:gd name="T14" fmla="*/ 417 w 702"/>
                  <a:gd name="T15" fmla="*/ 359 h 359"/>
                  <a:gd name="T16" fmla="*/ 417 w 702"/>
                  <a:gd name="T17"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2" h="359">
                    <a:moveTo>
                      <a:pt x="417" y="359"/>
                    </a:moveTo>
                    <a:lnTo>
                      <a:pt x="417" y="359"/>
                    </a:lnTo>
                    <a:lnTo>
                      <a:pt x="417" y="359"/>
                    </a:lnTo>
                    <a:lnTo>
                      <a:pt x="0" y="0"/>
                    </a:lnTo>
                    <a:lnTo>
                      <a:pt x="702" y="0"/>
                    </a:lnTo>
                    <a:lnTo>
                      <a:pt x="417" y="359"/>
                    </a:lnTo>
                    <a:lnTo>
                      <a:pt x="417" y="359"/>
                    </a:lnTo>
                    <a:lnTo>
                      <a:pt x="417" y="359"/>
                    </a:lnTo>
                    <a:lnTo>
                      <a:pt x="417"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62" name="Freeform 386"/>
              <p:cNvSpPr>
                <a:spLocks/>
              </p:cNvSpPr>
              <p:nvPr/>
            </p:nvSpPr>
            <p:spPr bwMode="auto">
              <a:xfrm>
                <a:off x="-4330700" y="-4110038"/>
                <a:ext cx="661988" cy="569913"/>
              </a:xfrm>
              <a:custGeom>
                <a:avLst/>
                <a:gdLst>
                  <a:gd name="T0" fmla="*/ 417 w 417"/>
                  <a:gd name="T1" fmla="*/ 359 h 359"/>
                  <a:gd name="T2" fmla="*/ 417 w 417"/>
                  <a:gd name="T3" fmla="*/ 359 h 359"/>
                  <a:gd name="T4" fmla="*/ 0 w 417"/>
                  <a:gd name="T5" fmla="*/ 0 h 359"/>
                  <a:gd name="T6" fmla="*/ 0 w 417"/>
                  <a:gd name="T7" fmla="*/ 0 h 359"/>
                  <a:gd name="T8" fmla="*/ 417 w 417"/>
                  <a:gd name="T9" fmla="*/ 359 h 359"/>
                </a:gdLst>
                <a:ahLst/>
                <a:cxnLst>
                  <a:cxn ang="0">
                    <a:pos x="T0" y="T1"/>
                  </a:cxn>
                  <a:cxn ang="0">
                    <a:pos x="T2" y="T3"/>
                  </a:cxn>
                  <a:cxn ang="0">
                    <a:pos x="T4" y="T5"/>
                  </a:cxn>
                  <a:cxn ang="0">
                    <a:pos x="T6" y="T7"/>
                  </a:cxn>
                  <a:cxn ang="0">
                    <a:pos x="T8" y="T9"/>
                  </a:cxn>
                </a:cxnLst>
                <a:rect l="0" t="0" r="r" b="b"/>
                <a:pathLst>
                  <a:path w="417" h="359">
                    <a:moveTo>
                      <a:pt x="417" y="359"/>
                    </a:moveTo>
                    <a:lnTo>
                      <a:pt x="417" y="359"/>
                    </a:lnTo>
                    <a:lnTo>
                      <a:pt x="0" y="0"/>
                    </a:lnTo>
                    <a:lnTo>
                      <a:pt x="0" y="0"/>
                    </a:lnTo>
                    <a:lnTo>
                      <a:pt x="417"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63" name="Freeform 387"/>
              <p:cNvSpPr>
                <a:spLocks/>
              </p:cNvSpPr>
              <p:nvPr/>
            </p:nvSpPr>
            <p:spPr bwMode="auto">
              <a:xfrm>
                <a:off x="-5794375" y="-4110038"/>
                <a:ext cx="517525" cy="569913"/>
              </a:xfrm>
              <a:custGeom>
                <a:avLst/>
                <a:gdLst>
                  <a:gd name="T0" fmla="*/ 207 w 326"/>
                  <a:gd name="T1" fmla="*/ 359 h 359"/>
                  <a:gd name="T2" fmla="*/ 0 w 326"/>
                  <a:gd name="T3" fmla="*/ 0 h 359"/>
                  <a:gd name="T4" fmla="*/ 326 w 326"/>
                  <a:gd name="T5" fmla="*/ 0 h 359"/>
                  <a:gd name="T6" fmla="*/ 207 w 326"/>
                  <a:gd name="T7" fmla="*/ 359 h 359"/>
                </a:gdLst>
                <a:ahLst/>
                <a:cxnLst>
                  <a:cxn ang="0">
                    <a:pos x="T0" y="T1"/>
                  </a:cxn>
                  <a:cxn ang="0">
                    <a:pos x="T2" y="T3"/>
                  </a:cxn>
                  <a:cxn ang="0">
                    <a:pos x="T4" y="T5"/>
                  </a:cxn>
                  <a:cxn ang="0">
                    <a:pos x="T6" y="T7"/>
                  </a:cxn>
                </a:cxnLst>
                <a:rect l="0" t="0" r="r" b="b"/>
                <a:pathLst>
                  <a:path w="326" h="359">
                    <a:moveTo>
                      <a:pt x="207" y="359"/>
                    </a:moveTo>
                    <a:lnTo>
                      <a:pt x="0" y="0"/>
                    </a:lnTo>
                    <a:lnTo>
                      <a:pt x="326" y="0"/>
                    </a:lnTo>
                    <a:lnTo>
                      <a:pt x="207" y="35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64" name="Freeform 388"/>
              <p:cNvSpPr>
                <a:spLocks/>
              </p:cNvSpPr>
              <p:nvPr/>
            </p:nvSpPr>
            <p:spPr bwMode="auto">
              <a:xfrm>
                <a:off x="-5465763" y="-4110038"/>
                <a:ext cx="188913" cy="569913"/>
              </a:xfrm>
              <a:custGeom>
                <a:avLst/>
                <a:gdLst>
                  <a:gd name="T0" fmla="*/ 0 w 119"/>
                  <a:gd name="T1" fmla="*/ 359 h 359"/>
                  <a:gd name="T2" fmla="*/ 0 w 119"/>
                  <a:gd name="T3" fmla="*/ 359 h 359"/>
                  <a:gd name="T4" fmla="*/ 0 w 119"/>
                  <a:gd name="T5" fmla="*/ 359 h 359"/>
                  <a:gd name="T6" fmla="*/ 119 w 119"/>
                  <a:gd name="T7" fmla="*/ 0 h 359"/>
                  <a:gd name="T8" fmla="*/ 119 w 119"/>
                  <a:gd name="T9" fmla="*/ 0 h 359"/>
                  <a:gd name="T10" fmla="*/ 0 w 119"/>
                  <a:gd name="T11" fmla="*/ 359 h 359"/>
                </a:gdLst>
                <a:ahLst/>
                <a:cxnLst>
                  <a:cxn ang="0">
                    <a:pos x="T0" y="T1"/>
                  </a:cxn>
                  <a:cxn ang="0">
                    <a:pos x="T2" y="T3"/>
                  </a:cxn>
                  <a:cxn ang="0">
                    <a:pos x="T4" y="T5"/>
                  </a:cxn>
                  <a:cxn ang="0">
                    <a:pos x="T6" y="T7"/>
                  </a:cxn>
                  <a:cxn ang="0">
                    <a:pos x="T8" y="T9"/>
                  </a:cxn>
                  <a:cxn ang="0">
                    <a:pos x="T10" y="T11"/>
                  </a:cxn>
                </a:cxnLst>
                <a:rect l="0" t="0" r="r" b="b"/>
                <a:pathLst>
                  <a:path w="119" h="359">
                    <a:moveTo>
                      <a:pt x="0" y="359"/>
                    </a:moveTo>
                    <a:lnTo>
                      <a:pt x="0" y="359"/>
                    </a:lnTo>
                    <a:lnTo>
                      <a:pt x="0" y="359"/>
                    </a:lnTo>
                    <a:lnTo>
                      <a:pt x="119" y="0"/>
                    </a:lnTo>
                    <a:lnTo>
                      <a:pt x="119"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65" name="Freeform 389"/>
              <p:cNvSpPr>
                <a:spLocks noEditPoints="1"/>
              </p:cNvSpPr>
              <p:nvPr/>
            </p:nvSpPr>
            <p:spPr bwMode="auto">
              <a:xfrm>
                <a:off x="-8159750" y="-428626"/>
                <a:ext cx="1795463" cy="1554163"/>
              </a:xfrm>
              <a:custGeom>
                <a:avLst/>
                <a:gdLst>
                  <a:gd name="T0" fmla="*/ 2358 w 2358"/>
                  <a:gd name="T1" fmla="*/ 2041 h 2041"/>
                  <a:gd name="T2" fmla="*/ 1 w 2358"/>
                  <a:gd name="T3" fmla="*/ 2041 h 2041"/>
                  <a:gd name="T4" fmla="*/ 1179 w 2358"/>
                  <a:gd name="T5" fmla="*/ 0 h 2041"/>
                  <a:gd name="T6" fmla="*/ 1179 w 2358"/>
                  <a:gd name="T7" fmla="*/ 0 h 2041"/>
                  <a:gd name="T8" fmla="*/ 1179 w 2358"/>
                  <a:gd name="T9" fmla="*/ 0 h 2041"/>
                  <a:gd name="T10" fmla="*/ 1507 w 2358"/>
                  <a:gd name="T11" fmla="*/ 567 h 2041"/>
                  <a:gd name="T12" fmla="*/ 2358 w 2358"/>
                  <a:gd name="T13" fmla="*/ 2041 h 2041"/>
                  <a:gd name="T14" fmla="*/ 1 w 2358"/>
                  <a:gd name="T15" fmla="*/ 2041 h 2041"/>
                  <a:gd name="T16" fmla="*/ 0 w 2358"/>
                  <a:gd name="T17" fmla="*/ 2041 h 2041"/>
                  <a:gd name="T18" fmla="*/ 1 w 2358"/>
                  <a:gd name="T19" fmla="*/ 2041 h 2041"/>
                  <a:gd name="T20" fmla="*/ 1 w 2358"/>
                  <a:gd name="T21" fmla="*/ 2041 h 2041"/>
                  <a:gd name="T22" fmla="*/ 1179 w 2358"/>
                  <a:gd name="T23" fmla="*/ 0 h 2041"/>
                  <a:gd name="T24" fmla="*/ 1179 w 2358"/>
                  <a:gd name="T25" fmla="*/ 0 h 2041"/>
                  <a:gd name="T26" fmla="*/ 1179 w 2358"/>
                  <a:gd name="T27" fmla="*/ 0 h 2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8" h="2041">
                    <a:moveTo>
                      <a:pt x="2358" y="2041"/>
                    </a:moveTo>
                    <a:lnTo>
                      <a:pt x="1" y="2041"/>
                    </a:lnTo>
                    <a:lnTo>
                      <a:pt x="1179" y="0"/>
                    </a:lnTo>
                    <a:lnTo>
                      <a:pt x="1179" y="0"/>
                    </a:lnTo>
                    <a:lnTo>
                      <a:pt x="1179" y="0"/>
                    </a:lnTo>
                    <a:lnTo>
                      <a:pt x="1507" y="567"/>
                    </a:lnTo>
                    <a:lnTo>
                      <a:pt x="2358" y="2041"/>
                    </a:lnTo>
                    <a:moveTo>
                      <a:pt x="1" y="2041"/>
                    </a:moveTo>
                    <a:lnTo>
                      <a:pt x="0" y="2041"/>
                    </a:lnTo>
                    <a:lnTo>
                      <a:pt x="1" y="2041"/>
                    </a:lnTo>
                    <a:lnTo>
                      <a:pt x="1" y="2041"/>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66" name="Freeform 390"/>
              <p:cNvSpPr>
                <a:spLocks/>
              </p:cNvSpPr>
              <p:nvPr/>
            </p:nvSpPr>
            <p:spPr bwMode="auto">
              <a:xfrm>
                <a:off x="-8159750" y="-1984376"/>
                <a:ext cx="2633663" cy="1555750"/>
              </a:xfrm>
              <a:custGeom>
                <a:avLst/>
                <a:gdLst>
                  <a:gd name="T0" fmla="*/ 566 w 1659"/>
                  <a:gd name="T1" fmla="*/ 980 h 980"/>
                  <a:gd name="T2" fmla="*/ 566 w 1659"/>
                  <a:gd name="T3" fmla="*/ 980 h 980"/>
                  <a:gd name="T4" fmla="*/ 307 w 1659"/>
                  <a:gd name="T5" fmla="*/ 532 h 980"/>
                  <a:gd name="T6" fmla="*/ 0 w 1659"/>
                  <a:gd name="T7" fmla="*/ 0 h 980"/>
                  <a:gd name="T8" fmla="*/ 0 w 1659"/>
                  <a:gd name="T9" fmla="*/ 0 h 980"/>
                  <a:gd name="T10" fmla="*/ 1659 w 1659"/>
                  <a:gd name="T11" fmla="*/ 365 h 980"/>
                  <a:gd name="T12" fmla="*/ 566 w 1659"/>
                  <a:gd name="T13" fmla="*/ 980 h 980"/>
                </a:gdLst>
                <a:ahLst/>
                <a:cxnLst>
                  <a:cxn ang="0">
                    <a:pos x="T0" y="T1"/>
                  </a:cxn>
                  <a:cxn ang="0">
                    <a:pos x="T2" y="T3"/>
                  </a:cxn>
                  <a:cxn ang="0">
                    <a:pos x="T4" y="T5"/>
                  </a:cxn>
                  <a:cxn ang="0">
                    <a:pos x="T6" y="T7"/>
                  </a:cxn>
                  <a:cxn ang="0">
                    <a:pos x="T8" y="T9"/>
                  </a:cxn>
                  <a:cxn ang="0">
                    <a:pos x="T10" y="T11"/>
                  </a:cxn>
                  <a:cxn ang="0">
                    <a:pos x="T12" y="T13"/>
                  </a:cxn>
                </a:cxnLst>
                <a:rect l="0" t="0" r="r" b="b"/>
                <a:pathLst>
                  <a:path w="1659" h="980">
                    <a:moveTo>
                      <a:pt x="566" y="980"/>
                    </a:moveTo>
                    <a:lnTo>
                      <a:pt x="566" y="980"/>
                    </a:lnTo>
                    <a:lnTo>
                      <a:pt x="307" y="532"/>
                    </a:lnTo>
                    <a:lnTo>
                      <a:pt x="0" y="0"/>
                    </a:lnTo>
                    <a:lnTo>
                      <a:pt x="0" y="0"/>
                    </a:lnTo>
                    <a:lnTo>
                      <a:pt x="1659" y="36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67" name="Freeform 391"/>
              <p:cNvSpPr>
                <a:spLocks/>
              </p:cNvSpPr>
              <p:nvPr/>
            </p:nvSpPr>
            <p:spPr bwMode="auto">
              <a:xfrm>
                <a:off x="-7261225" y="-428626"/>
                <a:ext cx="1735138" cy="1554163"/>
              </a:xfrm>
              <a:custGeom>
                <a:avLst/>
                <a:gdLst>
                  <a:gd name="T0" fmla="*/ 565 w 1093"/>
                  <a:gd name="T1" fmla="*/ 979 h 979"/>
                  <a:gd name="T2" fmla="*/ 157 w 1093"/>
                  <a:gd name="T3" fmla="*/ 272 h 979"/>
                  <a:gd name="T4" fmla="*/ 0 w 1093"/>
                  <a:gd name="T5" fmla="*/ 0 h 979"/>
                  <a:gd name="T6" fmla="*/ 1093 w 1093"/>
                  <a:gd name="T7" fmla="*/ 684 h 979"/>
                  <a:gd name="T8" fmla="*/ 1093 w 1093"/>
                  <a:gd name="T9" fmla="*/ 684 h 979"/>
                  <a:gd name="T10" fmla="*/ 1093 w 1093"/>
                  <a:gd name="T11" fmla="*/ 684 h 979"/>
                  <a:gd name="T12" fmla="*/ 1093 w 1093"/>
                  <a:gd name="T13" fmla="*/ 684 h 979"/>
                  <a:gd name="T14" fmla="*/ 1093 w 1093"/>
                  <a:gd name="T15" fmla="*/ 684 h 979"/>
                  <a:gd name="T16" fmla="*/ 965 w 1093"/>
                  <a:gd name="T17" fmla="*/ 756 h 979"/>
                  <a:gd name="T18" fmla="*/ 565 w 1093"/>
                  <a:gd name="T19" fmla="*/ 979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3" h="979">
                    <a:moveTo>
                      <a:pt x="565" y="979"/>
                    </a:moveTo>
                    <a:lnTo>
                      <a:pt x="157" y="272"/>
                    </a:lnTo>
                    <a:lnTo>
                      <a:pt x="0" y="0"/>
                    </a:lnTo>
                    <a:lnTo>
                      <a:pt x="1093" y="684"/>
                    </a:lnTo>
                    <a:lnTo>
                      <a:pt x="1093" y="684"/>
                    </a:lnTo>
                    <a:lnTo>
                      <a:pt x="1093" y="684"/>
                    </a:lnTo>
                    <a:lnTo>
                      <a:pt x="1093" y="684"/>
                    </a:lnTo>
                    <a:lnTo>
                      <a:pt x="1093" y="684"/>
                    </a:lnTo>
                    <a:lnTo>
                      <a:pt x="965" y="756"/>
                    </a:lnTo>
                    <a:lnTo>
                      <a:pt x="565" y="97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68" name="Freeform 392"/>
              <p:cNvSpPr>
                <a:spLocks noEditPoints="1"/>
              </p:cNvSpPr>
              <p:nvPr/>
            </p:nvSpPr>
            <p:spPr bwMode="auto">
              <a:xfrm>
                <a:off x="-9456738" y="-1984376"/>
                <a:ext cx="2195513" cy="1555750"/>
              </a:xfrm>
              <a:custGeom>
                <a:avLst/>
                <a:gdLst>
                  <a:gd name="T0" fmla="*/ 2879 w 2879"/>
                  <a:gd name="T1" fmla="*/ 2042 h 2042"/>
                  <a:gd name="T2" fmla="*/ 0 w 2879"/>
                  <a:gd name="T3" fmla="*/ 1320 h 2042"/>
                  <a:gd name="T4" fmla="*/ 444 w 2879"/>
                  <a:gd name="T5" fmla="*/ 976 h 2042"/>
                  <a:gd name="T6" fmla="*/ 1701 w 2879"/>
                  <a:gd name="T7" fmla="*/ 1 h 2042"/>
                  <a:gd name="T8" fmla="*/ 2340 w 2879"/>
                  <a:gd name="T9" fmla="*/ 1109 h 2042"/>
                  <a:gd name="T10" fmla="*/ 2879 w 2879"/>
                  <a:gd name="T11" fmla="*/ 2042 h 2042"/>
                  <a:gd name="T12" fmla="*/ 2879 w 2879"/>
                  <a:gd name="T13" fmla="*/ 2042 h 2042"/>
                  <a:gd name="T14" fmla="*/ 1701 w 2879"/>
                  <a:gd name="T15" fmla="*/ 1 h 2042"/>
                  <a:gd name="T16" fmla="*/ 1700 w 2879"/>
                  <a:gd name="T17" fmla="*/ 1 h 2042"/>
                  <a:gd name="T18" fmla="*/ 1701 w 2879"/>
                  <a:gd name="T19" fmla="*/ 0 h 2042"/>
                  <a:gd name="T20" fmla="*/ 1701 w 2879"/>
                  <a:gd name="T21" fmla="*/ 1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9" h="2042">
                    <a:moveTo>
                      <a:pt x="2879" y="2042"/>
                    </a:moveTo>
                    <a:lnTo>
                      <a:pt x="0" y="1320"/>
                    </a:lnTo>
                    <a:lnTo>
                      <a:pt x="444" y="976"/>
                    </a:lnTo>
                    <a:lnTo>
                      <a:pt x="1701" y="1"/>
                    </a:lnTo>
                    <a:lnTo>
                      <a:pt x="2340" y="1109"/>
                    </a:lnTo>
                    <a:lnTo>
                      <a:pt x="2879" y="2042"/>
                    </a:lnTo>
                    <a:lnTo>
                      <a:pt x="2879" y="2042"/>
                    </a:lnTo>
                    <a:moveTo>
                      <a:pt x="1701" y="1"/>
                    </a:moveTo>
                    <a:lnTo>
                      <a:pt x="1700" y="1"/>
                    </a:lnTo>
                    <a:lnTo>
                      <a:pt x="1701" y="0"/>
                    </a:lnTo>
                    <a:lnTo>
                      <a:pt x="170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69" name="Freeform 393"/>
              <p:cNvSpPr>
                <a:spLocks/>
              </p:cNvSpPr>
              <p:nvPr/>
            </p:nvSpPr>
            <p:spPr bwMode="auto">
              <a:xfrm>
                <a:off x="-9117013" y="-1984376"/>
                <a:ext cx="957263" cy="742950"/>
              </a:xfrm>
              <a:custGeom>
                <a:avLst/>
                <a:gdLst>
                  <a:gd name="T0" fmla="*/ 0 w 603"/>
                  <a:gd name="T1" fmla="*/ 468 h 468"/>
                  <a:gd name="T2" fmla="*/ 603 w 603"/>
                  <a:gd name="T3" fmla="*/ 0 h 468"/>
                  <a:gd name="T4" fmla="*/ 603 w 603"/>
                  <a:gd name="T5" fmla="*/ 0 h 468"/>
                  <a:gd name="T6" fmla="*/ 603 w 603"/>
                  <a:gd name="T7" fmla="*/ 0 h 468"/>
                  <a:gd name="T8" fmla="*/ 0 w 603"/>
                  <a:gd name="T9" fmla="*/ 468 h 468"/>
                </a:gdLst>
                <a:ahLst/>
                <a:cxnLst>
                  <a:cxn ang="0">
                    <a:pos x="T0" y="T1"/>
                  </a:cxn>
                  <a:cxn ang="0">
                    <a:pos x="T2" y="T3"/>
                  </a:cxn>
                  <a:cxn ang="0">
                    <a:pos x="T4" y="T5"/>
                  </a:cxn>
                  <a:cxn ang="0">
                    <a:pos x="T6" y="T7"/>
                  </a:cxn>
                  <a:cxn ang="0">
                    <a:pos x="T8" y="T9"/>
                  </a:cxn>
                </a:cxnLst>
                <a:rect l="0" t="0" r="r" b="b"/>
                <a:pathLst>
                  <a:path w="603" h="468">
                    <a:moveTo>
                      <a:pt x="0" y="468"/>
                    </a:moveTo>
                    <a:lnTo>
                      <a:pt x="603" y="0"/>
                    </a:lnTo>
                    <a:lnTo>
                      <a:pt x="603" y="0"/>
                    </a:lnTo>
                    <a:lnTo>
                      <a:pt x="603" y="0"/>
                    </a:lnTo>
                    <a:lnTo>
                      <a:pt x="0" y="468"/>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70" name="Freeform 394"/>
              <p:cNvSpPr>
                <a:spLocks/>
              </p:cNvSpPr>
              <p:nvPr/>
            </p:nvSpPr>
            <p:spPr bwMode="auto">
              <a:xfrm>
                <a:off x="-8159750" y="-1984376"/>
                <a:ext cx="487363" cy="844550"/>
              </a:xfrm>
              <a:custGeom>
                <a:avLst/>
                <a:gdLst>
                  <a:gd name="T0" fmla="*/ 307 w 307"/>
                  <a:gd name="T1" fmla="*/ 532 h 532"/>
                  <a:gd name="T2" fmla="*/ 0 w 307"/>
                  <a:gd name="T3" fmla="*/ 0 h 532"/>
                  <a:gd name="T4" fmla="*/ 0 w 307"/>
                  <a:gd name="T5" fmla="*/ 0 h 532"/>
                  <a:gd name="T6" fmla="*/ 0 w 307"/>
                  <a:gd name="T7" fmla="*/ 0 h 532"/>
                  <a:gd name="T8" fmla="*/ 0 w 307"/>
                  <a:gd name="T9" fmla="*/ 0 h 532"/>
                  <a:gd name="T10" fmla="*/ 307 w 307"/>
                  <a:gd name="T11" fmla="*/ 532 h 532"/>
                </a:gdLst>
                <a:ahLst/>
                <a:cxnLst>
                  <a:cxn ang="0">
                    <a:pos x="T0" y="T1"/>
                  </a:cxn>
                  <a:cxn ang="0">
                    <a:pos x="T2" y="T3"/>
                  </a:cxn>
                  <a:cxn ang="0">
                    <a:pos x="T4" y="T5"/>
                  </a:cxn>
                  <a:cxn ang="0">
                    <a:pos x="T6" y="T7"/>
                  </a:cxn>
                  <a:cxn ang="0">
                    <a:pos x="T8" y="T9"/>
                  </a:cxn>
                  <a:cxn ang="0">
                    <a:pos x="T10" y="T11"/>
                  </a:cxn>
                </a:cxnLst>
                <a:rect l="0" t="0" r="r" b="b"/>
                <a:pathLst>
                  <a:path w="307" h="532">
                    <a:moveTo>
                      <a:pt x="307" y="532"/>
                    </a:moveTo>
                    <a:lnTo>
                      <a:pt x="0" y="0"/>
                    </a:lnTo>
                    <a:lnTo>
                      <a:pt x="0" y="0"/>
                    </a:lnTo>
                    <a:lnTo>
                      <a:pt x="0" y="0"/>
                    </a:lnTo>
                    <a:lnTo>
                      <a:pt x="0" y="0"/>
                    </a:lnTo>
                    <a:lnTo>
                      <a:pt x="307" y="5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71" name="Freeform 395"/>
              <p:cNvSpPr>
                <a:spLocks noEditPoints="1"/>
              </p:cNvSpPr>
              <p:nvPr/>
            </p:nvSpPr>
            <p:spPr bwMode="auto">
              <a:xfrm>
                <a:off x="-7261225" y="-1404938"/>
                <a:ext cx="1735138" cy="2062163"/>
              </a:xfrm>
              <a:custGeom>
                <a:avLst/>
                <a:gdLst>
                  <a:gd name="T0" fmla="*/ 2278 w 2278"/>
                  <a:gd name="T1" fmla="*/ 2707 h 2707"/>
                  <a:gd name="T2" fmla="*/ 2278 w 2278"/>
                  <a:gd name="T3" fmla="*/ 2707 h 2707"/>
                  <a:gd name="T4" fmla="*/ 2278 w 2278"/>
                  <a:gd name="T5" fmla="*/ 2707 h 2707"/>
                  <a:gd name="T6" fmla="*/ 2278 w 2278"/>
                  <a:gd name="T7" fmla="*/ 2707 h 2707"/>
                  <a:gd name="T8" fmla="*/ 2278 w 2278"/>
                  <a:gd name="T9" fmla="*/ 2707 h 2707"/>
                  <a:gd name="T10" fmla="*/ 0 w 2278"/>
                  <a:gd name="T11" fmla="*/ 1281 h 2707"/>
                  <a:gd name="T12" fmla="*/ 0 w 2278"/>
                  <a:gd name="T13" fmla="*/ 1281 h 2707"/>
                  <a:gd name="T14" fmla="*/ 2278 w 2278"/>
                  <a:gd name="T15" fmla="*/ 0 h 2707"/>
                  <a:gd name="T16" fmla="*/ 2278 w 2278"/>
                  <a:gd name="T17" fmla="*/ 2707 h 2707"/>
                  <a:gd name="T18" fmla="*/ 2278 w 2278"/>
                  <a:gd name="T19" fmla="*/ 2707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8" h="2707">
                    <a:moveTo>
                      <a:pt x="2278" y="2707"/>
                    </a:moveTo>
                    <a:lnTo>
                      <a:pt x="2278" y="2707"/>
                    </a:lnTo>
                    <a:lnTo>
                      <a:pt x="2278" y="2707"/>
                    </a:lnTo>
                    <a:lnTo>
                      <a:pt x="2278" y="2707"/>
                    </a:lnTo>
                    <a:moveTo>
                      <a:pt x="2278" y="2707"/>
                    </a:moveTo>
                    <a:lnTo>
                      <a:pt x="0" y="1281"/>
                    </a:lnTo>
                    <a:lnTo>
                      <a:pt x="0" y="1281"/>
                    </a:lnTo>
                    <a:lnTo>
                      <a:pt x="2278" y="0"/>
                    </a:lnTo>
                    <a:lnTo>
                      <a:pt x="2278" y="2707"/>
                    </a:lnTo>
                    <a:lnTo>
                      <a:pt x="2278" y="2707"/>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72" name="Freeform 396"/>
              <p:cNvSpPr>
                <a:spLocks/>
              </p:cNvSpPr>
              <p:nvPr/>
            </p:nvSpPr>
            <p:spPr bwMode="auto">
              <a:xfrm>
                <a:off x="-9456738" y="-979488"/>
                <a:ext cx="2195513" cy="2105025"/>
              </a:xfrm>
              <a:custGeom>
                <a:avLst/>
                <a:gdLst>
                  <a:gd name="T0" fmla="*/ 817 w 1383"/>
                  <a:gd name="T1" fmla="*/ 1326 h 1326"/>
                  <a:gd name="T2" fmla="*/ 0 w 1383"/>
                  <a:gd name="T3" fmla="*/ 0 h 1326"/>
                  <a:gd name="T4" fmla="*/ 1383 w 1383"/>
                  <a:gd name="T5" fmla="*/ 347 h 1326"/>
                  <a:gd name="T6" fmla="*/ 817 w 1383"/>
                  <a:gd name="T7" fmla="*/ 1326 h 1326"/>
                </a:gdLst>
                <a:ahLst/>
                <a:cxnLst>
                  <a:cxn ang="0">
                    <a:pos x="T0" y="T1"/>
                  </a:cxn>
                  <a:cxn ang="0">
                    <a:pos x="T2" y="T3"/>
                  </a:cxn>
                  <a:cxn ang="0">
                    <a:pos x="T4" y="T5"/>
                  </a:cxn>
                  <a:cxn ang="0">
                    <a:pos x="T6" y="T7"/>
                  </a:cxn>
                </a:cxnLst>
                <a:rect l="0" t="0" r="r" b="b"/>
                <a:pathLst>
                  <a:path w="1383" h="1326">
                    <a:moveTo>
                      <a:pt x="817" y="1326"/>
                    </a:moveTo>
                    <a:lnTo>
                      <a:pt x="0" y="0"/>
                    </a:lnTo>
                    <a:lnTo>
                      <a:pt x="1383" y="347"/>
                    </a:lnTo>
                    <a:lnTo>
                      <a:pt x="817" y="132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73" name="Freeform 397"/>
              <p:cNvSpPr>
                <a:spLocks/>
              </p:cNvSpPr>
              <p:nvPr/>
            </p:nvSpPr>
            <p:spPr bwMode="auto">
              <a:xfrm>
                <a:off x="-8159750" y="-428626"/>
                <a:ext cx="898525" cy="1554163"/>
              </a:xfrm>
              <a:custGeom>
                <a:avLst/>
                <a:gdLst>
                  <a:gd name="T0" fmla="*/ 0 w 566"/>
                  <a:gd name="T1" fmla="*/ 979 h 979"/>
                  <a:gd name="T2" fmla="*/ 0 w 566"/>
                  <a:gd name="T3" fmla="*/ 979 h 979"/>
                  <a:gd name="T4" fmla="*/ 0 w 566"/>
                  <a:gd name="T5" fmla="*/ 979 h 979"/>
                  <a:gd name="T6" fmla="*/ 566 w 566"/>
                  <a:gd name="T7" fmla="*/ 0 h 979"/>
                  <a:gd name="T8" fmla="*/ 566 w 566"/>
                  <a:gd name="T9" fmla="*/ 0 h 979"/>
                  <a:gd name="T10" fmla="*/ 0 w 566"/>
                  <a:gd name="T11" fmla="*/ 979 h 979"/>
                </a:gdLst>
                <a:ahLst/>
                <a:cxnLst>
                  <a:cxn ang="0">
                    <a:pos x="T0" y="T1"/>
                  </a:cxn>
                  <a:cxn ang="0">
                    <a:pos x="T2" y="T3"/>
                  </a:cxn>
                  <a:cxn ang="0">
                    <a:pos x="T4" y="T5"/>
                  </a:cxn>
                  <a:cxn ang="0">
                    <a:pos x="T6" y="T7"/>
                  </a:cxn>
                  <a:cxn ang="0">
                    <a:pos x="T8" y="T9"/>
                  </a:cxn>
                  <a:cxn ang="0">
                    <a:pos x="T10" y="T11"/>
                  </a:cxn>
                </a:cxnLst>
                <a:rect l="0" t="0" r="r" b="b"/>
                <a:pathLst>
                  <a:path w="566" h="979">
                    <a:moveTo>
                      <a:pt x="0" y="979"/>
                    </a:moveTo>
                    <a:lnTo>
                      <a:pt x="0" y="979"/>
                    </a:ln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74" name="Freeform 398"/>
              <p:cNvSpPr>
                <a:spLocks noEditPoints="1"/>
              </p:cNvSpPr>
              <p:nvPr/>
            </p:nvSpPr>
            <p:spPr bwMode="auto">
              <a:xfrm>
                <a:off x="-5526088" y="-1984376"/>
                <a:ext cx="2544763" cy="2641600"/>
              </a:xfrm>
              <a:custGeom>
                <a:avLst/>
                <a:gdLst>
                  <a:gd name="T0" fmla="*/ 0 w 3339"/>
                  <a:gd name="T1" fmla="*/ 3468 h 3468"/>
                  <a:gd name="T2" fmla="*/ 0 w 3339"/>
                  <a:gd name="T3" fmla="*/ 3468 h 3468"/>
                  <a:gd name="T4" fmla="*/ 0 w 3339"/>
                  <a:gd name="T5" fmla="*/ 3468 h 3468"/>
                  <a:gd name="T6" fmla="*/ 0 w 3339"/>
                  <a:gd name="T7" fmla="*/ 3468 h 3468"/>
                  <a:gd name="T8" fmla="*/ 0 w 3339"/>
                  <a:gd name="T9" fmla="*/ 3468 h 3468"/>
                  <a:gd name="T10" fmla="*/ 0 w 3339"/>
                  <a:gd name="T11" fmla="*/ 3468 h 3468"/>
                  <a:gd name="T12" fmla="*/ 0 w 3339"/>
                  <a:gd name="T13" fmla="*/ 3468 h 3468"/>
                  <a:gd name="T14" fmla="*/ 0 w 3339"/>
                  <a:gd name="T15" fmla="*/ 3468 h 3468"/>
                  <a:gd name="T16" fmla="*/ 1258 w 3339"/>
                  <a:gd name="T17" fmla="*/ 0 h 3468"/>
                  <a:gd name="T18" fmla="*/ 3339 w 3339"/>
                  <a:gd name="T19" fmla="*/ 2815 h 3468"/>
                  <a:gd name="T20" fmla="*/ 0 w 3339"/>
                  <a:gd name="T21" fmla="*/ 3468 h 3468"/>
                  <a:gd name="T22" fmla="*/ 3339 w 3339"/>
                  <a:gd name="T23" fmla="*/ 2815 h 3468"/>
                  <a:gd name="T24" fmla="*/ 3339 w 3339"/>
                  <a:gd name="T25" fmla="*/ 2815 h 3468"/>
                  <a:gd name="T26" fmla="*/ 3339 w 3339"/>
                  <a:gd name="T27" fmla="*/ 2815 h 3468"/>
                  <a:gd name="T28" fmla="*/ 1258 w 3339"/>
                  <a:gd name="T29" fmla="*/ 0 h 3468"/>
                  <a:gd name="T30" fmla="*/ 1258 w 3339"/>
                  <a:gd name="T31" fmla="*/ 0 h 3468"/>
                  <a:gd name="T32" fmla="*/ 1258 w 3339"/>
                  <a:gd name="T33" fmla="*/ 1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39" h="3468">
                    <a:moveTo>
                      <a:pt x="0" y="3468"/>
                    </a:moveTo>
                    <a:lnTo>
                      <a:pt x="0" y="3468"/>
                    </a:lnTo>
                    <a:lnTo>
                      <a:pt x="0" y="3468"/>
                    </a:lnTo>
                    <a:lnTo>
                      <a:pt x="0" y="3468"/>
                    </a:lnTo>
                    <a:lnTo>
                      <a:pt x="0" y="3468"/>
                    </a:lnTo>
                    <a:lnTo>
                      <a:pt x="0" y="3468"/>
                    </a:lnTo>
                    <a:lnTo>
                      <a:pt x="0" y="3468"/>
                    </a:lnTo>
                    <a:moveTo>
                      <a:pt x="0" y="3468"/>
                    </a:moveTo>
                    <a:lnTo>
                      <a:pt x="1258" y="0"/>
                    </a:lnTo>
                    <a:lnTo>
                      <a:pt x="3339" y="2815"/>
                    </a:lnTo>
                    <a:lnTo>
                      <a:pt x="0" y="3468"/>
                    </a:lnTo>
                    <a:moveTo>
                      <a:pt x="3339" y="2815"/>
                    </a:moveTo>
                    <a:lnTo>
                      <a:pt x="3339" y="2815"/>
                    </a:lnTo>
                    <a:lnTo>
                      <a:pt x="3339" y="2815"/>
                    </a:lnTo>
                    <a:moveTo>
                      <a:pt x="1258" y="0"/>
                    </a:moveTo>
                    <a:lnTo>
                      <a:pt x="1258" y="0"/>
                    </a:lnTo>
                    <a:lnTo>
                      <a:pt x="1258" y="1"/>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75" name="Freeform 399"/>
              <p:cNvSpPr>
                <a:spLocks/>
              </p:cNvSpPr>
              <p:nvPr/>
            </p:nvSpPr>
            <p:spPr bwMode="auto">
              <a:xfrm>
                <a:off x="-5465763" y="-3540126"/>
                <a:ext cx="1797050" cy="1555750"/>
              </a:xfrm>
              <a:custGeom>
                <a:avLst/>
                <a:gdLst>
                  <a:gd name="T0" fmla="*/ 566 w 1132"/>
                  <a:gd name="T1" fmla="*/ 980 h 980"/>
                  <a:gd name="T2" fmla="*/ 566 w 1132"/>
                  <a:gd name="T3" fmla="*/ 980 h 980"/>
                  <a:gd name="T4" fmla="*/ 0 w 1132"/>
                  <a:gd name="T5" fmla="*/ 0 h 980"/>
                  <a:gd name="T6" fmla="*/ 0 w 1132"/>
                  <a:gd name="T7" fmla="*/ 0 h 980"/>
                  <a:gd name="T8" fmla="*/ 1132 w 1132"/>
                  <a:gd name="T9" fmla="*/ 0 h 980"/>
                  <a:gd name="T10" fmla="*/ 566 w 1132"/>
                  <a:gd name="T11" fmla="*/ 980 h 980"/>
                </a:gdLst>
                <a:ahLst/>
                <a:cxnLst>
                  <a:cxn ang="0">
                    <a:pos x="T0" y="T1"/>
                  </a:cxn>
                  <a:cxn ang="0">
                    <a:pos x="T2" y="T3"/>
                  </a:cxn>
                  <a:cxn ang="0">
                    <a:pos x="T4" y="T5"/>
                  </a:cxn>
                  <a:cxn ang="0">
                    <a:pos x="T6" y="T7"/>
                  </a:cxn>
                  <a:cxn ang="0">
                    <a:pos x="T8" y="T9"/>
                  </a:cxn>
                  <a:cxn ang="0">
                    <a:pos x="T10" y="T11"/>
                  </a:cxn>
                </a:cxnLst>
                <a:rect l="0" t="0" r="r" b="b"/>
                <a:pathLst>
                  <a:path w="1132" h="980">
                    <a:moveTo>
                      <a:pt x="566" y="980"/>
                    </a:moveTo>
                    <a:lnTo>
                      <a:pt x="566" y="980"/>
                    </a:lnTo>
                    <a:lnTo>
                      <a:pt x="0" y="0"/>
                    </a:lnTo>
                    <a:lnTo>
                      <a:pt x="0" y="0"/>
                    </a:lnTo>
                    <a:lnTo>
                      <a:pt x="1132" y="0"/>
                    </a:lnTo>
                    <a:lnTo>
                      <a:pt x="566"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76" name="Freeform 400"/>
              <p:cNvSpPr>
                <a:spLocks/>
              </p:cNvSpPr>
              <p:nvPr/>
            </p:nvSpPr>
            <p:spPr bwMode="auto">
              <a:xfrm>
                <a:off x="-5465763" y="-354012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99D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77" name="Rectangle 401"/>
              <p:cNvSpPr>
                <a:spLocks noChangeArrowheads="1"/>
              </p:cNvSpPr>
              <p:nvPr/>
            </p:nvSpPr>
            <p:spPr bwMode="auto">
              <a:xfrm>
                <a:off x="-5465763" y="-3540126"/>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78" name="Freeform 402"/>
              <p:cNvSpPr>
                <a:spLocks noEditPoints="1"/>
              </p:cNvSpPr>
              <p:nvPr/>
            </p:nvSpPr>
            <p:spPr bwMode="auto">
              <a:xfrm>
                <a:off x="-4567238" y="-1984376"/>
                <a:ext cx="1585913" cy="2144713"/>
              </a:xfrm>
              <a:custGeom>
                <a:avLst/>
                <a:gdLst>
                  <a:gd name="T0" fmla="*/ 2081 w 2081"/>
                  <a:gd name="T1" fmla="*/ 2815 h 2815"/>
                  <a:gd name="T2" fmla="*/ 2081 w 2081"/>
                  <a:gd name="T3" fmla="*/ 2815 h 2815"/>
                  <a:gd name="T4" fmla="*/ 2081 w 2081"/>
                  <a:gd name="T5" fmla="*/ 2815 h 2815"/>
                  <a:gd name="T6" fmla="*/ 2081 w 2081"/>
                  <a:gd name="T7" fmla="*/ 2815 h 2815"/>
                  <a:gd name="T8" fmla="*/ 0 w 2081"/>
                  <a:gd name="T9" fmla="*/ 0 h 2815"/>
                  <a:gd name="T10" fmla="*/ 0 w 2081"/>
                  <a:gd name="T11" fmla="*/ 0 h 2815"/>
                  <a:gd name="T12" fmla="*/ 1627 w 2081"/>
                  <a:gd name="T13" fmla="*/ 645 h 2815"/>
                  <a:gd name="T14" fmla="*/ 2081 w 2081"/>
                  <a:gd name="T15" fmla="*/ 2815 h 28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1" h="2815">
                    <a:moveTo>
                      <a:pt x="2081" y="2815"/>
                    </a:moveTo>
                    <a:lnTo>
                      <a:pt x="2081" y="2815"/>
                    </a:lnTo>
                    <a:lnTo>
                      <a:pt x="2081" y="2815"/>
                    </a:lnTo>
                    <a:moveTo>
                      <a:pt x="2081" y="2815"/>
                    </a:moveTo>
                    <a:lnTo>
                      <a:pt x="0" y="0"/>
                    </a:lnTo>
                    <a:lnTo>
                      <a:pt x="0" y="0"/>
                    </a:lnTo>
                    <a:lnTo>
                      <a:pt x="1627" y="645"/>
                    </a:lnTo>
                    <a:lnTo>
                      <a:pt x="2081" y="2815"/>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79" name="Freeform 403"/>
              <p:cNvSpPr>
                <a:spLocks/>
              </p:cNvSpPr>
              <p:nvPr/>
            </p:nvSpPr>
            <p:spPr bwMode="auto">
              <a:xfrm>
                <a:off x="-4567238" y="-1984376"/>
                <a:ext cx="1585913" cy="2144713"/>
              </a:xfrm>
              <a:custGeom>
                <a:avLst/>
                <a:gdLst>
                  <a:gd name="T0" fmla="*/ 999 w 999"/>
                  <a:gd name="T1" fmla="*/ 1351 h 1351"/>
                  <a:gd name="T2" fmla="*/ 0 w 999"/>
                  <a:gd name="T3" fmla="*/ 0 h 1351"/>
                  <a:gd name="T4" fmla="*/ 0 w 999"/>
                  <a:gd name="T5" fmla="*/ 0 h 1351"/>
                  <a:gd name="T6" fmla="*/ 999 w 999"/>
                  <a:gd name="T7" fmla="*/ 1351 h 1351"/>
                  <a:gd name="T8" fmla="*/ 999 w 999"/>
                  <a:gd name="T9" fmla="*/ 1351 h 1351"/>
                  <a:gd name="T10" fmla="*/ 999 w 999"/>
                  <a:gd name="T11" fmla="*/ 1351 h 1351"/>
                </a:gdLst>
                <a:ahLst/>
                <a:cxnLst>
                  <a:cxn ang="0">
                    <a:pos x="T0" y="T1"/>
                  </a:cxn>
                  <a:cxn ang="0">
                    <a:pos x="T2" y="T3"/>
                  </a:cxn>
                  <a:cxn ang="0">
                    <a:pos x="T4" y="T5"/>
                  </a:cxn>
                  <a:cxn ang="0">
                    <a:pos x="T6" y="T7"/>
                  </a:cxn>
                  <a:cxn ang="0">
                    <a:pos x="T8" y="T9"/>
                  </a:cxn>
                  <a:cxn ang="0">
                    <a:pos x="T10" y="T11"/>
                  </a:cxn>
                </a:cxnLst>
                <a:rect l="0" t="0" r="r" b="b"/>
                <a:pathLst>
                  <a:path w="999" h="1351">
                    <a:moveTo>
                      <a:pt x="999" y="1351"/>
                    </a:moveTo>
                    <a:lnTo>
                      <a:pt x="0" y="0"/>
                    </a:lnTo>
                    <a:lnTo>
                      <a:pt x="0" y="0"/>
                    </a:lnTo>
                    <a:lnTo>
                      <a:pt x="999" y="1351"/>
                    </a:lnTo>
                    <a:lnTo>
                      <a:pt x="999" y="1351"/>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80" name="Rectangle 404"/>
              <p:cNvSpPr>
                <a:spLocks noChangeArrowheads="1"/>
              </p:cNvSpPr>
              <p:nvPr/>
            </p:nvSpPr>
            <p:spPr bwMode="auto">
              <a:xfrm>
                <a:off x="-4567238" y="-1984376"/>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81" name="Freeform 405"/>
              <p:cNvSpPr>
                <a:spLocks/>
              </p:cNvSpPr>
              <p:nvPr/>
            </p:nvSpPr>
            <p:spPr bwMode="auto">
              <a:xfrm>
                <a:off x="-5526088" y="-3540126"/>
                <a:ext cx="958850" cy="2135188"/>
              </a:xfrm>
              <a:custGeom>
                <a:avLst/>
                <a:gdLst>
                  <a:gd name="T0" fmla="*/ 0 w 604"/>
                  <a:gd name="T1" fmla="*/ 1345 h 1345"/>
                  <a:gd name="T2" fmla="*/ 1 w 604"/>
                  <a:gd name="T3" fmla="*/ 1294 h 1345"/>
                  <a:gd name="T4" fmla="*/ 38 w 604"/>
                  <a:gd name="T5" fmla="*/ 0 h 1345"/>
                  <a:gd name="T6" fmla="*/ 38 w 604"/>
                  <a:gd name="T7" fmla="*/ 0 h 1345"/>
                  <a:gd name="T8" fmla="*/ 38 w 604"/>
                  <a:gd name="T9" fmla="*/ 0 h 1345"/>
                  <a:gd name="T10" fmla="*/ 604 w 604"/>
                  <a:gd name="T11" fmla="*/ 980 h 1345"/>
                  <a:gd name="T12" fmla="*/ 0 w 604"/>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604" h="1345">
                    <a:moveTo>
                      <a:pt x="0" y="1345"/>
                    </a:moveTo>
                    <a:lnTo>
                      <a:pt x="1" y="1294"/>
                    </a:lnTo>
                    <a:lnTo>
                      <a:pt x="38" y="0"/>
                    </a:lnTo>
                    <a:lnTo>
                      <a:pt x="38" y="0"/>
                    </a:lnTo>
                    <a:lnTo>
                      <a:pt x="38" y="0"/>
                    </a:lnTo>
                    <a:lnTo>
                      <a:pt x="604" y="980"/>
                    </a:lnTo>
                    <a:lnTo>
                      <a:pt x="0" y="134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82" name="Freeform 406"/>
              <p:cNvSpPr>
                <a:spLocks/>
              </p:cNvSpPr>
              <p:nvPr/>
            </p:nvSpPr>
            <p:spPr bwMode="auto">
              <a:xfrm>
                <a:off x="-4567238" y="-3540126"/>
                <a:ext cx="1239838" cy="2046288"/>
              </a:xfrm>
              <a:custGeom>
                <a:avLst/>
                <a:gdLst>
                  <a:gd name="T0" fmla="*/ 781 w 781"/>
                  <a:gd name="T1" fmla="*/ 1289 h 1289"/>
                  <a:gd name="T2" fmla="*/ 0 w 781"/>
                  <a:gd name="T3" fmla="*/ 980 h 1289"/>
                  <a:gd name="T4" fmla="*/ 566 w 781"/>
                  <a:gd name="T5" fmla="*/ 0 h 1289"/>
                  <a:gd name="T6" fmla="*/ 716 w 781"/>
                  <a:gd name="T7" fmla="*/ 902 h 1289"/>
                  <a:gd name="T8" fmla="*/ 781 w 781"/>
                  <a:gd name="T9" fmla="*/ 1289 h 1289"/>
                </a:gdLst>
                <a:ahLst/>
                <a:cxnLst>
                  <a:cxn ang="0">
                    <a:pos x="T0" y="T1"/>
                  </a:cxn>
                  <a:cxn ang="0">
                    <a:pos x="T2" y="T3"/>
                  </a:cxn>
                  <a:cxn ang="0">
                    <a:pos x="T4" y="T5"/>
                  </a:cxn>
                  <a:cxn ang="0">
                    <a:pos x="T6" y="T7"/>
                  </a:cxn>
                  <a:cxn ang="0">
                    <a:pos x="T8" y="T9"/>
                  </a:cxn>
                </a:cxnLst>
                <a:rect l="0" t="0" r="r" b="b"/>
                <a:pathLst>
                  <a:path w="781" h="1289">
                    <a:moveTo>
                      <a:pt x="781" y="1289"/>
                    </a:moveTo>
                    <a:lnTo>
                      <a:pt x="0" y="980"/>
                    </a:lnTo>
                    <a:lnTo>
                      <a:pt x="566" y="0"/>
                    </a:lnTo>
                    <a:lnTo>
                      <a:pt x="716" y="902"/>
                    </a:lnTo>
                    <a:lnTo>
                      <a:pt x="781" y="128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83" name="Freeform 407"/>
              <p:cNvSpPr>
                <a:spLocks noEditPoints="1"/>
              </p:cNvSpPr>
              <p:nvPr/>
            </p:nvSpPr>
            <p:spPr bwMode="auto">
              <a:xfrm>
                <a:off x="-5526088" y="-1984376"/>
                <a:ext cx="958850" cy="2641600"/>
              </a:xfrm>
              <a:custGeom>
                <a:avLst/>
                <a:gdLst>
                  <a:gd name="T0" fmla="*/ 0 w 1258"/>
                  <a:gd name="T1" fmla="*/ 3467 h 3467"/>
                  <a:gd name="T2" fmla="*/ 0 w 1258"/>
                  <a:gd name="T3" fmla="*/ 3467 h 3467"/>
                  <a:gd name="T4" fmla="*/ 0 w 1258"/>
                  <a:gd name="T5" fmla="*/ 3467 h 3467"/>
                  <a:gd name="T6" fmla="*/ 0 w 1258"/>
                  <a:gd name="T7" fmla="*/ 3467 h 3467"/>
                  <a:gd name="T8" fmla="*/ 0 w 1258"/>
                  <a:gd name="T9" fmla="*/ 3467 h 3467"/>
                  <a:gd name="T10" fmla="*/ 0 w 1258"/>
                  <a:gd name="T11" fmla="*/ 760 h 3467"/>
                  <a:gd name="T12" fmla="*/ 1258 w 1258"/>
                  <a:gd name="T13" fmla="*/ 0 h 3467"/>
                  <a:gd name="T14" fmla="*/ 0 w 1258"/>
                  <a:gd name="T15" fmla="*/ 3467 h 3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8" h="3467">
                    <a:moveTo>
                      <a:pt x="0" y="3467"/>
                    </a:moveTo>
                    <a:lnTo>
                      <a:pt x="0" y="3467"/>
                    </a:lnTo>
                    <a:lnTo>
                      <a:pt x="0" y="3467"/>
                    </a:lnTo>
                    <a:lnTo>
                      <a:pt x="0" y="3467"/>
                    </a:lnTo>
                    <a:moveTo>
                      <a:pt x="0" y="3467"/>
                    </a:moveTo>
                    <a:lnTo>
                      <a:pt x="0" y="760"/>
                    </a:lnTo>
                    <a:lnTo>
                      <a:pt x="1258" y="0"/>
                    </a:lnTo>
                    <a:lnTo>
                      <a:pt x="0" y="3467"/>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84" name="Freeform 408"/>
              <p:cNvSpPr>
                <a:spLocks/>
              </p:cNvSpPr>
              <p:nvPr/>
            </p:nvSpPr>
            <p:spPr bwMode="auto">
              <a:xfrm>
                <a:off x="-5526088" y="-1984376"/>
                <a:ext cx="958850" cy="2641600"/>
              </a:xfrm>
              <a:custGeom>
                <a:avLst/>
                <a:gdLst>
                  <a:gd name="T0" fmla="*/ 0 w 604"/>
                  <a:gd name="T1" fmla="*/ 1664 h 1664"/>
                  <a:gd name="T2" fmla="*/ 0 w 604"/>
                  <a:gd name="T3" fmla="*/ 1664 h 1664"/>
                  <a:gd name="T4" fmla="*/ 604 w 604"/>
                  <a:gd name="T5" fmla="*/ 0 h 1664"/>
                  <a:gd name="T6" fmla="*/ 604 w 604"/>
                  <a:gd name="T7" fmla="*/ 0 h 1664"/>
                  <a:gd name="T8" fmla="*/ 604 w 604"/>
                  <a:gd name="T9" fmla="*/ 0 h 1664"/>
                  <a:gd name="T10" fmla="*/ 0 w 604"/>
                  <a:gd name="T11" fmla="*/ 1664 h 1664"/>
                  <a:gd name="T12" fmla="*/ 0 w 604"/>
                  <a:gd name="T13" fmla="*/ 1664 h 1664"/>
                </a:gdLst>
                <a:ahLst/>
                <a:cxnLst>
                  <a:cxn ang="0">
                    <a:pos x="T0" y="T1"/>
                  </a:cxn>
                  <a:cxn ang="0">
                    <a:pos x="T2" y="T3"/>
                  </a:cxn>
                  <a:cxn ang="0">
                    <a:pos x="T4" y="T5"/>
                  </a:cxn>
                  <a:cxn ang="0">
                    <a:pos x="T6" y="T7"/>
                  </a:cxn>
                  <a:cxn ang="0">
                    <a:pos x="T8" y="T9"/>
                  </a:cxn>
                  <a:cxn ang="0">
                    <a:pos x="T10" y="T11"/>
                  </a:cxn>
                  <a:cxn ang="0">
                    <a:pos x="T12" y="T13"/>
                  </a:cxn>
                </a:cxnLst>
                <a:rect l="0" t="0" r="r" b="b"/>
                <a:pathLst>
                  <a:path w="604" h="1664">
                    <a:moveTo>
                      <a:pt x="0" y="1664"/>
                    </a:moveTo>
                    <a:lnTo>
                      <a:pt x="0" y="1664"/>
                    </a:lnTo>
                    <a:lnTo>
                      <a:pt x="604" y="0"/>
                    </a:lnTo>
                    <a:lnTo>
                      <a:pt x="604" y="0"/>
                    </a:lnTo>
                    <a:lnTo>
                      <a:pt x="604" y="0"/>
                    </a:lnTo>
                    <a:lnTo>
                      <a:pt x="0" y="1664"/>
                    </a:lnTo>
                    <a:lnTo>
                      <a:pt x="0" y="166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85" name="Freeform 409"/>
              <p:cNvSpPr>
                <a:spLocks/>
              </p:cNvSpPr>
              <p:nvPr/>
            </p:nvSpPr>
            <p:spPr bwMode="auto">
              <a:xfrm>
                <a:off x="-4567238" y="-19843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86" name="Freeform 410"/>
              <p:cNvSpPr>
                <a:spLocks noEditPoints="1"/>
              </p:cNvSpPr>
              <p:nvPr/>
            </p:nvSpPr>
            <p:spPr bwMode="auto">
              <a:xfrm>
                <a:off x="-8159750" y="2682875"/>
                <a:ext cx="1141413" cy="1914525"/>
              </a:xfrm>
              <a:custGeom>
                <a:avLst/>
                <a:gdLst>
                  <a:gd name="T0" fmla="*/ 1498 w 1498"/>
                  <a:gd name="T1" fmla="*/ 2514 h 2514"/>
                  <a:gd name="T2" fmla="*/ 1 w 1498"/>
                  <a:gd name="T3" fmla="*/ 2041 h 2514"/>
                  <a:gd name="T4" fmla="*/ 0 w 1498"/>
                  <a:gd name="T5" fmla="*/ 2041 h 2514"/>
                  <a:gd name="T6" fmla="*/ 1 w 1498"/>
                  <a:gd name="T7" fmla="*/ 2041 h 2514"/>
                  <a:gd name="T8" fmla="*/ 1179 w 1498"/>
                  <a:gd name="T9" fmla="*/ 0 h 2514"/>
                  <a:gd name="T10" fmla="*/ 1179 w 1498"/>
                  <a:gd name="T11" fmla="*/ 0 h 2514"/>
                  <a:gd name="T12" fmla="*/ 1179 w 1498"/>
                  <a:gd name="T13" fmla="*/ 0 h 2514"/>
                  <a:gd name="T14" fmla="*/ 1179 w 1498"/>
                  <a:gd name="T15" fmla="*/ 0 h 2514"/>
                  <a:gd name="T16" fmla="*/ 1179 w 1498"/>
                  <a:gd name="T17" fmla="*/ 0 h 2514"/>
                  <a:gd name="T18" fmla="*/ 1234 w 1498"/>
                  <a:gd name="T19" fmla="*/ 432 h 2514"/>
                  <a:gd name="T20" fmla="*/ 1498 w 1498"/>
                  <a:gd name="T21" fmla="*/ 2514 h 2514"/>
                  <a:gd name="T22" fmla="*/ 1179 w 1498"/>
                  <a:gd name="T23" fmla="*/ 0 h 2514"/>
                  <a:gd name="T24" fmla="*/ 1179 w 1498"/>
                  <a:gd name="T25" fmla="*/ 0 h 2514"/>
                  <a:gd name="T26" fmla="*/ 1179 w 1498"/>
                  <a:gd name="T27"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8" h="2514">
                    <a:moveTo>
                      <a:pt x="1498" y="2514"/>
                    </a:moveTo>
                    <a:lnTo>
                      <a:pt x="1" y="2041"/>
                    </a:lnTo>
                    <a:lnTo>
                      <a:pt x="0" y="2041"/>
                    </a:lnTo>
                    <a:lnTo>
                      <a:pt x="1" y="2041"/>
                    </a:lnTo>
                    <a:lnTo>
                      <a:pt x="1179" y="0"/>
                    </a:lnTo>
                    <a:lnTo>
                      <a:pt x="1179" y="0"/>
                    </a:lnTo>
                    <a:lnTo>
                      <a:pt x="1179" y="0"/>
                    </a:lnTo>
                    <a:lnTo>
                      <a:pt x="1179" y="0"/>
                    </a:lnTo>
                    <a:lnTo>
                      <a:pt x="1179" y="0"/>
                    </a:lnTo>
                    <a:lnTo>
                      <a:pt x="1234" y="432"/>
                    </a:lnTo>
                    <a:lnTo>
                      <a:pt x="1498" y="2514"/>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87" name="Freeform 411"/>
              <p:cNvSpPr>
                <a:spLocks/>
              </p:cNvSpPr>
              <p:nvPr/>
            </p:nvSpPr>
            <p:spPr bwMode="auto">
              <a:xfrm>
                <a:off x="-8159750" y="1125537"/>
                <a:ext cx="1795463" cy="1557338"/>
              </a:xfrm>
              <a:custGeom>
                <a:avLst/>
                <a:gdLst>
                  <a:gd name="T0" fmla="*/ 566 w 1131"/>
                  <a:gd name="T1" fmla="*/ 981 h 981"/>
                  <a:gd name="T2" fmla="*/ 4 w 1131"/>
                  <a:gd name="T3" fmla="*/ 7 h 981"/>
                  <a:gd name="T4" fmla="*/ 0 w 1131"/>
                  <a:gd name="T5" fmla="*/ 0 h 981"/>
                  <a:gd name="T6" fmla="*/ 0 w 1131"/>
                  <a:gd name="T7" fmla="*/ 0 h 981"/>
                  <a:gd name="T8" fmla="*/ 0 w 1131"/>
                  <a:gd name="T9" fmla="*/ 0 h 981"/>
                  <a:gd name="T10" fmla="*/ 0 w 1131"/>
                  <a:gd name="T11" fmla="*/ 0 h 981"/>
                  <a:gd name="T12" fmla="*/ 1131 w 1131"/>
                  <a:gd name="T13" fmla="*/ 0 h 981"/>
                  <a:gd name="T14" fmla="*/ 566 w 1131"/>
                  <a:gd name="T15" fmla="*/ 981 h 9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981">
                    <a:moveTo>
                      <a:pt x="566" y="981"/>
                    </a:moveTo>
                    <a:lnTo>
                      <a:pt x="4" y="7"/>
                    </a:lnTo>
                    <a:lnTo>
                      <a:pt x="0" y="0"/>
                    </a:lnTo>
                    <a:lnTo>
                      <a:pt x="0" y="0"/>
                    </a:lnTo>
                    <a:lnTo>
                      <a:pt x="0" y="0"/>
                    </a:lnTo>
                    <a:lnTo>
                      <a:pt x="0" y="0"/>
                    </a:lnTo>
                    <a:lnTo>
                      <a:pt x="1131" y="0"/>
                    </a:lnTo>
                    <a:lnTo>
                      <a:pt x="566" y="98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88" name="Freeform 412"/>
              <p:cNvSpPr>
                <a:spLocks noEditPoints="1"/>
              </p:cNvSpPr>
              <p:nvPr/>
            </p:nvSpPr>
            <p:spPr bwMode="auto">
              <a:xfrm>
                <a:off x="-7261225" y="2655887"/>
                <a:ext cx="1047750" cy="1941513"/>
              </a:xfrm>
              <a:custGeom>
                <a:avLst/>
                <a:gdLst>
                  <a:gd name="T0" fmla="*/ 319 w 1375"/>
                  <a:gd name="T1" fmla="*/ 2549 h 2549"/>
                  <a:gd name="T2" fmla="*/ 55 w 1375"/>
                  <a:gd name="T3" fmla="*/ 467 h 2549"/>
                  <a:gd name="T4" fmla="*/ 0 w 1375"/>
                  <a:gd name="T5" fmla="*/ 35 h 2549"/>
                  <a:gd name="T6" fmla="*/ 1375 w 1375"/>
                  <a:gd name="T7" fmla="*/ 0 h 2549"/>
                  <a:gd name="T8" fmla="*/ 1375 w 1375"/>
                  <a:gd name="T9" fmla="*/ 0 h 2549"/>
                  <a:gd name="T10" fmla="*/ 319 w 1375"/>
                  <a:gd name="T11" fmla="*/ 2549 h 2549"/>
                  <a:gd name="T12" fmla="*/ 1375 w 1375"/>
                  <a:gd name="T13" fmla="*/ 0 h 2549"/>
                  <a:gd name="T14" fmla="*/ 1375 w 1375"/>
                  <a:gd name="T15" fmla="*/ 0 h 2549"/>
                  <a:gd name="T16" fmla="*/ 1375 w 1375"/>
                  <a:gd name="T17" fmla="*/ 0 h 2549"/>
                  <a:gd name="T18" fmla="*/ 1375 w 1375"/>
                  <a:gd name="T19" fmla="*/ 0 h 2549"/>
                  <a:gd name="T20" fmla="*/ 1375 w 1375"/>
                  <a:gd name="T21" fmla="*/ 0 h 2549"/>
                  <a:gd name="T22" fmla="*/ 1375 w 1375"/>
                  <a:gd name="T23" fmla="*/ 0 h 2549"/>
                  <a:gd name="T24" fmla="*/ 1375 w 1375"/>
                  <a:gd name="T25" fmla="*/ 0 h 2549"/>
                  <a:gd name="T26" fmla="*/ 1375 w 1375"/>
                  <a:gd name="T27" fmla="*/ 0 h 2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5" h="2549">
                    <a:moveTo>
                      <a:pt x="319" y="2549"/>
                    </a:moveTo>
                    <a:lnTo>
                      <a:pt x="55" y="467"/>
                    </a:lnTo>
                    <a:lnTo>
                      <a:pt x="0" y="35"/>
                    </a:lnTo>
                    <a:lnTo>
                      <a:pt x="1375" y="0"/>
                    </a:lnTo>
                    <a:lnTo>
                      <a:pt x="1375" y="0"/>
                    </a:lnTo>
                    <a:lnTo>
                      <a:pt x="319" y="2549"/>
                    </a:lnTo>
                    <a:moveTo>
                      <a:pt x="1375" y="0"/>
                    </a:moveTo>
                    <a:lnTo>
                      <a:pt x="1375" y="0"/>
                    </a:lnTo>
                    <a:lnTo>
                      <a:pt x="1375" y="0"/>
                    </a:lnTo>
                    <a:lnTo>
                      <a:pt x="1375" y="0"/>
                    </a:lnTo>
                    <a:moveTo>
                      <a:pt x="1375" y="0"/>
                    </a:moveTo>
                    <a:lnTo>
                      <a:pt x="1375" y="0"/>
                    </a:lnTo>
                    <a:lnTo>
                      <a:pt x="1375" y="0"/>
                    </a:lnTo>
                    <a:lnTo>
                      <a:pt x="1375"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89" name="Freeform 413"/>
              <p:cNvSpPr>
                <a:spLocks noEditPoints="1"/>
              </p:cNvSpPr>
              <p:nvPr/>
            </p:nvSpPr>
            <p:spPr bwMode="auto">
              <a:xfrm>
                <a:off x="-9488488" y="1125537"/>
                <a:ext cx="2227263" cy="2085975"/>
              </a:xfrm>
              <a:custGeom>
                <a:avLst/>
                <a:gdLst>
                  <a:gd name="T0" fmla="*/ 0 w 2922"/>
                  <a:gd name="T1" fmla="*/ 2737 h 2737"/>
                  <a:gd name="T2" fmla="*/ 0 w 2922"/>
                  <a:gd name="T3" fmla="*/ 2737 h 2737"/>
                  <a:gd name="T4" fmla="*/ 0 w 2922"/>
                  <a:gd name="T5" fmla="*/ 2737 h 2737"/>
                  <a:gd name="T6" fmla="*/ 0 w 2922"/>
                  <a:gd name="T7" fmla="*/ 2737 h 2737"/>
                  <a:gd name="T8" fmla="*/ 1744 w 2922"/>
                  <a:gd name="T9" fmla="*/ 0 h 2737"/>
                  <a:gd name="T10" fmla="*/ 1752 w 2922"/>
                  <a:gd name="T11" fmla="*/ 14 h 2737"/>
                  <a:gd name="T12" fmla="*/ 2922 w 2922"/>
                  <a:gd name="T13" fmla="*/ 2042 h 2737"/>
                  <a:gd name="T14" fmla="*/ 2922 w 2922"/>
                  <a:gd name="T15" fmla="*/ 2042 h 2737"/>
                  <a:gd name="T16" fmla="*/ 0 w 2922"/>
                  <a:gd name="T17" fmla="*/ 2737 h 2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22" h="2737">
                    <a:moveTo>
                      <a:pt x="0" y="2737"/>
                    </a:moveTo>
                    <a:lnTo>
                      <a:pt x="0" y="2737"/>
                    </a:lnTo>
                    <a:lnTo>
                      <a:pt x="0" y="2737"/>
                    </a:lnTo>
                    <a:moveTo>
                      <a:pt x="0" y="2737"/>
                    </a:moveTo>
                    <a:lnTo>
                      <a:pt x="1744" y="0"/>
                    </a:lnTo>
                    <a:lnTo>
                      <a:pt x="1752" y="14"/>
                    </a:lnTo>
                    <a:lnTo>
                      <a:pt x="2922" y="2042"/>
                    </a:lnTo>
                    <a:lnTo>
                      <a:pt x="2922" y="2042"/>
                    </a:lnTo>
                    <a:lnTo>
                      <a:pt x="0" y="2737"/>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90" name="Freeform 414"/>
              <p:cNvSpPr>
                <a:spLocks/>
              </p:cNvSpPr>
              <p:nvPr/>
            </p:nvSpPr>
            <p:spPr bwMode="auto">
              <a:xfrm>
                <a:off x="-7261225" y="1125537"/>
                <a:ext cx="1047750" cy="1557338"/>
              </a:xfrm>
              <a:custGeom>
                <a:avLst/>
                <a:gdLst>
                  <a:gd name="T0" fmla="*/ 0 w 660"/>
                  <a:gd name="T1" fmla="*/ 981 h 981"/>
                  <a:gd name="T2" fmla="*/ 0 w 660"/>
                  <a:gd name="T3" fmla="*/ 981 h 981"/>
                  <a:gd name="T4" fmla="*/ 565 w 660"/>
                  <a:gd name="T5" fmla="*/ 0 h 981"/>
                  <a:gd name="T6" fmla="*/ 565 w 660"/>
                  <a:gd name="T7" fmla="*/ 0 h 981"/>
                  <a:gd name="T8" fmla="*/ 565 w 660"/>
                  <a:gd name="T9" fmla="*/ 0 h 981"/>
                  <a:gd name="T10" fmla="*/ 660 w 660"/>
                  <a:gd name="T11" fmla="*/ 963 h 981"/>
                  <a:gd name="T12" fmla="*/ 660 w 660"/>
                  <a:gd name="T13" fmla="*/ 963 h 981"/>
                  <a:gd name="T14" fmla="*/ 660 w 660"/>
                  <a:gd name="T15" fmla="*/ 964 h 981"/>
                  <a:gd name="T16" fmla="*/ 660 w 660"/>
                  <a:gd name="T17" fmla="*/ 964 h 981"/>
                  <a:gd name="T18" fmla="*/ 0 w 660"/>
                  <a:gd name="T19" fmla="*/ 981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0" h="981">
                    <a:moveTo>
                      <a:pt x="0" y="981"/>
                    </a:moveTo>
                    <a:lnTo>
                      <a:pt x="0" y="981"/>
                    </a:lnTo>
                    <a:lnTo>
                      <a:pt x="565" y="0"/>
                    </a:lnTo>
                    <a:lnTo>
                      <a:pt x="565" y="0"/>
                    </a:lnTo>
                    <a:lnTo>
                      <a:pt x="565" y="0"/>
                    </a:lnTo>
                    <a:lnTo>
                      <a:pt x="660" y="963"/>
                    </a:lnTo>
                    <a:lnTo>
                      <a:pt x="660" y="963"/>
                    </a:lnTo>
                    <a:lnTo>
                      <a:pt x="660" y="964"/>
                    </a:lnTo>
                    <a:lnTo>
                      <a:pt x="660" y="964"/>
                    </a:lnTo>
                    <a:lnTo>
                      <a:pt x="0"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91" name="Freeform 415"/>
              <p:cNvSpPr>
                <a:spLocks/>
              </p:cNvSpPr>
              <p:nvPr/>
            </p:nvSpPr>
            <p:spPr bwMode="auto">
              <a:xfrm>
                <a:off x="-9488488" y="2682875"/>
                <a:ext cx="2227263" cy="1554163"/>
              </a:xfrm>
              <a:custGeom>
                <a:avLst/>
                <a:gdLst>
                  <a:gd name="T0" fmla="*/ 1744 w 2922"/>
                  <a:gd name="T1" fmla="*/ 2041 h 2041"/>
                  <a:gd name="T2" fmla="*/ 0 w 2922"/>
                  <a:gd name="T3" fmla="*/ 695 h 2041"/>
                  <a:gd name="T4" fmla="*/ 2922 w 2922"/>
                  <a:gd name="T5" fmla="*/ 0 h 2041"/>
                  <a:gd name="T6" fmla="*/ 1743 w 2922"/>
                  <a:gd name="T7" fmla="*/ 2041 h 2041"/>
                </a:gdLst>
                <a:ahLst/>
                <a:cxnLst>
                  <a:cxn ang="0">
                    <a:pos x="T0" y="T1"/>
                  </a:cxn>
                  <a:cxn ang="0">
                    <a:pos x="T2" y="T3"/>
                  </a:cxn>
                  <a:cxn ang="0">
                    <a:pos x="T4" y="T5"/>
                  </a:cxn>
                  <a:cxn ang="0">
                    <a:pos x="T6" y="T7"/>
                  </a:cxn>
                </a:cxnLst>
                <a:rect l="0" t="0" r="r" b="b"/>
                <a:pathLst>
                  <a:path w="2922" h="2041">
                    <a:moveTo>
                      <a:pt x="1744" y="2041"/>
                    </a:moveTo>
                    <a:lnTo>
                      <a:pt x="0" y="695"/>
                    </a:lnTo>
                    <a:lnTo>
                      <a:pt x="2922" y="0"/>
                    </a:lnTo>
                    <a:lnTo>
                      <a:pt x="1743" y="204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92" name="Freeform 416"/>
              <p:cNvSpPr>
                <a:spLocks/>
              </p:cNvSpPr>
              <p:nvPr/>
            </p:nvSpPr>
            <p:spPr bwMode="auto">
              <a:xfrm>
                <a:off x="-8159750" y="2682875"/>
                <a:ext cx="898525" cy="1554163"/>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93" name="Freeform 417"/>
              <p:cNvSpPr>
                <a:spLocks/>
              </p:cNvSpPr>
              <p:nvPr/>
            </p:nvSpPr>
            <p:spPr bwMode="auto">
              <a:xfrm>
                <a:off x="-9488488" y="2682875"/>
                <a:ext cx="2227263" cy="528638"/>
              </a:xfrm>
              <a:custGeom>
                <a:avLst/>
                <a:gdLst>
                  <a:gd name="T0" fmla="*/ 0 w 1403"/>
                  <a:gd name="T1" fmla="*/ 333 h 333"/>
                  <a:gd name="T2" fmla="*/ 0 w 1403"/>
                  <a:gd name="T3" fmla="*/ 333 h 333"/>
                  <a:gd name="T4" fmla="*/ 1403 w 1403"/>
                  <a:gd name="T5" fmla="*/ 0 h 333"/>
                  <a:gd name="T6" fmla="*/ 1403 w 1403"/>
                  <a:gd name="T7" fmla="*/ 0 h 333"/>
                  <a:gd name="T8" fmla="*/ 0 w 1403"/>
                  <a:gd name="T9" fmla="*/ 333 h 333"/>
                </a:gdLst>
                <a:ahLst/>
                <a:cxnLst>
                  <a:cxn ang="0">
                    <a:pos x="T0" y="T1"/>
                  </a:cxn>
                  <a:cxn ang="0">
                    <a:pos x="T2" y="T3"/>
                  </a:cxn>
                  <a:cxn ang="0">
                    <a:pos x="T4" y="T5"/>
                  </a:cxn>
                  <a:cxn ang="0">
                    <a:pos x="T6" y="T7"/>
                  </a:cxn>
                  <a:cxn ang="0">
                    <a:pos x="T8" y="T9"/>
                  </a:cxn>
                </a:cxnLst>
                <a:rect l="0" t="0" r="r" b="b"/>
                <a:pathLst>
                  <a:path w="1403" h="333">
                    <a:moveTo>
                      <a:pt x="0" y="333"/>
                    </a:moveTo>
                    <a:lnTo>
                      <a:pt x="0" y="333"/>
                    </a:lnTo>
                    <a:lnTo>
                      <a:pt x="1403" y="0"/>
                    </a:lnTo>
                    <a:lnTo>
                      <a:pt x="1403" y="0"/>
                    </a:lnTo>
                    <a:lnTo>
                      <a:pt x="0" y="3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94" name="Freeform 418"/>
              <p:cNvSpPr>
                <a:spLocks noEditPoints="1"/>
              </p:cNvSpPr>
              <p:nvPr/>
            </p:nvSpPr>
            <p:spPr bwMode="auto">
              <a:xfrm>
                <a:off x="-6213475" y="1125537"/>
                <a:ext cx="1800225" cy="1987550"/>
              </a:xfrm>
              <a:custGeom>
                <a:avLst/>
                <a:gdLst>
                  <a:gd name="T0" fmla="*/ 2364 w 2364"/>
                  <a:gd name="T1" fmla="*/ 2608 h 2608"/>
                  <a:gd name="T2" fmla="*/ 0 w 2364"/>
                  <a:gd name="T3" fmla="*/ 2007 h 2608"/>
                  <a:gd name="T4" fmla="*/ 0 w 2364"/>
                  <a:gd name="T5" fmla="*/ 2006 h 2608"/>
                  <a:gd name="T6" fmla="*/ 0 w 2364"/>
                  <a:gd name="T7" fmla="*/ 2006 h 2608"/>
                  <a:gd name="T8" fmla="*/ 0 w 2364"/>
                  <a:gd name="T9" fmla="*/ 2006 h 2608"/>
                  <a:gd name="T10" fmla="*/ 2161 w 2364"/>
                  <a:gd name="T11" fmla="*/ 0 h 2608"/>
                  <a:gd name="T12" fmla="*/ 2364 w 2364"/>
                  <a:gd name="T13" fmla="*/ 2608 h 2608"/>
                  <a:gd name="T14" fmla="*/ 2161 w 2364"/>
                  <a:gd name="T15" fmla="*/ 0 h 2608"/>
                  <a:gd name="T16" fmla="*/ 2161 w 2364"/>
                  <a:gd name="T17" fmla="*/ 0 h 2608"/>
                  <a:gd name="T18" fmla="*/ 2161 w 2364"/>
                  <a:gd name="T19" fmla="*/ 0 h 2608"/>
                  <a:gd name="T20" fmla="*/ 2161 w 2364"/>
                  <a:gd name="T21" fmla="*/ 0 h 2608"/>
                  <a:gd name="T22" fmla="*/ 2161 w 2364"/>
                  <a:gd name="T23" fmla="*/ 0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64" h="2608">
                    <a:moveTo>
                      <a:pt x="2364" y="2608"/>
                    </a:moveTo>
                    <a:lnTo>
                      <a:pt x="0" y="2007"/>
                    </a:lnTo>
                    <a:lnTo>
                      <a:pt x="0" y="2006"/>
                    </a:lnTo>
                    <a:lnTo>
                      <a:pt x="0" y="2006"/>
                    </a:lnTo>
                    <a:lnTo>
                      <a:pt x="0" y="2006"/>
                    </a:lnTo>
                    <a:lnTo>
                      <a:pt x="2161" y="0"/>
                    </a:lnTo>
                    <a:lnTo>
                      <a:pt x="2364" y="2608"/>
                    </a:lnTo>
                    <a:moveTo>
                      <a:pt x="2161" y="0"/>
                    </a:moveTo>
                    <a:lnTo>
                      <a:pt x="2161" y="0"/>
                    </a:lnTo>
                    <a:lnTo>
                      <a:pt x="2161" y="0"/>
                    </a:lnTo>
                    <a:lnTo>
                      <a:pt x="2161" y="0"/>
                    </a:lnTo>
                    <a:lnTo>
                      <a:pt x="2161" y="0"/>
                    </a:lnTo>
                  </a:path>
                </a:pathLst>
              </a:custGeom>
              <a:solidFill>
                <a:srgbClr val="59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95" name="Rectangle 419"/>
              <p:cNvSpPr>
                <a:spLocks noChangeArrowheads="1"/>
              </p:cNvSpPr>
              <p:nvPr/>
            </p:nvSpPr>
            <p:spPr bwMode="auto">
              <a:xfrm>
                <a:off x="-6213475" y="2654300"/>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96" name="Freeform 420"/>
              <p:cNvSpPr>
                <a:spLocks/>
              </p:cNvSpPr>
              <p:nvPr/>
            </p:nvSpPr>
            <p:spPr bwMode="auto">
              <a:xfrm>
                <a:off x="-5526088" y="160337"/>
                <a:ext cx="2544763" cy="965200"/>
              </a:xfrm>
              <a:custGeom>
                <a:avLst/>
                <a:gdLst>
                  <a:gd name="T0" fmla="*/ 604 w 1603"/>
                  <a:gd name="T1" fmla="*/ 608 h 608"/>
                  <a:gd name="T2" fmla="*/ 62 w 1603"/>
                  <a:gd name="T3" fmla="*/ 344 h 608"/>
                  <a:gd name="T4" fmla="*/ 0 w 1603"/>
                  <a:gd name="T5" fmla="*/ 313 h 608"/>
                  <a:gd name="T6" fmla="*/ 0 w 1603"/>
                  <a:gd name="T7" fmla="*/ 313 h 608"/>
                  <a:gd name="T8" fmla="*/ 1603 w 1603"/>
                  <a:gd name="T9" fmla="*/ 0 h 608"/>
                  <a:gd name="T10" fmla="*/ 1508 w 1603"/>
                  <a:gd name="T11" fmla="*/ 57 h 608"/>
                  <a:gd name="T12" fmla="*/ 604 w 1603"/>
                  <a:gd name="T13" fmla="*/ 608 h 608"/>
                </a:gdLst>
                <a:ahLst/>
                <a:cxnLst>
                  <a:cxn ang="0">
                    <a:pos x="T0" y="T1"/>
                  </a:cxn>
                  <a:cxn ang="0">
                    <a:pos x="T2" y="T3"/>
                  </a:cxn>
                  <a:cxn ang="0">
                    <a:pos x="T4" y="T5"/>
                  </a:cxn>
                  <a:cxn ang="0">
                    <a:pos x="T6" y="T7"/>
                  </a:cxn>
                  <a:cxn ang="0">
                    <a:pos x="T8" y="T9"/>
                  </a:cxn>
                  <a:cxn ang="0">
                    <a:pos x="T10" y="T11"/>
                  </a:cxn>
                  <a:cxn ang="0">
                    <a:pos x="T12" y="T13"/>
                  </a:cxn>
                </a:cxnLst>
                <a:rect l="0" t="0" r="r" b="b"/>
                <a:pathLst>
                  <a:path w="1603" h="608">
                    <a:moveTo>
                      <a:pt x="604" y="608"/>
                    </a:moveTo>
                    <a:lnTo>
                      <a:pt x="62" y="344"/>
                    </a:lnTo>
                    <a:lnTo>
                      <a:pt x="0" y="313"/>
                    </a:lnTo>
                    <a:lnTo>
                      <a:pt x="0" y="313"/>
                    </a:lnTo>
                    <a:lnTo>
                      <a:pt x="1603" y="0"/>
                    </a:lnTo>
                    <a:lnTo>
                      <a:pt x="1508" y="57"/>
                    </a:lnTo>
                    <a:lnTo>
                      <a:pt x="604" y="608"/>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97" name="Freeform 421"/>
              <p:cNvSpPr>
                <a:spLocks/>
              </p:cNvSpPr>
              <p:nvPr/>
            </p:nvSpPr>
            <p:spPr bwMode="auto">
              <a:xfrm>
                <a:off x="-5526088" y="65722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89C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98" name="Freeform 422"/>
              <p:cNvSpPr>
                <a:spLocks/>
              </p:cNvSpPr>
              <p:nvPr/>
            </p:nvSpPr>
            <p:spPr bwMode="auto">
              <a:xfrm>
                <a:off x="-4567238" y="1125537"/>
                <a:ext cx="1795463" cy="1987550"/>
              </a:xfrm>
              <a:custGeom>
                <a:avLst/>
                <a:gdLst>
                  <a:gd name="T0" fmla="*/ 97 w 1131"/>
                  <a:gd name="T1" fmla="*/ 1252 h 1252"/>
                  <a:gd name="T2" fmla="*/ 97 w 1131"/>
                  <a:gd name="T3" fmla="*/ 1252 h 1252"/>
                  <a:gd name="T4" fmla="*/ 0 w 1131"/>
                  <a:gd name="T5" fmla="*/ 0 h 1252"/>
                  <a:gd name="T6" fmla="*/ 0 w 1131"/>
                  <a:gd name="T7" fmla="*/ 0 h 1252"/>
                  <a:gd name="T8" fmla="*/ 1131 w 1131"/>
                  <a:gd name="T9" fmla="*/ 0 h 1252"/>
                  <a:gd name="T10" fmla="*/ 97 w 1131"/>
                  <a:gd name="T11" fmla="*/ 1252 h 1252"/>
                  <a:gd name="T12" fmla="*/ 97 w 1131"/>
                  <a:gd name="T13" fmla="*/ 1252 h 1252"/>
                  <a:gd name="T14" fmla="*/ 97 w 1131"/>
                  <a:gd name="T15" fmla="*/ 1252 h 1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1252">
                    <a:moveTo>
                      <a:pt x="97" y="1252"/>
                    </a:moveTo>
                    <a:lnTo>
                      <a:pt x="97" y="1252"/>
                    </a:lnTo>
                    <a:lnTo>
                      <a:pt x="0" y="0"/>
                    </a:lnTo>
                    <a:lnTo>
                      <a:pt x="0" y="0"/>
                    </a:lnTo>
                    <a:lnTo>
                      <a:pt x="1131" y="0"/>
                    </a:lnTo>
                    <a:lnTo>
                      <a:pt x="97" y="1252"/>
                    </a:lnTo>
                    <a:lnTo>
                      <a:pt x="97" y="1252"/>
                    </a:lnTo>
                    <a:lnTo>
                      <a:pt x="97" y="1252"/>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399" name="Freeform 423"/>
              <p:cNvSpPr>
                <a:spLocks/>
              </p:cNvSpPr>
              <p:nvPr/>
            </p:nvSpPr>
            <p:spPr bwMode="auto">
              <a:xfrm>
                <a:off x="-4567238" y="1125537"/>
                <a:ext cx="153988" cy="1987550"/>
              </a:xfrm>
              <a:custGeom>
                <a:avLst/>
                <a:gdLst>
                  <a:gd name="T0" fmla="*/ 97 w 97"/>
                  <a:gd name="T1" fmla="*/ 1252 h 1252"/>
                  <a:gd name="T2" fmla="*/ 97 w 97"/>
                  <a:gd name="T3" fmla="*/ 1252 h 1252"/>
                  <a:gd name="T4" fmla="*/ 0 w 97"/>
                  <a:gd name="T5" fmla="*/ 0 h 1252"/>
                  <a:gd name="T6" fmla="*/ 0 w 97"/>
                  <a:gd name="T7" fmla="*/ 0 h 1252"/>
                  <a:gd name="T8" fmla="*/ 97 w 97"/>
                  <a:gd name="T9" fmla="*/ 1252 h 1252"/>
                </a:gdLst>
                <a:ahLst/>
                <a:cxnLst>
                  <a:cxn ang="0">
                    <a:pos x="T0" y="T1"/>
                  </a:cxn>
                  <a:cxn ang="0">
                    <a:pos x="T2" y="T3"/>
                  </a:cxn>
                  <a:cxn ang="0">
                    <a:pos x="T4" y="T5"/>
                  </a:cxn>
                  <a:cxn ang="0">
                    <a:pos x="T6" y="T7"/>
                  </a:cxn>
                  <a:cxn ang="0">
                    <a:pos x="T8" y="T9"/>
                  </a:cxn>
                </a:cxnLst>
                <a:rect l="0" t="0" r="r" b="b"/>
                <a:pathLst>
                  <a:path w="97" h="1252">
                    <a:moveTo>
                      <a:pt x="97" y="1252"/>
                    </a:moveTo>
                    <a:lnTo>
                      <a:pt x="97" y="1252"/>
                    </a:lnTo>
                    <a:lnTo>
                      <a:pt x="0" y="0"/>
                    </a:lnTo>
                    <a:lnTo>
                      <a:pt x="0" y="0"/>
                    </a:lnTo>
                    <a:lnTo>
                      <a:pt x="97" y="1252"/>
                    </a:lnTo>
                    <a:close/>
                  </a:path>
                </a:pathLst>
              </a:custGeom>
              <a:solidFill>
                <a:srgbClr val="5BA2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00" name="Freeform 424"/>
              <p:cNvSpPr>
                <a:spLocks noEditPoints="1"/>
              </p:cNvSpPr>
              <p:nvPr/>
            </p:nvSpPr>
            <p:spPr bwMode="auto">
              <a:xfrm>
                <a:off x="-6364288" y="657225"/>
                <a:ext cx="1797050" cy="468313"/>
              </a:xfrm>
              <a:custGeom>
                <a:avLst/>
                <a:gdLst>
                  <a:gd name="T0" fmla="*/ 0 w 2357"/>
                  <a:gd name="T1" fmla="*/ 615 h 615"/>
                  <a:gd name="T2" fmla="*/ 0 w 2357"/>
                  <a:gd name="T3" fmla="*/ 615 h 615"/>
                  <a:gd name="T4" fmla="*/ 0 w 2357"/>
                  <a:gd name="T5" fmla="*/ 615 h 615"/>
                  <a:gd name="T6" fmla="*/ 0 w 2357"/>
                  <a:gd name="T7" fmla="*/ 615 h 615"/>
                  <a:gd name="T8" fmla="*/ 0 w 2357"/>
                  <a:gd name="T9" fmla="*/ 615 h 615"/>
                  <a:gd name="T10" fmla="*/ 2357 w 2357"/>
                  <a:gd name="T11" fmla="*/ 615 h 615"/>
                  <a:gd name="T12" fmla="*/ 0 w 2357"/>
                  <a:gd name="T13" fmla="*/ 615 h 615"/>
                  <a:gd name="T14" fmla="*/ 833 w 2357"/>
                  <a:gd name="T15" fmla="*/ 149 h 615"/>
                  <a:gd name="T16" fmla="*/ 1099 w 2357"/>
                  <a:gd name="T17" fmla="*/ 0 h 615"/>
                  <a:gd name="T18" fmla="*/ 1228 w 2357"/>
                  <a:gd name="T19" fmla="*/ 64 h 615"/>
                  <a:gd name="T20" fmla="*/ 2357 w 2357"/>
                  <a:gd name="T21" fmla="*/ 615 h 615"/>
                  <a:gd name="T22" fmla="*/ 2357 w 2357"/>
                  <a:gd name="T23"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7" h="615">
                    <a:moveTo>
                      <a:pt x="0" y="615"/>
                    </a:moveTo>
                    <a:lnTo>
                      <a:pt x="0" y="615"/>
                    </a:lnTo>
                    <a:lnTo>
                      <a:pt x="0" y="615"/>
                    </a:lnTo>
                    <a:lnTo>
                      <a:pt x="0" y="615"/>
                    </a:lnTo>
                    <a:lnTo>
                      <a:pt x="0" y="615"/>
                    </a:lnTo>
                    <a:moveTo>
                      <a:pt x="2357" y="615"/>
                    </a:moveTo>
                    <a:lnTo>
                      <a:pt x="0" y="615"/>
                    </a:lnTo>
                    <a:lnTo>
                      <a:pt x="833" y="149"/>
                    </a:lnTo>
                    <a:lnTo>
                      <a:pt x="1099" y="0"/>
                    </a:lnTo>
                    <a:lnTo>
                      <a:pt x="1228" y="64"/>
                    </a:lnTo>
                    <a:lnTo>
                      <a:pt x="2357" y="615"/>
                    </a:lnTo>
                    <a:lnTo>
                      <a:pt x="2357" y="615"/>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01" name="Freeform 425"/>
              <p:cNvSpPr>
                <a:spLocks/>
              </p:cNvSpPr>
              <p:nvPr/>
            </p:nvSpPr>
            <p:spPr bwMode="auto">
              <a:xfrm>
                <a:off x="-5729288" y="657225"/>
                <a:ext cx="203200" cy="114300"/>
              </a:xfrm>
              <a:custGeom>
                <a:avLst/>
                <a:gdLst>
                  <a:gd name="T0" fmla="*/ 0 w 128"/>
                  <a:gd name="T1" fmla="*/ 72 h 72"/>
                  <a:gd name="T2" fmla="*/ 128 w 128"/>
                  <a:gd name="T3" fmla="*/ 0 h 72"/>
                  <a:gd name="T4" fmla="*/ 128 w 128"/>
                  <a:gd name="T5" fmla="*/ 0 h 72"/>
                  <a:gd name="T6" fmla="*/ 0 w 128"/>
                  <a:gd name="T7" fmla="*/ 72 h 72"/>
                </a:gdLst>
                <a:ahLst/>
                <a:cxnLst>
                  <a:cxn ang="0">
                    <a:pos x="T0" y="T1"/>
                  </a:cxn>
                  <a:cxn ang="0">
                    <a:pos x="T2" y="T3"/>
                  </a:cxn>
                  <a:cxn ang="0">
                    <a:pos x="T4" y="T5"/>
                  </a:cxn>
                  <a:cxn ang="0">
                    <a:pos x="T6" y="T7"/>
                  </a:cxn>
                </a:cxnLst>
                <a:rect l="0" t="0" r="r" b="b"/>
                <a:pathLst>
                  <a:path w="128" h="72">
                    <a:moveTo>
                      <a:pt x="0" y="72"/>
                    </a:moveTo>
                    <a:lnTo>
                      <a:pt x="128" y="0"/>
                    </a:lnTo>
                    <a:lnTo>
                      <a:pt x="128" y="0"/>
                    </a:lnTo>
                    <a:lnTo>
                      <a:pt x="0" y="72"/>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02" name="Freeform 426"/>
              <p:cNvSpPr>
                <a:spLocks/>
              </p:cNvSpPr>
              <p:nvPr/>
            </p:nvSpPr>
            <p:spPr bwMode="auto">
              <a:xfrm>
                <a:off x="-5526088" y="657225"/>
                <a:ext cx="98425" cy="49213"/>
              </a:xfrm>
              <a:custGeom>
                <a:avLst/>
                <a:gdLst>
                  <a:gd name="T0" fmla="*/ 62 w 62"/>
                  <a:gd name="T1" fmla="*/ 31 h 31"/>
                  <a:gd name="T2" fmla="*/ 0 w 62"/>
                  <a:gd name="T3" fmla="*/ 0 h 31"/>
                  <a:gd name="T4" fmla="*/ 0 w 62"/>
                  <a:gd name="T5" fmla="*/ 0 h 31"/>
                  <a:gd name="T6" fmla="*/ 62 w 62"/>
                  <a:gd name="T7" fmla="*/ 31 h 31"/>
                </a:gdLst>
                <a:ahLst/>
                <a:cxnLst>
                  <a:cxn ang="0">
                    <a:pos x="T0" y="T1"/>
                  </a:cxn>
                  <a:cxn ang="0">
                    <a:pos x="T2" y="T3"/>
                  </a:cxn>
                  <a:cxn ang="0">
                    <a:pos x="T4" y="T5"/>
                  </a:cxn>
                  <a:cxn ang="0">
                    <a:pos x="T6" y="T7"/>
                  </a:cxn>
                </a:cxnLst>
                <a:rect l="0" t="0" r="r" b="b"/>
                <a:pathLst>
                  <a:path w="62" h="31">
                    <a:moveTo>
                      <a:pt x="62" y="31"/>
                    </a:moveTo>
                    <a:lnTo>
                      <a:pt x="0" y="0"/>
                    </a:lnTo>
                    <a:lnTo>
                      <a:pt x="0" y="0"/>
                    </a:lnTo>
                    <a:lnTo>
                      <a:pt x="62" y="31"/>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03" name="Rectangle 427"/>
              <p:cNvSpPr>
                <a:spLocks noChangeArrowheads="1"/>
              </p:cNvSpPr>
              <p:nvPr/>
            </p:nvSpPr>
            <p:spPr bwMode="auto">
              <a:xfrm>
                <a:off x="-5526088" y="657225"/>
                <a:ext cx="1588" cy="1588"/>
              </a:xfrm>
              <a:prstGeom prst="rect">
                <a:avLst/>
              </a:prstGeom>
              <a:solidFill>
                <a:srgbClr val="589CBB"/>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04" name="Freeform 428"/>
              <p:cNvSpPr>
                <a:spLocks/>
              </p:cNvSpPr>
              <p:nvPr/>
            </p:nvSpPr>
            <p:spPr bwMode="auto">
              <a:xfrm>
                <a:off x="-4567238" y="160337"/>
                <a:ext cx="1795463" cy="965200"/>
              </a:xfrm>
              <a:custGeom>
                <a:avLst/>
                <a:gdLst>
                  <a:gd name="T0" fmla="*/ 0 w 1131"/>
                  <a:gd name="T1" fmla="*/ 608 h 608"/>
                  <a:gd name="T2" fmla="*/ 0 w 1131"/>
                  <a:gd name="T3" fmla="*/ 608 h 608"/>
                  <a:gd name="T4" fmla="*/ 904 w 1131"/>
                  <a:gd name="T5" fmla="*/ 57 h 608"/>
                  <a:gd name="T6" fmla="*/ 999 w 1131"/>
                  <a:gd name="T7" fmla="*/ 0 h 608"/>
                  <a:gd name="T8" fmla="*/ 999 w 1131"/>
                  <a:gd name="T9" fmla="*/ 0 h 608"/>
                  <a:gd name="T10" fmla="*/ 1077 w 1131"/>
                  <a:gd name="T11" fmla="*/ 359 h 608"/>
                  <a:gd name="T12" fmla="*/ 1131 w 1131"/>
                  <a:gd name="T13" fmla="*/ 608 h 608"/>
                  <a:gd name="T14" fmla="*/ 0 w 1131"/>
                  <a:gd name="T15" fmla="*/ 608 h 6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608">
                    <a:moveTo>
                      <a:pt x="0" y="608"/>
                    </a:moveTo>
                    <a:lnTo>
                      <a:pt x="0" y="608"/>
                    </a:lnTo>
                    <a:lnTo>
                      <a:pt x="904" y="57"/>
                    </a:lnTo>
                    <a:lnTo>
                      <a:pt x="999" y="0"/>
                    </a:lnTo>
                    <a:lnTo>
                      <a:pt x="999" y="0"/>
                    </a:lnTo>
                    <a:lnTo>
                      <a:pt x="1077" y="359"/>
                    </a:lnTo>
                    <a:lnTo>
                      <a:pt x="1131" y="608"/>
                    </a:lnTo>
                    <a:lnTo>
                      <a:pt x="0" y="608"/>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05" name="Freeform 429"/>
              <p:cNvSpPr>
                <a:spLocks/>
              </p:cNvSpPr>
              <p:nvPr/>
            </p:nvSpPr>
            <p:spPr bwMode="auto">
              <a:xfrm>
                <a:off x="-3132138" y="160337"/>
                <a:ext cx="150813" cy="90488"/>
              </a:xfrm>
              <a:custGeom>
                <a:avLst/>
                <a:gdLst>
                  <a:gd name="T0" fmla="*/ 0 w 95"/>
                  <a:gd name="T1" fmla="*/ 57 h 57"/>
                  <a:gd name="T2" fmla="*/ 95 w 95"/>
                  <a:gd name="T3" fmla="*/ 0 h 57"/>
                  <a:gd name="T4" fmla="*/ 95 w 95"/>
                  <a:gd name="T5" fmla="*/ 0 h 57"/>
                  <a:gd name="T6" fmla="*/ 0 w 95"/>
                  <a:gd name="T7" fmla="*/ 57 h 57"/>
                </a:gdLst>
                <a:ahLst/>
                <a:cxnLst>
                  <a:cxn ang="0">
                    <a:pos x="T0" y="T1"/>
                  </a:cxn>
                  <a:cxn ang="0">
                    <a:pos x="T2" y="T3"/>
                  </a:cxn>
                  <a:cxn ang="0">
                    <a:pos x="T4" y="T5"/>
                  </a:cxn>
                  <a:cxn ang="0">
                    <a:pos x="T6" y="T7"/>
                  </a:cxn>
                </a:cxnLst>
                <a:rect l="0" t="0" r="r" b="b"/>
                <a:pathLst>
                  <a:path w="95" h="57">
                    <a:moveTo>
                      <a:pt x="0" y="57"/>
                    </a:moveTo>
                    <a:lnTo>
                      <a:pt x="95" y="0"/>
                    </a:lnTo>
                    <a:lnTo>
                      <a:pt x="95" y="0"/>
                    </a:lnTo>
                    <a:lnTo>
                      <a:pt x="0" y="5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06" name="Freeform 430"/>
              <p:cNvSpPr>
                <a:spLocks noEditPoints="1"/>
              </p:cNvSpPr>
              <p:nvPr/>
            </p:nvSpPr>
            <p:spPr bwMode="auto">
              <a:xfrm>
                <a:off x="-6364288" y="1125537"/>
                <a:ext cx="1797050" cy="1528763"/>
              </a:xfrm>
              <a:custGeom>
                <a:avLst/>
                <a:gdLst>
                  <a:gd name="T0" fmla="*/ 196 w 2357"/>
                  <a:gd name="T1" fmla="*/ 2006 h 2006"/>
                  <a:gd name="T2" fmla="*/ 0 w 2357"/>
                  <a:gd name="T3" fmla="*/ 0 h 2006"/>
                  <a:gd name="T4" fmla="*/ 2357 w 2357"/>
                  <a:gd name="T5" fmla="*/ 0 h 2006"/>
                  <a:gd name="T6" fmla="*/ 196 w 2357"/>
                  <a:gd name="T7" fmla="*/ 2006 h 2006"/>
                  <a:gd name="T8" fmla="*/ 2357 w 2357"/>
                  <a:gd name="T9" fmla="*/ 0 h 2006"/>
                  <a:gd name="T10" fmla="*/ 2357 w 2357"/>
                  <a:gd name="T11" fmla="*/ 0 h 2006"/>
                  <a:gd name="T12" fmla="*/ 2357 w 2357"/>
                  <a:gd name="T13" fmla="*/ 0 h 2006"/>
                  <a:gd name="T14" fmla="*/ 0 w 2357"/>
                  <a:gd name="T15" fmla="*/ 0 h 2006"/>
                  <a:gd name="T16" fmla="*/ 0 w 2357"/>
                  <a:gd name="T17" fmla="*/ 0 h 2006"/>
                  <a:gd name="T18" fmla="*/ 0 w 2357"/>
                  <a:gd name="T19" fmla="*/ 0 h 2006"/>
                  <a:gd name="T20" fmla="*/ 0 w 2357"/>
                  <a:gd name="T21" fmla="*/ 0 h 2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7" h="2006">
                    <a:moveTo>
                      <a:pt x="196" y="2006"/>
                    </a:moveTo>
                    <a:lnTo>
                      <a:pt x="0" y="0"/>
                    </a:lnTo>
                    <a:lnTo>
                      <a:pt x="2357" y="0"/>
                    </a:lnTo>
                    <a:lnTo>
                      <a:pt x="196" y="2006"/>
                    </a:lnTo>
                    <a:moveTo>
                      <a:pt x="2357" y="0"/>
                    </a:moveTo>
                    <a:lnTo>
                      <a:pt x="2357" y="0"/>
                    </a:lnTo>
                    <a:lnTo>
                      <a:pt x="2357" y="0"/>
                    </a:lnTo>
                    <a:moveTo>
                      <a:pt x="0" y="0"/>
                    </a:moveTo>
                    <a:lnTo>
                      <a:pt x="0" y="0"/>
                    </a:lnTo>
                    <a:lnTo>
                      <a:pt x="0" y="0"/>
                    </a:ln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07" name="Freeform 431"/>
              <p:cNvSpPr>
                <a:spLocks/>
              </p:cNvSpPr>
              <p:nvPr/>
            </p:nvSpPr>
            <p:spPr bwMode="auto">
              <a:xfrm>
                <a:off x="-6213475" y="1125537"/>
                <a:ext cx="1646238" cy="1528763"/>
              </a:xfrm>
              <a:custGeom>
                <a:avLst/>
                <a:gdLst>
                  <a:gd name="T0" fmla="*/ 0 w 1037"/>
                  <a:gd name="T1" fmla="*/ 963 h 963"/>
                  <a:gd name="T2" fmla="*/ 0 w 1037"/>
                  <a:gd name="T3" fmla="*/ 963 h 963"/>
                  <a:gd name="T4" fmla="*/ 1037 w 1037"/>
                  <a:gd name="T5" fmla="*/ 0 h 963"/>
                  <a:gd name="T6" fmla="*/ 1037 w 1037"/>
                  <a:gd name="T7" fmla="*/ 0 h 963"/>
                  <a:gd name="T8" fmla="*/ 1037 w 1037"/>
                  <a:gd name="T9" fmla="*/ 0 h 963"/>
                  <a:gd name="T10" fmla="*/ 1037 w 1037"/>
                  <a:gd name="T11" fmla="*/ 0 h 963"/>
                  <a:gd name="T12" fmla="*/ 0 w 1037"/>
                  <a:gd name="T13" fmla="*/ 963 h 963"/>
                </a:gdLst>
                <a:ahLst/>
                <a:cxnLst>
                  <a:cxn ang="0">
                    <a:pos x="T0" y="T1"/>
                  </a:cxn>
                  <a:cxn ang="0">
                    <a:pos x="T2" y="T3"/>
                  </a:cxn>
                  <a:cxn ang="0">
                    <a:pos x="T4" y="T5"/>
                  </a:cxn>
                  <a:cxn ang="0">
                    <a:pos x="T6" y="T7"/>
                  </a:cxn>
                  <a:cxn ang="0">
                    <a:pos x="T8" y="T9"/>
                  </a:cxn>
                  <a:cxn ang="0">
                    <a:pos x="T10" y="T11"/>
                  </a:cxn>
                  <a:cxn ang="0">
                    <a:pos x="T12" y="T13"/>
                  </a:cxn>
                </a:cxnLst>
                <a:rect l="0" t="0" r="r" b="b"/>
                <a:pathLst>
                  <a:path w="1037" h="963">
                    <a:moveTo>
                      <a:pt x="0" y="963"/>
                    </a:moveTo>
                    <a:lnTo>
                      <a:pt x="0" y="963"/>
                    </a:lnTo>
                    <a:lnTo>
                      <a:pt x="1037" y="0"/>
                    </a:lnTo>
                    <a:lnTo>
                      <a:pt x="1037" y="0"/>
                    </a:lnTo>
                    <a:lnTo>
                      <a:pt x="1037" y="0"/>
                    </a:lnTo>
                    <a:lnTo>
                      <a:pt x="1037" y="0"/>
                    </a:lnTo>
                    <a:lnTo>
                      <a:pt x="0" y="963"/>
                    </a:lnTo>
                    <a:close/>
                  </a:path>
                </a:pathLst>
              </a:custGeom>
              <a:solidFill>
                <a:srgbClr val="5AA1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08" name="Freeform 432"/>
              <p:cNvSpPr>
                <a:spLocks noEditPoints="1"/>
              </p:cNvSpPr>
              <p:nvPr/>
            </p:nvSpPr>
            <p:spPr bwMode="auto">
              <a:xfrm>
                <a:off x="-8323263" y="5514975"/>
                <a:ext cx="1782763" cy="2144713"/>
              </a:xfrm>
              <a:custGeom>
                <a:avLst/>
                <a:gdLst>
                  <a:gd name="T0" fmla="*/ 893 w 2339"/>
                  <a:gd name="T1" fmla="*/ 2815 h 2815"/>
                  <a:gd name="T2" fmla="*/ 0 w 2339"/>
                  <a:gd name="T3" fmla="*/ 2815 h 2815"/>
                  <a:gd name="T4" fmla="*/ 290 w 2339"/>
                  <a:gd name="T5" fmla="*/ 1 h 2815"/>
                  <a:gd name="T6" fmla="*/ 290 w 2339"/>
                  <a:gd name="T7" fmla="*/ 0 h 2815"/>
                  <a:gd name="T8" fmla="*/ 291 w 2339"/>
                  <a:gd name="T9" fmla="*/ 1 h 2815"/>
                  <a:gd name="T10" fmla="*/ 290 w 2339"/>
                  <a:gd name="T11" fmla="*/ 1 h 2815"/>
                  <a:gd name="T12" fmla="*/ 1731 w 2339"/>
                  <a:gd name="T13" fmla="*/ 1291 h 2815"/>
                  <a:gd name="T14" fmla="*/ 2339 w 2339"/>
                  <a:gd name="T15" fmla="*/ 1834 h 2815"/>
                  <a:gd name="T16" fmla="*/ 893 w 2339"/>
                  <a:gd name="T17" fmla="*/ 2815 h 2815"/>
                  <a:gd name="T18" fmla="*/ 291 w 2339"/>
                  <a:gd name="T19" fmla="*/ 1 h 2815"/>
                  <a:gd name="T20" fmla="*/ 290 w 2339"/>
                  <a:gd name="T21" fmla="*/ 1 h 2815"/>
                  <a:gd name="T22" fmla="*/ 291 w 2339"/>
                  <a:gd name="T23" fmla="*/ 1 h 2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39" h="2815">
                    <a:moveTo>
                      <a:pt x="893" y="2815"/>
                    </a:moveTo>
                    <a:lnTo>
                      <a:pt x="0" y="2815"/>
                    </a:lnTo>
                    <a:lnTo>
                      <a:pt x="290" y="1"/>
                    </a:lnTo>
                    <a:lnTo>
                      <a:pt x="290" y="0"/>
                    </a:lnTo>
                    <a:lnTo>
                      <a:pt x="291" y="1"/>
                    </a:lnTo>
                    <a:lnTo>
                      <a:pt x="290" y="1"/>
                    </a:lnTo>
                    <a:lnTo>
                      <a:pt x="1731" y="1291"/>
                    </a:lnTo>
                    <a:lnTo>
                      <a:pt x="2339" y="1834"/>
                    </a:lnTo>
                    <a:lnTo>
                      <a:pt x="893" y="2815"/>
                    </a:lnTo>
                    <a:moveTo>
                      <a:pt x="291" y="1"/>
                    </a:moveTo>
                    <a:lnTo>
                      <a:pt x="290" y="1"/>
                    </a:lnTo>
                    <a:lnTo>
                      <a:pt x="29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09" name="Freeform 433"/>
              <p:cNvSpPr>
                <a:spLocks/>
              </p:cNvSpPr>
              <p:nvPr/>
            </p:nvSpPr>
            <p:spPr bwMode="auto">
              <a:xfrm>
                <a:off x="-8159750" y="4237037"/>
                <a:ext cx="1141413" cy="1277938"/>
              </a:xfrm>
              <a:custGeom>
                <a:avLst/>
                <a:gdLst>
                  <a:gd name="T0" fmla="*/ 36 w 719"/>
                  <a:gd name="T1" fmla="*/ 805 h 805"/>
                  <a:gd name="T2" fmla="*/ 36 w 719"/>
                  <a:gd name="T3" fmla="*/ 805 h 805"/>
                  <a:gd name="T4" fmla="*/ 32 w 719"/>
                  <a:gd name="T5" fmla="*/ 713 h 805"/>
                  <a:gd name="T6" fmla="*/ 0 w 719"/>
                  <a:gd name="T7" fmla="*/ 1 h 805"/>
                  <a:gd name="T8" fmla="*/ 0 w 719"/>
                  <a:gd name="T9" fmla="*/ 1 h 805"/>
                  <a:gd name="T10" fmla="*/ 0 w 719"/>
                  <a:gd name="T11" fmla="*/ 0 h 805"/>
                  <a:gd name="T12" fmla="*/ 0 w 719"/>
                  <a:gd name="T13" fmla="*/ 0 h 805"/>
                  <a:gd name="T14" fmla="*/ 719 w 719"/>
                  <a:gd name="T15" fmla="*/ 227 h 805"/>
                  <a:gd name="T16" fmla="*/ 36 w 719"/>
                  <a:gd name="T17" fmla="*/ 805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9" h="805">
                    <a:moveTo>
                      <a:pt x="36" y="805"/>
                    </a:moveTo>
                    <a:lnTo>
                      <a:pt x="36" y="805"/>
                    </a:lnTo>
                    <a:lnTo>
                      <a:pt x="32" y="713"/>
                    </a:lnTo>
                    <a:lnTo>
                      <a:pt x="0" y="1"/>
                    </a:lnTo>
                    <a:lnTo>
                      <a:pt x="0" y="1"/>
                    </a:lnTo>
                    <a:lnTo>
                      <a:pt x="0" y="0"/>
                    </a:lnTo>
                    <a:lnTo>
                      <a:pt x="0" y="0"/>
                    </a:lnTo>
                    <a:lnTo>
                      <a:pt x="719" y="227"/>
                    </a:lnTo>
                    <a:lnTo>
                      <a:pt x="36" y="80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10" name="Freeform 434"/>
              <p:cNvSpPr>
                <a:spLocks/>
              </p:cNvSpPr>
              <p:nvPr/>
            </p:nvSpPr>
            <p:spPr bwMode="auto">
              <a:xfrm>
                <a:off x="-8101013" y="5514975"/>
                <a:ext cx="2635250" cy="1397000"/>
              </a:xfrm>
              <a:custGeom>
                <a:avLst/>
                <a:gdLst>
                  <a:gd name="T0" fmla="*/ 983 w 1660"/>
                  <a:gd name="T1" fmla="*/ 880 h 880"/>
                  <a:gd name="T2" fmla="*/ 691 w 1660"/>
                  <a:gd name="T3" fmla="*/ 619 h 880"/>
                  <a:gd name="T4" fmla="*/ 0 w 1660"/>
                  <a:gd name="T5" fmla="*/ 0 h 880"/>
                  <a:gd name="T6" fmla="*/ 1660 w 1660"/>
                  <a:gd name="T7" fmla="*/ 175 h 880"/>
                  <a:gd name="T8" fmla="*/ 1660 w 1660"/>
                  <a:gd name="T9" fmla="*/ 175 h 880"/>
                  <a:gd name="T10" fmla="*/ 1660 w 1660"/>
                  <a:gd name="T11" fmla="*/ 175 h 880"/>
                  <a:gd name="T12" fmla="*/ 1660 w 1660"/>
                  <a:gd name="T13" fmla="*/ 175 h 880"/>
                  <a:gd name="T14" fmla="*/ 983 w 1660"/>
                  <a:gd name="T15" fmla="*/ 880 h 8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0" h="880">
                    <a:moveTo>
                      <a:pt x="983" y="880"/>
                    </a:moveTo>
                    <a:lnTo>
                      <a:pt x="691" y="619"/>
                    </a:lnTo>
                    <a:lnTo>
                      <a:pt x="0" y="0"/>
                    </a:lnTo>
                    <a:lnTo>
                      <a:pt x="1660" y="175"/>
                    </a:lnTo>
                    <a:lnTo>
                      <a:pt x="1660" y="175"/>
                    </a:lnTo>
                    <a:lnTo>
                      <a:pt x="1660" y="175"/>
                    </a:lnTo>
                    <a:lnTo>
                      <a:pt x="1660" y="175"/>
                    </a:lnTo>
                    <a:lnTo>
                      <a:pt x="983" y="8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11" name="Freeform 435"/>
              <p:cNvSpPr>
                <a:spLocks/>
              </p:cNvSpPr>
              <p:nvPr/>
            </p:nvSpPr>
            <p:spPr bwMode="auto">
              <a:xfrm>
                <a:off x="-8102600" y="5514975"/>
                <a:ext cx="1098550" cy="982663"/>
              </a:xfrm>
              <a:custGeom>
                <a:avLst/>
                <a:gdLst>
                  <a:gd name="T0" fmla="*/ 692 w 692"/>
                  <a:gd name="T1" fmla="*/ 619 h 619"/>
                  <a:gd name="T2" fmla="*/ 0 w 692"/>
                  <a:gd name="T3" fmla="*/ 0 h 619"/>
                  <a:gd name="T4" fmla="*/ 1 w 692"/>
                  <a:gd name="T5" fmla="*/ 0 h 619"/>
                  <a:gd name="T6" fmla="*/ 692 w 692"/>
                  <a:gd name="T7" fmla="*/ 619 h 619"/>
                </a:gdLst>
                <a:ahLst/>
                <a:cxnLst>
                  <a:cxn ang="0">
                    <a:pos x="T0" y="T1"/>
                  </a:cxn>
                  <a:cxn ang="0">
                    <a:pos x="T2" y="T3"/>
                  </a:cxn>
                  <a:cxn ang="0">
                    <a:pos x="T4" y="T5"/>
                  </a:cxn>
                  <a:cxn ang="0">
                    <a:pos x="T6" y="T7"/>
                  </a:cxn>
                </a:cxnLst>
                <a:rect l="0" t="0" r="r" b="b"/>
                <a:pathLst>
                  <a:path w="692" h="619">
                    <a:moveTo>
                      <a:pt x="692" y="619"/>
                    </a:moveTo>
                    <a:lnTo>
                      <a:pt x="0" y="0"/>
                    </a:lnTo>
                    <a:lnTo>
                      <a:pt x="1" y="0"/>
                    </a:lnTo>
                    <a:lnTo>
                      <a:pt x="692" y="61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12" name="Freeform 436"/>
              <p:cNvSpPr>
                <a:spLocks noEditPoints="1"/>
              </p:cNvSpPr>
              <p:nvPr/>
            </p:nvSpPr>
            <p:spPr bwMode="auto">
              <a:xfrm>
                <a:off x="-9909175" y="4238625"/>
                <a:ext cx="1806575" cy="2339975"/>
              </a:xfrm>
              <a:custGeom>
                <a:avLst/>
                <a:gdLst>
                  <a:gd name="T0" fmla="*/ 0 w 2371"/>
                  <a:gd name="T1" fmla="*/ 3072 h 3072"/>
                  <a:gd name="T2" fmla="*/ 0 w 2371"/>
                  <a:gd name="T3" fmla="*/ 3072 h 3072"/>
                  <a:gd name="T4" fmla="*/ 0 w 2371"/>
                  <a:gd name="T5" fmla="*/ 3072 h 3072"/>
                  <a:gd name="T6" fmla="*/ 0 w 2371"/>
                  <a:gd name="T7" fmla="*/ 3072 h 3072"/>
                  <a:gd name="T8" fmla="*/ 2296 w 2371"/>
                  <a:gd name="T9" fmla="*/ 0 h 3072"/>
                  <a:gd name="T10" fmla="*/ 2363 w 2371"/>
                  <a:gd name="T11" fmla="*/ 1484 h 3072"/>
                  <a:gd name="T12" fmla="*/ 2371 w 2371"/>
                  <a:gd name="T13" fmla="*/ 1676 h 3072"/>
                  <a:gd name="T14" fmla="*/ 2371 w 2371"/>
                  <a:gd name="T15" fmla="*/ 1676 h 3072"/>
                  <a:gd name="T16" fmla="*/ 0 w 2371"/>
                  <a:gd name="T17" fmla="*/ 3072 h 3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1" h="3072">
                    <a:moveTo>
                      <a:pt x="0" y="3072"/>
                    </a:moveTo>
                    <a:lnTo>
                      <a:pt x="0" y="3072"/>
                    </a:lnTo>
                    <a:lnTo>
                      <a:pt x="0" y="3072"/>
                    </a:lnTo>
                    <a:moveTo>
                      <a:pt x="0" y="3072"/>
                    </a:moveTo>
                    <a:lnTo>
                      <a:pt x="2296" y="0"/>
                    </a:lnTo>
                    <a:lnTo>
                      <a:pt x="2363" y="1484"/>
                    </a:lnTo>
                    <a:lnTo>
                      <a:pt x="2371" y="1676"/>
                    </a:lnTo>
                    <a:lnTo>
                      <a:pt x="2371" y="1676"/>
                    </a:lnTo>
                    <a:lnTo>
                      <a:pt x="0" y="3072"/>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13" name="Freeform 437"/>
              <p:cNvSpPr>
                <a:spLocks/>
              </p:cNvSpPr>
              <p:nvPr/>
            </p:nvSpPr>
            <p:spPr bwMode="auto">
              <a:xfrm>
                <a:off x="-8102600" y="551497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14" name="Freeform 438"/>
              <p:cNvSpPr>
                <a:spLocks/>
              </p:cNvSpPr>
              <p:nvPr/>
            </p:nvSpPr>
            <p:spPr bwMode="auto">
              <a:xfrm>
                <a:off x="-8159750" y="4238625"/>
                <a:ext cx="50800" cy="1130300"/>
              </a:xfrm>
              <a:custGeom>
                <a:avLst/>
                <a:gdLst>
                  <a:gd name="T0" fmla="*/ 32 w 32"/>
                  <a:gd name="T1" fmla="*/ 712 h 712"/>
                  <a:gd name="T2" fmla="*/ 0 w 32"/>
                  <a:gd name="T3" fmla="*/ 0 h 712"/>
                  <a:gd name="T4" fmla="*/ 0 w 32"/>
                  <a:gd name="T5" fmla="*/ 0 h 712"/>
                  <a:gd name="T6" fmla="*/ 32 w 32"/>
                  <a:gd name="T7" fmla="*/ 712 h 712"/>
                </a:gdLst>
                <a:ahLst/>
                <a:cxnLst>
                  <a:cxn ang="0">
                    <a:pos x="T0" y="T1"/>
                  </a:cxn>
                  <a:cxn ang="0">
                    <a:pos x="T2" y="T3"/>
                  </a:cxn>
                  <a:cxn ang="0">
                    <a:pos x="T4" y="T5"/>
                  </a:cxn>
                  <a:cxn ang="0">
                    <a:pos x="T6" y="T7"/>
                  </a:cxn>
                </a:cxnLst>
                <a:rect l="0" t="0" r="r" b="b"/>
                <a:pathLst>
                  <a:path w="32" h="712">
                    <a:moveTo>
                      <a:pt x="32" y="712"/>
                    </a:moveTo>
                    <a:lnTo>
                      <a:pt x="0" y="0"/>
                    </a:lnTo>
                    <a:lnTo>
                      <a:pt x="0" y="0"/>
                    </a:lnTo>
                    <a:lnTo>
                      <a:pt x="32" y="71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15" name="Freeform 439"/>
              <p:cNvSpPr>
                <a:spLocks/>
              </p:cNvSpPr>
              <p:nvPr/>
            </p:nvSpPr>
            <p:spPr bwMode="auto">
              <a:xfrm>
                <a:off x="-8101013" y="4597400"/>
                <a:ext cx="2635250" cy="1195388"/>
              </a:xfrm>
              <a:custGeom>
                <a:avLst/>
                <a:gdLst>
                  <a:gd name="T0" fmla="*/ 1660 w 1660"/>
                  <a:gd name="T1" fmla="*/ 753 h 753"/>
                  <a:gd name="T2" fmla="*/ 0 w 1660"/>
                  <a:gd name="T3" fmla="*/ 578 h 753"/>
                  <a:gd name="T4" fmla="*/ 0 w 1660"/>
                  <a:gd name="T5" fmla="*/ 578 h 753"/>
                  <a:gd name="T6" fmla="*/ 682 w 1660"/>
                  <a:gd name="T7" fmla="*/ 0 h 753"/>
                  <a:gd name="T8" fmla="*/ 1660 w 1660"/>
                  <a:gd name="T9" fmla="*/ 753 h 753"/>
                  <a:gd name="T10" fmla="*/ 1660 w 1660"/>
                  <a:gd name="T11" fmla="*/ 753 h 753"/>
                </a:gdLst>
                <a:ahLst/>
                <a:cxnLst>
                  <a:cxn ang="0">
                    <a:pos x="T0" y="T1"/>
                  </a:cxn>
                  <a:cxn ang="0">
                    <a:pos x="T2" y="T3"/>
                  </a:cxn>
                  <a:cxn ang="0">
                    <a:pos x="T4" y="T5"/>
                  </a:cxn>
                  <a:cxn ang="0">
                    <a:pos x="T6" y="T7"/>
                  </a:cxn>
                  <a:cxn ang="0">
                    <a:pos x="T8" y="T9"/>
                  </a:cxn>
                  <a:cxn ang="0">
                    <a:pos x="T10" y="T11"/>
                  </a:cxn>
                </a:cxnLst>
                <a:rect l="0" t="0" r="r" b="b"/>
                <a:pathLst>
                  <a:path w="1660" h="753">
                    <a:moveTo>
                      <a:pt x="1660" y="753"/>
                    </a:moveTo>
                    <a:lnTo>
                      <a:pt x="0" y="578"/>
                    </a:lnTo>
                    <a:lnTo>
                      <a:pt x="0" y="578"/>
                    </a:lnTo>
                    <a:lnTo>
                      <a:pt x="682" y="0"/>
                    </a:lnTo>
                    <a:lnTo>
                      <a:pt x="1660" y="753"/>
                    </a:lnTo>
                    <a:lnTo>
                      <a:pt x="1660" y="753"/>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16" name="Freeform 440"/>
              <p:cNvSpPr>
                <a:spLocks/>
              </p:cNvSpPr>
              <p:nvPr/>
            </p:nvSpPr>
            <p:spPr bwMode="auto">
              <a:xfrm>
                <a:off x="-8102600" y="5514975"/>
                <a:ext cx="1588"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17" name="Freeform 441"/>
              <p:cNvSpPr>
                <a:spLocks/>
              </p:cNvSpPr>
              <p:nvPr/>
            </p:nvSpPr>
            <p:spPr bwMode="auto">
              <a:xfrm>
                <a:off x="-9909175" y="5514975"/>
                <a:ext cx="1806575" cy="2144713"/>
              </a:xfrm>
              <a:custGeom>
                <a:avLst/>
                <a:gdLst>
                  <a:gd name="T0" fmla="*/ 999 w 1138"/>
                  <a:gd name="T1" fmla="*/ 1351 h 1351"/>
                  <a:gd name="T2" fmla="*/ 662 w 1138"/>
                  <a:gd name="T3" fmla="*/ 1351 h 1351"/>
                  <a:gd name="T4" fmla="*/ 0 w 1138"/>
                  <a:gd name="T5" fmla="*/ 670 h 1351"/>
                  <a:gd name="T6" fmla="*/ 0 w 1138"/>
                  <a:gd name="T7" fmla="*/ 670 h 1351"/>
                  <a:gd name="T8" fmla="*/ 1138 w 1138"/>
                  <a:gd name="T9" fmla="*/ 0 h 1351"/>
                  <a:gd name="T10" fmla="*/ 999 w 1138"/>
                  <a:gd name="T11" fmla="*/ 1351 h 1351"/>
                </a:gdLst>
                <a:ahLst/>
                <a:cxnLst>
                  <a:cxn ang="0">
                    <a:pos x="T0" y="T1"/>
                  </a:cxn>
                  <a:cxn ang="0">
                    <a:pos x="T2" y="T3"/>
                  </a:cxn>
                  <a:cxn ang="0">
                    <a:pos x="T4" y="T5"/>
                  </a:cxn>
                  <a:cxn ang="0">
                    <a:pos x="T6" y="T7"/>
                  </a:cxn>
                  <a:cxn ang="0">
                    <a:pos x="T8" y="T9"/>
                  </a:cxn>
                  <a:cxn ang="0">
                    <a:pos x="T10" y="T11"/>
                  </a:cxn>
                </a:cxnLst>
                <a:rect l="0" t="0" r="r" b="b"/>
                <a:pathLst>
                  <a:path w="1138" h="1351">
                    <a:moveTo>
                      <a:pt x="999" y="1351"/>
                    </a:moveTo>
                    <a:lnTo>
                      <a:pt x="662" y="1351"/>
                    </a:lnTo>
                    <a:lnTo>
                      <a:pt x="0" y="670"/>
                    </a:lnTo>
                    <a:lnTo>
                      <a:pt x="0" y="670"/>
                    </a:lnTo>
                    <a:lnTo>
                      <a:pt x="1138" y="0"/>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18" name="Freeform 442"/>
              <p:cNvSpPr>
                <a:spLocks/>
              </p:cNvSpPr>
              <p:nvPr/>
            </p:nvSpPr>
            <p:spPr bwMode="auto">
              <a:xfrm>
                <a:off x="-5465763" y="4816475"/>
                <a:ext cx="1250950" cy="1479550"/>
              </a:xfrm>
              <a:custGeom>
                <a:avLst/>
                <a:gdLst>
                  <a:gd name="T0" fmla="*/ 788 w 788"/>
                  <a:gd name="T1" fmla="*/ 932 h 932"/>
                  <a:gd name="T2" fmla="*/ 0 w 788"/>
                  <a:gd name="T3" fmla="*/ 615 h 932"/>
                  <a:gd name="T4" fmla="*/ 0 w 788"/>
                  <a:gd name="T5" fmla="*/ 615 h 932"/>
                  <a:gd name="T6" fmla="*/ 0 w 788"/>
                  <a:gd name="T7" fmla="*/ 615 h 932"/>
                  <a:gd name="T8" fmla="*/ 498 w 788"/>
                  <a:gd name="T9" fmla="*/ 0 h 932"/>
                  <a:gd name="T10" fmla="*/ 788 w 788"/>
                  <a:gd name="T11" fmla="*/ 932 h 932"/>
                </a:gdLst>
                <a:ahLst/>
                <a:cxnLst>
                  <a:cxn ang="0">
                    <a:pos x="T0" y="T1"/>
                  </a:cxn>
                  <a:cxn ang="0">
                    <a:pos x="T2" y="T3"/>
                  </a:cxn>
                  <a:cxn ang="0">
                    <a:pos x="T4" y="T5"/>
                  </a:cxn>
                  <a:cxn ang="0">
                    <a:pos x="T6" y="T7"/>
                  </a:cxn>
                  <a:cxn ang="0">
                    <a:pos x="T8" y="T9"/>
                  </a:cxn>
                  <a:cxn ang="0">
                    <a:pos x="T10" y="T11"/>
                  </a:cxn>
                </a:cxnLst>
                <a:rect l="0" t="0" r="r" b="b"/>
                <a:pathLst>
                  <a:path w="788" h="932">
                    <a:moveTo>
                      <a:pt x="788" y="932"/>
                    </a:moveTo>
                    <a:lnTo>
                      <a:pt x="0" y="615"/>
                    </a:lnTo>
                    <a:lnTo>
                      <a:pt x="0" y="615"/>
                    </a:lnTo>
                    <a:lnTo>
                      <a:pt x="0" y="615"/>
                    </a:lnTo>
                    <a:lnTo>
                      <a:pt x="498" y="0"/>
                    </a:lnTo>
                    <a:lnTo>
                      <a:pt x="788"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19" name="Freeform 443"/>
              <p:cNvSpPr>
                <a:spLocks/>
              </p:cNvSpPr>
              <p:nvPr/>
            </p:nvSpPr>
            <p:spPr bwMode="auto">
              <a:xfrm>
                <a:off x="-6213475" y="2655887"/>
                <a:ext cx="1800225" cy="2160588"/>
              </a:xfrm>
              <a:custGeom>
                <a:avLst/>
                <a:gdLst>
                  <a:gd name="T0" fmla="*/ 969 w 1134"/>
                  <a:gd name="T1" fmla="*/ 1361 h 1361"/>
                  <a:gd name="T2" fmla="*/ 969 w 1134"/>
                  <a:gd name="T3" fmla="*/ 1361 h 1361"/>
                  <a:gd name="T4" fmla="*/ 0 w 1134"/>
                  <a:gd name="T5" fmla="*/ 0 h 1361"/>
                  <a:gd name="T6" fmla="*/ 0 w 1134"/>
                  <a:gd name="T7" fmla="*/ 0 h 1361"/>
                  <a:gd name="T8" fmla="*/ 1134 w 1134"/>
                  <a:gd name="T9" fmla="*/ 288 h 1361"/>
                  <a:gd name="T10" fmla="*/ 969 w 1134"/>
                  <a:gd name="T11" fmla="*/ 1361 h 1361"/>
                </a:gdLst>
                <a:ahLst/>
                <a:cxnLst>
                  <a:cxn ang="0">
                    <a:pos x="T0" y="T1"/>
                  </a:cxn>
                  <a:cxn ang="0">
                    <a:pos x="T2" y="T3"/>
                  </a:cxn>
                  <a:cxn ang="0">
                    <a:pos x="T4" y="T5"/>
                  </a:cxn>
                  <a:cxn ang="0">
                    <a:pos x="T6" y="T7"/>
                  </a:cxn>
                  <a:cxn ang="0">
                    <a:pos x="T8" y="T9"/>
                  </a:cxn>
                  <a:cxn ang="0">
                    <a:pos x="T10" y="T11"/>
                  </a:cxn>
                </a:cxnLst>
                <a:rect l="0" t="0" r="r" b="b"/>
                <a:pathLst>
                  <a:path w="1134" h="1361">
                    <a:moveTo>
                      <a:pt x="969" y="1361"/>
                    </a:moveTo>
                    <a:lnTo>
                      <a:pt x="969" y="1361"/>
                    </a:lnTo>
                    <a:lnTo>
                      <a:pt x="0" y="0"/>
                    </a:lnTo>
                    <a:lnTo>
                      <a:pt x="0" y="0"/>
                    </a:lnTo>
                    <a:lnTo>
                      <a:pt x="1134" y="288"/>
                    </a:lnTo>
                    <a:lnTo>
                      <a:pt x="969" y="1361"/>
                    </a:lnTo>
                    <a:close/>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20" name="Rectangle 444"/>
              <p:cNvSpPr>
                <a:spLocks noChangeArrowheads="1"/>
              </p:cNvSpPr>
              <p:nvPr/>
            </p:nvSpPr>
            <p:spPr bwMode="auto">
              <a:xfrm>
                <a:off x="-6213475" y="2655887"/>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21" name="Rectangle 445"/>
              <p:cNvSpPr>
                <a:spLocks noChangeArrowheads="1"/>
              </p:cNvSpPr>
              <p:nvPr/>
            </p:nvSpPr>
            <p:spPr bwMode="auto">
              <a:xfrm>
                <a:off x="-6213475" y="2655887"/>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22" name="Freeform 446"/>
              <p:cNvSpPr>
                <a:spLocks/>
              </p:cNvSpPr>
              <p:nvPr/>
            </p:nvSpPr>
            <p:spPr bwMode="auto">
              <a:xfrm>
                <a:off x="-4675188" y="4237037"/>
                <a:ext cx="1903413" cy="2058988"/>
              </a:xfrm>
              <a:custGeom>
                <a:avLst/>
                <a:gdLst>
                  <a:gd name="T0" fmla="*/ 290 w 1199"/>
                  <a:gd name="T1" fmla="*/ 1297 h 1297"/>
                  <a:gd name="T2" fmla="*/ 290 w 1199"/>
                  <a:gd name="T3" fmla="*/ 1297 h 1297"/>
                  <a:gd name="T4" fmla="*/ 0 w 1199"/>
                  <a:gd name="T5" fmla="*/ 365 h 1297"/>
                  <a:gd name="T6" fmla="*/ 0 w 1199"/>
                  <a:gd name="T7" fmla="*/ 365 h 1297"/>
                  <a:gd name="T8" fmla="*/ 0 w 1199"/>
                  <a:gd name="T9" fmla="*/ 365 h 1297"/>
                  <a:gd name="T10" fmla="*/ 0 w 1199"/>
                  <a:gd name="T11" fmla="*/ 365 h 1297"/>
                  <a:gd name="T12" fmla="*/ 1199 w 1199"/>
                  <a:gd name="T13" fmla="*/ 0 h 1297"/>
                  <a:gd name="T14" fmla="*/ 290 w 1199"/>
                  <a:gd name="T15" fmla="*/ 1297 h 1297"/>
                  <a:gd name="T16" fmla="*/ 290 w 1199"/>
                  <a:gd name="T17" fmla="*/ 1297 h 1297"/>
                  <a:gd name="T18" fmla="*/ 290 w 1199"/>
                  <a:gd name="T19" fmla="*/ 129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9" h="1297">
                    <a:moveTo>
                      <a:pt x="290" y="1297"/>
                    </a:moveTo>
                    <a:lnTo>
                      <a:pt x="290" y="1297"/>
                    </a:lnTo>
                    <a:lnTo>
                      <a:pt x="0" y="365"/>
                    </a:lnTo>
                    <a:lnTo>
                      <a:pt x="0" y="365"/>
                    </a:lnTo>
                    <a:lnTo>
                      <a:pt x="0" y="365"/>
                    </a:lnTo>
                    <a:lnTo>
                      <a:pt x="0" y="365"/>
                    </a:lnTo>
                    <a:lnTo>
                      <a:pt x="1199" y="0"/>
                    </a:lnTo>
                    <a:lnTo>
                      <a:pt x="290" y="1297"/>
                    </a:lnTo>
                    <a:lnTo>
                      <a:pt x="290" y="1297"/>
                    </a:lnTo>
                    <a:lnTo>
                      <a:pt x="290" y="1297"/>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23" name="Freeform 447"/>
              <p:cNvSpPr>
                <a:spLocks/>
              </p:cNvSpPr>
              <p:nvPr/>
            </p:nvSpPr>
            <p:spPr bwMode="auto">
              <a:xfrm>
                <a:off x="-4675188" y="4816475"/>
                <a:ext cx="460375" cy="1479550"/>
              </a:xfrm>
              <a:custGeom>
                <a:avLst/>
                <a:gdLst>
                  <a:gd name="T0" fmla="*/ 290 w 290"/>
                  <a:gd name="T1" fmla="*/ 932 h 932"/>
                  <a:gd name="T2" fmla="*/ 290 w 290"/>
                  <a:gd name="T3" fmla="*/ 932 h 932"/>
                  <a:gd name="T4" fmla="*/ 0 w 290"/>
                  <a:gd name="T5" fmla="*/ 0 h 932"/>
                  <a:gd name="T6" fmla="*/ 0 w 290"/>
                  <a:gd name="T7" fmla="*/ 0 h 932"/>
                  <a:gd name="T8" fmla="*/ 290 w 290"/>
                  <a:gd name="T9" fmla="*/ 932 h 932"/>
                </a:gdLst>
                <a:ahLst/>
                <a:cxnLst>
                  <a:cxn ang="0">
                    <a:pos x="T0" y="T1"/>
                  </a:cxn>
                  <a:cxn ang="0">
                    <a:pos x="T2" y="T3"/>
                  </a:cxn>
                  <a:cxn ang="0">
                    <a:pos x="T4" y="T5"/>
                  </a:cxn>
                  <a:cxn ang="0">
                    <a:pos x="T6" y="T7"/>
                  </a:cxn>
                  <a:cxn ang="0">
                    <a:pos x="T8" y="T9"/>
                  </a:cxn>
                </a:cxnLst>
                <a:rect l="0" t="0" r="r" b="b"/>
                <a:pathLst>
                  <a:path w="290" h="932">
                    <a:moveTo>
                      <a:pt x="290" y="932"/>
                    </a:moveTo>
                    <a:lnTo>
                      <a:pt x="290" y="932"/>
                    </a:lnTo>
                    <a:lnTo>
                      <a:pt x="0" y="0"/>
                    </a:lnTo>
                    <a:lnTo>
                      <a:pt x="0" y="0"/>
                    </a:lnTo>
                    <a:lnTo>
                      <a:pt x="290"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24" name="Freeform 448"/>
              <p:cNvSpPr>
                <a:spLocks/>
              </p:cNvSpPr>
              <p:nvPr/>
            </p:nvSpPr>
            <p:spPr bwMode="auto">
              <a:xfrm>
                <a:off x="-7018338" y="2655887"/>
                <a:ext cx="2343150" cy="2160588"/>
              </a:xfrm>
              <a:custGeom>
                <a:avLst/>
                <a:gdLst>
                  <a:gd name="T0" fmla="*/ 1476 w 1476"/>
                  <a:gd name="T1" fmla="*/ 1361 h 1361"/>
                  <a:gd name="T2" fmla="*/ 0 w 1476"/>
                  <a:gd name="T3" fmla="*/ 1223 h 1361"/>
                  <a:gd name="T4" fmla="*/ 507 w 1476"/>
                  <a:gd name="T5" fmla="*/ 0 h 1361"/>
                  <a:gd name="T6" fmla="*/ 1476 w 1476"/>
                  <a:gd name="T7" fmla="*/ 1361 h 1361"/>
                </a:gdLst>
                <a:ahLst/>
                <a:cxnLst>
                  <a:cxn ang="0">
                    <a:pos x="T0" y="T1"/>
                  </a:cxn>
                  <a:cxn ang="0">
                    <a:pos x="T2" y="T3"/>
                  </a:cxn>
                  <a:cxn ang="0">
                    <a:pos x="T4" y="T5"/>
                  </a:cxn>
                  <a:cxn ang="0">
                    <a:pos x="T6" y="T7"/>
                  </a:cxn>
                </a:cxnLst>
                <a:rect l="0" t="0" r="r" b="b"/>
                <a:pathLst>
                  <a:path w="1476" h="1361">
                    <a:moveTo>
                      <a:pt x="1476" y="1361"/>
                    </a:moveTo>
                    <a:lnTo>
                      <a:pt x="0" y="1223"/>
                    </a:lnTo>
                    <a:lnTo>
                      <a:pt x="507" y="0"/>
                    </a:lnTo>
                    <a:lnTo>
                      <a:pt x="1476" y="136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25" name="Freeform 449"/>
              <p:cNvSpPr>
                <a:spLocks/>
              </p:cNvSpPr>
              <p:nvPr/>
            </p:nvSpPr>
            <p:spPr bwMode="auto">
              <a:xfrm>
                <a:off x="-7018338" y="2655887"/>
                <a:ext cx="804863" cy="1941513"/>
              </a:xfrm>
              <a:custGeom>
                <a:avLst/>
                <a:gdLst>
                  <a:gd name="T0" fmla="*/ 0 w 507"/>
                  <a:gd name="T1" fmla="*/ 1223 h 1223"/>
                  <a:gd name="T2" fmla="*/ 507 w 507"/>
                  <a:gd name="T3" fmla="*/ 0 h 1223"/>
                  <a:gd name="T4" fmla="*/ 507 w 507"/>
                  <a:gd name="T5" fmla="*/ 0 h 1223"/>
                  <a:gd name="T6" fmla="*/ 0 w 507"/>
                  <a:gd name="T7" fmla="*/ 1223 h 1223"/>
                </a:gdLst>
                <a:ahLst/>
                <a:cxnLst>
                  <a:cxn ang="0">
                    <a:pos x="T0" y="T1"/>
                  </a:cxn>
                  <a:cxn ang="0">
                    <a:pos x="T2" y="T3"/>
                  </a:cxn>
                  <a:cxn ang="0">
                    <a:pos x="T4" y="T5"/>
                  </a:cxn>
                  <a:cxn ang="0">
                    <a:pos x="T6" y="T7"/>
                  </a:cxn>
                </a:cxnLst>
                <a:rect l="0" t="0" r="r" b="b"/>
                <a:pathLst>
                  <a:path w="507" h="1223">
                    <a:moveTo>
                      <a:pt x="0" y="1223"/>
                    </a:moveTo>
                    <a:lnTo>
                      <a:pt x="507" y="0"/>
                    </a:lnTo>
                    <a:lnTo>
                      <a:pt x="507" y="0"/>
                    </a:lnTo>
                    <a:lnTo>
                      <a:pt x="0" y="122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26" name="Rectangle 450"/>
              <p:cNvSpPr>
                <a:spLocks noChangeArrowheads="1"/>
              </p:cNvSpPr>
              <p:nvPr/>
            </p:nvSpPr>
            <p:spPr bwMode="auto">
              <a:xfrm>
                <a:off x="-6213475" y="2655887"/>
                <a:ext cx="1588" cy="1588"/>
              </a:xfrm>
              <a:prstGeom prst="rect">
                <a:avLst/>
              </a:prstGeom>
              <a:solidFill>
                <a:srgbClr val="5698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27" name="Freeform 451"/>
              <p:cNvSpPr>
                <a:spLocks/>
              </p:cNvSpPr>
              <p:nvPr/>
            </p:nvSpPr>
            <p:spPr bwMode="auto">
              <a:xfrm>
                <a:off x="-6213475" y="2655887"/>
                <a:ext cx="1538288" cy="2160588"/>
              </a:xfrm>
              <a:custGeom>
                <a:avLst/>
                <a:gdLst>
                  <a:gd name="T0" fmla="*/ 969 w 969"/>
                  <a:gd name="T1" fmla="*/ 1361 h 1361"/>
                  <a:gd name="T2" fmla="*/ 969 w 969"/>
                  <a:gd name="T3" fmla="*/ 1361 h 1361"/>
                  <a:gd name="T4" fmla="*/ 0 w 969"/>
                  <a:gd name="T5" fmla="*/ 0 h 1361"/>
                  <a:gd name="T6" fmla="*/ 0 w 969"/>
                  <a:gd name="T7" fmla="*/ 0 h 1361"/>
                  <a:gd name="T8" fmla="*/ 969 w 969"/>
                  <a:gd name="T9" fmla="*/ 1361 h 1361"/>
                </a:gdLst>
                <a:ahLst/>
                <a:cxnLst>
                  <a:cxn ang="0">
                    <a:pos x="T0" y="T1"/>
                  </a:cxn>
                  <a:cxn ang="0">
                    <a:pos x="T2" y="T3"/>
                  </a:cxn>
                  <a:cxn ang="0">
                    <a:pos x="T4" y="T5"/>
                  </a:cxn>
                  <a:cxn ang="0">
                    <a:pos x="T6" y="T7"/>
                  </a:cxn>
                  <a:cxn ang="0">
                    <a:pos x="T8" y="T9"/>
                  </a:cxn>
                </a:cxnLst>
                <a:rect l="0" t="0" r="r" b="b"/>
                <a:pathLst>
                  <a:path w="969" h="1361">
                    <a:moveTo>
                      <a:pt x="969" y="1361"/>
                    </a:moveTo>
                    <a:lnTo>
                      <a:pt x="969" y="1361"/>
                    </a:lnTo>
                    <a:lnTo>
                      <a:pt x="0" y="0"/>
                    </a:lnTo>
                    <a:lnTo>
                      <a:pt x="0" y="0"/>
                    </a:lnTo>
                    <a:lnTo>
                      <a:pt x="969" y="1361"/>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28" name="Freeform 452"/>
              <p:cNvSpPr>
                <a:spLocks/>
              </p:cNvSpPr>
              <p:nvPr/>
            </p:nvSpPr>
            <p:spPr bwMode="auto">
              <a:xfrm>
                <a:off x="-6213475" y="2655887"/>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29" name="Freeform 453"/>
              <p:cNvSpPr>
                <a:spLocks/>
              </p:cNvSpPr>
              <p:nvPr/>
            </p:nvSpPr>
            <p:spPr bwMode="auto">
              <a:xfrm>
                <a:off x="-4675188" y="3113087"/>
                <a:ext cx="1903413" cy="1703388"/>
              </a:xfrm>
              <a:custGeom>
                <a:avLst/>
                <a:gdLst>
                  <a:gd name="T0" fmla="*/ 0 w 1199"/>
                  <a:gd name="T1" fmla="*/ 1073 h 1073"/>
                  <a:gd name="T2" fmla="*/ 165 w 1199"/>
                  <a:gd name="T3" fmla="*/ 0 h 1073"/>
                  <a:gd name="T4" fmla="*/ 1199 w 1199"/>
                  <a:gd name="T5" fmla="*/ 708 h 1073"/>
                  <a:gd name="T6" fmla="*/ 0 w 1199"/>
                  <a:gd name="T7" fmla="*/ 1073 h 1073"/>
                </a:gdLst>
                <a:ahLst/>
                <a:cxnLst>
                  <a:cxn ang="0">
                    <a:pos x="T0" y="T1"/>
                  </a:cxn>
                  <a:cxn ang="0">
                    <a:pos x="T2" y="T3"/>
                  </a:cxn>
                  <a:cxn ang="0">
                    <a:pos x="T4" y="T5"/>
                  </a:cxn>
                  <a:cxn ang="0">
                    <a:pos x="T6" y="T7"/>
                  </a:cxn>
                </a:cxnLst>
                <a:rect l="0" t="0" r="r" b="b"/>
                <a:pathLst>
                  <a:path w="1199" h="1073">
                    <a:moveTo>
                      <a:pt x="0" y="1073"/>
                    </a:moveTo>
                    <a:lnTo>
                      <a:pt x="165" y="0"/>
                    </a:lnTo>
                    <a:lnTo>
                      <a:pt x="1199" y="708"/>
                    </a:lnTo>
                    <a:lnTo>
                      <a:pt x="0" y="1073"/>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30" name="Freeform 454"/>
              <p:cNvSpPr>
                <a:spLocks/>
              </p:cNvSpPr>
              <p:nvPr/>
            </p:nvSpPr>
            <p:spPr bwMode="auto">
              <a:xfrm>
                <a:off x="-7018338" y="4597400"/>
                <a:ext cx="2343150" cy="1195388"/>
              </a:xfrm>
              <a:custGeom>
                <a:avLst/>
                <a:gdLst>
                  <a:gd name="T0" fmla="*/ 978 w 1476"/>
                  <a:gd name="T1" fmla="*/ 753 h 753"/>
                  <a:gd name="T2" fmla="*/ 978 w 1476"/>
                  <a:gd name="T3" fmla="*/ 753 h 753"/>
                  <a:gd name="T4" fmla="*/ 0 w 1476"/>
                  <a:gd name="T5" fmla="*/ 0 h 753"/>
                  <a:gd name="T6" fmla="*/ 1476 w 1476"/>
                  <a:gd name="T7" fmla="*/ 138 h 753"/>
                  <a:gd name="T8" fmla="*/ 978 w 1476"/>
                  <a:gd name="T9" fmla="*/ 753 h 753"/>
                </a:gdLst>
                <a:ahLst/>
                <a:cxnLst>
                  <a:cxn ang="0">
                    <a:pos x="T0" y="T1"/>
                  </a:cxn>
                  <a:cxn ang="0">
                    <a:pos x="T2" y="T3"/>
                  </a:cxn>
                  <a:cxn ang="0">
                    <a:pos x="T4" y="T5"/>
                  </a:cxn>
                  <a:cxn ang="0">
                    <a:pos x="T6" y="T7"/>
                  </a:cxn>
                  <a:cxn ang="0">
                    <a:pos x="T8" y="T9"/>
                  </a:cxn>
                </a:cxnLst>
                <a:rect l="0" t="0" r="r" b="b"/>
                <a:pathLst>
                  <a:path w="1476" h="753">
                    <a:moveTo>
                      <a:pt x="978" y="753"/>
                    </a:moveTo>
                    <a:lnTo>
                      <a:pt x="978" y="753"/>
                    </a:lnTo>
                    <a:lnTo>
                      <a:pt x="0" y="0"/>
                    </a:lnTo>
                    <a:lnTo>
                      <a:pt x="1476" y="138"/>
                    </a:lnTo>
                    <a:lnTo>
                      <a:pt x="978" y="7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31" name="Line 455"/>
              <p:cNvSpPr>
                <a:spLocks noChangeShapeType="1"/>
              </p:cNvSpPr>
              <p:nvPr/>
            </p:nvSpPr>
            <p:spPr bwMode="auto">
              <a:xfrm>
                <a:off x="-7643813" y="76596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32" name="Freeform 456"/>
              <p:cNvSpPr>
                <a:spLocks/>
              </p:cNvSpPr>
              <p:nvPr/>
            </p:nvSpPr>
            <p:spPr bwMode="auto">
              <a:xfrm>
                <a:off x="-7643813" y="6911975"/>
                <a:ext cx="1103313" cy="747713"/>
              </a:xfrm>
              <a:custGeom>
                <a:avLst/>
                <a:gdLst>
                  <a:gd name="T0" fmla="*/ 0 w 695"/>
                  <a:gd name="T1" fmla="*/ 471 h 471"/>
                  <a:gd name="T2" fmla="*/ 0 w 695"/>
                  <a:gd name="T3" fmla="*/ 471 h 471"/>
                  <a:gd name="T4" fmla="*/ 695 w 695"/>
                  <a:gd name="T5" fmla="*/ 0 h 471"/>
                  <a:gd name="T6" fmla="*/ 0 w 695"/>
                  <a:gd name="T7" fmla="*/ 471 h 471"/>
                </a:gdLst>
                <a:ahLst/>
                <a:cxnLst>
                  <a:cxn ang="0">
                    <a:pos x="T0" y="T1"/>
                  </a:cxn>
                  <a:cxn ang="0">
                    <a:pos x="T2" y="T3"/>
                  </a:cxn>
                  <a:cxn ang="0">
                    <a:pos x="T4" y="T5"/>
                  </a:cxn>
                  <a:cxn ang="0">
                    <a:pos x="T6" y="T7"/>
                  </a:cxn>
                </a:cxnLst>
                <a:rect l="0" t="0" r="r" b="b"/>
                <a:pathLst>
                  <a:path w="695" h="471">
                    <a:moveTo>
                      <a:pt x="0" y="471"/>
                    </a:moveTo>
                    <a:lnTo>
                      <a:pt x="0" y="471"/>
                    </a:lnTo>
                    <a:lnTo>
                      <a:pt x="695" y="0"/>
                    </a:lnTo>
                    <a:lnTo>
                      <a:pt x="0" y="47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33" name="Freeform 457"/>
              <p:cNvSpPr>
                <a:spLocks/>
              </p:cNvSpPr>
              <p:nvPr/>
            </p:nvSpPr>
            <p:spPr bwMode="auto">
              <a:xfrm>
                <a:off x="-5465763" y="5792787"/>
                <a:ext cx="1524000" cy="1866900"/>
              </a:xfrm>
              <a:custGeom>
                <a:avLst/>
                <a:gdLst>
                  <a:gd name="T0" fmla="*/ 960 w 960"/>
                  <a:gd name="T1" fmla="*/ 1176 h 1176"/>
                  <a:gd name="T2" fmla="*/ 823 w 960"/>
                  <a:gd name="T3" fmla="*/ 1176 h 1176"/>
                  <a:gd name="T4" fmla="*/ 0 w 960"/>
                  <a:gd name="T5" fmla="*/ 0 h 1176"/>
                  <a:gd name="T6" fmla="*/ 788 w 960"/>
                  <a:gd name="T7" fmla="*/ 317 h 1176"/>
                  <a:gd name="T8" fmla="*/ 960 w 960"/>
                  <a:gd name="T9" fmla="*/ 1176 h 1176"/>
                </a:gdLst>
                <a:ahLst/>
                <a:cxnLst>
                  <a:cxn ang="0">
                    <a:pos x="T0" y="T1"/>
                  </a:cxn>
                  <a:cxn ang="0">
                    <a:pos x="T2" y="T3"/>
                  </a:cxn>
                  <a:cxn ang="0">
                    <a:pos x="T4" y="T5"/>
                  </a:cxn>
                  <a:cxn ang="0">
                    <a:pos x="T6" y="T7"/>
                  </a:cxn>
                  <a:cxn ang="0">
                    <a:pos x="T8" y="T9"/>
                  </a:cxn>
                </a:cxnLst>
                <a:rect l="0" t="0" r="r" b="b"/>
                <a:pathLst>
                  <a:path w="960" h="1176">
                    <a:moveTo>
                      <a:pt x="960" y="1176"/>
                    </a:moveTo>
                    <a:lnTo>
                      <a:pt x="823" y="1176"/>
                    </a:lnTo>
                    <a:lnTo>
                      <a:pt x="0" y="0"/>
                    </a:lnTo>
                    <a:lnTo>
                      <a:pt x="788" y="317"/>
                    </a:lnTo>
                    <a:lnTo>
                      <a:pt x="960" y="117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34" name="Rectangle 458"/>
              <p:cNvSpPr>
                <a:spLocks noChangeArrowheads="1"/>
              </p:cNvSpPr>
              <p:nvPr/>
            </p:nvSpPr>
            <p:spPr bwMode="auto">
              <a:xfrm>
                <a:off x="-5465763" y="5792787"/>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35" name="Freeform 459"/>
              <p:cNvSpPr>
                <a:spLocks/>
              </p:cNvSpPr>
              <p:nvPr/>
            </p:nvSpPr>
            <p:spPr bwMode="auto">
              <a:xfrm>
                <a:off x="-6540500" y="5792787"/>
                <a:ext cx="2381250" cy="1866900"/>
              </a:xfrm>
              <a:custGeom>
                <a:avLst/>
                <a:gdLst>
                  <a:gd name="T0" fmla="*/ 1500 w 1500"/>
                  <a:gd name="T1" fmla="*/ 1176 h 1176"/>
                  <a:gd name="T2" fmla="*/ 1072 w 1500"/>
                  <a:gd name="T3" fmla="*/ 1176 h 1176"/>
                  <a:gd name="T4" fmla="*/ 0 w 1500"/>
                  <a:gd name="T5" fmla="*/ 705 h 1176"/>
                  <a:gd name="T6" fmla="*/ 677 w 1500"/>
                  <a:gd name="T7" fmla="*/ 0 h 1176"/>
                  <a:gd name="T8" fmla="*/ 677 w 1500"/>
                  <a:gd name="T9" fmla="*/ 0 h 1176"/>
                  <a:gd name="T10" fmla="*/ 1500 w 1500"/>
                  <a:gd name="T11" fmla="*/ 1176 h 1176"/>
                </a:gdLst>
                <a:ahLst/>
                <a:cxnLst>
                  <a:cxn ang="0">
                    <a:pos x="T0" y="T1"/>
                  </a:cxn>
                  <a:cxn ang="0">
                    <a:pos x="T2" y="T3"/>
                  </a:cxn>
                  <a:cxn ang="0">
                    <a:pos x="T4" y="T5"/>
                  </a:cxn>
                  <a:cxn ang="0">
                    <a:pos x="T6" y="T7"/>
                  </a:cxn>
                  <a:cxn ang="0">
                    <a:pos x="T8" y="T9"/>
                  </a:cxn>
                  <a:cxn ang="0">
                    <a:pos x="T10" y="T11"/>
                  </a:cxn>
                </a:cxnLst>
                <a:rect l="0" t="0" r="r" b="b"/>
                <a:pathLst>
                  <a:path w="1500" h="1176">
                    <a:moveTo>
                      <a:pt x="1500" y="1176"/>
                    </a:moveTo>
                    <a:lnTo>
                      <a:pt x="1072" y="1176"/>
                    </a:lnTo>
                    <a:lnTo>
                      <a:pt x="0" y="705"/>
                    </a:lnTo>
                    <a:lnTo>
                      <a:pt x="677" y="0"/>
                    </a:lnTo>
                    <a:lnTo>
                      <a:pt x="677" y="0"/>
                    </a:lnTo>
                    <a:lnTo>
                      <a:pt x="150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36" name="Freeform 460"/>
              <p:cNvSpPr>
                <a:spLocks/>
              </p:cNvSpPr>
              <p:nvPr/>
            </p:nvSpPr>
            <p:spPr bwMode="auto">
              <a:xfrm>
                <a:off x="-4214813" y="6296025"/>
                <a:ext cx="1620838" cy="1363663"/>
              </a:xfrm>
              <a:custGeom>
                <a:avLst/>
                <a:gdLst>
                  <a:gd name="T0" fmla="*/ 1021 w 1021"/>
                  <a:gd name="T1" fmla="*/ 859 h 859"/>
                  <a:gd name="T2" fmla="*/ 172 w 1021"/>
                  <a:gd name="T3" fmla="*/ 859 h 859"/>
                  <a:gd name="T4" fmla="*/ 0 w 1021"/>
                  <a:gd name="T5" fmla="*/ 0 h 859"/>
                  <a:gd name="T6" fmla="*/ 1021 w 1021"/>
                  <a:gd name="T7" fmla="*/ 859 h 859"/>
                </a:gdLst>
                <a:ahLst/>
                <a:cxnLst>
                  <a:cxn ang="0">
                    <a:pos x="T0" y="T1"/>
                  </a:cxn>
                  <a:cxn ang="0">
                    <a:pos x="T2" y="T3"/>
                  </a:cxn>
                  <a:cxn ang="0">
                    <a:pos x="T4" y="T5"/>
                  </a:cxn>
                  <a:cxn ang="0">
                    <a:pos x="T6" y="T7"/>
                  </a:cxn>
                </a:cxnLst>
                <a:rect l="0" t="0" r="r" b="b"/>
                <a:pathLst>
                  <a:path w="1021" h="859">
                    <a:moveTo>
                      <a:pt x="1021" y="859"/>
                    </a:moveTo>
                    <a:lnTo>
                      <a:pt x="172" y="859"/>
                    </a:lnTo>
                    <a:lnTo>
                      <a:pt x="0" y="0"/>
                    </a:lnTo>
                    <a:lnTo>
                      <a:pt x="1021" y="8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37" name="Freeform 461"/>
              <p:cNvSpPr>
                <a:spLocks/>
              </p:cNvSpPr>
              <p:nvPr/>
            </p:nvSpPr>
            <p:spPr bwMode="auto">
              <a:xfrm>
                <a:off x="-6540500" y="6911975"/>
                <a:ext cx="1701800" cy="747713"/>
              </a:xfrm>
              <a:custGeom>
                <a:avLst/>
                <a:gdLst>
                  <a:gd name="T0" fmla="*/ 1072 w 1072"/>
                  <a:gd name="T1" fmla="*/ 471 h 471"/>
                  <a:gd name="T2" fmla="*/ 254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254" y="471"/>
                    </a:lnTo>
                    <a:lnTo>
                      <a:pt x="0" y="0"/>
                    </a:lnTo>
                    <a:lnTo>
                      <a:pt x="1072" y="471"/>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38" name="Line 462"/>
              <p:cNvSpPr>
                <a:spLocks noChangeShapeType="1"/>
              </p:cNvSpPr>
              <p:nvPr/>
            </p:nvSpPr>
            <p:spPr bwMode="auto">
              <a:xfrm>
                <a:off x="-6137275" y="76596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39" name="Freeform 463"/>
              <p:cNvSpPr>
                <a:spLocks/>
              </p:cNvSpPr>
              <p:nvPr/>
            </p:nvSpPr>
            <p:spPr bwMode="auto">
              <a:xfrm>
                <a:off x="-6540500" y="6911975"/>
                <a:ext cx="403225" cy="747713"/>
              </a:xfrm>
              <a:custGeom>
                <a:avLst/>
                <a:gdLst>
                  <a:gd name="T0" fmla="*/ 254 w 254"/>
                  <a:gd name="T1" fmla="*/ 471 h 471"/>
                  <a:gd name="T2" fmla="*/ 254 w 254"/>
                  <a:gd name="T3" fmla="*/ 471 h 471"/>
                  <a:gd name="T4" fmla="*/ 0 w 254"/>
                  <a:gd name="T5" fmla="*/ 0 h 471"/>
                  <a:gd name="T6" fmla="*/ 254 w 254"/>
                  <a:gd name="T7" fmla="*/ 471 h 471"/>
                </a:gdLst>
                <a:ahLst/>
                <a:cxnLst>
                  <a:cxn ang="0">
                    <a:pos x="T0" y="T1"/>
                  </a:cxn>
                  <a:cxn ang="0">
                    <a:pos x="T2" y="T3"/>
                  </a:cxn>
                  <a:cxn ang="0">
                    <a:pos x="T4" y="T5"/>
                  </a:cxn>
                  <a:cxn ang="0">
                    <a:pos x="T6" y="T7"/>
                  </a:cxn>
                </a:cxnLst>
                <a:rect l="0" t="0" r="r" b="b"/>
                <a:pathLst>
                  <a:path w="254" h="471">
                    <a:moveTo>
                      <a:pt x="254" y="471"/>
                    </a:moveTo>
                    <a:lnTo>
                      <a:pt x="254" y="471"/>
                    </a:lnTo>
                    <a:lnTo>
                      <a:pt x="0" y="0"/>
                    </a:lnTo>
                    <a:lnTo>
                      <a:pt x="254" y="471"/>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40" name="Freeform 464"/>
              <p:cNvSpPr>
                <a:spLocks/>
              </p:cNvSpPr>
              <p:nvPr/>
            </p:nvSpPr>
            <p:spPr bwMode="auto">
              <a:xfrm>
                <a:off x="-6540500" y="6911975"/>
                <a:ext cx="1701800" cy="747713"/>
              </a:xfrm>
              <a:custGeom>
                <a:avLst/>
                <a:gdLst>
                  <a:gd name="T0" fmla="*/ 1072 w 1072"/>
                  <a:gd name="T1" fmla="*/ 471 h 471"/>
                  <a:gd name="T2" fmla="*/ 1072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1072" y="471"/>
                    </a:lnTo>
                    <a:lnTo>
                      <a:pt x="0" y="0"/>
                    </a:lnTo>
                    <a:lnTo>
                      <a:pt x="1072" y="47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41" name="Freeform 465"/>
              <p:cNvSpPr>
                <a:spLocks/>
              </p:cNvSpPr>
              <p:nvPr/>
            </p:nvSpPr>
            <p:spPr bwMode="auto">
              <a:xfrm>
                <a:off x="-3327400" y="-3540126"/>
                <a:ext cx="2473325" cy="2046288"/>
              </a:xfrm>
              <a:custGeom>
                <a:avLst/>
                <a:gdLst>
                  <a:gd name="T0" fmla="*/ 0 w 1558"/>
                  <a:gd name="T1" fmla="*/ 1289 h 1289"/>
                  <a:gd name="T2" fmla="*/ 916 w 1558"/>
                  <a:gd name="T3" fmla="*/ 0 h 1289"/>
                  <a:gd name="T4" fmla="*/ 1558 w 1558"/>
                  <a:gd name="T5" fmla="*/ 541 h 1289"/>
                  <a:gd name="T6" fmla="*/ 1558 w 1558"/>
                  <a:gd name="T7" fmla="*/ 890 h 1289"/>
                  <a:gd name="T8" fmla="*/ 0 w 1558"/>
                  <a:gd name="T9" fmla="*/ 1289 h 1289"/>
                </a:gdLst>
                <a:ahLst/>
                <a:cxnLst>
                  <a:cxn ang="0">
                    <a:pos x="T0" y="T1"/>
                  </a:cxn>
                  <a:cxn ang="0">
                    <a:pos x="T2" y="T3"/>
                  </a:cxn>
                  <a:cxn ang="0">
                    <a:pos x="T4" y="T5"/>
                  </a:cxn>
                  <a:cxn ang="0">
                    <a:pos x="T6" y="T7"/>
                  </a:cxn>
                  <a:cxn ang="0">
                    <a:pos x="T8" y="T9"/>
                  </a:cxn>
                </a:cxnLst>
                <a:rect l="0" t="0" r="r" b="b"/>
                <a:pathLst>
                  <a:path w="1558" h="1289">
                    <a:moveTo>
                      <a:pt x="0" y="1289"/>
                    </a:moveTo>
                    <a:lnTo>
                      <a:pt x="916" y="0"/>
                    </a:lnTo>
                    <a:lnTo>
                      <a:pt x="1558" y="541"/>
                    </a:lnTo>
                    <a:lnTo>
                      <a:pt x="1558" y="890"/>
                    </a:lnTo>
                    <a:lnTo>
                      <a:pt x="0" y="128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42" name="Freeform 466"/>
              <p:cNvSpPr>
                <a:spLocks/>
              </p:cNvSpPr>
              <p:nvPr/>
            </p:nvSpPr>
            <p:spPr bwMode="auto">
              <a:xfrm>
                <a:off x="-2697163" y="-4110038"/>
                <a:ext cx="1154113" cy="569913"/>
              </a:xfrm>
              <a:custGeom>
                <a:avLst/>
                <a:gdLst>
                  <a:gd name="T0" fmla="*/ 519 w 727"/>
                  <a:gd name="T1" fmla="*/ 359 h 359"/>
                  <a:gd name="T2" fmla="*/ 519 w 727"/>
                  <a:gd name="T3" fmla="*/ 359 h 359"/>
                  <a:gd name="T4" fmla="*/ 0 w 727"/>
                  <a:gd name="T5" fmla="*/ 0 h 359"/>
                  <a:gd name="T6" fmla="*/ 727 w 727"/>
                  <a:gd name="T7" fmla="*/ 0 h 359"/>
                  <a:gd name="T8" fmla="*/ 519 w 727"/>
                  <a:gd name="T9" fmla="*/ 359 h 359"/>
                </a:gdLst>
                <a:ahLst/>
                <a:cxnLst>
                  <a:cxn ang="0">
                    <a:pos x="T0" y="T1"/>
                  </a:cxn>
                  <a:cxn ang="0">
                    <a:pos x="T2" y="T3"/>
                  </a:cxn>
                  <a:cxn ang="0">
                    <a:pos x="T4" y="T5"/>
                  </a:cxn>
                  <a:cxn ang="0">
                    <a:pos x="T6" y="T7"/>
                  </a:cxn>
                  <a:cxn ang="0">
                    <a:pos x="T8" y="T9"/>
                  </a:cxn>
                </a:cxnLst>
                <a:rect l="0" t="0" r="r" b="b"/>
                <a:pathLst>
                  <a:path w="727" h="359">
                    <a:moveTo>
                      <a:pt x="519" y="359"/>
                    </a:moveTo>
                    <a:lnTo>
                      <a:pt x="519" y="359"/>
                    </a:lnTo>
                    <a:lnTo>
                      <a:pt x="0" y="0"/>
                    </a:lnTo>
                    <a:lnTo>
                      <a:pt x="727" y="0"/>
                    </a:lnTo>
                    <a:lnTo>
                      <a:pt x="519"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43" name="Freeform 467"/>
              <p:cNvSpPr>
                <a:spLocks/>
              </p:cNvSpPr>
              <p:nvPr/>
            </p:nvSpPr>
            <p:spPr bwMode="auto">
              <a:xfrm>
                <a:off x="-1873250" y="-3540126"/>
                <a:ext cx="1019175" cy="858838"/>
              </a:xfrm>
              <a:custGeom>
                <a:avLst/>
                <a:gdLst>
                  <a:gd name="T0" fmla="*/ 642 w 642"/>
                  <a:gd name="T1" fmla="*/ 541 h 541"/>
                  <a:gd name="T2" fmla="*/ 0 w 642"/>
                  <a:gd name="T3" fmla="*/ 0 h 541"/>
                  <a:gd name="T4" fmla="*/ 642 w 642"/>
                  <a:gd name="T5" fmla="*/ 0 h 541"/>
                  <a:gd name="T6" fmla="*/ 642 w 642"/>
                  <a:gd name="T7" fmla="*/ 541 h 541"/>
                </a:gdLst>
                <a:ahLst/>
                <a:cxnLst>
                  <a:cxn ang="0">
                    <a:pos x="T0" y="T1"/>
                  </a:cxn>
                  <a:cxn ang="0">
                    <a:pos x="T2" y="T3"/>
                  </a:cxn>
                  <a:cxn ang="0">
                    <a:pos x="T4" y="T5"/>
                  </a:cxn>
                  <a:cxn ang="0">
                    <a:pos x="T6" y="T7"/>
                  </a:cxn>
                </a:cxnLst>
                <a:rect l="0" t="0" r="r" b="b"/>
                <a:pathLst>
                  <a:path w="642" h="541">
                    <a:moveTo>
                      <a:pt x="642" y="541"/>
                    </a:moveTo>
                    <a:lnTo>
                      <a:pt x="0" y="0"/>
                    </a:lnTo>
                    <a:lnTo>
                      <a:pt x="642" y="0"/>
                    </a:lnTo>
                    <a:lnTo>
                      <a:pt x="642" y="541"/>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44" name="Freeform 468"/>
              <p:cNvSpPr>
                <a:spLocks/>
              </p:cNvSpPr>
              <p:nvPr/>
            </p:nvSpPr>
            <p:spPr bwMode="auto">
              <a:xfrm>
                <a:off x="-3668713" y="-4110038"/>
                <a:ext cx="1795463" cy="569913"/>
              </a:xfrm>
              <a:custGeom>
                <a:avLst/>
                <a:gdLst>
                  <a:gd name="T0" fmla="*/ 1131 w 1131"/>
                  <a:gd name="T1" fmla="*/ 359 h 359"/>
                  <a:gd name="T2" fmla="*/ 0 w 1131"/>
                  <a:gd name="T3" fmla="*/ 359 h 359"/>
                  <a:gd name="T4" fmla="*/ 285 w 1131"/>
                  <a:gd name="T5" fmla="*/ 0 h 359"/>
                  <a:gd name="T6" fmla="*/ 612 w 1131"/>
                  <a:gd name="T7" fmla="*/ 0 h 359"/>
                  <a:gd name="T8" fmla="*/ 1131 w 1131"/>
                  <a:gd name="T9" fmla="*/ 359 h 359"/>
                </a:gdLst>
                <a:ahLst/>
                <a:cxnLst>
                  <a:cxn ang="0">
                    <a:pos x="T0" y="T1"/>
                  </a:cxn>
                  <a:cxn ang="0">
                    <a:pos x="T2" y="T3"/>
                  </a:cxn>
                  <a:cxn ang="0">
                    <a:pos x="T4" y="T5"/>
                  </a:cxn>
                  <a:cxn ang="0">
                    <a:pos x="T6" y="T7"/>
                  </a:cxn>
                  <a:cxn ang="0">
                    <a:pos x="T8" y="T9"/>
                  </a:cxn>
                </a:cxnLst>
                <a:rect l="0" t="0" r="r" b="b"/>
                <a:pathLst>
                  <a:path w="1131" h="359">
                    <a:moveTo>
                      <a:pt x="1131" y="359"/>
                    </a:moveTo>
                    <a:lnTo>
                      <a:pt x="0" y="359"/>
                    </a:lnTo>
                    <a:lnTo>
                      <a:pt x="285" y="0"/>
                    </a:lnTo>
                    <a:lnTo>
                      <a:pt x="612" y="0"/>
                    </a:lnTo>
                    <a:lnTo>
                      <a:pt x="1131"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45" name="Freeform 469"/>
              <p:cNvSpPr>
                <a:spLocks/>
              </p:cNvSpPr>
              <p:nvPr/>
            </p:nvSpPr>
            <p:spPr bwMode="auto">
              <a:xfrm>
                <a:off x="-1873250" y="-4110038"/>
                <a:ext cx="1019175" cy="569913"/>
              </a:xfrm>
              <a:custGeom>
                <a:avLst/>
                <a:gdLst>
                  <a:gd name="T0" fmla="*/ 642 w 642"/>
                  <a:gd name="T1" fmla="*/ 359 h 359"/>
                  <a:gd name="T2" fmla="*/ 0 w 642"/>
                  <a:gd name="T3" fmla="*/ 359 h 359"/>
                  <a:gd name="T4" fmla="*/ 208 w 642"/>
                  <a:gd name="T5" fmla="*/ 0 h 359"/>
                  <a:gd name="T6" fmla="*/ 642 w 642"/>
                  <a:gd name="T7" fmla="*/ 0 h 359"/>
                  <a:gd name="T8" fmla="*/ 642 w 642"/>
                  <a:gd name="T9" fmla="*/ 359 h 359"/>
                </a:gdLst>
                <a:ahLst/>
                <a:cxnLst>
                  <a:cxn ang="0">
                    <a:pos x="T0" y="T1"/>
                  </a:cxn>
                  <a:cxn ang="0">
                    <a:pos x="T2" y="T3"/>
                  </a:cxn>
                  <a:cxn ang="0">
                    <a:pos x="T4" y="T5"/>
                  </a:cxn>
                  <a:cxn ang="0">
                    <a:pos x="T6" y="T7"/>
                  </a:cxn>
                  <a:cxn ang="0">
                    <a:pos x="T8" y="T9"/>
                  </a:cxn>
                </a:cxnLst>
                <a:rect l="0" t="0" r="r" b="b"/>
                <a:pathLst>
                  <a:path w="642" h="359">
                    <a:moveTo>
                      <a:pt x="642" y="359"/>
                    </a:moveTo>
                    <a:lnTo>
                      <a:pt x="0" y="359"/>
                    </a:lnTo>
                    <a:lnTo>
                      <a:pt x="208" y="0"/>
                    </a:lnTo>
                    <a:lnTo>
                      <a:pt x="642" y="0"/>
                    </a:lnTo>
                    <a:lnTo>
                      <a:pt x="642"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46" name="Freeform 470"/>
              <p:cNvSpPr>
                <a:spLocks/>
              </p:cNvSpPr>
              <p:nvPr/>
            </p:nvSpPr>
            <p:spPr bwMode="auto">
              <a:xfrm>
                <a:off x="-3668713" y="-3540126"/>
                <a:ext cx="1795463" cy="2046288"/>
              </a:xfrm>
              <a:custGeom>
                <a:avLst/>
                <a:gdLst>
                  <a:gd name="T0" fmla="*/ 215 w 1131"/>
                  <a:gd name="T1" fmla="*/ 1289 h 1289"/>
                  <a:gd name="T2" fmla="*/ 150 w 1131"/>
                  <a:gd name="T3" fmla="*/ 902 h 1289"/>
                  <a:gd name="T4" fmla="*/ 0 w 1131"/>
                  <a:gd name="T5" fmla="*/ 0 h 1289"/>
                  <a:gd name="T6" fmla="*/ 0 w 1131"/>
                  <a:gd name="T7" fmla="*/ 0 h 1289"/>
                  <a:gd name="T8" fmla="*/ 0 w 1131"/>
                  <a:gd name="T9" fmla="*/ 0 h 1289"/>
                  <a:gd name="T10" fmla="*/ 1131 w 1131"/>
                  <a:gd name="T11" fmla="*/ 0 h 1289"/>
                  <a:gd name="T12" fmla="*/ 215 w 1131"/>
                  <a:gd name="T13" fmla="*/ 1289 h 1289"/>
                </a:gdLst>
                <a:ahLst/>
                <a:cxnLst>
                  <a:cxn ang="0">
                    <a:pos x="T0" y="T1"/>
                  </a:cxn>
                  <a:cxn ang="0">
                    <a:pos x="T2" y="T3"/>
                  </a:cxn>
                  <a:cxn ang="0">
                    <a:pos x="T4" y="T5"/>
                  </a:cxn>
                  <a:cxn ang="0">
                    <a:pos x="T6" y="T7"/>
                  </a:cxn>
                  <a:cxn ang="0">
                    <a:pos x="T8" y="T9"/>
                  </a:cxn>
                  <a:cxn ang="0">
                    <a:pos x="T10" y="T11"/>
                  </a:cxn>
                  <a:cxn ang="0">
                    <a:pos x="T12" y="T13"/>
                  </a:cxn>
                </a:cxnLst>
                <a:rect l="0" t="0" r="r" b="b"/>
                <a:pathLst>
                  <a:path w="1131" h="1289">
                    <a:moveTo>
                      <a:pt x="215" y="1289"/>
                    </a:moveTo>
                    <a:lnTo>
                      <a:pt x="150" y="902"/>
                    </a:lnTo>
                    <a:lnTo>
                      <a:pt x="0" y="0"/>
                    </a:lnTo>
                    <a:lnTo>
                      <a:pt x="0" y="0"/>
                    </a:lnTo>
                    <a:lnTo>
                      <a:pt x="0" y="0"/>
                    </a:lnTo>
                    <a:lnTo>
                      <a:pt x="1131" y="0"/>
                    </a:lnTo>
                    <a:lnTo>
                      <a:pt x="215" y="128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47" name="Freeform 471"/>
              <p:cNvSpPr>
                <a:spLocks/>
              </p:cNvSpPr>
              <p:nvPr/>
            </p:nvSpPr>
            <p:spPr bwMode="auto">
              <a:xfrm>
                <a:off x="-3668713" y="-35401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48" name="Freeform 472"/>
              <p:cNvSpPr>
                <a:spLocks/>
              </p:cNvSpPr>
              <p:nvPr/>
            </p:nvSpPr>
            <p:spPr bwMode="auto">
              <a:xfrm>
                <a:off x="-3668713" y="-3540126"/>
                <a:ext cx="238125" cy="1431925"/>
              </a:xfrm>
              <a:custGeom>
                <a:avLst/>
                <a:gdLst>
                  <a:gd name="T0" fmla="*/ 150 w 150"/>
                  <a:gd name="T1" fmla="*/ 902 h 902"/>
                  <a:gd name="T2" fmla="*/ 0 w 150"/>
                  <a:gd name="T3" fmla="*/ 0 h 902"/>
                  <a:gd name="T4" fmla="*/ 0 w 150"/>
                  <a:gd name="T5" fmla="*/ 0 h 902"/>
                  <a:gd name="T6" fmla="*/ 150 w 150"/>
                  <a:gd name="T7" fmla="*/ 902 h 902"/>
                </a:gdLst>
                <a:ahLst/>
                <a:cxnLst>
                  <a:cxn ang="0">
                    <a:pos x="T0" y="T1"/>
                  </a:cxn>
                  <a:cxn ang="0">
                    <a:pos x="T2" y="T3"/>
                  </a:cxn>
                  <a:cxn ang="0">
                    <a:pos x="T4" y="T5"/>
                  </a:cxn>
                  <a:cxn ang="0">
                    <a:pos x="T6" y="T7"/>
                  </a:cxn>
                </a:cxnLst>
                <a:rect l="0" t="0" r="r" b="b"/>
                <a:pathLst>
                  <a:path w="150" h="902">
                    <a:moveTo>
                      <a:pt x="150" y="902"/>
                    </a:moveTo>
                    <a:lnTo>
                      <a:pt x="0" y="0"/>
                    </a:lnTo>
                    <a:lnTo>
                      <a:pt x="0" y="0"/>
                    </a:lnTo>
                    <a:lnTo>
                      <a:pt x="150" y="902"/>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49" name="Freeform 473"/>
              <p:cNvSpPr>
                <a:spLocks/>
              </p:cNvSpPr>
              <p:nvPr/>
            </p:nvSpPr>
            <p:spPr bwMode="auto">
              <a:xfrm>
                <a:off x="-2771775" y="-428626"/>
                <a:ext cx="1917700" cy="2205038"/>
              </a:xfrm>
              <a:custGeom>
                <a:avLst/>
                <a:gdLst>
                  <a:gd name="T0" fmla="*/ 1208 w 1208"/>
                  <a:gd name="T1" fmla="*/ 1389 h 1389"/>
                  <a:gd name="T2" fmla="*/ 0 w 1208"/>
                  <a:gd name="T3" fmla="*/ 979 h 1389"/>
                  <a:gd name="T4" fmla="*/ 566 w 1208"/>
                  <a:gd name="T5" fmla="*/ 0 h 1389"/>
                  <a:gd name="T6" fmla="*/ 566 w 1208"/>
                  <a:gd name="T7" fmla="*/ 0 h 1389"/>
                  <a:gd name="T8" fmla="*/ 566 w 1208"/>
                  <a:gd name="T9" fmla="*/ 0 h 1389"/>
                  <a:gd name="T10" fmla="*/ 566 w 1208"/>
                  <a:gd name="T11" fmla="*/ 0 h 1389"/>
                  <a:gd name="T12" fmla="*/ 566 w 1208"/>
                  <a:gd name="T13" fmla="*/ 0 h 1389"/>
                  <a:gd name="T14" fmla="*/ 1104 w 1208"/>
                  <a:gd name="T15" fmla="*/ 901 h 1389"/>
                  <a:gd name="T16" fmla="*/ 1208 w 1208"/>
                  <a:gd name="T17" fmla="*/ 1075 h 1389"/>
                  <a:gd name="T18" fmla="*/ 1208 w 1208"/>
                  <a:gd name="T19" fmla="*/ 1389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8" h="1389">
                    <a:moveTo>
                      <a:pt x="1208" y="1389"/>
                    </a:moveTo>
                    <a:lnTo>
                      <a:pt x="0" y="979"/>
                    </a:lnTo>
                    <a:lnTo>
                      <a:pt x="566" y="0"/>
                    </a:lnTo>
                    <a:lnTo>
                      <a:pt x="566" y="0"/>
                    </a:lnTo>
                    <a:lnTo>
                      <a:pt x="566" y="0"/>
                    </a:lnTo>
                    <a:lnTo>
                      <a:pt x="566" y="0"/>
                    </a:lnTo>
                    <a:lnTo>
                      <a:pt x="566" y="0"/>
                    </a:lnTo>
                    <a:lnTo>
                      <a:pt x="1104" y="901"/>
                    </a:lnTo>
                    <a:lnTo>
                      <a:pt x="1208" y="1075"/>
                    </a:lnTo>
                    <a:lnTo>
                      <a:pt x="1208" y="138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50" name="Freeform 474"/>
              <p:cNvSpPr>
                <a:spLocks/>
              </p:cNvSpPr>
              <p:nvPr/>
            </p:nvSpPr>
            <p:spPr bwMode="auto">
              <a:xfrm>
                <a:off x="-3327400" y="-2127251"/>
                <a:ext cx="2473325" cy="1698625"/>
              </a:xfrm>
              <a:custGeom>
                <a:avLst/>
                <a:gdLst>
                  <a:gd name="T0" fmla="*/ 916 w 1558"/>
                  <a:gd name="T1" fmla="*/ 1070 h 1070"/>
                  <a:gd name="T2" fmla="*/ 916 w 1558"/>
                  <a:gd name="T3" fmla="*/ 1070 h 1070"/>
                  <a:gd name="T4" fmla="*/ 0 w 1558"/>
                  <a:gd name="T5" fmla="*/ 399 h 1070"/>
                  <a:gd name="T6" fmla="*/ 1558 w 1558"/>
                  <a:gd name="T7" fmla="*/ 0 h 1070"/>
                  <a:gd name="T8" fmla="*/ 1558 w 1558"/>
                  <a:gd name="T9" fmla="*/ 299 h 1070"/>
                  <a:gd name="T10" fmla="*/ 1515 w 1558"/>
                  <a:gd name="T11" fmla="*/ 350 h 1070"/>
                  <a:gd name="T12" fmla="*/ 916 w 1558"/>
                  <a:gd name="T13" fmla="*/ 1070 h 1070"/>
                </a:gdLst>
                <a:ahLst/>
                <a:cxnLst>
                  <a:cxn ang="0">
                    <a:pos x="T0" y="T1"/>
                  </a:cxn>
                  <a:cxn ang="0">
                    <a:pos x="T2" y="T3"/>
                  </a:cxn>
                  <a:cxn ang="0">
                    <a:pos x="T4" y="T5"/>
                  </a:cxn>
                  <a:cxn ang="0">
                    <a:pos x="T6" y="T7"/>
                  </a:cxn>
                  <a:cxn ang="0">
                    <a:pos x="T8" y="T9"/>
                  </a:cxn>
                  <a:cxn ang="0">
                    <a:pos x="T10" y="T11"/>
                  </a:cxn>
                  <a:cxn ang="0">
                    <a:pos x="T12" y="T13"/>
                  </a:cxn>
                </a:cxnLst>
                <a:rect l="0" t="0" r="r" b="b"/>
                <a:pathLst>
                  <a:path w="1558" h="1070">
                    <a:moveTo>
                      <a:pt x="916" y="1070"/>
                    </a:moveTo>
                    <a:lnTo>
                      <a:pt x="916" y="1070"/>
                    </a:lnTo>
                    <a:lnTo>
                      <a:pt x="0" y="399"/>
                    </a:lnTo>
                    <a:lnTo>
                      <a:pt x="1558" y="0"/>
                    </a:lnTo>
                    <a:lnTo>
                      <a:pt x="1558" y="299"/>
                    </a:lnTo>
                    <a:lnTo>
                      <a:pt x="1515" y="350"/>
                    </a:lnTo>
                    <a:lnTo>
                      <a:pt x="916" y="107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51" name="Freeform 475"/>
              <p:cNvSpPr>
                <a:spLocks/>
              </p:cNvSpPr>
              <p:nvPr/>
            </p:nvSpPr>
            <p:spPr bwMode="auto">
              <a:xfrm>
                <a:off x="-1873250" y="-428626"/>
                <a:ext cx="1019175" cy="1706563"/>
              </a:xfrm>
              <a:custGeom>
                <a:avLst/>
                <a:gdLst>
                  <a:gd name="T0" fmla="*/ 642 w 642"/>
                  <a:gd name="T1" fmla="*/ 1075 h 1075"/>
                  <a:gd name="T2" fmla="*/ 538 w 642"/>
                  <a:gd name="T3" fmla="*/ 901 h 1075"/>
                  <a:gd name="T4" fmla="*/ 0 w 642"/>
                  <a:gd name="T5" fmla="*/ 0 h 1075"/>
                  <a:gd name="T6" fmla="*/ 642 w 642"/>
                  <a:gd name="T7" fmla="*/ 193 h 1075"/>
                  <a:gd name="T8" fmla="*/ 642 w 642"/>
                  <a:gd name="T9" fmla="*/ 1075 h 1075"/>
                </a:gdLst>
                <a:ahLst/>
                <a:cxnLst>
                  <a:cxn ang="0">
                    <a:pos x="T0" y="T1"/>
                  </a:cxn>
                  <a:cxn ang="0">
                    <a:pos x="T2" y="T3"/>
                  </a:cxn>
                  <a:cxn ang="0">
                    <a:pos x="T4" y="T5"/>
                  </a:cxn>
                  <a:cxn ang="0">
                    <a:pos x="T6" y="T7"/>
                  </a:cxn>
                  <a:cxn ang="0">
                    <a:pos x="T8" y="T9"/>
                  </a:cxn>
                </a:cxnLst>
                <a:rect l="0" t="0" r="r" b="b"/>
                <a:pathLst>
                  <a:path w="642" h="1075">
                    <a:moveTo>
                      <a:pt x="642" y="1075"/>
                    </a:moveTo>
                    <a:lnTo>
                      <a:pt x="538" y="901"/>
                    </a:lnTo>
                    <a:lnTo>
                      <a:pt x="0" y="0"/>
                    </a:lnTo>
                    <a:lnTo>
                      <a:pt x="642" y="193"/>
                    </a:lnTo>
                    <a:lnTo>
                      <a:pt x="642" y="107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52" name="Freeform 476"/>
              <p:cNvSpPr>
                <a:spLocks/>
              </p:cNvSpPr>
              <p:nvPr/>
            </p:nvSpPr>
            <p:spPr bwMode="auto">
              <a:xfrm>
                <a:off x="-3327400" y="-1493838"/>
                <a:ext cx="1454150" cy="1654175"/>
              </a:xfrm>
              <a:custGeom>
                <a:avLst/>
                <a:gdLst>
                  <a:gd name="T0" fmla="*/ 218 w 916"/>
                  <a:gd name="T1" fmla="*/ 1042 h 1042"/>
                  <a:gd name="T2" fmla="*/ 218 w 916"/>
                  <a:gd name="T3" fmla="*/ 1042 h 1042"/>
                  <a:gd name="T4" fmla="*/ 0 w 916"/>
                  <a:gd name="T5" fmla="*/ 0 h 1042"/>
                  <a:gd name="T6" fmla="*/ 916 w 916"/>
                  <a:gd name="T7" fmla="*/ 671 h 1042"/>
                  <a:gd name="T8" fmla="*/ 916 w 916"/>
                  <a:gd name="T9" fmla="*/ 671 h 1042"/>
                  <a:gd name="T10" fmla="*/ 218 w 916"/>
                  <a:gd name="T11" fmla="*/ 1042 h 1042"/>
                </a:gdLst>
                <a:ahLst/>
                <a:cxnLst>
                  <a:cxn ang="0">
                    <a:pos x="T0" y="T1"/>
                  </a:cxn>
                  <a:cxn ang="0">
                    <a:pos x="T2" y="T3"/>
                  </a:cxn>
                  <a:cxn ang="0">
                    <a:pos x="T4" y="T5"/>
                  </a:cxn>
                  <a:cxn ang="0">
                    <a:pos x="T6" y="T7"/>
                  </a:cxn>
                  <a:cxn ang="0">
                    <a:pos x="T8" y="T9"/>
                  </a:cxn>
                  <a:cxn ang="0">
                    <a:pos x="T10" y="T11"/>
                  </a:cxn>
                </a:cxnLst>
                <a:rect l="0" t="0" r="r" b="b"/>
                <a:pathLst>
                  <a:path w="916" h="1042">
                    <a:moveTo>
                      <a:pt x="218" y="1042"/>
                    </a:moveTo>
                    <a:lnTo>
                      <a:pt x="218" y="1042"/>
                    </a:lnTo>
                    <a:lnTo>
                      <a:pt x="0" y="0"/>
                    </a:lnTo>
                    <a:lnTo>
                      <a:pt x="916" y="671"/>
                    </a:lnTo>
                    <a:lnTo>
                      <a:pt x="916" y="671"/>
                    </a:lnTo>
                    <a:lnTo>
                      <a:pt x="218" y="10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53" name="Freeform 477"/>
              <p:cNvSpPr>
                <a:spLocks/>
              </p:cNvSpPr>
              <p:nvPr/>
            </p:nvSpPr>
            <p:spPr bwMode="auto">
              <a:xfrm>
                <a:off x="-1873250" y="-1652588"/>
                <a:ext cx="1019175" cy="1530350"/>
              </a:xfrm>
              <a:custGeom>
                <a:avLst/>
                <a:gdLst>
                  <a:gd name="T0" fmla="*/ 642 w 642"/>
                  <a:gd name="T1" fmla="*/ 964 h 964"/>
                  <a:gd name="T2" fmla="*/ 0 w 642"/>
                  <a:gd name="T3" fmla="*/ 771 h 964"/>
                  <a:gd name="T4" fmla="*/ 0 w 642"/>
                  <a:gd name="T5" fmla="*/ 771 h 964"/>
                  <a:gd name="T6" fmla="*/ 599 w 642"/>
                  <a:gd name="T7" fmla="*/ 51 h 964"/>
                  <a:gd name="T8" fmla="*/ 642 w 642"/>
                  <a:gd name="T9" fmla="*/ 0 h 964"/>
                  <a:gd name="T10" fmla="*/ 642 w 642"/>
                  <a:gd name="T11" fmla="*/ 964 h 964"/>
                </a:gdLst>
                <a:ahLst/>
                <a:cxnLst>
                  <a:cxn ang="0">
                    <a:pos x="T0" y="T1"/>
                  </a:cxn>
                  <a:cxn ang="0">
                    <a:pos x="T2" y="T3"/>
                  </a:cxn>
                  <a:cxn ang="0">
                    <a:pos x="T4" y="T5"/>
                  </a:cxn>
                  <a:cxn ang="0">
                    <a:pos x="T6" y="T7"/>
                  </a:cxn>
                  <a:cxn ang="0">
                    <a:pos x="T8" y="T9"/>
                  </a:cxn>
                  <a:cxn ang="0">
                    <a:pos x="T10" y="T11"/>
                  </a:cxn>
                </a:cxnLst>
                <a:rect l="0" t="0" r="r" b="b"/>
                <a:pathLst>
                  <a:path w="642" h="964">
                    <a:moveTo>
                      <a:pt x="642" y="964"/>
                    </a:moveTo>
                    <a:lnTo>
                      <a:pt x="0" y="771"/>
                    </a:lnTo>
                    <a:lnTo>
                      <a:pt x="0" y="771"/>
                    </a:lnTo>
                    <a:lnTo>
                      <a:pt x="599" y="51"/>
                    </a:lnTo>
                    <a:lnTo>
                      <a:pt x="642" y="0"/>
                    </a:lnTo>
                    <a:lnTo>
                      <a:pt x="642" y="964"/>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54" name="Freeform 478"/>
              <p:cNvSpPr>
                <a:spLocks/>
              </p:cNvSpPr>
              <p:nvPr/>
            </p:nvSpPr>
            <p:spPr bwMode="auto">
              <a:xfrm>
                <a:off x="-922338" y="-1652588"/>
                <a:ext cx="68263" cy="80963"/>
              </a:xfrm>
              <a:custGeom>
                <a:avLst/>
                <a:gdLst>
                  <a:gd name="T0" fmla="*/ 0 w 43"/>
                  <a:gd name="T1" fmla="*/ 51 h 51"/>
                  <a:gd name="T2" fmla="*/ 43 w 43"/>
                  <a:gd name="T3" fmla="*/ 0 h 51"/>
                  <a:gd name="T4" fmla="*/ 43 w 43"/>
                  <a:gd name="T5" fmla="*/ 0 h 51"/>
                  <a:gd name="T6" fmla="*/ 0 w 43"/>
                  <a:gd name="T7" fmla="*/ 51 h 51"/>
                </a:gdLst>
                <a:ahLst/>
                <a:cxnLst>
                  <a:cxn ang="0">
                    <a:pos x="T0" y="T1"/>
                  </a:cxn>
                  <a:cxn ang="0">
                    <a:pos x="T2" y="T3"/>
                  </a:cxn>
                  <a:cxn ang="0">
                    <a:pos x="T4" y="T5"/>
                  </a:cxn>
                  <a:cxn ang="0">
                    <a:pos x="T6" y="T7"/>
                  </a:cxn>
                </a:cxnLst>
                <a:rect l="0" t="0" r="r" b="b"/>
                <a:pathLst>
                  <a:path w="43" h="51">
                    <a:moveTo>
                      <a:pt x="0" y="51"/>
                    </a:moveTo>
                    <a:lnTo>
                      <a:pt x="43" y="0"/>
                    </a:lnTo>
                    <a:lnTo>
                      <a:pt x="43" y="0"/>
                    </a:lnTo>
                    <a:lnTo>
                      <a:pt x="0" y="51"/>
                    </a:lnTo>
                    <a:close/>
                  </a:path>
                </a:pathLst>
              </a:custGeom>
              <a:solidFill>
                <a:srgbClr val="5A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55" name="Freeform 479"/>
              <p:cNvSpPr>
                <a:spLocks/>
              </p:cNvSpPr>
              <p:nvPr/>
            </p:nvSpPr>
            <p:spPr bwMode="auto">
              <a:xfrm>
                <a:off x="-2981325" y="-428626"/>
                <a:ext cx="1108075" cy="1554163"/>
              </a:xfrm>
              <a:custGeom>
                <a:avLst/>
                <a:gdLst>
                  <a:gd name="T0" fmla="*/ 132 w 698"/>
                  <a:gd name="T1" fmla="*/ 979 h 979"/>
                  <a:gd name="T2" fmla="*/ 78 w 698"/>
                  <a:gd name="T3" fmla="*/ 730 h 979"/>
                  <a:gd name="T4" fmla="*/ 0 w 698"/>
                  <a:gd name="T5" fmla="*/ 371 h 979"/>
                  <a:gd name="T6" fmla="*/ 0 w 698"/>
                  <a:gd name="T7" fmla="*/ 371 h 979"/>
                  <a:gd name="T8" fmla="*/ 698 w 698"/>
                  <a:gd name="T9" fmla="*/ 0 h 979"/>
                  <a:gd name="T10" fmla="*/ 132 w 698"/>
                  <a:gd name="T11" fmla="*/ 979 h 979"/>
                </a:gdLst>
                <a:ahLst/>
                <a:cxnLst>
                  <a:cxn ang="0">
                    <a:pos x="T0" y="T1"/>
                  </a:cxn>
                  <a:cxn ang="0">
                    <a:pos x="T2" y="T3"/>
                  </a:cxn>
                  <a:cxn ang="0">
                    <a:pos x="T4" y="T5"/>
                  </a:cxn>
                  <a:cxn ang="0">
                    <a:pos x="T6" y="T7"/>
                  </a:cxn>
                  <a:cxn ang="0">
                    <a:pos x="T8" y="T9"/>
                  </a:cxn>
                  <a:cxn ang="0">
                    <a:pos x="T10" y="T11"/>
                  </a:cxn>
                </a:cxnLst>
                <a:rect l="0" t="0" r="r" b="b"/>
                <a:pathLst>
                  <a:path w="698" h="979">
                    <a:moveTo>
                      <a:pt x="132" y="979"/>
                    </a:moveTo>
                    <a:lnTo>
                      <a:pt x="78" y="730"/>
                    </a:lnTo>
                    <a:lnTo>
                      <a:pt x="0" y="371"/>
                    </a:lnTo>
                    <a:lnTo>
                      <a:pt x="0" y="371"/>
                    </a:lnTo>
                    <a:lnTo>
                      <a:pt x="698" y="0"/>
                    </a:lnTo>
                    <a:lnTo>
                      <a:pt x="132" y="97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56" name="Freeform 480"/>
              <p:cNvSpPr>
                <a:spLocks/>
              </p:cNvSpPr>
              <p:nvPr/>
            </p:nvSpPr>
            <p:spPr bwMode="auto">
              <a:xfrm>
                <a:off x="-2981325" y="160337"/>
                <a:ext cx="123825" cy="569913"/>
              </a:xfrm>
              <a:custGeom>
                <a:avLst/>
                <a:gdLst>
                  <a:gd name="T0" fmla="*/ 78 w 78"/>
                  <a:gd name="T1" fmla="*/ 359 h 359"/>
                  <a:gd name="T2" fmla="*/ 0 w 78"/>
                  <a:gd name="T3" fmla="*/ 0 h 359"/>
                  <a:gd name="T4" fmla="*/ 0 w 78"/>
                  <a:gd name="T5" fmla="*/ 0 h 359"/>
                  <a:gd name="T6" fmla="*/ 78 w 78"/>
                  <a:gd name="T7" fmla="*/ 359 h 359"/>
                </a:gdLst>
                <a:ahLst/>
                <a:cxnLst>
                  <a:cxn ang="0">
                    <a:pos x="T0" y="T1"/>
                  </a:cxn>
                  <a:cxn ang="0">
                    <a:pos x="T2" y="T3"/>
                  </a:cxn>
                  <a:cxn ang="0">
                    <a:pos x="T4" y="T5"/>
                  </a:cxn>
                  <a:cxn ang="0">
                    <a:pos x="T6" y="T7"/>
                  </a:cxn>
                </a:cxnLst>
                <a:rect l="0" t="0" r="r" b="b"/>
                <a:pathLst>
                  <a:path w="78" h="359">
                    <a:moveTo>
                      <a:pt x="78" y="359"/>
                    </a:moveTo>
                    <a:lnTo>
                      <a:pt x="0" y="0"/>
                    </a:lnTo>
                    <a:lnTo>
                      <a:pt x="0" y="0"/>
                    </a:lnTo>
                    <a:lnTo>
                      <a:pt x="78" y="359"/>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57" name="Freeform 481"/>
              <p:cNvSpPr>
                <a:spLocks/>
              </p:cNvSpPr>
              <p:nvPr/>
            </p:nvSpPr>
            <p:spPr bwMode="auto">
              <a:xfrm>
                <a:off x="-2771775" y="-428626"/>
                <a:ext cx="898525" cy="1554163"/>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58" name="Freeform 482"/>
              <p:cNvSpPr>
                <a:spLocks noEditPoints="1"/>
              </p:cNvSpPr>
              <p:nvPr/>
            </p:nvSpPr>
            <p:spPr bwMode="auto">
              <a:xfrm>
                <a:off x="-2771775" y="2682875"/>
                <a:ext cx="898525" cy="2232025"/>
              </a:xfrm>
              <a:custGeom>
                <a:avLst/>
                <a:gdLst>
                  <a:gd name="T0" fmla="*/ 940 w 1179"/>
                  <a:gd name="T1" fmla="*/ 2930 h 2930"/>
                  <a:gd name="T2" fmla="*/ 0 w 1179"/>
                  <a:gd name="T3" fmla="*/ 2041 h 2930"/>
                  <a:gd name="T4" fmla="*/ 1179 w 1179"/>
                  <a:gd name="T5" fmla="*/ 0 h 2930"/>
                  <a:gd name="T6" fmla="*/ 940 w 1179"/>
                  <a:gd name="T7" fmla="*/ 2930 h 2930"/>
                  <a:gd name="T8" fmla="*/ 1179 w 1179"/>
                  <a:gd name="T9" fmla="*/ 0 h 2930"/>
                  <a:gd name="T10" fmla="*/ 1179 w 1179"/>
                  <a:gd name="T11" fmla="*/ 0 h 2930"/>
                </a:gdLst>
                <a:ahLst/>
                <a:cxnLst>
                  <a:cxn ang="0">
                    <a:pos x="T0" y="T1"/>
                  </a:cxn>
                  <a:cxn ang="0">
                    <a:pos x="T2" y="T3"/>
                  </a:cxn>
                  <a:cxn ang="0">
                    <a:pos x="T4" y="T5"/>
                  </a:cxn>
                  <a:cxn ang="0">
                    <a:pos x="T6" y="T7"/>
                  </a:cxn>
                  <a:cxn ang="0">
                    <a:pos x="T8" y="T9"/>
                  </a:cxn>
                  <a:cxn ang="0">
                    <a:pos x="T10" y="T11"/>
                  </a:cxn>
                </a:cxnLst>
                <a:rect l="0" t="0" r="r" b="b"/>
                <a:pathLst>
                  <a:path w="1179" h="2930">
                    <a:moveTo>
                      <a:pt x="940" y="2930"/>
                    </a:moveTo>
                    <a:lnTo>
                      <a:pt x="0" y="2041"/>
                    </a:lnTo>
                    <a:lnTo>
                      <a:pt x="1179" y="0"/>
                    </a:lnTo>
                    <a:lnTo>
                      <a:pt x="940" y="2930"/>
                    </a:lnTo>
                    <a:moveTo>
                      <a:pt x="1179" y="0"/>
                    </a:moveTo>
                    <a:lnTo>
                      <a:pt x="1179"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59" name="Freeform 483"/>
              <p:cNvSpPr>
                <a:spLocks/>
              </p:cNvSpPr>
              <p:nvPr/>
            </p:nvSpPr>
            <p:spPr bwMode="auto">
              <a:xfrm>
                <a:off x="-2771775" y="1125537"/>
                <a:ext cx="1917700" cy="1557338"/>
              </a:xfrm>
              <a:custGeom>
                <a:avLst/>
                <a:gdLst>
                  <a:gd name="T0" fmla="*/ 566 w 1208"/>
                  <a:gd name="T1" fmla="*/ 981 h 981"/>
                  <a:gd name="T2" fmla="*/ 566 w 1208"/>
                  <a:gd name="T3" fmla="*/ 981 h 981"/>
                  <a:gd name="T4" fmla="*/ 0 w 1208"/>
                  <a:gd name="T5" fmla="*/ 0 h 981"/>
                  <a:gd name="T6" fmla="*/ 1208 w 1208"/>
                  <a:gd name="T7" fmla="*/ 410 h 981"/>
                  <a:gd name="T8" fmla="*/ 1208 w 1208"/>
                  <a:gd name="T9" fmla="*/ 621 h 981"/>
                  <a:gd name="T10" fmla="*/ 933 w 1208"/>
                  <a:gd name="T11" fmla="*/ 775 h 981"/>
                  <a:gd name="T12" fmla="*/ 566 w 1208"/>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208" h="981">
                    <a:moveTo>
                      <a:pt x="566" y="981"/>
                    </a:moveTo>
                    <a:lnTo>
                      <a:pt x="566" y="981"/>
                    </a:lnTo>
                    <a:lnTo>
                      <a:pt x="0" y="0"/>
                    </a:lnTo>
                    <a:lnTo>
                      <a:pt x="1208" y="410"/>
                    </a:lnTo>
                    <a:lnTo>
                      <a:pt x="1208" y="621"/>
                    </a:lnTo>
                    <a:lnTo>
                      <a:pt x="933" y="775"/>
                    </a:lnTo>
                    <a:lnTo>
                      <a:pt x="566"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60" name="Freeform 484"/>
              <p:cNvSpPr>
                <a:spLocks/>
              </p:cNvSpPr>
              <p:nvPr/>
            </p:nvSpPr>
            <p:spPr bwMode="auto">
              <a:xfrm>
                <a:off x="-2054225" y="2682875"/>
                <a:ext cx="1200150" cy="2232025"/>
              </a:xfrm>
              <a:custGeom>
                <a:avLst/>
                <a:gdLst>
                  <a:gd name="T0" fmla="*/ 0 w 756"/>
                  <a:gd name="T1" fmla="*/ 1406 h 1406"/>
                  <a:gd name="T2" fmla="*/ 114 w 756"/>
                  <a:gd name="T3" fmla="*/ 0 h 1406"/>
                  <a:gd name="T4" fmla="*/ 756 w 756"/>
                  <a:gd name="T5" fmla="*/ 0 h 1406"/>
                  <a:gd name="T6" fmla="*/ 756 w 756"/>
                  <a:gd name="T7" fmla="*/ 553 h 1406"/>
                  <a:gd name="T8" fmla="*/ 0 w 756"/>
                  <a:gd name="T9" fmla="*/ 1406 h 1406"/>
                </a:gdLst>
                <a:ahLst/>
                <a:cxnLst>
                  <a:cxn ang="0">
                    <a:pos x="T0" y="T1"/>
                  </a:cxn>
                  <a:cxn ang="0">
                    <a:pos x="T2" y="T3"/>
                  </a:cxn>
                  <a:cxn ang="0">
                    <a:pos x="T4" y="T5"/>
                  </a:cxn>
                  <a:cxn ang="0">
                    <a:pos x="T6" y="T7"/>
                  </a:cxn>
                  <a:cxn ang="0">
                    <a:pos x="T8" y="T9"/>
                  </a:cxn>
                </a:cxnLst>
                <a:rect l="0" t="0" r="r" b="b"/>
                <a:pathLst>
                  <a:path w="756" h="1406">
                    <a:moveTo>
                      <a:pt x="0" y="1406"/>
                    </a:moveTo>
                    <a:lnTo>
                      <a:pt x="114" y="0"/>
                    </a:lnTo>
                    <a:lnTo>
                      <a:pt x="756" y="0"/>
                    </a:lnTo>
                    <a:lnTo>
                      <a:pt x="756" y="553"/>
                    </a:lnTo>
                    <a:lnTo>
                      <a:pt x="0" y="140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61" name="Freeform 485"/>
              <p:cNvSpPr>
                <a:spLocks noEditPoints="1"/>
              </p:cNvSpPr>
              <p:nvPr/>
            </p:nvSpPr>
            <p:spPr bwMode="auto">
              <a:xfrm>
                <a:off x="-4413250" y="1125537"/>
                <a:ext cx="2540000" cy="1987550"/>
              </a:xfrm>
              <a:custGeom>
                <a:avLst/>
                <a:gdLst>
                  <a:gd name="T0" fmla="*/ 0 w 3333"/>
                  <a:gd name="T1" fmla="*/ 2608 h 2608"/>
                  <a:gd name="T2" fmla="*/ 0 w 3333"/>
                  <a:gd name="T3" fmla="*/ 2608 h 2608"/>
                  <a:gd name="T4" fmla="*/ 0 w 3333"/>
                  <a:gd name="T5" fmla="*/ 2608 h 2608"/>
                  <a:gd name="T6" fmla="*/ 0 w 3333"/>
                  <a:gd name="T7" fmla="*/ 2608 h 2608"/>
                  <a:gd name="T8" fmla="*/ 0 w 3333"/>
                  <a:gd name="T9" fmla="*/ 2608 h 2608"/>
                  <a:gd name="T10" fmla="*/ 2154 w 3333"/>
                  <a:gd name="T11" fmla="*/ 0 h 2608"/>
                  <a:gd name="T12" fmla="*/ 3333 w 3333"/>
                  <a:gd name="T13" fmla="*/ 2042 h 2608"/>
                  <a:gd name="T14" fmla="*/ 3333 w 3333"/>
                  <a:gd name="T15" fmla="*/ 2042 h 2608"/>
                  <a:gd name="T16" fmla="*/ 0 w 3333"/>
                  <a:gd name="T17" fmla="*/ 2608 h 2608"/>
                  <a:gd name="T18" fmla="*/ 3333 w 3333"/>
                  <a:gd name="T19" fmla="*/ 2042 h 2608"/>
                  <a:gd name="T20" fmla="*/ 3333 w 3333"/>
                  <a:gd name="T21" fmla="*/ 2042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33" h="2608">
                    <a:moveTo>
                      <a:pt x="0" y="2608"/>
                    </a:moveTo>
                    <a:lnTo>
                      <a:pt x="0" y="2608"/>
                    </a:lnTo>
                    <a:lnTo>
                      <a:pt x="0" y="2608"/>
                    </a:lnTo>
                    <a:lnTo>
                      <a:pt x="0" y="2608"/>
                    </a:lnTo>
                    <a:moveTo>
                      <a:pt x="0" y="2608"/>
                    </a:moveTo>
                    <a:lnTo>
                      <a:pt x="2154" y="0"/>
                    </a:lnTo>
                    <a:lnTo>
                      <a:pt x="3333" y="2042"/>
                    </a:lnTo>
                    <a:lnTo>
                      <a:pt x="3333" y="2042"/>
                    </a:lnTo>
                    <a:lnTo>
                      <a:pt x="0" y="2608"/>
                    </a:lnTo>
                    <a:moveTo>
                      <a:pt x="3333" y="2042"/>
                    </a:moveTo>
                    <a:lnTo>
                      <a:pt x="3333" y="2042"/>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62" name="Freeform 486"/>
              <p:cNvSpPr>
                <a:spLocks/>
              </p:cNvSpPr>
              <p:nvPr/>
            </p:nvSpPr>
            <p:spPr bwMode="auto">
              <a:xfrm>
                <a:off x="-1873250" y="2111375"/>
                <a:ext cx="1019175" cy="571500"/>
              </a:xfrm>
              <a:custGeom>
                <a:avLst/>
                <a:gdLst>
                  <a:gd name="T0" fmla="*/ 0 w 642"/>
                  <a:gd name="T1" fmla="*/ 360 h 360"/>
                  <a:gd name="T2" fmla="*/ 0 w 642"/>
                  <a:gd name="T3" fmla="*/ 360 h 360"/>
                  <a:gd name="T4" fmla="*/ 367 w 642"/>
                  <a:gd name="T5" fmla="*/ 154 h 360"/>
                  <a:gd name="T6" fmla="*/ 642 w 642"/>
                  <a:gd name="T7" fmla="*/ 0 h 360"/>
                  <a:gd name="T8" fmla="*/ 642 w 642"/>
                  <a:gd name="T9" fmla="*/ 360 h 360"/>
                  <a:gd name="T10" fmla="*/ 0 w 642"/>
                  <a:gd name="T11" fmla="*/ 360 h 360"/>
                </a:gdLst>
                <a:ahLst/>
                <a:cxnLst>
                  <a:cxn ang="0">
                    <a:pos x="T0" y="T1"/>
                  </a:cxn>
                  <a:cxn ang="0">
                    <a:pos x="T2" y="T3"/>
                  </a:cxn>
                  <a:cxn ang="0">
                    <a:pos x="T4" y="T5"/>
                  </a:cxn>
                  <a:cxn ang="0">
                    <a:pos x="T6" y="T7"/>
                  </a:cxn>
                  <a:cxn ang="0">
                    <a:pos x="T8" y="T9"/>
                  </a:cxn>
                  <a:cxn ang="0">
                    <a:pos x="T10" y="T11"/>
                  </a:cxn>
                </a:cxnLst>
                <a:rect l="0" t="0" r="r" b="b"/>
                <a:pathLst>
                  <a:path w="642" h="360">
                    <a:moveTo>
                      <a:pt x="0" y="360"/>
                    </a:moveTo>
                    <a:lnTo>
                      <a:pt x="0" y="360"/>
                    </a:lnTo>
                    <a:lnTo>
                      <a:pt x="367" y="154"/>
                    </a:lnTo>
                    <a:lnTo>
                      <a:pt x="642" y="0"/>
                    </a:lnTo>
                    <a:lnTo>
                      <a:pt x="642" y="360"/>
                    </a:lnTo>
                    <a:lnTo>
                      <a:pt x="0" y="36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63" name="Freeform 487"/>
              <p:cNvSpPr>
                <a:spLocks/>
              </p:cNvSpPr>
              <p:nvPr/>
            </p:nvSpPr>
            <p:spPr bwMode="auto">
              <a:xfrm>
                <a:off x="-1290638" y="2111375"/>
                <a:ext cx="436563" cy="244475"/>
              </a:xfrm>
              <a:custGeom>
                <a:avLst/>
                <a:gdLst>
                  <a:gd name="T0" fmla="*/ 0 w 275"/>
                  <a:gd name="T1" fmla="*/ 154 h 154"/>
                  <a:gd name="T2" fmla="*/ 275 w 275"/>
                  <a:gd name="T3" fmla="*/ 0 h 154"/>
                  <a:gd name="T4" fmla="*/ 275 w 275"/>
                  <a:gd name="T5" fmla="*/ 0 h 154"/>
                  <a:gd name="T6" fmla="*/ 0 w 275"/>
                  <a:gd name="T7" fmla="*/ 154 h 154"/>
                </a:gdLst>
                <a:ahLst/>
                <a:cxnLst>
                  <a:cxn ang="0">
                    <a:pos x="T0" y="T1"/>
                  </a:cxn>
                  <a:cxn ang="0">
                    <a:pos x="T2" y="T3"/>
                  </a:cxn>
                  <a:cxn ang="0">
                    <a:pos x="T4" y="T5"/>
                  </a:cxn>
                  <a:cxn ang="0">
                    <a:pos x="T6" y="T7"/>
                  </a:cxn>
                </a:cxnLst>
                <a:rect l="0" t="0" r="r" b="b"/>
                <a:pathLst>
                  <a:path w="275" h="154">
                    <a:moveTo>
                      <a:pt x="0" y="154"/>
                    </a:moveTo>
                    <a:lnTo>
                      <a:pt x="275" y="0"/>
                    </a:lnTo>
                    <a:lnTo>
                      <a:pt x="275" y="0"/>
                    </a:lnTo>
                    <a:lnTo>
                      <a:pt x="0" y="15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64" name="Freeform 488"/>
              <p:cNvSpPr>
                <a:spLocks/>
              </p:cNvSpPr>
              <p:nvPr/>
            </p:nvSpPr>
            <p:spPr bwMode="auto">
              <a:xfrm>
                <a:off x="-4413250" y="2682875"/>
                <a:ext cx="2540000" cy="1554163"/>
              </a:xfrm>
              <a:custGeom>
                <a:avLst/>
                <a:gdLst>
                  <a:gd name="T0" fmla="*/ 1034 w 1600"/>
                  <a:gd name="T1" fmla="*/ 979 h 979"/>
                  <a:gd name="T2" fmla="*/ 0 w 1600"/>
                  <a:gd name="T3" fmla="*/ 271 h 979"/>
                  <a:gd name="T4" fmla="*/ 0 w 1600"/>
                  <a:gd name="T5" fmla="*/ 271 h 979"/>
                  <a:gd name="T6" fmla="*/ 1600 w 1600"/>
                  <a:gd name="T7" fmla="*/ 0 h 979"/>
                  <a:gd name="T8" fmla="*/ 1034 w 1600"/>
                  <a:gd name="T9" fmla="*/ 979 h 979"/>
                </a:gdLst>
                <a:ahLst/>
                <a:cxnLst>
                  <a:cxn ang="0">
                    <a:pos x="T0" y="T1"/>
                  </a:cxn>
                  <a:cxn ang="0">
                    <a:pos x="T2" y="T3"/>
                  </a:cxn>
                  <a:cxn ang="0">
                    <a:pos x="T4" y="T5"/>
                  </a:cxn>
                  <a:cxn ang="0">
                    <a:pos x="T6" y="T7"/>
                  </a:cxn>
                  <a:cxn ang="0">
                    <a:pos x="T8" y="T9"/>
                  </a:cxn>
                </a:cxnLst>
                <a:rect l="0" t="0" r="r" b="b"/>
                <a:pathLst>
                  <a:path w="1600" h="979">
                    <a:moveTo>
                      <a:pt x="1034" y="979"/>
                    </a:moveTo>
                    <a:lnTo>
                      <a:pt x="0" y="271"/>
                    </a:lnTo>
                    <a:lnTo>
                      <a:pt x="0" y="271"/>
                    </a:lnTo>
                    <a:lnTo>
                      <a:pt x="1600" y="0"/>
                    </a:lnTo>
                    <a:lnTo>
                      <a:pt x="1034"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65" name="Freeform 489"/>
              <p:cNvSpPr>
                <a:spLocks noEditPoints="1"/>
              </p:cNvSpPr>
              <p:nvPr/>
            </p:nvSpPr>
            <p:spPr bwMode="auto">
              <a:xfrm>
                <a:off x="-2438400" y="5792787"/>
                <a:ext cx="1517650" cy="1866900"/>
              </a:xfrm>
              <a:custGeom>
                <a:avLst/>
                <a:gdLst>
                  <a:gd name="T0" fmla="*/ 184 w 1992"/>
                  <a:gd name="T1" fmla="*/ 2449 h 2449"/>
                  <a:gd name="T2" fmla="*/ 0 w 1992"/>
                  <a:gd name="T3" fmla="*/ 2449 h 2449"/>
                  <a:gd name="T4" fmla="*/ 742 w 1992"/>
                  <a:gd name="T5" fmla="*/ 0 h 2449"/>
                  <a:gd name="T6" fmla="*/ 1342 w 1992"/>
                  <a:gd name="T7" fmla="*/ 650 h 2449"/>
                  <a:gd name="T8" fmla="*/ 1992 w 1992"/>
                  <a:gd name="T9" fmla="*/ 1354 h 2449"/>
                  <a:gd name="T10" fmla="*/ 184 w 1992"/>
                  <a:gd name="T11" fmla="*/ 2449 h 2449"/>
                  <a:gd name="T12" fmla="*/ 742 w 1992"/>
                  <a:gd name="T13" fmla="*/ 0 h 2449"/>
                  <a:gd name="T14" fmla="*/ 742 w 1992"/>
                  <a:gd name="T15" fmla="*/ 0 h 2449"/>
                  <a:gd name="T16" fmla="*/ 742 w 1992"/>
                  <a:gd name="T17" fmla="*/ 0 h 2449"/>
                  <a:gd name="T18" fmla="*/ 742 w 1992"/>
                  <a:gd name="T19" fmla="*/ 0 h 2449"/>
                  <a:gd name="T20" fmla="*/ 742 w 1992"/>
                  <a:gd name="T21" fmla="*/ 0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2" h="2449">
                    <a:moveTo>
                      <a:pt x="184" y="2449"/>
                    </a:moveTo>
                    <a:lnTo>
                      <a:pt x="0" y="2449"/>
                    </a:lnTo>
                    <a:lnTo>
                      <a:pt x="742" y="0"/>
                    </a:lnTo>
                    <a:lnTo>
                      <a:pt x="1342" y="650"/>
                    </a:lnTo>
                    <a:lnTo>
                      <a:pt x="1992" y="1354"/>
                    </a:lnTo>
                    <a:lnTo>
                      <a:pt x="184" y="2449"/>
                    </a:lnTo>
                    <a:moveTo>
                      <a:pt x="742" y="0"/>
                    </a:moveTo>
                    <a:lnTo>
                      <a:pt x="742" y="0"/>
                    </a:lnTo>
                    <a:moveTo>
                      <a:pt x="742" y="0"/>
                    </a:moveTo>
                    <a:lnTo>
                      <a:pt x="742" y="0"/>
                    </a:lnTo>
                    <a:lnTo>
                      <a:pt x="742"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66" name="Freeform 490"/>
              <p:cNvSpPr>
                <a:spLocks/>
              </p:cNvSpPr>
              <p:nvPr/>
            </p:nvSpPr>
            <p:spPr bwMode="auto">
              <a:xfrm>
                <a:off x="-2771775" y="4237037"/>
                <a:ext cx="898525" cy="1555750"/>
              </a:xfrm>
              <a:custGeom>
                <a:avLst/>
                <a:gdLst>
                  <a:gd name="T0" fmla="*/ 566 w 566"/>
                  <a:gd name="T1" fmla="*/ 980 h 980"/>
                  <a:gd name="T2" fmla="*/ 0 w 566"/>
                  <a:gd name="T3" fmla="*/ 0 h 980"/>
                  <a:gd name="T4" fmla="*/ 452 w 566"/>
                  <a:gd name="T5" fmla="*/ 427 h 980"/>
                  <a:gd name="T6" fmla="*/ 547 w 566"/>
                  <a:gd name="T7" fmla="*/ 885 h 980"/>
                  <a:gd name="T8" fmla="*/ 566 w 566"/>
                  <a:gd name="T9" fmla="*/ 980 h 980"/>
                </a:gdLst>
                <a:ahLst/>
                <a:cxnLst>
                  <a:cxn ang="0">
                    <a:pos x="T0" y="T1"/>
                  </a:cxn>
                  <a:cxn ang="0">
                    <a:pos x="T2" y="T3"/>
                  </a:cxn>
                  <a:cxn ang="0">
                    <a:pos x="T4" y="T5"/>
                  </a:cxn>
                  <a:cxn ang="0">
                    <a:pos x="T6" y="T7"/>
                  </a:cxn>
                  <a:cxn ang="0">
                    <a:pos x="T8" y="T9"/>
                  </a:cxn>
                </a:cxnLst>
                <a:rect l="0" t="0" r="r" b="b"/>
                <a:pathLst>
                  <a:path w="566" h="980">
                    <a:moveTo>
                      <a:pt x="566" y="980"/>
                    </a:moveTo>
                    <a:lnTo>
                      <a:pt x="0" y="0"/>
                    </a:lnTo>
                    <a:lnTo>
                      <a:pt x="452" y="427"/>
                    </a:lnTo>
                    <a:lnTo>
                      <a:pt x="547" y="88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67" name="Freeform 491"/>
              <p:cNvSpPr>
                <a:spLocks/>
              </p:cNvSpPr>
              <p:nvPr/>
            </p:nvSpPr>
            <p:spPr bwMode="auto">
              <a:xfrm>
                <a:off x="-1873250" y="5792787"/>
                <a:ext cx="1019175" cy="1031875"/>
              </a:xfrm>
              <a:custGeom>
                <a:avLst/>
                <a:gdLst>
                  <a:gd name="T0" fmla="*/ 600 w 642"/>
                  <a:gd name="T1" fmla="*/ 650 h 650"/>
                  <a:gd name="T2" fmla="*/ 288 w 642"/>
                  <a:gd name="T3" fmla="*/ 312 h 650"/>
                  <a:gd name="T4" fmla="*/ 0 w 642"/>
                  <a:gd name="T5" fmla="*/ 0 h 650"/>
                  <a:gd name="T6" fmla="*/ 642 w 642"/>
                  <a:gd name="T7" fmla="*/ 0 h 650"/>
                  <a:gd name="T8" fmla="*/ 642 w 642"/>
                  <a:gd name="T9" fmla="*/ 600 h 650"/>
                  <a:gd name="T10" fmla="*/ 600 w 642"/>
                  <a:gd name="T11" fmla="*/ 650 h 650"/>
                </a:gdLst>
                <a:ahLst/>
                <a:cxnLst>
                  <a:cxn ang="0">
                    <a:pos x="T0" y="T1"/>
                  </a:cxn>
                  <a:cxn ang="0">
                    <a:pos x="T2" y="T3"/>
                  </a:cxn>
                  <a:cxn ang="0">
                    <a:pos x="T4" y="T5"/>
                  </a:cxn>
                  <a:cxn ang="0">
                    <a:pos x="T6" y="T7"/>
                  </a:cxn>
                  <a:cxn ang="0">
                    <a:pos x="T8" y="T9"/>
                  </a:cxn>
                  <a:cxn ang="0">
                    <a:pos x="T10" y="T11"/>
                  </a:cxn>
                </a:cxnLst>
                <a:rect l="0" t="0" r="r" b="b"/>
                <a:pathLst>
                  <a:path w="642" h="650">
                    <a:moveTo>
                      <a:pt x="600" y="650"/>
                    </a:moveTo>
                    <a:lnTo>
                      <a:pt x="288" y="312"/>
                    </a:lnTo>
                    <a:lnTo>
                      <a:pt x="0" y="0"/>
                    </a:lnTo>
                    <a:lnTo>
                      <a:pt x="642" y="0"/>
                    </a:lnTo>
                    <a:lnTo>
                      <a:pt x="642" y="600"/>
                    </a:lnTo>
                    <a:lnTo>
                      <a:pt x="600" y="650"/>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68" name="Freeform 492"/>
              <p:cNvSpPr>
                <a:spLocks noEditPoints="1"/>
              </p:cNvSpPr>
              <p:nvPr/>
            </p:nvSpPr>
            <p:spPr bwMode="auto">
              <a:xfrm>
                <a:off x="-4214813" y="4237037"/>
                <a:ext cx="2341563" cy="2058988"/>
              </a:xfrm>
              <a:custGeom>
                <a:avLst/>
                <a:gdLst>
                  <a:gd name="T0" fmla="*/ 0 w 3073"/>
                  <a:gd name="T1" fmla="*/ 2701 h 2701"/>
                  <a:gd name="T2" fmla="*/ 0 w 3073"/>
                  <a:gd name="T3" fmla="*/ 2701 h 2701"/>
                  <a:gd name="T4" fmla="*/ 0 w 3073"/>
                  <a:gd name="T5" fmla="*/ 2701 h 2701"/>
                  <a:gd name="T6" fmla="*/ 0 w 3073"/>
                  <a:gd name="T7" fmla="*/ 2701 h 2701"/>
                  <a:gd name="T8" fmla="*/ 0 w 3073"/>
                  <a:gd name="T9" fmla="*/ 2701 h 2701"/>
                  <a:gd name="T10" fmla="*/ 1894 w 3073"/>
                  <a:gd name="T11" fmla="*/ 0 h 2701"/>
                  <a:gd name="T12" fmla="*/ 3073 w 3073"/>
                  <a:gd name="T13" fmla="*/ 2042 h 2701"/>
                  <a:gd name="T14" fmla="*/ 3073 w 3073"/>
                  <a:gd name="T15" fmla="*/ 2042 h 2701"/>
                  <a:gd name="T16" fmla="*/ 0 w 3073"/>
                  <a:gd name="T17" fmla="*/ 2701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701">
                    <a:moveTo>
                      <a:pt x="0" y="2701"/>
                    </a:moveTo>
                    <a:lnTo>
                      <a:pt x="0" y="2701"/>
                    </a:lnTo>
                    <a:lnTo>
                      <a:pt x="0" y="2701"/>
                    </a:lnTo>
                    <a:lnTo>
                      <a:pt x="0" y="2701"/>
                    </a:lnTo>
                    <a:moveTo>
                      <a:pt x="0" y="2701"/>
                    </a:moveTo>
                    <a:lnTo>
                      <a:pt x="1894" y="0"/>
                    </a:lnTo>
                    <a:lnTo>
                      <a:pt x="3073" y="2042"/>
                    </a:lnTo>
                    <a:lnTo>
                      <a:pt x="3073" y="2042"/>
                    </a:lnTo>
                    <a:lnTo>
                      <a:pt x="0" y="270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69" name="Freeform 493"/>
              <p:cNvSpPr>
                <a:spLocks/>
              </p:cNvSpPr>
              <p:nvPr/>
            </p:nvSpPr>
            <p:spPr bwMode="auto">
              <a:xfrm>
                <a:off x="-2054225" y="4914900"/>
                <a:ext cx="1200150" cy="877888"/>
              </a:xfrm>
              <a:custGeom>
                <a:avLst/>
                <a:gdLst>
                  <a:gd name="T0" fmla="*/ 114 w 756"/>
                  <a:gd name="T1" fmla="*/ 553 h 553"/>
                  <a:gd name="T2" fmla="*/ 114 w 756"/>
                  <a:gd name="T3" fmla="*/ 553 h 553"/>
                  <a:gd name="T4" fmla="*/ 114 w 756"/>
                  <a:gd name="T5" fmla="*/ 553 h 553"/>
                  <a:gd name="T6" fmla="*/ 95 w 756"/>
                  <a:gd name="T7" fmla="*/ 458 h 553"/>
                  <a:gd name="T8" fmla="*/ 0 w 756"/>
                  <a:gd name="T9" fmla="*/ 0 h 553"/>
                  <a:gd name="T10" fmla="*/ 756 w 756"/>
                  <a:gd name="T11" fmla="*/ 336 h 553"/>
                  <a:gd name="T12" fmla="*/ 756 w 756"/>
                  <a:gd name="T13" fmla="*/ 553 h 553"/>
                  <a:gd name="T14" fmla="*/ 114 w 756"/>
                  <a:gd name="T15" fmla="*/ 553 h 5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6" h="553">
                    <a:moveTo>
                      <a:pt x="114" y="553"/>
                    </a:moveTo>
                    <a:lnTo>
                      <a:pt x="114" y="553"/>
                    </a:lnTo>
                    <a:lnTo>
                      <a:pt x="114" y="553"/>
                    </a:lnTo>
                    <a:lnTo>
                      <a:pt x="95" y="458"/>
                    </a:lnTo>
                    <a:lnTo>
                      <a:pt x="0" y="0"/>
                    </a:lnTo>
                    <a:lnTo>
                      <a:pt x="756" y="336"/>
                    </a:lnTo>
                    <a:lnTo>
                      <a:pt x="756" y="553"/>
                    </a:lnTo>
                    <a:lnTo>
                      <a:pt x="114" y="5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70" name="Freeform 494"/>
              <p:cNvSpPr>
                <a:spLocks noEditPoints="1"/>
              </p:cNvSpPr>
              <p:nvPr/>
            </p:nvSpPr>
            <p:spPr bwMode="auto">
              <a:xfrm>
                <a:off x="-4214813" y="5792787"/>
                <a:ext cx="2341563" cy="1866900"/>
              </a:xfrm>
              <a:custGeom>
                <a:avLst/>
                <a:gdLst>
                  <a:gd name="T0" fmla="*/ 2331 w 3073"/>
                  <a:gd name="T1" fmla="*/ 2449 h 2449"/>
                  <a:gd name="T2" fmla="*/ 2127 w 3073"/>
                  <a:gd name="T3" fmla="*/ 2449 h 2449"/>
                  <a:gd name="T4" fmla="*/ 0 w 3073"/>
                  <a:gd name="T5" fmla="*/ 659 h 2449"/>
                  <a:gd name="T6" fmla="*/ 3073 w 3073"/>
                  <a:gd name="T7" fmla="*/ 0 h 2449"/>
                  <a:gd name="T8" fmla="*/ 2331 w 3073"/>
                  <a:gd name="T9" fmla="*/ 2449 h 2449"/>
                  <a:gd name="T10" fmla="*/ 0 w 3073"/>
                  <a:gd name="T11" fmla="*/ 659 h 2449"/>
                  <a:gd name="T12" fmla="*/ 0 w 3073"/>
                  <a:gd name="T13" fmla="*/ 659 h 2449"/>
                  <a:gd name="T14" fmla="*/ 0 w 3073"/>
                  <a:gd name="T15" fmla="*/ 659 h 2449"/>
                  <a:gd name="T16" fmla="*/ 0 w 3073"/>
                  <a:gd name="T17" fmla="*/ 659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449">
                    <a:moveTo>
                      <a:pt x="2331" y="2449"/>
                    </a:moveTo>
                    <a:lnTo>
                      <a:pt x="2127" y="2449"/>
                    </a:lnTo>
                    <a:lnTo>
                      <a:pt x="0" y="659"/>
                    </a:lnTo>
                    <a:lnTo>
                      <a:pt x="3073" y="0"/>
                    </a:lnTo>
                    <a:lnTo>
                      <a:pt x="2331" y="2449"/>
                    </a:lnTo>
                    <a:moveTo>
                      <a:pt x="0" y="659"/>
                    </a:moveTo>
                    <a:lnTo>
                      <a:pt x="0" y="659"/>
                    </a:lnTo>
                    <a:lnTo>
                      <a:pt x="0" y="659"/>
                    </a:lnTo>
                    <a:lnTo>
                      <a:pt x="0" y="659"/>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71" name="Rectangle 495"/>
              <p:cNvSpPr>
                <a:spLocks noChangeArrowheads="1"/>
              </p:cNvSpPr>
              <p:nvPr/>
            </p:nvSpPr>
            <p:spPr bwMode="auto">
              <a:xfrm>
                <a:off x="-4214813" y="6296025"/>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72" name="Freeform 496"/>
              <p:cNvSpPr>
                <a:spLocks/>
              </p:cNvSpPr>
              <p:nvPr/>
            </p:nvSpPr>
            <p:spPr bwMode="auto">
              <a:xfrm>
                <a:off x="-2438400" y="5792787"/>
                <a:ext cx="565150" cy="1866900"/>
              </a:xfrm>
              <a:custGeom>
                <a:avLst/>
                <a:gdLst>
                  <a:gd name="T0" fmla="*/ 0 w 356"/>
                  <a:gd name="T1" fmla="*/ 1176 h 1176"/>
                  <a:gd name="T2" fmla="*/ 0 w 356"/>
                  <a:gd name="T3" fmla="*/ 1176 h 1176"/>
                  <a:gd name="T4" fmla="*/ 356 w 356"/>
                  <a:gd name="T5" fmla="*/ 0 h 1176"/>
                  <a:gd name="T6" fmla="*/ 356 w 356"/>
                  <a:gd name="T7" fmla="*/ 0 h 1176"/>
                  <a:gd name="T8" fmla="*/ 0 w 356"/>
                  <a:gd name="T9" fmla="*/ 1176 h 1176"/>
                </a:gdLst>
                <a:ahLst/>
                <a:cxnLst>
                  <a:cxn ang="0">
                    <a:pos x="T0" y="T1"/>
                  </a:cxn>
                  <a:cxn ang="0">
                    <a:pos x="T2" y="T3"/>
                  </a:cxn>
                  <a:cxn ang="0">
                    <a:pos x="T4" y="T5"/>
                  </a:cxn>
                  <a:cxn ang="0">
                    <a:pos x="T6" y="T7"/>
                  </a:cxn>
                  <a:cxn ang="0">
                    <a:pos x="T8" y="T9"/>
                  </a:cxn>
                </a:cxnLst>
                <a:rect l="0" t="0" r="r" b="b"/>
                <a:pathLst>
                  <a:path w="356" h="1176">
                    <a:moveTo>
                      <a:pt x="0" y="1176"/>
                    </a:moveTo>
                    <a:lnTo>
                      <a:pt x="0" y="1176"/>
                    </a:lnTo>
                    <a:lnTo>
                      <a:pt x="356" y="0"/>
                    </a:lnTo>
                    <a:lnTo>
                      <a:pt x="356" y="0"/>
                    </a:lnTo>
                    <a:lnTo>
                      <a:pt x="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73" name="Freeform 497"/>
              <p:cNvSpPr>
                <a:spLocks/>
              </p:cNvSpPr>
              <p:nvPr/>
            </p:nvSpPr>
            <p:spPr bwMode="auto">
              <a:xfrm>
                <a:off x="-4214813" y="5792787"/>
                <a:ext cx="2341563" cy="503238"/>
              </a:xfrm>
              <a:custGeom>
                <a:avLst/>
                <a:gdLst>
                  <a:gd name="T0" fmla="*/ 0 w 1475"/>
                  <a:gd name="T1" fmla="*/ 317 h 317"/>
                  <a:gd name="T2" fmla="*/ 0 w 1475"/>
                  <a:gd name="T3" fmla="*/ 317 h 317"/>
                  <a:gd name="T4" fmla="*/ 0 w 1475"/>
                  <a:gd name="T5" fmla="*/ 317 h 317"/>
                  <a:gd name="T6" fmla="*/ 1475 w 1475"/>
                  <a:gd name="T7" fmla="*/ 0 h 317"/>
                  <a:gd name="T8" fmla="*/ 1475 w 1475"/>
                  <a:gd name="T9" fmla="*/ 0 h 317"/>
                  <a:gd name="T10" fmla="*/ 0 w 1475"/>
                  <a:gd name="T11" fmla="*/ 317 h 317"/>
                </a:gdLst>
                <a:ahLst/>
                <a:cxnLst>
                  <a:cxn ang="0">
                    <a:pos x="T0" y="T1"/>
                  </a:cxn>
                  <a:cxn ang="0">
                    <a:pos x="T2" y="T3"/>
                  </a:cxn>
                  <a:cxn ang="0">
                    <a:pos x="T4" y="T5"/>
                  </a:cxn>
                  <a:cxn ang="0">
                    <a:pos x="T6" y="T7"/>
                  </a:cxn>
                  <a:cxn ang="0">
                    <a:pos x="T8" y="T9"/>
                  </a:cxn>
                  <a:cxn ang="0">
                    <a:pos x="T10" y="T11"/>
                  </a:cxn>
                </a:cxnLst>
                <a:rect l="0" t="0" r="r" b="b"/>
                <a:pathLst>
                  <a:path w="1475" h="317">
                    <a:moveTo>
                      <a:pt x="0" y="317"/>
                    </a:moveTo>
                    <a:lnTo>
                      <a:pt x="0" y="317"/>
                    </a:lnTo>
                    <a:lnTo>
                      <a:pt x="0" y="317"/>
                    </a:lnTo>
                    <a:lnTo>
                      <a:pt x="1475" y="0"/>
                    </a:lnTo>
                    <a:lnTo>
                      <a:pt x="1475" y="0"/>
                    </a:lnTo>
                    <a:lnTo>
                      <a:pt x="0" y="317"/>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74" name="Freeform 498"/>
              <p:cNvSpPr>
                <a:spLocks/>
              </p:cNvSpPr>
              <p:nvPr/>
            </p:nvSpPr>
            <p:spPr bwMode="auto">
              <a:xfrm>
                <a:off x="-2054225" y="3560762"/>
                <a:ext cx="1200150" cy="1354138"/>
              </a:xfrm>
              <a:custGeom>
                <a:avLst/>
                <a:gdLst>
                  <a:gd name="T0" fmla="*/ 0 w 756"/>
                  <a:gd name="T1" fmla="*/ 853 h 853"/>
                  <a:gd name="T2" fmla="*/ 0 w 756"/>
                  <a:gd name="T3" fmla="*/ 853 h 853"/>
                  <a:gd name="T4" fmla="*/ 756 w 756"/>
                  <a:gd name="T5" fmla="*/ 0 h 853"/>
                  <a:gd name="T6" fmla="*/ 756 w 756"/>
                  <a:gd name="T7" fmla="*/ 675 h 853"/>
                  <a:gd name="T8" fmla="*/ 0 w 756"/>
                  <a:gd name="T9" fmla="*/ 853 h 853"/>
                </a:gdLst>
                <a:ahLst/>
                <a:cxnLst>
                  <a:cxn ang="0">
                    <a:pos x="T0" y="T1"/>
                  </a:cxn>
                  <a:cxn ang="0">
                    <a:pos x="T2" y="T3"/>
                  </a:cxn>
                  <a:cxn ang="0">
                    <a:pos x="T4" y="T5"/>
                  </a:cxn>
                  <a:cxn ang="0">
                    <a:pos x="T6" y="T7"/>
                  </a:cxn>
                  <a:cxn ang="0">
                    <a:pos x="T8" y="T9"/>
                  </a:cxn>
                </a:cxnLst>
                <a:rect l="0" t="0" r="r" b="b"/>
                <a:pathLst>
                  <a:path w="756" h="853">
                    <a:moveTo>
                      <a:pt x="0" y="853"/>
                    </a:moveTo>
                    <a:lnTo>
                      <a:pt x="0" y="853"/>
                    </a:lnTo>
                    <a:lnTo>
                      <a:pt x="756" y="0"/>
                    </a:lnTo>
                    <a:lnTo>
                      <a:pt x="756" y="675"/>
                    </a:lnTo>
                    <a:lnTo>
                      <a:pt x="0" y="853"/>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75" name="Freeform 499"/>
              <p:cNvSpPr>
                <a:spLocks/>
              </p:cNvSpPr>
              <p:nvPr/>
            </p:nvSpPr>
            <p:spPr bwMode="auto">
              <a:xfrm>
                <a:off x="-2054225" y="3560762"/>
                <a:ext cx="1200150" cy="1354138"/>
              </a:xfrm>
              <a:custGeom>
                <a:avLst/>
                <a:gdLst>
                  <a:gd name="T0" fmla="*/ 0 w 756"/>
                  <a:gd name="T1" fmla="*/ 853 h 853"/>
                  <a:gd name="T2" fmla="*/ 756 w 756"/>
                  <a:gd name="T3" fmla="*/ 0 h 853"/>
                  <a:gd name="T4" fmla="*/ 756 w 756"/>
                  <a:gd name="T5" fmla="*/ 0 h 853"/>
                  <a:gd name="T6" fmla="*/ 0 w 756"/>
                  <a:gd name="T7" fmla="*/ 853 h 853"/>
                </a:gdLst>
                <a:ahLst/>
                <a:cxnLst>
                  <a:cxn ang="0">
                    <a:pos x="T0" y="T1"/>
                  </a:cxn>
                  <a:cxn ang="0">
                    <a:pos x="T2" y="T3"/>
                  </a:cxn>
                  <a:cxn ang="0">
                    <a:pos x="T4" y="T5"/>
                  </a:cxn>
                  <a:cxn ang="0">
                    <a:pos x="T6" y="T7"/>
                  </a:cxn>
                </a:cxnLst>
                <a:rect l="0" t="0" r="r" b="b"/>
                <a:pathLst>
                  <a:path w="756" h="853">
                    <a:moveTo>
                      <a:pt x="0" y="853"/>
                    </a:moveTo>
                    <a:lnTo>
                      <a:pt x="756" y="0"/>
                    </a:lnTo>
                    <a:lnTo>
                      <a:pt x="756" y="0"/>
                    </a:lnTo>
                    <a:lnTo>
                      <a:pt x="0" y="853"/>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76" name="Freeform 500"/>
              <p:cNvSpPr>
                <a:spLocks/>
              </p:cNvSpPr>
              <p:nvPr/>
            </p:nvSpPr>
            <p:spPr bwMode="auto">
              <a:xfrm>
                <a:off x="-2054225" y="4632325"/>
                <a:ext cx="1200150" cy="815975"/>
              </a:xfrm>
              <a:custGeom>
                <a:avLst/>
                <a:gdLst>
                  <a:gd name="T0" fmla="*/ 756 w 756"/>
                  <a:gd name="T1" fmla="*/ 514 h 514"/>
                  <a:gd name="T2" fmla="*/ 0 w 756"/>
                  <a:gd name="T3" fmla="*/ 178 h 514"/>
                  <a:gd name="T4" fmla="*/ 756 w 756"/>
                  <a:gd name="T5" fmla="*/ 0 h 514"/>
                  <a:gd name="T6" fmla="*/ 756 w 756"/>
                  <a:gd name="T7" fmla="*/ 514 h 514"/>
                </a:gdLst>
                <a:ahLst/>
                <a:cxnLst>
                  <a:cxn ang="0">
                    <a:pos x="T0" y="T1"/>
                  </a:cxn>
                  <a:cxn ang="0">
                    <a:pos x="T2" y="T3"/>
                  </a:cxn>
                  <a:cxn ang="0">
                    <a:pos x="T4" y="T5"/>
                  </a:cxn>
                  <a:cxn ang="0">
                    <a:pos x="T6" y="T7"/>
                  </a:cxn>
                </a:cxnLst>
                <a:rect l="0" t="0" r="r" b="b"/>
                <a:pathLst>
                  <a:path w="756" h="514">
                    <a:moveTo>
                      <a:pt x="756" y="514"/>
                    </a:moveTo>
                    <a:lnTo>
                      <a:pt x="0" y="178"/>
                    </a:lnTo>
                    <a:lnTo>
                      <a:pt x="756" y="0"/>
                    </a:lnTo>
                    <a:lnTo>
                      <a:pt x="756" y="514"/>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77" name="Freeform 501"/>
              <p:cNvSpPr>
                <a:spLocks/>
              </p:cNvSpPr>
              <p:nvPr/>
            </p:nvSpPr>
            <p:spPr bwMode="auto">
              <a:xfrm>
                <a:off x="-2298700" y="6824662"/>
                <a:ext cx="1377950" cy="835025"/>
              </a:xfrm>
              <a:custGeom>
                <a:avLst/>
                <a:gdLst>
                  <a:gd name="T0" fmla="*/ 661 w 868"/>
                  <a:gd name="T1" fmla="*/ 526 h 526"/>
                  <a:gd name="T2" fmla="*/ 0 w 868"/>
                  <a:gd name="T3" fmla="*/ 526 h 526"/>
                  <a:gd name="T4" fmla="*/ 868 w 868"/>
                  <a:gd name="T5" fmla="*/ 0 h 526"/>
                  <a:gd name="T6" fmla="*/ 661 w 868"/>
                  <a:gd name="T7" fmla="*/ 526 h 526"/>
                </a:gdLst>
                <a:ahLst/>
                <a:cxnLst>
                  <a:cxn ang="0">
                    <a:pos x="T0" y="T1"/>
                  </a:cxn>
                  <a:cxn ang="0">
                    <a:pos x="T2" y="T3"/>
                  </a:cxn>
                  <a:cxn ang="0">
                    <a:pos x="T4" y="T5"/>
                  </a:cxn>
                  <a:cxn ang="0">
                    <a:pos x="T6" y="T7"/>
                  </a:cxn>
                </a:cxnLst>
                <a:rect l="0" t="0" r="r" b="b"/>
                <a:pathLst>
                  <a:path w="868" h="526">
                    <a:moveTo>
                      <a:pt x="661" y="526"/>
                    </a:moveTo>
                    <a:lnTo>
                      <a:pt x="0" y="526"/>
                    </a:lnTo>
                    <a:lnTo>
                      <a:pt x="868" y="0"/>
                    </a:lnTo>
                    <a:lnTo>
                      <a:pt x="661" y="526"/>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78" name="Freeform 502"/>
              <p:cNvSpPr>
                <a:spLocks/>
              </p:cNvSpPr>
              <p:nvPr/>
            </p:nvSpPr>
            <p:spPr bwMode="auto">
              <a:xfrm>
                <a:off x="-1249363" y="6824662"/>
                <a:ext cx="395288" cy="835025"/>
              </a:xfrm>
              <a:custGeom>
                <a:avLst/>
                <a:gdLst>
                  <a:gd name="T0" fmla="*/ 249 w 249"/>
                  <a:gd name="T1" fmla="*/ 526 h 526"/>
                  <a:gd name="T2" fmla="*/ 0 w 249"/>
                  <a:gd name="T3" fmla="*/ 526 h 526"/>
                  <a:gd name="T4" fmla="*/ 207 w 249"/>
                  <a:gd name="T5" fmla="*/ 0 h 526"/>
                  <a:gd name="T6" fmla="*/ 249 w 249"/>
                  <a:gd name="T7" fmla="*/ 166 h 526"/>
                  <a:gd name="T8" fmla="*/ 249 w 249"/>
                  <a:gd name="T9" fmla="*/ 526 h 526"/>
                </a:gdLst>
                <a:ahLst/>
                <a:cxnLst>
                  <a:cxn ang="0">
                    <a:pos x="T0" y="T1"/>
                  </a:cxn>
                  <a:cxn ang="0">
                    <a:pos x="T2" y="T3"/>
                  </a:cxn>
                  <a:cxn ang="0">
                    <a:pos x="T4" y="T5"/>
                  </a:cxn>
                  <a:cxn ang="0">
                    <a:pos x="T6" y="T7"/>
                  </a:cxn>
                  <a:cxn ang="0">
                    <a:pos x="T8" y="T9"/>
                  </a:cxn>
                </a:cxnLst>
                <a:rect l="0" t="0" r="r" b="b"/>
                <a:pathLst>
                  <a:path w="249" h="526">
                    <a:moveTo>
                      <a:pt x="249" y="526"/>
                    </a:moveTo>
                    <a:lnTo>
                      <a:pt x="0" y="526"/>
                    </a:lnTo>
                    <a:lnTo>
                      <a:pt x="207" y="0"/>
                    </a:lnTo>
                    <a:lnTo>
                      <a:pt x="249" y="166"/>
                    </a:lnTo>
                    <a:lnTo>
                      <a:pt x="249" y="52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79" name="Freeform 503"/>
              <p:cNvSpPr>
                <a:spLocks/>
              </p:cNvSpPr>
              <p:nvPr/>
            </p:nvSpPr>
            <p:spPr bwMode="auto">
              <a:xfrm>
                <a:off x="-920750" y="6745287"/>
                <a:ext cx="66675" cy="79375"/>
              </a:xfrm>
              <a:custGeom>
                <a:avLst/>
                <a:gdLst>
                  <a:gd name="T0" fmla="*/ 0 w 42"/>
                  <a:gd name="T1" fmla="*/ 50 h 50"/>
                  <a:gd name="T2" fmla="*/ 0 w 42"/>
                  <a:gd name="T3" fmla="*/ 50 h 50"/>
                  <a:gd name="T4" fmla="*/ 42 w 42"/>
                  <a:gd name="T5" fmla="*/ 0 h 50"/>
                  <a:gd name="T6" fmla="*/ 42 w 42"/>
                  <a:gd name="T7" fmla="*/ 47 h 50"/>
                  <a:gd name="T8" fmla="*/ 0 w 42"/>
                  <a:gd name="T9" fmla="*/ 50 h 50"/>
                </a:gdLst>
                <a:ahLst/>
                <a:cxnLst>
                  <a:cxn ang="0">
                    <a:pos x="T0" y="T1"/>
                  </a:cxn>
                  <a:cxn ang="0">
                    <a:pos x="T2" y="T3"/>
                  </a:cxn>
                  <a:cxn ang="0">
                    <a:pos x="T4" y="T5"/>
                  </a:cxn>
                  <a:cxn ang="0">
                    <a:pos x="T6" y="T7"/>
                  </a:cxn>
                  <a:cxn ang="0">
                    <a:pos x="T8" y="T9"/>
                  </a:cxn>
                </a:cxnLst>
                <a:rect l="0" t="0" r="r" b="b"/>
                <a:pathLst>
                  <a:path w="42" h="50">
                    <a:moveTo>
                      <a:pt x="0" y="50"/>
                    </a:moveTo>
                    <a:lnTo>
                      <a:pt x="0" y="50"/>
                    </a:lnTo>
                    <a:lnTo>
                      <a:pt x="42" y="0"/>
                    </a:lnTo>
                    <a:lnTo>
                      <a:pt x="42" y="47"/>
                    </a:lnTo>
                    <a:lnTo>
                      <a:pt x="0" y="5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480" name="Freeform 504"/>
              <p:cNvSpPr>
                <a:spLocks/>
              </p:cNvSpPr>
              <p:nvPr/>
            </p:nvSpPr>
            <p:spPr bwMode="auto">
              <a:xfrm>
                <a:off x="-920750" y="6819900"/>
                <a:ext cx="66675" cy="268288"/>
              </a:xfrm>
              <a:custGeom>
                <a:avLst/>
                <a:gdLst>
                  <a:gd name="T0" fmla="*/ 42 w 42"/>
                  <a:gd name="T1" fmla="*/ 169 h 169"/>
                  <a:gd name="T2" fmla="*/ 0 w 42"/>
                  <a:gd name="T3" fmla="*/ 3 h 169"/>
                  <a:gd name="T4" fmla="*/ 42 w 42"/>
                  <a:gd name="T5" fmla="*/ 0 h 169"/>
                  <a:gd name="T6" fmla="*/ 42 w 42"/>
                  <a:gd name="T7" fmla="*/ 169 h 169"/>
                </a:gdLst>
                <a:ahLst/>
                <a:cxnLst>
                  <a:cxn ang="0">
                    <a:pos x="T0" y="T1"/>
                  </a:cxn>
                  <a:cxn ang="0">
                    <a:pos x="T2" y="T3"/>
                  </a:cxn>
                  <a:cxn ang="0">
                    <a:pos x="T4" y="T5"/>
                  </a:cxn>
                  <a:cxn ang="0">
                    <a:pos x="T6" y="T7"/>
                  </a:cxn>
                </a:cxnLst>
                <a:rect l="0" t="0" r="r" b="b"/>
                <a:pathLst>
                  <a:path w="42" h="169">
                    <a:moveTo>
                      <a:pt x="42" y="169"/>
                    </a:moveTo>
                    <a:lnTo>
                      <a:pt x="0" y="3"/>
                    </a:lnTo>
                    <a:lnTo>
                      <a:pt x="42" y="0"/>
                    </a:lnTo>
                    <a:lnTo>
                      <a:pt x="42" y="16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grpSp>
        <p:sp>
          <p:nvSpPr>
            <p:cNvPr id="280" name="AutoShape 303"/>
            <p:cNvSpPr>
              <a:spLocks noChangeArrowheads="1" noTextEdit="1"/>
            </p:cNvSpPr>
            <p:nvPr/>
          </p:nvSpPr>
          <p:spPr bwMode="auto">
            <a:xfrm>
              <a:off x="749301" y="-1"/>
              <a:ext cx="8961438" cy="6721475"/>
            </a:xfrm>
            <a:prstGeom prst="rect">
              <a:avLst/>
            </a:prstGeom>
            <a:solidFill>
              <a:schemeClr val="accent4">
                <a:alpha val="83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grpSp>
      <p:sp>
        <p:nvSpPr>
          <p:cNvPr id="483" name="AutoShape 250"/>
          <p:cNvSpPr>
            <a:spLocks noChangeArrowheads="1"/>
          </p:cNvSpPr>
          <p:nvPr/>
        </p:nvSpPr>
        <p:spPr bwMode="auto">
          <a:xfrm>
            <a:off x="119064" y="776540"/>
            <a:ext cx="951583" cy="234285"/>
          </a:xfrm>
          <a:prstGeom prst="leftRightArrow">
            <a:avLst>
              <a:gd name="adj1" fmla="val 100000"/>
              <a:gd name="adj2" fmla="val 0"/>
            </a:avLst>
          </a:prstGeom>
          <a:noFill/>
          <a:ln>
            <a:noFill/>
          </a:ln>
          <a:effectLst/>
        </p:spPr>
        <p:txBody>
          <a:bodyPr wrap="square" lIns="0" tIns="0" rIns="0" bIns="18659" anchor="b">
            <a:spAutoFit/>
          </a:bodyPr>
          <a:lstStyle/>
          <a:p>
            <a:pPr>
              <a:defRPr/>
            </a:pPr>
            <a:r>
              <a:rPr lang="zh-CN" sz="1400" dirty="0">
                <a:solidFill>
                  <a:srgbClr val="FFCA21"/>
                </a:solidFill>
                <a:latin typeface="+mn-lt"/>
                <a:ea typeface="楷体" panose="02010609060101010101" pitchFamily="49" charset="-122"/>
                <a:cs typeface="SimSun"/>
              </a:rPr>
              <a:t>特性</a:t>
            </a:r>
          </a:p>
        </p:txBody>
      </p:sp>
      <p:sp>
        <p:nvSpPr>
          <p:cNvPr id="484" name="Rectangle 27"/>
          <p:cNvSpPr>
            <a:spLocks/>
          </p:cNvSpPr>
          <p:nvPr/>
        </p:nvSpPr>
        <p:spPr>
          <a:xfrm>
            <a:off x="1265291" y="1093059"/>
            <a:ext cx="7533269" cy="5230260"/>
          </a:xfrm>
          <a:custGeom>
            <a:avLst/>
            <a:gdLst>
              <a:gd name="connsiteX0" fmla="*/ 0 w 930255"/>
              <a:gd name="connsiteY0" fmla="*/ 0 h 614332"/>
              <a:gd name="connsiteX1" fmla="*/ 930255 w 930255"/>
              <a:gd name="connsiteY1" fmla="*/ 0 h 614332"/>
              <a:gd name="connsiteX2" fmla="*/ 930255 w 930255"/>
              <a:gd name="connsiteY2" fmla="*/ 614332 h 614332"/>
              <a:gd name="connsiteX3" fmla="*/ 0 w 930255"/>
              <a:gd name="connsiteY3" fmla="*/ 614332 h 614332"/>
              <a:gd name="connsiteX4" fmla="*/ 0 w 930255"/>
              <a:gd name="connsiteY4" fmla="*/ 0 h 614332"/>
              <a:gd name="connsiteX0" fmla="*/ 930255 w 1021695"/>
              <a:gd name="connsiteY0" fmla="*/ 614332 h 705772"/>
              <a:gd name="connsiteX1" fmla="*/ 0 w 1021695"/>
              <a:gd name="connsiteY1" fmla="*/ 614332 h 705772"/>
              <a:gd name="connsiteX2" fmla="*/ 0 w 1021695"/>
              <a:gd name="connsiteY2" fmla="*/ 0 h 705772"/>
              <a:gd name="connsiteX3" fmla="*/ 930255 w 1021695"/>
              <a:gd name="connsiteY3" fmla="*/ 0 h 705772"/>
              <a:gd name="connsiteX4" fmla="*/ 1021695 w 1021695"/>
              <a:gd name="connsiteY4" fmla="*/ 705772 h 705772"/>
              <a:gd name="connsiteX0" fmla="*/ 930255 w 930255"/>
              <a:gd name="connsiteY0" fmla="*/ 614332 h 614332"/>
              <a:gd name="connsiteX1" fmla="*/ 0 w 930255"/>
              <a:gd name="connsiteY1" fmla="*/ 614332 h 614332"/>
              <a:gd name="connsiteX2" fmla="*/ 0 w 930255"/>
              <a:gd name="connsiteY2" fmla="*/ 0 h 614332"/>
              <a:gd name="connsiteX3" fmla="*/ 930255 w 930255"/>
              <a:gd name="connsiteY3" fmla="*/ 0 h 614332"/>
              <a:gd name="connsiteX0" fmla="*/ 0 w 930255"/>
              <a:gd name="connsiteY0" fmla="*/ 614332 h 614332"/>
              <a:gd name="connsiteX1" fmla="*/ 0 w 930255"/>
              <a:gd name="connsiteY1" fmla="*/ 0 h 614332"/>
              <a:gd name="connsiteX2" fmla="*/ 930255 w 930255"/>
              <a:gd name="connsiteY2" fmla="*/ 0 h 614332"/>
            </a:gdLst>
            <a:ahLst/>
            <a:cxnLst>
              <a:cxn ang="0">
                <a:pos x="connsiteX0" y="connsiteY0"/>
              </a:cxn>
              <a:cxn ang="0">
                <a:pos x="connsiteX1" y="connsiteY1"/>
              </a:cxn>
              <a:cxn ang="0">
                <a:pos x="connsiteX2" y="connsiteY2"/>
              </a:cxn>
            </a:cxnLst>
            <a:rect l="l" t="t" r="r" b="b"/>
            <a:pathLst>
              <a:path w="930255" h="614332">
                <a:moveTo>
                  <a:pt x="0" y="614332"/>
                </a:moveTo>
                <a:lnTo>
                  <a:pt x="0" y="0"/>
                </a:lnTo>
                <a:lnTo>
                  <a:pt x="930255" y="0"/>
                </a:lnTo>
              </a:path>
            </a:pathLst>
          </a:custGeom>
          <a:ln w="3175">
            <a:solidFill>
              <a:srgbClr val="FFCA2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dirty="0" err="1">
              <a:ea typeface="楷体" panose="02010609060101010101" pitchFamily="49" charset="-122"/>
            </a:endParaRPr>
          </a:p>
        </p:txBody>
      </p:sp>
      <p:sp>
        <p:nvSpPr>
          <p:cNvPr id="485" name="AutoShape 250"/>
          <p:cNvSpPr>
            <a:spLocks noChangeArrowheads="1"/>
          </p:cNvSpPr>
          <p:nvPr/>
        </p:nvSpPr>
        <p:spPr bwMode="auto">
          <a:xfrm>
            <a:off x="1374210" y="775923"/>
            <a:ext cx="3025386" cy="234285"/>
          </a:xfrm>
          <a:prstGeom prst="leftRightArrow">
            <a:avLst>
              <a:gd name="adj1" fmla="val 100000"/>
              <a:gd name="adj2" fmla="val 0"/>
            </a:avLst>
          </a:prstGeom>
          <a:noFill/>
          <a:ln>
            <a:noFill/>
          </a:ln>
          <a:effectLst/>
        </p:spPr>
        <p:txBody>
          <a:bodyPr lIns="0" tIns="0" rIns="0" bIns="18659" anchor="b">
            <a:spAutoFit/>
          </a:bodyPr>
          <a:lstStyle/>
          <a:p>
            <a:pPr>
              <a:defRPr/>
            </a:pPr>
            <a:r>
              <a:rPr lang="zh-CN" sz="1400" dirty="0">
                <a:solidFill>
                  <a:srgbClr val="FFCA21"/>
                </a:solidFill>
                <a:latin typeface="+mn-lt"/>
                <a:ea typeface="楷体" panose="02010609060101010101" pitchFamily="49" charset="-122"/>
                <a:cs typeface="SimSun"/>
              </a:rPr>
              <a:t>描述</a:t>
            </a:r>
          </a:p>
        </p:txBody>
      </p:sp>
      <p:sp>
        <p:nvSpPr>
          <p:cNvPr id="2" name="Title 1"/>
          <p:cNvSpPr>
            <a:spLocks noGrp="1"/>
          </p:cNvSpPr>
          <p:nvPr>
            <p:ph type="title"/>
          </p:nvPr>
        </p:nvSpPr>
        <p:spPr>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zh-CN" altLang="en-US" dirty="0">
                <a:solidFill>
                  <a:schemeClr val="bg1"/>
                </a:solidFill>
                <a:latin typeface="+mn-lt"/>
                <a:ea typeface="楷体" panose="02010609060101010101" pitchFamily="49" charset="-122"/>
                <a:cs typeface="SimSun"/>
              </a:rPr>
              <a:t>深度学习如今为何飞速发展？</a:t>
            </a:r>
            <a:r>
              <a:rPr lang="zh-CN" dirty="0">
                <a:solidFill>
                  <a:schemeClr val="bg1"/>
                </a:solidFill>
                <a:latin typeface="+mn-lt"/>
                <a:ea typeface="楷体" panose="02010609060101010101" pitchFamily="49" charset="-122"/>
                <a:cs typeface="SimSun"/>
              </a:rPr>
              <a:t>(3/3)</a:t>
            </a:r>
          </a:p>
        </p:txBody>
      </p:sp>
      <p:sp>
        <p:nvSpPr>
          <p:cNvPr id="106"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zh-CN" sz="800" dirty="0">
                <a:solidFill>
                  <a:schemeClr val="bg1"/>
                </a:solidFill>
                <a:latin typeface="+mn-lt"/>
                <a:ea typeface="楷体" panose="02010609060101010101" pitchFamily="49" charset="-122"/>
                <a:cs typeface="SimSun"/>
              </a:rPr>
              <a:t>资料来源：PD# 842342</a:t>
            </a:r>
          </a:p>
        </p:txBody>
      </p:sp>
      <p:sp>
        <p:nvSpPr>
          <p:cNvPr id="499" name="Text Placeholder 2"/>
          <p:cNvSpPr>
            <a:spLocks noGrp="1"/>
          </p:cNvSpPr>
          <p:nvPr>
            <p:custDataLst>
              <p:tags r:id="rId1"/>
            </p:custDataLst>
          </p:nvPr>
        </p:nvSpPr>
        <p:spPr bwMode="gray">
          <a:xfrm>
            <a:off x="5267325" y="5597525"/>
            <a:ext cx="2667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dirty="0">
                <a:ea typeface="楷体" panose="02010609060101010101" pitchFamily="49" charset="-122"/>
                <a:cs typeface="SimSun"/>
              </a:rPr>
              <a:t> </a:t>
            </a:r>
            <a:fld id="{806DCDB1-BA31-4A70-BC81-02DFB5F97B5C}" type="datetime'''''''''''''''''''67'''''''''''''''''''''''''''''">
              <a:rPr lang="en-US" altLang="en-US" sz="1100" smtClean="0">
                <a:solidFill>
                  <a:schemeClr val="bg1"/>
                </a:solidFill>
                <a:ea typeface="楷体" panose="02010609060101010101" pitchFamily="49" charset="-122"/>
                <a:sym typeface="+mn-lt"/>
              </a:rPr>
              <a:pPr algn="ctr"/>
              <a:t>67</a:t>
            </a:fld>
            <a:r>
              <a:rPr lang="zh-CN" dirty="0">
                <a:ea typeface="楷体" panose="02010609060101010101" pitchFamily="49" charset="-122"/>
                <a:cs typeface="SimSun"/>
              </a:rPr>
              <a:t> </a:t>
            </a:r>
            <a:endParaRPr lang="zh-CN" sz="1100" dirty="0">
              <a:solidFill>
                <a:schemeClr val="bg1"/>
              </a:solidFill>
              <a:ea typeface="楷体" panose="02010609060101010101" pitchFamily="49" charset="-122"/>
              <a:sym typeface="+mn-lt"/>
            </a:endParaRPr>
          </a:p>
        </p:txBody>
      </p:sp>
      <p:sp>
        <p:nvSpPr>
          <p:cNvPr id="496" name="Text Placeholder 2"/>
          <p:cNvSpPr>
            <a:spLocks noGrp="1"/>
          </p:cNvSpPr>
          <p:nvPr>
            <p:custDataLst>
              <p:tags r:id="rId2"/>
            </p:custDataLst>
          </p:nvPr>
        </p:nvSpPr>
        <p:spPr bwMode="gray">
          <a:xfrm>
            <a:off x="7496175" y="5054600"/>
            <a:ext cx="34448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dirty="0">
                <a:ea typeface="楷体" panose="02010609060101010101" pitchFamily="49" charset="-122"/>
                <a:cs typeface="SimSun"/>
              </a:rPr>
              <a:t> </a:t>
            </a:r>
            <a:fld id="{0CE613C3-E3DE-4A2A-8FB4-5CC070048915}" type="datetime'''''''''''''''''30''7'''''''''''''''''''">
              <a:rPr lang="en-US" altLang="en-US" sz="1100" smtClean="0">
                <a:solidFill>
                  <a:schemeClr val="bg1"/>
                </a:solidFill>
                <a:ea typeface="楷体" panose="02010609060101010101" pitchFamily="49" charset="-122"/>
                <a:sym typeface="+mn-lt"/>
              </a:rPr>
              <a:pPr algn="ctr"/>
              <a:t>307</a:t>
            </a:fld>
            <a:r>
              <a:rPr lang="zh-CN" dirty="0">
                <a:ea typeface="楷体" panose="02010609060101010101" pitchFamily="49" charset="-122"/>
                <a:cs typeface="SimSun"/>
              </a:rPr>
              <a:t> </a:t>
            </a:r>
            <a:endParaRPr lang="zh-CN" sz="1100" dirty="0">
              <a:solidFill>
                <a:schemeClr val="bg1"/>
              </a:solidFill>
              <a:ea typeface="楷体" panose="02010609060101010101" pitchFamily="49" charset="-122"/>
              <a:sym typeface="+mn-lt"/>
            </a:endParaRPr>
          </a:p>
        </p:txBody>
      </p:sp>
      <p:sp>
        <p:nvSpPr>
          <p:cNvPr id="497" name="Text Placeholder 2"/>
          <p:cNvSpPr>
            <a:spLocks noGrp="1"/>
          </p:cNvSpPr>
          <p:nvPr>
            <p:custDataLst>
              <p:tags r:id="rId3"/>
            </p:custDataLst>
          </p:nvPr>
        </p:nvSpPr>
        <p:spPr bwMode="gray">
          <a:xfrm>
            <a:off x="6738938" y="5302250"/>
            <a:ext cx="34448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dirty="0">
                <a:ea typeface="楷体" panose="02010609060101010101" pitchFamily="49" charset="-122"/>
                <a:cs typeface="SimSun"/>
              </a:rPr>
              <a:t> </a:t>
            </a:r>
            <a:fld id="{57EA8906-5788-4F91-B943-9033D179954D}" type="datetime'''''''''1''''''''''''''''''''9''''''''6'''''">
              <a:rPr lang="en-US" altLang="en-US" sz="1100" smtClean="0">
                <a:solidFill>
                  <a:schemeClr val="bg1"/>
                </a:solidFill>
                <a:ea typeface="楷体" panose="02010609060101010101" pitchFamily="49" charset="-122"/>
                <a:sym typeface="+mn-lt"/>
              </a:rPr>
              <a:pPr algn="ctr"/>
              <a:t>196</a:t>
            </a:fld>
            <a:r>
              <a:rPr lang="zh-CN" dirty="0">
                <a:ea typeface="楷体" panose="02010609060101010101" pitchFamily="49" charset="-122"/>
                <a:cs typeface="SimSun"/>
              </a:rPr>
              <a:t> </a:t>
            </a:r>
            <a:endParaRPr lang="zh-CN" sz="1100" dirty="0">
              <a:solidFill>
                <a:schemeClr val="bg1"/>
              </a:solidFill>
              <a:ea typeface="楷体" panose="02010609060101010101" pitchFamily="49" charset="-122"/>
              <a:sym typeface="+mn-lt"/>
            </a:endParaRPr>
          </a:p>
        </p:txBody>
      </p:sp>
      <p:sp>
        <p:nvSpPr>
          <p:cNvPr id="498" name="Text Placeholder 2"/>
          <p:cNvSpPr>
            <a:spLocks noGrp="1"/>
          </p:cNvSpPr>
          <p:nvPr>
            <p:custDataLst>
              <p:tags r:id="rId4"/>
            </p:custDataLst>
          </p:nvPr>
        </p:nvSpPr>
        <p:spPr bwMode="gray">
          <a:xfrm>
            <a:off x="5981700" y="5454650"/>
            <a:ext cx="34448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dirty="0">
                <a:ea typeface="楷体" panose="02010609060101010101" pitchFamily="49" charset="-122"/>
                <a:cs typeface="SimSun"/>
              </a:rPr>
              <a:t> </a:t>
            </a:r>
            <a:fld id="{C52AE851-4D38-437A-A266-DA6A196C0D6F}" type="datetime'''''''''''''1''''3''''''1'''''''''''''''''''">
              <a:rPr lang="en-US" altLang="en-US" sz="1100" smtClean="0">
                <a:solidFill>
                  <a:schemeClr val="bg1"/>
                </a:solidFill>
                <a:ea typeface="楷体" panose="02010609060101010101" pitchFamily="49" charset="-122"/>
                <a:sym typeface="+mn-lt"/>
              </a:rPr>
              <a:pPr algn="ctr"/>
              <a:t>131</a:t>
            </a:fld>
            <a:r>
              <a:rPr lang="zh-CN" dirty="0">
                <a:ea typeface="楷体" panose="02010609060101010101" pitchFamily="49" charset="-122"/>
                <a:cs typeface="SimSun"/>
              </a:rPr>
              <a:t> </a:t>
            </a:r>
            <a:endParaRPr lang="zh-CN" sz="1100" dirty="0">
              <a:solidFill>
                <a:schemeClr val="bg1"/>
              </a:solidFill>
              <a:ea typeface="楷体" panose="02010609060101010101" pitchFamily="49" charset="-122"/>
              <a:sym typeface="+mn-lt"/>
            </a:endParaRPr>
          </a:p>
        </p:txBody>
      </p:sp>
      <p:sp>
        <p:nvSpPr>
          <p:cNvPr id="113" name="Text Placeholder 2"/>
          <p:cNvSpPr>
            <a:spLocks noGrp="1"/>
          </p:cNvSpPr>
          <p:nvPr>
            <p:custDataLst>
              <p:tags r:id="rId5"/>
            </p:custDataLst>
          </p:nvPr>
        </p:nvSpPr>
        <p:spPr bwMode="auto">
          <a:xfrm>
            <a:off x="5991225" y="6024563"/>
            <a:ext cx="323850"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r>
              <a:rPr lang="zh-CN" altLang="en-US" sz="1100" dirty="0">
                <a:solidFill>
                  <a:schemeClr val="bg1"/>
                </a:solidFill>
                <a:ea typeface="楷体" panose="02010609060101010101" pitchFamily="49" charset="-122"/>
                <a:cs typeface="SimSun"/>
                <a:sym typeface="+mn-lt"/>
              </a:rPr>
              <a:t>20</a:t>
            </a:r>
            <a:fld id="{70557F28-BBA2-4622-B015-432DD802DDDD}" type="datetime'1''''''2'''''''''''''''''''''''''''''''''''''''''''''''">
              <a:rPr lang="en-US" altLang="en-US" sz="1100">
                <a:solidFill>
                  <a:schemeClr val="bg1"/>
                </a:solidFill>
                <a:ea typeface="楷体" panose="02010609060101010101" pitchFamily="49" charset="-122"/>
              </a:rPr>
              <a:pPr/>
              <a:t>12</a:t>
            </a:fld>
            <a:endParaRPr lang="zh-CN" sz="1100" dirty="0">
              <a:solidFill>
                <a:schemeClr val="bg1"/>
              </a:solidFill>
              <a:ea typeface="楷体" panose="02010609060101010101" pitchFamily="49" charset="-122"/>
              <a:sym typeface="+mn-lt"/>
            </a:endParaRPr>
          </a:p>
        </p:txBody>
      </p:sp>
      <p:sp>
        <p:nvSpPr>
          <p:cNvPr id="495" name="Text Placeholder 2"/>
          <p:cNvSpPr>
            <a:spLocks noGrp="1"/>
          </p:cNvSpPr>
          <p:nvPr>
            <p:custDataLst>
              <p:tags r:id="rId6"/>
            </p:custDataLst>
          </p:nvPr>
        </p:nvSpPr>
        <p:spPr bwMode="gray">
          <a:xfrm>
            <a:off x="8248650" y="4845050"/>
            <a:ext cx="34448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dirty="0">
                <a:ea typeface="楷体" panose="02010609060101010101" pitchFamily="49" charset="-122"/>
                <a:cs typeface="SimSun"/>
              </a:rPr>
              <a:t> </a:t>
            </a:r>
            <a:fld id="{6E704F9D-E818-48F7-8F81-41D9FDBCA8D0}" type="datetime'''''3''''''''''''''''''9''''''''7'''''''''''''''''''''''">
              <a:rPr lang="en-US" altLang="en-US" sz="1100" smtClean="0">
                <a:solidFill>
                  <a:schemeClr val="bg1"/>
                </a:solidFill>
                <a:ea typeface="楷体" panose="02010609060101010101" pitchFamily="49" charset="-122"/>
                <a:sym typeface="+mn-lt"/>
              </a:rPr>
              <a:pPr algn="ctr"/>
              <a:t>397</a:t>
            </a:fld>
            <a:r>
              <a:rPr lang="zh-CN" dirty="0">
                <a:ea typeface="楷体" panose="02010609060101010101" pitchFamily="49" charset="-122"/>
                <a:cs typeface="SimSun"/>
              </a:rPr>
              <a:t> </a:t>
            </a:r>
            <a:endParaRPr lang="zh-CN" sz="1100" dirty="0">
              <a:solidFill>
                <a:schemeClr val="bg1"/>
              </a:solidFill>
              <a:ea typeface="楷体" panose="02010609060101010101" pitchFamily="49" charset="-122"/>
              <a:sym typeface="+mn-lt"/>
            </a:endParaRPr>
          </a:p>
        </p:txBody>
      </p:sp>
      <p:sp>
        <p:nvSpPr>
          <p:cNvPr id="112" name="Text Placeholder 2"/>
          <p:cNvSpPr>
            <a:spLocks noGrp="1"/>
          </p:cNvSpPr>
          <p:nvPr>
            <p:custDataLst>
              <p:tags r:id="rId7"/>
            </p:custDataLst>
          </p:nvPr>
        </p:nvSpPr>
        <p:spPr bwMode="auto">
          <a:xfrm>
            <a:off x="6748463" y="6024563"/>
            <a:ext cx="323850"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r>
              <a:rPr lang="zh-CN" altLang="en-US" sz="1100" dirty="0">
                <a:solidFill>
                  <a:schemeClr val="bg1"/>
                </a:solidFill>
                <a:ea typeface="楷体" panose="02010609060101010101" pitchFamily="49" charset="-122"/>
                <a:cs typeface="SimSun"/>
                <a:sym typeface="+mn-lt"/>
              </a:rPr>
              <a:t>20</a:t>
            </a:r>
            <a:fld id="{34F8FC9C-A248-4FCC-B866-757A90102427}" type="datetime'''''''''''''''''''''1''''''''''''''''''''3'''''''''''''">
              <a:rPr lang="en-US" altLang="en-US" sz="1100">
                <a:solidFill>
                  <a:schemeClr val="bg1"/>
                </a:solidFill>
                <a:ea typeface="楷体" panose="02010609060101010101" pitchFamily="49" charset="-122"/>
              </a:rPr>
              <a:pPr/>
              <a:t>13</a:t>
            </a:fld>
            <a:endParaRPr lang="zh-CN" sz="1100" dirty="0">
              <a:solidFill>
                <a:schemeClr val="bg1"/>
              </a:solidFill>
              <a:ea typeface="楷体" panose="02010609060101010101" pitchFamily="49" charset="-122"/>
              <a:sym typeface="+mn-lt"/>
            </a:endParaRPr>
          </a:p>
        </p:txBody>
      </p:sp>
      <p:sp>
        <p:nvSpPr>
          <p:cNvPr id="109" name="Text Placeholder 2"/>
          <p:cNvSpPr>
            <a:spLocks noGrp="1"/>
          </p:cNvSpPr>
          <p:nvPr>
            <p:custDataLst>
              <p:tags r:id="rId8"/>
            </p:custDataLst>
          </p:nvPr>
        </p:nvSpPr>
        <p:spPr bwMode="auto">
          <a:xfrm>
            <a:off x="5238750" y="6024563"/>
            <a:ext cx="323850"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fld id="{6C0BB8F9-DD69-4094-817D-45FDC748D335}" type="datetime'''''''2''''''''''''''01''''''''''1'''''''''''''''''''''">
              <a:rPr lang="en-US" altLang="en-US" sz="1100">
                <a:solidFill>
                  <a:schemeClr val="bg1"/>
                </a:solidFill>
                <a:ea typeface="楷体" panose="02010609060101010101" pitchFamily="49" charset="-122"/>
              </a:rPr>
              <a:pPr/>
              <a:t>2011</a:t>
            </a:fld>
            <a:endParaRPr lang="zh-CN" sz="1100" dirty="0">
              <a:solidFill>
                <a:schemeClr val="bg1"/>
              </a:solidFill>
              <a:ea typeface="楷体" panose="02010609060101010101" pitchFamily="49" charset="-122"/>
              <a:sym typeface="+mn-lt"/>
            </a:endParaRPr>
          </a:p>
        </p:txBody>
      </p:sp>
      <p:sp>
        <p:nvSpPr>
          <p:cNvPr id="110" name="Text Placeholder 2"/>
          <p:cNvSpPr>
            <a:spLocks noGrp="1"/>
          </p:cNvSpPr>
          <p:nvPr>
            <p:custDataLst>
              <p:tags r:id="rId9"/>
            </p:custDataLst>
          </p:nvPr>
        </p:nvSpPr>
        <p:spPr bwMode="auto">
          <a:xfrm>
            <a:off x="8258175" y="6024563"/>
            <a:ext cx="323850"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fld id="{5E109E60-9D0C-4A0B-8705-3D7D89C27AD7}" type="datetime'''''''''''''2''''0''''''''''''''''''''''''''1''''''5'''''">
              <a:rPr lang="en-US" altLang="en-US" sz="1100">
                <a:solidFill>
                  <a:schemeClr val="bg1"/>
                </a:solidFill>
                <a:ea typeface="楷体" panose="02010609060101010101" pitchFamily="49" charset="-122"/>
              </a:rPr>
              <a:pPr/>
              <a:t>2015</a:t>
            </a:fld>
            <a:endParaRPr lang="zh-CN" sz="1100" dirty="0">
              <a:solidFill>
                <a:schemeClr val="bg1"/>
              </a:solidFill>
              <a:ea typeface="楷体" panose="02010609060101010101" pitchFamily="49" charset="-122"/>
              <a:sym typeface="+mn-lt"/>
            </a:endParaRPr>
          </a:p>
        </p:txBody>
      </p:sp>
      <p:sp>
        <p:nvSpPr>
          <p:cNvPr id="111" name="Text Placeholder 2"/>
          <p:cNvSpPr>
            <a:spLocks noGrp="1"/>
          </p:cNvSpPr>
          <p:nvPr>
            <p:custDataLst>
              <p:tags r:id="rId10"/>
            </p:custDataLst>
          </p:nvPr>
        </p:nvSpPr>
        <p:spPr bwMode="auto">
          <a:xfrm>
            <a:off x="7505700" y="6024563"/>
            <a:ext cx="323850"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r>
              <a:rPr lang="zh-CN" altLang="en-US" sz="1100" dirty="0">
                <a:solidFill>
                  <a:schemeClr val="bg1"/>
                </a:solidFill>
                <a:ea typeface="楷体" panose="02010609060101010101" pitchFamily="49" charset="-122"/>
                <a:cs typeface="SimSun"/>
                <a:sym typeface="+mn-lt"/>
              </a:rPr>
              <a:t>20</a:t>
            </a:r>
            <a:fld id="{4EE76CFB-B499-4BD5-893C-3C30BE863058}" type="datetime'''''''''''''''''''''''''''''''''''''''''''''1''''''4'''">
              <a:rPr lang="en-US" altLang="en-US" sz="1100">
                <a:solidFill>
                  <a:schemeClr val="bg1"/>
                </a:solidFill>
                <a:ea typeface="楷体" panose="02010609060101010101" pitchFamily="49" charset="-122"/>
              </a:rPr>
              <a:pPr/>
              <a:t>14</a:t>
            </a:fld>
            <a:endParaRPr lang="zh-CN" sz="1100" dirty="0">
              <a:solidFill>
                <a:schemeClr val="bg1"/>
              </a:solidFill>
              <a:ea typeface="楷体" panose="02010609060101010101" pitchFamily="49" charset="-122"/>
              <a:sym typeface="+mn-lt"/>
            </a:endParaRPr>
          </a:p>
        </p:txBody>
      </p:sp>
      <p:grpSp>
        <p:nvGrpSpPr>
          <p:cNvPr id="14" name="Group 13"/>
          <p:cNvGrpSpPr/>
          <p:nvPr/>
        </p:nvGrpSpPr>
        <p:grpSpPr>
          <a:xfrm>
            <a:off x="119064" y="4458521"/>
            <a:ext cx="8679496" cy="0"/>
            <a:chOff x="119064" y="4552950"/>
            <a:chExt cx="8679496" cy="0"/>
          </a:xfrm>
        </p:grpSpPr>
        <p:cxnSp>
          <p:nvCxnSpPr>
            <p:cNvPr id="107" name="Straight Connector 106"/>
            <p:cNvCxnSpPr>
              <a:cxnSpLocks/>
            </p:cNvCxnSpPr>
            <p:nvPr/>
          </p:nvCxnSpPr>
          <p:spPr bwMode="auto">
            <a:xfrm>
              <a:off x="1374210" y="4552950"/>
              <a:ext cx="7424350" cy="0"/>
            </a:xfrm>
            <a:prstGeom prst="line">
              <a:avLst/>
            </a:prstGeom>
            <a:ln w="9525">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a:cxnSpLocks/>
            </p:cNvCxnSpPr>
            <p:nvPr/>
          </p:nvCxnSpPr>
          <p:spPr bwMode="auto">
            <a:xfrm>
              <a:off x="119064" y="4552950"/>
              <a:ext cx="951583" cy="0"/>
            </a:xfrm>
            <a:prstGeom prst="line">
              <a:avLst/>
            </a:prstGeom>
            <a:ln w="3175">
              <a:solidFill>
                <a:srgbClr val="FFCA21"/>
              </a:solidFill>
            </a:ln>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119064" y="3160060"/>
            <a:ext cx="8553214" cy="900395"/>
            <a:chOff x="119064" y="3735165"/>
            <a:chExt cx="8553214" cy="900395"/>
          </a:xfrm>
        </p:grpSpPr>
        <p:grpSp>
          <p:nvGrpSpPr>
            <p:cNvPr id="9" name="Group 8"/>
            <p:cNvGrpSpPr/>
            <p:nvPr/>
          </p:nvGrpSpPr>
          <p:grpSpPr>
            <a:xfrm>
              <a:off x="119064" y="3735165"/>
              <a:ext cx="951583" cy="900395"/>
              <a:chOff x="119064" y="3735165"/>
              <a:chExt cx="951583" cy="900395"/>
            </a:xfrm>
          </p:grpSpPr>
          <p:sp>
            <p:nvSpPr>
              <p:cNvPr id="116" name="Freeform 115"/>
              <p:cNvSpPr>
                <a:spLocks/>
              </p:cNvSpPr>
              <p:nvPr/>
            </p:nvSpPr>
            <p:spPr bwMode="auto">
              <a:xfrm>
                <a:off x="119064" y="3735165"/>
                <a:ext cx="505114" cy="390971"/>
              </a:xfrm>
              <a:custGeom>
                <a:avLst/>
                <a:gdLst>
                  <a:gd name="connsiteX0" fmla="*/ 292101 w 611188"/>
                  <a:gd name="connsiteY0" fmla="*/ 187325 h 473075"/>
                  <a:gd name="connsiteX1" fmla="*/ 330201 w 611188"/>
                  <a:gd name="connsiteY1" fmla="*/ 187325 h 473075"/>
                  <a:gd name="connsiteX2" fmla="*/ 333376 w 611188"/>
                  <a:gd name="connsiteY2" fmla="*/ 188912 h 473075"/>
                  <a:gd name="connsiteX3" fmla="*/ 338138 w 611188"/>
                  <a:gd name="connsiteY3" fmla="*/ 192087 h 473075"/>
                  <a:gd name="connsiteX4" fmla="*/ 341313 w 611188"/>
                  <a:gd name="connsiteY4" fmla="*/ 195262 h 473075"/>
                  <a:gd name="connsiteX5" fmla="*/ 341313 w 611188"/>
                  <a:gd name="connsiteY5" fmla="*/ 200025 h 473075"/>
                  <a:gd name="connsiteX6" fmla="*/ 341313 w 611188"/>
                  <a:gd name="connsiteY6" fmla="*/ 323850 h 473075"/>
                  <a:gd name="connsiteX7" fmla="*/ 417513 w 611188"/>
                  <a:gd name="connsiteY7" fmla="*/ 323850 h 473075"/>
                  <a:gd name="connsiteX8" fmla="*/ 420688 w 611188"/>
                  <a:gd name="connsiteY8" fmla="*/ 323850 h 473075"/>
                  <a:gd name="connsiteX9" fmla="*/ 425450 w 611188"/>
                  <a:gd name="connsiteY9" fmla="*/ 327025 h 473075"/>
                  <a:gd name="connsiteX10" fmla="*/ 425450 w 611188"/>
                  <a:gd name="connsiteY10" fmla="*/ 330200 h 473075"/>
                  <a:gd name="connsiteX11" fmla="*/ 423863 w 611188"/>
                  <a:gd name="connsiteY11" fmla="*/ 336550 h 473075"/>
                  <a:gd name="connsiteX12" fmla="*/ 319088 w 611188"/>
                  <a:gd name="connsiteY12" fmla="*/ 468313 h 473075"/>
                  <a:gd name="connsiteX13" fmla="*/ 315913 w 611188"/>
                  <a:gd name="connsiteY13" fmla="*/ 473075 h 473075"/>
                  <a:gd name="connsiteX14" fmla="*/ 311150 w 611188"/>
                  <a:gd name="connsiteY14" fmla="*/ 473075 h 473075"/>
                  <a:gd name="connsiteX15" fmla="*/ 306388 w 611188"/>
                  <a:gd name="connsiteY15" fmla="*/ 473075 h 473075"/>
                  <a:gd name="connsiteX16" fmla="*/ 303213 w 611188"/>
                  <a:gd name="connsiteY16" fmla="*/ 468313 h 473075"/>
                  <a:gd name="connsiteX17" fmla="*/ 198438 w 611188"/>
                  <a:gd name="connsiteY17" fmla="*/ 336550 h 473075"/>
                  <a:gd name="connsiteX18" fmla="*/ 196850 w 611188"/>
                  <a:gd name="connsiteY18" fmla="*/ 330200 h 473075"/>
                  <a:gd name="connsiteX19" fmla="*/ 196850 w 611188"/>
                  <a:gd name="connsiteY19" fmla="*/ 327025 h 473075"/>
                  <a:gd name="connsiteX20" fmla="*/ 198438 w 611188"/>
                  <a:gd name="connsiteY20" fmla="*/ 323850 h 473075"/>
                  <a:gd name="connsiteX21" fmla="*/ 204788 w 611188"/>
                  <a:gd name="connsiteY21" fmla="*/ 323850 h 473075"/>
                  <a:gd name="connsiteX22" fmla="*/ 280988 w 611188"/>
                  <a:gd name="connsiteY22" fmla="*/ 323850 h 473075"/>
                  <a:gd name="connsiteX23" fmla="*/ 280988 w 611188"/>
                  <a:gd name="connsiteY23" fmla="*/ 200025 h 473075"/>
                  <a:gd name="connsiteX24" fmla="*/ 280988 w 611188"/>
                  <a:gd name="connsiteY24" fmla="*/ 195262 h 473075"/>
                  <a:gd name="connsiteX25" fmla="*/ 284163 w 611188"/>
                  <a:gd name="connsiteY25" fmla="*/ 192087 h 473075"/>
                  <a:gd name="connsiteX26" fmla="*/ 288926 w 611188"/>
                  <a:gd name="connsiteY26" fmla="*/ 188912 h 473075"/>
                  <a:gd name="connsiteX27" fmla="*/ 312738 w 611188"/>
                  <a:gd name="connsiteY27" fmla="*/ 0 h 473075"/>
                  <a:gd name="connsiteX28" fmla="*/ 358776 w 611188"/>
                  <a:gd name="connsiteY28" fmla="*/ 6350 h 473075"/>
                  <a:gd name="connsiteX29" fmla="*/ 400051 w 611188"/>
                  <a:gd name="connsiteY29" fmla="*/ 22225 h 473075"/>
                  <a:gd name="connsiteX30" fmla="*/ 438151 w 611188"/>
                  <a:gd name="connsiteY30" fmla="*/ 49212 h 473075"/>
                  <a:gd name="connsiteX31" fmla="*/ 466726 w 611188"/>
                  <a:gd name="connsiteY31" fmla="*/ 80962 h 473075"/>
                  <a:gd name="connsiteX32" fmla="*/ 485776 w 611188"/>
                  <a:gd name="connsiteY32" fmla="*/ 122237 h 473075"/>
                  <a:gd name="connsiteX33" fmla="*/ 496888 w 611188"/>
                  <a:gd name="connsiteY33" fmla="*/ 166687 h 473075"/>
                  <a:gd name="connsiteX34" fmla="*/ 533401 w 611188"/>
                  <a:gd name="connsiteY34" fmla="*/ 177800 h 473075"/>
                  <a:gd name="connsiteX35" fmla="*/ 565151 w 611188"/>
                  <a:gd name="connsiteY35" fmla="*/ 196850 h 473075"/>
                  <a:gd name="connsiteX36" fmla="*/ 590551 w 611188"/>
                  <a:gd name="connsiteY36" fmla="*/ 223837 h 473075"/>
                  <a:gd name="connsiteX37" fmla="*/ 604838 w 611188"/>
                  <a:gd name="connsiteY37" fmla="*/ 258762 h 473075"/>
                  <a:gd name="connsiteX38" fmla="*/ 611188 w 611188"/>
                  <a:gd name="connsiteY38" fmla="*/ 295275 h 473075"/>
                  <a:gd name="connsiteX39" fmla="*/ 606426 w 611188"/>
                  <a:gd name="connsiteY39" fmla="*/ 330200 h 473075"/>
                  <a:gd name="connsiteX40" fmla="*/ 592138 w 611188"/>
                  <a:gd name="connsiteY40" fmla="*/ 361950 h 473075"/>
                  <a:gd name="connsiteX41" fmla="*/ 571501 w 611188"/>
                  <a:gd name="connsiteY41" fmla="*/ 388938 h 473075"/>
                  <a:gd name="connsiteX42" fmla="*/ 546101 w 611188"/>
                  <a:gd name="connsiteY42" fmla="*/ 409575 h 473075"/>
                  <a:gd name="connsiteX43" fmla="*/ 514351 w 611188"/>
                  <a:gd name="connsiteY43" fmla="*/ 420688 h 473075"/>
                  <a:gd name="connsiteX44" fmla="*/ 481013 w 611188"/>
                  <a:gd name="connsiteY44" fmla="*/ 425450 h 473075"/>
                  <a:gd name="connsiteX45" fmla="*/ 442913 w 611188"/>
                  <a:gd name="connsiteY45" fmla="*/ 425450 h 473075"/>
                  <a:gd name="connsiteX46" fmla="*/ 438151 w 611188"/>
                  <a:gd name="connsiteY46" fmla="*/ 425450 h 473075"/>
                  <a:gd name="connsiteX47" fmla="*/ 431801 w 611188"/>
                  <a:gd name="connsiteY47" fmla="*/ 420688 h 473075"/>
                  <a:gd name="connsiteX48" fmla="*/ 428626 w 611188"/>
                  <a:gd name="connsiteY48" fmla="*/ 417513 h 473075"/>
                  <a:gd name="connsiteX49" fmla="*/ 427038 w 611188"/>
                  <a:gd name="connsiteY49" fmla="*/ 409575 h 473075"/>
                  <a:gd name="connsiteX50" fmla="*/ 428626 w 611188"/>
                  <a:gd name="connsiteY50" fmla="*/ 403225 h 473075"/>
                  <a:gd name="connsiteX51" fmla="*/ 431801 w 611188"/>
                  <a:gd name="connsiteY51" fmla="*/ 398463 h 473075"/>
                  <a:gd name="connsiteX52" fmla="*/ 438151 w 611188"/>
                  <a:gd name="connsiteY52" fmla="*/ 395288 h 473075"/>
                  <a:gd name="connsiteX53" fmla="*/ 442913 w 611188"/>
                  <a:gd name="connsiteY53" fmla="*/ 393700 h 473075"/>
                  <a:gd name="connsiteX54" fmla="*/ 481013 w 611188"/>
                  <a:gd name="connsiteY54" fmla="*/ 393700 h 473075"/>
                  <a:gd name="connsiteX55" fmla="*/ 511176 w 611188"/>
                  <a:gd name="connsiteY55" fmla="*/ 388938 h 473075"/>
                  <a:gd name="connsiteX56" fmla="*/ 539751 w 611188"/>
                  <a:gd name="connsiteY56" fmla="*/ 374650 h 473075"/>
                  <a:gd name="connsiteX57" fmla="*/ 560388 w 611188"/>
                  <a:gd name="connsiteY57" fmla="*/ 354013 h 473075"/>
                  <a:gd name="connsiteX58" fmla="*/ 574676 w 611188"/>
                  <a:gd name="connsiteY58" fmla="*/ 327025 h 473075"/>
                  <a:gd name="connsiteX59" fmla="*/ 577851 w 611188"/>
                  <a:gd name="connsiteY59" fmla="*/ 295275 h 473075"/>
                  <a:gd name="connsiteX60" fmla="*/ 574676 w 611188"/>
                  <a:gd name="connsiteY60" fmla="*/ 265112 h 473075"/>
                  <a:gd name="connsiteX61" fmla="*/ 560388 w 611188"/>
                  <a:gd name="connsiteY61" fmla="*/ 238125 h 473075"/>
                  <a:gd name="connsiteX62" fmla="*/ 539751 w 611188"/>
                  <a:gd name="connsiteY62" fmla="*/ 217487 h 473075"/>
                  <a:gd name="connsiteX63" fmla="*/ 512763 w 611188"/>
                  <a:gd name="connsiteY63" fmla="*/ 203200 h 473075"/>
                  <a:gd name="connsiteX64" fmla="*/ 482601 w 611188"/>
                  <a:gd name="connsiteY64" fmla="*/ 196850 h 473075"/>
                  <a:gd name="connsiteX65" fmla="*/ 476251 w 611188"/>
                  <a:gd name="connsiteY65" fmla="*/ 196850 h 473075"/>
                  <a:gd name="connsiteX66" fmla="*/ 469901 w 611188"/>
                  <a:gd name="connsiteY66" fmla="*/ 193675 h 473075"/>
                  <a:gd name="connsiteX67" fmla="*/ 468313 w 611188"/>
                  <a:gd name="connsiteY67" fmla="*/ 188912 h 473075"/>
                  <a:gd name="connsiteX68" fmla="*/ 466726 w 611188"/>
                  <a:gd name="connsiteY68" fmla="*/ 182562 h 473075"/>
                  <a:gd name="connsiteX69" fmla="*/ 460376 w 611188"/>
                  <a:gd name="connsiteY69" fmla="*/ 142875 h 473075"/>
                  <a:gd name="connsiteX70" fmla="*/ 442913 w 611188"/>
                  <a:gd name="connsiteY70" fmla="*/ 106362 h 473075"/>
                  <a:gd name="connsiteX71" fmla="*/ 419101 w 611188"/>
                  <a:gd name="connsiteY71" fmla="*/ 77787 h 473075"/>
                  <a:gd name="connsiteX72" fmla="*/ 388938 w 611188"/>
                  <a:gd name="connsiteY72" fmla="*/ 52387 h 473075"/>
                  <a:gd name="connsiteX73" fmla="*/ 352426 w 611188"/>
                  <a:gd name="connsiteY73" fmla="*/ 38100 h 473075"/>
                  <a:gd name="connsiteX74" fmla="*/ 312738 w 611188"/>
                  <a:gd name="connsiteY74" fmla="*/ 31750 h 473075"/>
                  <a:gd name="connsiteX75" fmla="*/ 273050 w 611188"/>
                  <a:gd name="connsiteY75" fmla="*/ 38100 h 473075"/>
                  <a:gd name="connsiteX76" fmla="*/ 238125 w 611188"/>
                  <a:gd name="connsiteY76" fmla="*/ 52387 h 473075"/>
                  <a:gd name="connsiteX77" fmla="*/ 207963 w 611188"/>
                  <a:gd name="connsiteY77" fmla="*/ 74612 h 473075"/>
                  <a:gd name="connsiteX78" fmla="*/ 182562 w 611188"/>
                  <a:gd name="connsiteY78" fmla="*/ 103187 h 473075"/>
                  <a:gd name="connsiteX79" fmla="*/ 166687 w 611188"/>
                  <a:gd name="connsiteY79" fmla="*/ 139700 h 473075"/>
                  <a:gd name="connsiteX80" fmla="*/ 161925 w 611188"/>
                  <a:gd name="connsiteY80" fmla="*/ 146050 h 473075"/>
                  <a:gd name="connsiteX81" fmla="*/ 160337 w 611188"/>
                  <a:gd name="connsiteY81" fmla="*/ 149225 h 473075"/>
                  <a:gd name="connsiteX82" fmla="*/ 157162 w 611188"/>
                  <a:gd name="connsiteY82" fmla="*/ 150812 h 473075"/>
                  <a:gd name="connsiteX83" fmla="*/ 150812 w 611188"/>
                  <a:gd name="connsiteY83" fmla="*/ 152400 h 473075"/>
                  <a:gd name="connsiteX84" fmla="*/ 114300 w 611188"/>
                  <a:gd name="connsiteY84" fmla="*/ 158750 h 473075"/>
                  <a:gd name="connsiteX85" fmla="*/ 80962 w 611188"/>
                  <a:gd name="connsiteY85" fmla="*/ 177800 h 473075"/>
                  <a:gd name="connsiteX86" fmla="*/ 53975 w 611188"/>
                  <a:gd name="connsiteY86" fmla="*/ 203200 h 473075"/>
                  <a:gd name="connsiteX87" fmla="*/ 38100 w 611188"/>
                  <a:gd name="connsiteY87" fmla="*/ 236537 h 473075"/>
                  <a:gd name="connsiteX88" fmla="*/ 31750 w 611188"/>
                  <a:gd name="connsiteY88" fmla="*/ 273050 h 473075"/>
                  <a:gd name="connsiteX89" fmla="*/ 38100 w 611188"/>
                  <a:gd name="connsiteY89" fmla="*/ 311150 h 473075"/>
                  <a:gd name="connsiteX90" fmla="*/ 53975 w 611188"/>
                  <a:gd name="connsiteY90" fmla="*/ 344488 h 473075"/>
                  <a:gd name="connsiteX91" fmla="*/ 80962 w 611188"/>
                  <a:gd name="connsiteY91" fmla="*/ 369888 h 473075"/>
                  <a:gd name="connsiteX92" fmla="*/ 114300 w 611188"/>
                  <a:gd name="connsiteY92" fmla="*/ 387350 h 473075"/>
                  <a:gd name="connsiteX93" fmla="*/ 152400 w 611188"/>
                  <a:gd name="connsiteY93" fmla="*/ 393700 h 473075"/>
                  <a:gd name="connsiteX94" fmla="*/ 179387 w 611188"/>
                  <a:gd name="connsiteY94" fmla="*/ 393700 h 473075"/>
                  <a:gd name="connsiteX95" fmla="*/ 184150 w 611188"/>
                  <a:gd name="connsiteY95" fmla="*/ 395288 h 473075"/>
                  <a:gd name="connsiteX96" fmla="*/ 188912 w 611188"/>
                  <a:gd name="connsiteY96" fmla="*/ 398463 h 473075"/>
                  <a:gd name="connsiteX97" fmla="*/ 193675 w 611188"/>
                  <a:gd name="connsiteY97" fmla="*/ 403225 h 473075"/>
                  <a:gd name="connsiteX98" fmla="*/ 195262 w 611188"/>
                  <a:gd name="connsiteY98" fmla="*/ 409575 h 473075"/>
                  <a:gd name="connsiteX99" fmla="*/ 193675 w 611188"/>
                  <a:gd name="connsiteY99" fmla="*/ 417513 h 473075"/>
                  <a:gd name="connsiteX100" fmla="*/ 188912 w 611188"/>
                  <a:gd name="connsiteY100" fmla="*/ 420688 h 473075"/>
                  <a:gd name="connsiteX101" fmla="*/ 184150 w 611188"/>
                  <a:gd name="connsiteY101" fmla="*/ 425450 h 473075"/>
                  <a:gd name="connsiteX102" fmla="*/ 179387 w 611188"/>
                  <a:gd name="connsiteY102" fmla="*/ 425450 h 473075"/>
                  <a:gd name="connsiteX103" fmla="*/ 152400 w 611188"/>
                  <a:gd name="connsiteY103" fmla="*/ 425450 h 473075"/>
                  <a:gd name="connsiteX104" fmla="*/ 111125 w 611188"/>
                  <a:gd name="connsiteY104" fmla="*/ 420688 h 473075"/>
                  <a:gd name="connsiteX105" fmla="*/ 74612 w 611188"/>
                  <a:gd name="connsiteY105" fmla="*/ 404813 h 473075"/>
                  <a:gd name="connsiteX106" fmla="*/ 44450 w 611188"/>
                  <a:gd name="connsiteY106" fmla="*/ 381000 h 473075"/>
                  <a:gd name="connsiteX107" fmla="*/ 20637 w 611188"/>
                  <a:gd name="connsiteY107" fmla="*/ 350838 h 473075"/>
                  <a:gd name="connsiteX108" fmla="*/ 3175 w 611188"/>
                  <a:gd name="connsiteY108" fmla="*/ 312737 h 473075"/>
                  <a:gd name="connsiteX109" fmla="*/ 0 w 611188"/>
                  <a:gd name="connsiteY109" fmla="*/ 273050 h 473075"/>
                  <a:gd name="connsiteX110" fmla="*/ 3175 w 611188"/>
                  <a:gd name="connsiteY110" fmla="*/ 233362 h 473075"/>
                  <a:gd name="connsiteX111" fmla="*/ 17462 w 611188"/>
                  <a:gd name="connsiteY111" fmla="*/ 200025 h 473075"/>
                  <a:gd name="connsiteX112" fmla="*/ 39687 w 611188"/>
                  <a:gd name="connsiteY112" fmla="*/ 168275 h 473075"/>
                  <a:gd name="connsiteX113" fmla="*/ 66675 w 611188"/>
                  <a:gd name="connsiteY113" fmla="*/ 146050 h 473075"/>
                  <a:gd name="connsiteX114" fmla="*/ 101600 w 611188"/>
                  <a:gd name="connsiteY114" fmla="*/ 128587 h 473075"/>
                  <a:gd name="connsiteX115" fmla="*/ 138112 w 611188"/>
                  <a:gd name="connsiteY115" fmla="*/ 120650 h 473075"/>
                  <a:gd name="connsiteX116" fmla="*/ 158750 w 611188"/>
                  <a:gd name="connsiteY116" fmla="*/ 79375 h 473075"/>
                  <a:gd name="connsiteX117" fmla="*/ 188912 w 611188"/>
                  <a:gd name="connsiteY117" fmla="*/ 46037 h 473075"/>
                  <a:gd name="connsiteX118" fmla="*/ 225425 w 611188"/>
                  <a:gd name="connsiteY118" fmla="*/ 22225 h 473075"/>
                  <a:gd name="connsiteX119" fmla="*/ 266700 w 611188"/>
                  <a:gd name="connsiteY119" fmla="*/ 6350 h 473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11188" h="473075">
                    <a:moveTo>
                      <a:pt x="292101" y="187325"/>
                    </a:moveTo>
                    <a:lnTo>
                      <a:pt x="330201" y="187325"/>
                    </a:lnTo>
                    <a:lnTo>
                      <a:pt x="333376" y="188912"/>
                    </a:lnTo>
                    <a:lnTo>
                      <a:pt x="338138" y="192087"/>
                    </a:lnTo>
                    <a:lnTo>
                      <a:pt x="341313" y="195262"/>
                    </a:lnTo>
                    <a:lnTo>
                      <a:pt x="341313" y="200025"/>
                    </a:lnTo>
                    <a:lnTo>
                      <a:pt x="341313" y="323850"/>
                    </a:lnTo>
                    <a:lnTo>
                      <a:pt x="417513" y="323850"/>
                    </a:lnTo>
                    <a:lnTo>
                      <a:pt x="420688" y="323850"/>
                    </a:lnTo>
                    <a:lnTo>
                      <a:pt x="425450" y="327025"/>
                    </a:lnTo>
                    <a:lnTo>
                      <a:pt x="425450" y="330200"/>
                    </a:lnTo>
                    <a:lnTo>
                      <a:pt x="423863" y="336550"/>
                    </a:lnTo>
                    <a:lnTo>
                      <a:pt x="319088" y="468313"/>
                    </a:lnTo>
                    <a:lnTo>
                      <a:pt x="315913" y="473075"/>
                    </a:lnTo>
                    <a:lnTo>
                      <a:pt x="311150" y="473075"/>
                    </a:lnTo>
                    <a:lnTo>
                      <a:pt x="306388" y="473075"/>
                    </a:lnTo>
                    <a:lnTo>
                      <a:pt x="303213" y="468313"/>
                    </a:lnTo>
                    <a:lnTo>
                      <a:pt x="198438" y="336550"/>
                    </a:lnTo>
                    <a:lnTo>
                      <a:pt x="196850" y="330200"/>
                    </a:lnTo>
                    <a:lnTo>
                      <a:pt x="196850" y="327025"/>
                    </a:lnTo>
                    <a:lnTo>
                      <a:pt x="198438" y="323850"/>
                    </a:lnTo>
                    <a:lnTo>
                      <a:pt x="204788" y="323850"/>
                    </a:lnTo>
                    <a:lnTo>
                      <a:pt x="280988" y="323850"/>
                    </a:lnTo>
                    <a:lnTo>
                      <a:pt x="280988" y="200025"/>
                    </a:lnTo>
                    <a:lnTo>
                      <a:pt x="280988" y="195262"/>
                    </a:lnTo>
                    <a:lnTo>
                      <a:pt x="284163" y="192087"/>
                    </a:lnTo>
                    <a:lnTo>
                      <a:pt x="288926" y="188912"/>
                    </a:lnTo>
                    <a:close/>
                    <a:moveTo>
                      <a:pt x="312738" y="0"/>
                    </a:moveTo>
                    <a:lnTo>
                      <a:pt x="358776" y="6350"/>
                    </a:lnTo>
                    <a:lnTo>
                      <a:pt x="400051" y="22225"/>
                    </a:lnTo>
                    <a:lnTo>
                      <a:pt x="438151" y="49212"/>
                    </a:lnTo>
                    <a:lnTo>
                      <a:pt x="466726" y="80962"/>
                    </a:lnTo>
                    <a:lnTo>
                      <a:pt x="485776" y="122237"/>
                    </a:lnTo>
                    <a:lnTo>
                      <a:pt x="496888" y="166687"/>
                    </a:lnTo>
                    <a:lnTo>
                      <a:pt x="533401" y="177800"/>
                    </a:lnTo>
                    <a:lnTo>
                      <a:pt x="565151" y="196850"/>
                    </a:lnTo>
                    <a:lnTo>
                      <a:pt x="590551" y="223837"/>
                    </a:lnTo>
                    <a:lnTo>
                      <a:pt x="604838" y="258762"/>
                    </a:lnTo>
                    <a:lnTo>
                      <a:pt x="611188" y="295275"/>
                    </a:lnTo>
                    <a:lnTo>
                      <a:pt x="606426" y="330200"/>
                    </a:lnTo>
                    <a:lnTo>
                      <a:pt x="592138" y="361950"/>
                    </a:lnTo>
                    <a:lnTo>
                      <a:pt x="571501" y="388938"/>
                    </a:lnTo>
                    <a:lnTo>
                      <a:pt x="546101" y="409575"/>
                    </a:lnTo>
                    <a:lnTo>
                      <a:pt x="514351" y="420688"/>
                    </a:lnTo>
                    <a:lnTo>
                      <a:pt x="481013" y="425450"/>
                    </a:lnTo>
                    <a:lnTo>
                      <a:pt x="442913" y="425450"/>
                    </a:lnTo>
                    <a:lnTo>
                      <a:pt x="438151" y="425450"/>
                    </a:lnTo>
                    <a:lnTo>
                      <a:pt x="431801" y="420688"/>
                    </a:lnTo>
                    <a:lnTo>
                      <a:pt x="428626" y="417513"/>
                    </a:lnTo>
                    <a:lnTo>
                      <a:pt x="427038" y="409575"/>
                    </a:lnTo>
                    <a:lnTo>
                      <a:pt x="428626" y="403225"/>
                    </a:lnTo>
                    <a:lnTo>
                      <a:pt x="431801" y="398463"/>
                    </a:lnTo>
                    <a:lnTo>
                      <a:pt x="438151" y="395288"/>
                    </a:lnTo>
                    <a:lnTo>
                      <a:pt x="442913" y="393700"/>
                    </a:lnTo>
                    <a:lnTo>
                      <a:pt x="481013" y="393700"/>
                    </a:lnTo>
                    <a:lnTo>
                      <a:pt x="511176" y="388938"/>
                    </a:lnTo>
                    <a:lnTo>
                      <a:pt x="539751" y="374650"/>
                    </a:lnTo>
                    <a:lnTo>
                      <a:pt x="560388" y="354013"/>
                    </a:lnTo>
                    <a:lnTo>
                      <a:pt x="574676" y="327025"/>
                    </a:lnTo>
                    <a:lnTo>
                      <a:pt x="577851" y="295275"/>
                    </a:lnTo>
                    <a:lnTo>
                      <a:pt x="574676" y="265112"/>
                    </a:lnTo>
                    <a:lnTo>
                      <a:pt x="560388" y="238125"/>
                    </a:lnTo>
                    <a:lnTo>
                      <a:pt x="539751" y="217487"/>
                    </a:lnTo>
                    <a:lnTo>
                      <a:pt x="512763" y="203200"/>
                    </a:lnTo>
                    <a:lnTo>
                      <a:pt x="482601" y="196850"/>
                    </a:lnTo>
                    <a:lnTo>
                      <a:pt x="476251" y="196850"/>
                    </a:lnTo>
                    <a:lnTo>
                      <a:pt x="469901" y="193675"/>
                    </a:lnTo>
                    <a:lnTo>
                      <a:pt x="468313" y="188912"/>
                    </a:lnTo>
                    <a:lnTo>
                      <a:pt x="466726" y="182562"/>
                    </a:lnTo>
                    <a:lnTo>
                      <a:pt x="460376" y="142875"/>
                    </a:lnTo>
                    <a:lnTo>
                      <a:pt x="442913" y="106362"/>
                    </a:lnTo>
                    <a:lnTo>
                      <a:pt x="419101" y="77787"/>
                    </a:lnTo>
                    <a:lnTo>
                      <a:pt x="388938" y="52387"/>
                    </a:lnTo>
                    <a:lnTo>
                      <a:pt x="352426" y="38100"/>
                    </a:lnTo>
                    <a:lnTo>
                      <a:pt x="312738" y="31750"/>
                    </a:lnTo>
                    <a:lnTo>
                      <a:pt x="273050" y="38100"/>
                    </a:lnTo>
                    <a:lnTo>
                      <a:pt x="238125" y="52387"/>
                    </a:lnTo>
                    <a:lnTo>
                      <a:pt x="207963" y="74612"/>
                    </a:lnTo>
                    <a:lnTo>
                      <a:pt x="182562" y="103187"/>
                    </a:lnTo>
                    <a:lnTo>
                      <a:pt x="166687" y="139700"/>
                    </a:lnTo>
                    <a:lnTo>
                      <a:pt x="161925" y="146050"/>
                    </a:lnTo>
                    <a:lnTo>
                      <a:pt x="160337" y="149225"/>
                    </a:lnTo>
                    <a:lnTo>
                      <a:pt x="157162" y="150812"/>
                    </a:lnTo>
                    <a:lnTo>
                      <a:pt x="150812" y="152400"/>
                    </a:lnTo>
                    <a:lnTo>
                      <a:pt x="114300" y="158750"/>
                    </a:lnTo>
                    <a:lnTo>
                      <a:pt x="80962" y="177800"/>
                    </a:lnTo>
                    <a:lnTo>
                      <a:pt x="53975" y="203200"/>
                    </a:lnTo>
                    <a:lnTo>
                      <a:pt x="38100" y="236537"/>
                    </a:lnTo>
                    <a:lnTo>
                      <a:pt x="31750" y="273050"/>
                    </a:lnTo>
                    <a:lnTo>
                      <a:pt x="38100" y="311150"/>
                    </a:lnTo>
                    <a:lnTo>
                      <a:pt x="53975" y="344488"/>
                    </a:lnTo>
                    <a:lnTo>
                      <a:pt x="80962" y="369888"/>
                    </a:lnTo>
                    <a:lnTo>
                      <a:pt x="114300" y="387350"/>
                    </a:lnTo>
                    <a:lnTo>
                      <a:pt x="152400" y="393700"/>
                    </a:lnTo>
                    <a:lnTo>
                      <a:pt x="179387" y="393700"/>
                    </a:lnTo>
                    <a:lnTo>
                      <a:pt x="184150" y="395288"/>
                    </a:lnTo>
                    <a:lnTo>
                      <a:pt x="188912" y="398463"/>
                    </a:lnTo>
                    <a:lnTo>
                      <a:pt x="193675" y="403225"/>
                    </a:lnTo>
                    <a:lnTo>
                      <a:pt x="195262" y="409575"/>
                    </a:lnTo>
                    <a:lnTo>
                      <a:pt x="193675" y="417513"/>
                    </a:lnTo>
                    <a:lnTo>
                      <a:pt x="188912" y="420688"/>
                    </a:lnTo>
                    <a:lnTo>
                      <a:pt x="184150" y="425450"/>
                    </a:lnTo>
                    <a:lnTo>
                      <a:pt x="179387" y="425450"/>
                    </a:lnTo>
                    <a:lnTo>
                      <a:pt x="152400" y="425450"/>
                    </a:lnTo>
                    <a:lnTo>
                      <a:pt x="111125" y="420688"/>
                    </a:lnTo>
                    <a:lnTo>
                      <a:pt x="74612" y="404813"/>
                    </a:lnTo>
                    <a:lnTo>
                      <a:pt x="44450" y="381000"/>
                    </a:lnTo>
                    <a:lnTo>
                      <a:pt x="20637" y="350838"/>
                    </a:lnTo>
                    <a:lnTo>
                      <a:pt x="3175" y="312737"/>
                    </a:lnTo>
                    <a:lnTo>
                      <a:pt x="0" y="273050"/>
                    </a:lnTo>
                    <a:lnTo>
                      <a:pt x="3175" y="233362"/>
                    </a:lnTo>
                    <a:lnTo>
                      <a:pt x="17462" y="200025"/>
                    </a:lnTo>
                    <a:lnTo>
                      <a:pt x="39687" y="168275"/>
                    </a:lnTo>
                    <a:lnTo>
                      <a:pt x="66675" y="146050"/>
                    </a:lnTo>
                    <a:lnTo>
                      <a:pt x="101600" y="128587"/>
                    </a:lnTo>
                    <a:lnTo>
                      <a:pt x="138112" y="120650"/>
                    </a:lnTo>
                    <a:lnTo>
                      <a:pt x="158750" y="79375"/>
                    </a:lnTo>
                    <a:lnTo>
                      <a:pt x="188912" y="46037"/>
                    </a:lnTo>
                    <a:lnTo>
                      <a:pt x="225425" y="22225"/>
                    </a:lnTo>
                    <a:lnTo>
                      <a:pt x="266700" y="6350"/>
                    </a:lnTo>
                    <a:close/>
                  </a:path>
                </a:pathLst>
              </a:custGeom>
              <a:solidFill>
                <a:srgbClr val="FFCA2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200" dirty="0">
                  <a:solidFill>
                    <a:schemeClr val="bg1"/>
                  </a:solidFill>
                  <a:latin typeface="+mn-lt"/>
                  <a:ea typeface="楷体" panose="02010609060101010101" pitchFamily="49" charset="-122"/>
                </a:endParaRPr>
              </a:p>
            </p:txBody>
          </p:sp>
          <p:sp>
            <p:nvSpPr>
              <p:cNvPr id="123" name="TextBox 122"/>
              <p:cNvSpPr txBox="1">
                <a:spLocks/>
              </p:cNvSpPr>
              <p:nvPr/>
            </p:nvSpPr>
            <p:spPr>
              <a:xfrm>
                <a:off x="119064" y="4401275"/>
                <a:ext cx="951583" cy="234285"/>
              </a:xfrm>
              <a:prstGeom prst="rect">
                <a:avLst/>
              </a:prstGeom>
              <a:noFill/>
              <a:ln>
                <a:noFill/>
              </a:ln>
              <a:effectLst/>
            </p:spPr>
            <p:txBody>
              <a:bodyPr wrap="square" lIns="0" tIns="0" rIns="0" bIns="18659" anchor="b">
                <a:spAutoFit/>
              </a:bodyPr>
              <a:lstStyle>
                <a:defPPr>
                  <a:defRPr lang="en-US"/>
                </a:defPPr>
                <a:lvl1pPr>
                  <a:defRPr sz="1400">
                    <a:solidFill>
                      <a:srgbClr val="FFCA21"/>
                    </a:solidFill>
                    <a:latin typeface="Georgia" panose="02040502050405020303" pitchFamily="18" charset="0"/>
                    <a:cs typeface="Times New Roman" panose="02020603050405020304" pitchFamily="18" charset="0"/>
                  </a:defRPr>
                </a:lvl1pPr>
              </a:lstStyle>
              <a:p>
                <a:r>
                  <a:rPr lang="zh-CN" dirty="0">
                    <a:latin typeface="+mn-lt"/>
                    <a:ea typeface="楷体" panose="02010609060101010101" pitchFamily="49" charset="-122"/>
                    <a:cs typeface="SimSun"/>
                  </a:rPr>
                  <a:t>云服务</a:t>
                </a:r>
              </a:p>
            </p:txBody>
          </p:sp>
        </p:grpSp>
        <p:sp>
          <p:nvSpPr>
            <p:cNvPr id="125" name="TextBox 124"/>
            <p:cNvSpPr txBox="1"/>
            <p:nvPr/>
          </p:nvSpPr>
          <p:spPr>
            <a:xfrm>
              <a:off x="1374210" y="3735165"/>
              <a:ext cx="7298068" cy="55015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5000"/>
                </a:spcBef>
                <a:buClr>
                  <a:schemeClr val="bg1"/>
                </a:buClr>
              </a:pPr>
              <a:r>
                <a:rPr lang="zh-CN" sz="1100" dirty="0">
                  <a:solidFill>
                    <a:schemeClr val="bg1"/>
                  </a:solidFill>
                  <a:ea typeface="楷体" panose="02010609060101010101" pitchFamily="49" charset="-122"/>
                  <a:cs typeface="SimSun"/>
                </a:rPr>
                <a:t>业内领先的云提供商所提供的基于云的深度学习基础设施及服务，极大地推动了开发人员对深度学习的利用</a:t>
              </a:r>
            </a:p>
            <a:p>
              <a:pPr lvl="1">
                <a:spcBef>
                  <a:spcPct val="25000"/>
                </a:spcBef>
                <a:buClr>
                  <a:schemeClr val="bg1"/>
                </a:buClr>
              </a:pPr>
              <a:r>
                <a:rPr lang="zh-CN" sz="1100" dirty="0">
                  <a:solidFill>
                    <a:schemeClr val="bg1"/>
                  </a:solidFill>
                  <a:ea typeface="楷体" panose="02010609060101010101" pitchFamily="49" charset="-122"/>
                  <a:cs typeface="SimSun"/>
                </a:rPr>
                <a:t>谷歌、亚马逊、微软、IBM均提供</a:t>
              </a:r>
              <a:r>
                <a:rPr lang="zh-CN" sz="1100" b="1" dirty="0">
                  <a:solidFill>
                    <a:schemeClr val="bg1"/>
                  </a:solidFill>
                  <a:ea typeface="楷体" panose="02010609060101010101" pitchFamily="49" charset="-122"/>
                  <a:cs typeface="SimSun"/>
                </a:rPr>
                <a:t>基于云的基础设施</a:t>
              </a:r>
              <a:r>
                <a:rPr lang="zh-CN" sz="1100" dirty="0">
                  <a:solidFill>
                    <a:schemeClr val="bg1"/>
                  </a:solidFill>
                  <a:ea typeface="楷体" panose="02010609060101010101" pitchFamily="49" charset="-122"/>
                  <a:cs typeface="SimSun"/>
                </a:rPr>
                <a:t>（建模和迭代环境、可扩展的‘GPU即服务’及相关管理服务）以及</a:t>
              </a:r>
              <a:r>
                <a:rPr lang="zh-CN" sz="1100" b="1" dirty="0">
                  <a:solidFill>
                    <a:schemeClr val="bg1"/>
                  </a:solidFill>
                  <a:ea typeface="楷体" panose="02010609060101010101" pitchFamily="49" charset="-122"/>
                  <a:cs typeface="SimSun"/>
                </a:rPr>
                <a:t>基于云的深度学习</a:t>
              </a:r>
              <a:r>
                <a:rPr lang="zh-CN" sz="1100" dirty="0">
                  <a:solidFill>
                    <a:schemeClr val="bg1"/>
                  </a:solidFill>
                  <a:ea typeface="楷体" panose="02010609060101010101" pitchFamily="49" charset="-122"/>
                  <a:cs typeface="SimSun"/>
                </a:rPr>
                <a:t>（从图像识别到语言翻译），降低了建立机器学习能力的成本和难度</a:t>
              </a:r>
            </a:p>
          </p:txBody>
        </p:sp>
      </p:grpSp>
      <p:grpSp>
        <p:nvGrpSpPr>
          <p:cNvPr id="13" name="Group 12"/>
          <p:cNvGrpSpPr/>
          <p:nvPr/>
        </p:nvGrpSpPr>
        <p:grpSpPr>
          <a:xfrm>
            <a:off x="119064" y="4699000"/>
            <a:ext cx="8679496" cy="1116934"/>
            <a:chOff x="119064" y="4594225"/>
            <a:chExt cx="8679496" cy="1116934"/>
          </a:xfrm>
        </p:grpSpPr>
        <p:sp>
          <p:nvSpPr>
            <p:cNvPr id="114" name="TextBox 113"/>
            <p:cNvSpPr txBox="1">
              <a:spLocks/>
            </p:cNvSpPr>
            <p:nvPr/>
          </p:nvSpPr>
          <p:spPr>
            <a:xfrm>
              <a:off x="5026381" y="4594225"/>
              <a:ext cx="3772179" cy="234285"/>
            </a:xfrm>
            <a:prstGeom prst="rect">
              <a:avLst/>
            </a:prstGeom>
            <a:noFill/>
            <a:ln>
              <a:noFill/>
            </a:ln>
            <a:effectLst/>
          </p:spPr>
          <p:txBody>
            <a:bodyPr lIns="0" tIns="0" rIns="0" bIns="18659" anchor="t">
              <a:spAutoFit/>
            </a:bodyPr>
            <a:lstStyle>
              <a:defPPr>
                <a:defRPr lang="en-US"/>
              </a:defPPr>
              <a:lvl1pPr>
                <a:defRPr sz="1400">
                  <a:solidFill>
                    <a:srgbClr val="FFCA21"/>
                  </a:solidFill>
                  <a:latin typeface="Georgia" panose="02040502050405020303" pitchFamily="18" charset="0"/>
                  <a:cs typeface="Times New Roman" panose="02020603050405020304" pitchFamily="18" charset="0"/>
                </a:defRPr>
              </a:lvl1pPr>
            </a:lstStyle>
            <a:p>
              <a:r>
                <a:rPr lang="zh-CN" dirty="0">
                  <a:latin typeface="+mn-lt"/>
                  <a:ea typeface="楷体" panose="02010609060101010101" pitchFamily="49" charset="-122"/>
                  <a:cs typeface="SimSun"/>
                </a:rPr>
                <a:t>人工智能股权融资交易数量</a:t>
              </a:r>
            </a:p>
          </p:txBody>
        </p:sp>
        <p:grpSp>
          <p:nvGrpSpPr>
            <p:cNvPr id="12" name="Group 11"/>
            <p:cNvGrpSpPr/>
            <p:nvPr/>
          </p:nvGrpSpPr>
          <p:grpSpPr>
            <a:xfrm>
              <a:off x="119064" y="4594225"/>
              <a:ext cx="951583" cy="1116934"/>
              <a:chOff x="119064" y="5028755"/>
              <a:chExt cx="951583" cy="1116934"/>
            </a:xfrm>
          </p:grpSpPr>
          <p:grpSp>
            <p:nvGrpSpPr>
              <p:cNvPr id="117" name="Group 116"/>
              <p:cNvGrpSpPr/>
              <p:nvPr/>
            </p:nvGrpSpPr>
            <p:grpSpPr>
              <a:xfrm>
                <a:off x="119064" y="5028755"/>
                <a:ext cx="420847" cy="419100"/>
                <a:chOff x="-1731962" y="4749800"/>
                <a:chExt cx="382588" cy="381000"/>
              </a:xfrm>
              <a:solidFill>
                <a:srgbClr val="FFCA21"/>
              </a:solidFill>
            </p:grpSpPr>
            <p:sp>
              <p:nvSpPr>
                <p:cNvPr id="118" name="Freeform 483"/>
                <p:cNvSpPr>
                  <a:spLocks noEditPoints="1"/>
                </p:cNvSpPr>
                <p:nvPr/>
              </p:nvSpPr>
              <p:spPr bwMode="auto">
                <a:xfrm>
                  <a:off x="-1731962" y="4749800"/>
                  <a:ext cx="382588" cy="381000"/>
                </a:xfrm>
                <a:custGeom>
                  <a:avLst/>
                  <a:gdLst>
                    <a:gd name="T0" fmla="*/ 191 w 480"/>
                    <a:gd name="T1" fmla="*/ 7 h 481"/>
                    <a:gd name="T2" fmla="*/ 106 w 480"/>
                    <a:gd name="T3" fmla="*/ 42 h 481"/>
                    <a:gd name="T4" fmla="*/ 42 w 480"/>
                    <a:gd name="T5" fmla="*/ 106 h 481"/>
                    <a:gd name="T6" fmla="*/ 4 w 480"/>
                    <a:gd name="T7" fmla="*/ 193 h 481"/>
                    <a:gd name="T8" fmla="*/ 4 w 480"/>
                    <a:gd name="T9" fmla="*/ 290 h 481"/>
                    <a:gd name="T10" fmla="*/ 42 w 480"/>
                    <a:gd name="T11" fmla="*/ 375 h 481"/>
                    <a:gd name="T12" fmla="*/ 106 w 480"/>
                    <a:gd name="T13" fmla="*/ 439 h 481"/>
                    <a:gd name="T14" fmla="*/ 191 w 480"/>
                    <a:gd name="T15" fmla="*/ 477 h 481"/>
                    <a:gd name="T16" fmla="*/ 289 w 480"/>
                    <a:gd name="T17" fmla="*/ 477 h 481"/>
                    <a:gd name="T18" fmla="*/ 375 w 480"/>
                    <a:gd name="T19" fmla="*/ 439 h 481"/>
                    <a:gd name="T20" fmla="*/ 438 w 480"/>
                    <a:gd name="T21" fmla="*/ 375 h 481"/>
                    <a:gd name="T22" fmla="*/ 476 w 480"/>
                    <a:gd name="T23" fmla="*/ 290 h 481"/>
                    <a:gd name="T24" fmla="*/ 476 w 480"/>
                    <a:gd name="T25" fmla="*/ 193 h 481"/>
                    <a:gd name="T26" fmla="*/ 438 w 480"/>
                    <a:gd name="T27" fmla="*/ 106 h 481"/>
                    <a:gd name="T28" fmla="*/ 375 w 480"/>
                    <a:gd name="T29" fmla="*/ 42 h 481"/>
                    <a:gd name="T30" fmla="*/ 289 w 480"/>
                    <a:gd name="T31" fmla="*/ 7 h 481"/>
                    <a:gd name="T32" fmla="*/ 241 w 480"/>
                    <a:gd name="T33" fmla="*/ 428 h 481"/>
                    <a:gd name="T34" fmla="*/ 168 w 480"/>
                    <a:gd name="T35" fmla="*/ 413 h 481"/>
                    <a:gd name="T36" fmla="*/ 109 w 480"/>
                    <a:gd name="T37" fmla="*/ 372 h 481"/>
                    <a:gd name="T38" fmla="*/ 68 w 480"/>
                    <a:gd name="T39" fmla="*/ 313 h 481"/>
                    <a:gd name="T40" fmla="*/ 54 w 480"/>
                    <a:gd name="T41" fmla="*/ 242 h 481"/>
                    <a:gd name="T42" fmla="*/ 68 w 480"/>
                    <a:gd name="T43" fmla="*/ 168 h 481"/>
                    <a:gd name="T44" fmla="*/ 109 w 480"/>
                    <a:gd name="T45" fmla="*/ 109 h 481"/>
                    <a:gd name="T46" fmla="*/ 168 w 480"/>
                    <a:gd name="T47" fmla="*/ 69 h 481"/>
                    <a:gd name="T48" fmla="*/ 241 w 480"/>
                    <a:gd name="T49" fmla="*/ 55 h 481"/>
                    <a:gd name="T50" fmla="*/ 312 w 480"/>
                    <a:gd name="T51" fmla="*/ 69 h 481"/>
                    <a:gd name="T52" fmla="*/ 371 w 480"/>
                    <a:gd name="T53" fmla="*/ 109 h 481"/>
                    <a:gd name="T54" fmla="*/ 412 w 480"/>
                    <a:gd name="T55" fmla="*/ 168 h 481"/>
                    <a:gd name="T56" fmla="*/ 426 w 480"/>
                    <a:gd name="T57" fmla="*/ 242 h 481"/>
                    <a:gd name="T58" fmla="*/ 412 w 480"/>
                    <a:gd name="T59" fmla="*/ 313 h 481"/>
                    <a:gd name="T60" fmla="*/ 371 w 480"/>
                    <a:gd name="T61" fmla="*/ 372 h 481"/>
                    <a:gd name="T62" fmla="*/ 312 w 480"/>
                    <a:gd name="T63" fmla="*/ 413 h 481"/>
                    <a:gd name="T64" fmla="*/ 241 w 480"/>
                    <a:gd name="T65" fmla="*/ 428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481">
                      <a:moveTo>
                        <a:pt x="241" y="0"/>
                      </a:moveTo>
                      <a:lnTo>
                        <a:pt x="191" y="7"/>
                      </a:lnTo>
                      <a:lnTo>
                        <a:pt x="146" y="21"/>
                      </a:lnTo>
                      <a:lnTo>
                        <a:pt x="106" y="42"/>
                      </a:lnTo>
                      <a:lnTo>
                        <a:pt x="70" y="72"/>
                      </a:lnTo>
                      <a:lnTo>
                        <a:pt x="42" y="106"/>
                      </a:lnTo>
                      <a:lnTo>
                        <a:pt x="18" y="148"/>
                      </a:lnTo>
                      <a:lnTo>
                        <a:pt x="4" y="193"/>
                      </a:lnTo>
                      <a:lnTo>
                        <a:pt x="0" y="242"/>
                      </a:lnTo>
                      <a:lnTo>
                        <a:pt x="4" y="290"/>
                      </a:lnTo>
                      <a:lnTo>
                        <a:pt x="18" y="335"/>
                      </a:lnTo>
                      <a:lnTo>
                        <a:pt x="42" y="375"/>
                      </a:lnTo>
                      <a:lnTo>
                        <a:pt x="70" y="411"/>
                      </a:lnTo>
                      <a:lnTo>
                        <a:pt x="106" y="439"/>
                      </a:lnTo>
                      <a:lnTo>
                        <a:pt x="146" y="463"/>
                      </a:lnTo>
                      <a:lnTo>
                        <a:pt x="191" y="477"/>
                      </a:lnTo>
                      <a:lnTo>
                        <a:pt x="241" y="481"/>
                      </a:lnTo>
                      <a:lnTo>
                        <a:pt x="289" y="477"/>
                      </a:lnTo>
                      <a:lnTo>
                        <a:pt x="334" y="463"/>
                      </a:lnTo>
                      <a:lnTo>
                        <a:pt x="375" y="439"/>
                      </a:lnTo>
                      <a:lnTo>
                        <a:pt x="410" y="411"/>
                      </a:lnTo>
                      <a:lnTo>
                        <a:pt x="438" y="375"/>
                      </a:lnTo>
                      <a:lnTo>
                        <a:pt x="462" y="335"/>
                      </a:lnTo>
                      <a:lnTo>
                        <a:pt x="476" y="290"/>
                      </a:lnTo>
                      <a:lnTo>
                        <a:pt x="480" y="242"/>
                      </a:lnTo>
                      <a:lnTo>
                        <a:pt x="476" y="193"/>
                      </a:lnTo>
                      <a:lnTo>
                        <a:pt x="462" y="148"/>
                      </a:lnTo>
                      <a:lnTo>
                        <a:pt x="438" y="106"/>
                      </a:lnTo>
                      <a:lnTo>
                        <a:pt x="410" y="72"/>
                      </a:lnTo>
                      <a:lnTo>
                        <a:pt x="375" y="42"/>
                      </a:lnTo>
                      <a:lnTo>
                        <a:pt x="334" y="21"/>
                      </a:lnTo>
                      <a:lnTo>
                        <a:pt x="289" y="7"/>
                      </a:lnTo>
                      <a:lnTo>
                        <a:pt x="241" y="0"/>
                      </a:lnTo>
                      <a:close/>
                      <a:moveTo>
                        <a:pt x="241" y="428"/>
                      </a:moveTo>
                      <a:lnTo>
                        <a:pt x="202" y="424"/>
                      </a:lnTo>
                      <a:lnTo>
                        <a:pt x="168" y="413"/>
                      </a:lnTo>
                      <a:lnTo>
                        <a:pt x="135" y="396"/>
                      </a:lnTo>
                      <a:lnTo>
                        <a:pt x="109" y="372"/>
                      </a:lnTo>
                      <a:lnTo>
                        <a:pt x="85" y="346"/>
                      </a:lnTo>
                      <a:lnTo>
                        <a:pt x="68" y="313"/>
                      </a:lnTo>
                      <a:lnTo>
                        <a:pt x="57" y="279"/>
                      </a:lnTo>
                      <a:lnTo>
                        <a:pt x="54" y="242"/>
                      </a:lnTo>
                      <a:lnTo>
                        <a:pt x="57" y="203"/>
                      </a:lnTo>
                      <a:lnTo>
                        <a:pt x="68" y="168"/>
                      </a:lnTo>
                      <a:lnTo>
                        <a:pt x="85" y="137"/>
                      </a:lnTo>
                      <a:lnTo>
                        <a:pt x="109" y="109"/>
                      </a:lnTo>
                      <a:lnTo>
                        <a:pt x="135" y="86"/>
                      </a:lnTo>
                      <a:lnTo>
                        <a:pt x="168" y="69"/>
                      </a:lnTo>
                      <a:lnTo>
                        <a:pt x="202" y="58"/>
                      </a:lnTo>
                      <a:lnTo>
                        <a:pt x="241" y="55"/>
                      </a:lnTo>
                      <a:lnTo>
                        <a:pt x="278" y="58"/>
                      </a:lnTo>
                      <a:lnTo>
                        <a:pt x="312" y="69"/>
                      </a:lnTo>
                      <a:lnTo>
                        <a:pt x="345" y="86"/>
                      </a:lnTo>
                      <a:lnTo>
                        <a:pt x="371" y="109"/>
                      </a:lnTo>
                      <a:lnTo>
                        <a:pt x="395" y="137"/>
                      </a:lnTo>
                      <a:lnTo>
                        <a:pt x="412" y="168"/>
                      </a:lnTo>
                      <a:lnTo>
                        <a:pt x="423" y="203"/>
                      </a:lnTo>
                      <a:lnTo>
                        <a:pt x="426" y="242"/>
                      </a:lnTo>
                      <a:lnTo>
                        <a:pt x="423" y="279"/>
                      </a:lnTo>
                      <a:lnTo>
                        <a:pt x="412" y="313"/>
                      </a:lnTo>
                      <a:lnTo>
                        <a:pt x="395" y="346"/>
                      </a:lnTo>
                      <a:lnTo>
                        <a:pt x="371" y="372"/>
                      </a:lnTo>
                      <a:lnTo>
                        <a:pt x="345" y="396"/>
                      </a:lnTo>
                      <a:lnTo>
                        <a:pt x="312" y="413"/>
                      </a:lnTo>
                      <a:lnTo>
                        <a:pt x="278" y="424"/>
                      </a:lnTo>
                      <a:lnTo>
                        <a:pt x="241" y="4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solidFill>
                      <a:schemeClr val="bg1"/>
                    </a:solidFill>
                    <a:latin typeface="+mn-lt"/>
                    <a:ea typeface="楷体" panose="02010609060101010101" pitchFamily="49" charset="-122"/>
                  </a:endParaRPr>
                </a:p>
              </p:txBody>
            </p:sp>
            <p:sp>
              <p:nvSpPr>
                <p:cNvPr id="119" name="Freeform 484"/>
                <p:cNvSpPr>
                  <a:spLocks/>
                </p:cNvSpPr>
                <p:nvPr/>
              </p:nvSpPr>
              <p:spPr bwMode="auto">
                <a:xfrm>
                  <a:off x="-1560512" y="4889500"/>
                  <a:ext cx="11113" cy="28575"/>
                </a:xfrm>
                <a:custGeom>
                  <a:avLst/>
                  <a:gdLst>
                    <a:gd name="T0" fmla="*/ 4 w 16"/>
                    <a:gd name="T1" fmla="*/ 8 h 34"/>
                    <a:gd name="T2" fmla="*/ 2 w 16"/>
                    <a:gd name="T3" fmla="*/ 11 h 34"/>
                    <a:gd name="T4" fmla="*/ 0 w 16"/>
                    <a:gd name="T5" fmla="*/ 15 h 34"/>
                    <a:gd name="T6" fmla="*/ 2 w 16"/>
                    <a:gd name="T7" fmla="*/ 22 h 34"/>
                    <a:gd name="T8" fmla="*/ 4 w 16"/>
                    <a:gd name="T9" fmla="*/ 25 h 34"/>
                    <a:gd name="T10" fmla="*/ 7 w 16"/>
                    <a:gd name="T11" fmla="*/ 28 h 34"/>
                    <a:gd name="T12" fmla="*/ 11 w 16"/>
                    <a:gd name="T13" fmla="*/ 31 h 34"/>
                    <a:gd name="T14" fmla="*/ 16 w 16"/>
                    <a:gd name="T15" fmla="*/ 34 h 34"/>
                    <a:gd name="T16" fmla="*/ 16 w 16"/>
                    <a:gd name="T17" fmla="*/ 0 h 34"/>
                    <a:gd name="T18" fmla="*/ 13 w 16"/>
                    <a:gd name="T19" fmla="*/ 0 h 34"/>
                    <a:gd name="T20" fmla="*/ 11 w 16"/>
                    <a:gd name="T21" fmla="*/ 1 h 34"/>
                    <a:gd name="T22" fmla="*/ 7 w 16"/>
                    <a:gd name="T23" fmla="*/ 4 h 34"/>
                    <a:gd name="T24" fmla="*/ 4 w 16"/>
                    <a:gd name="T25"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34">
                      <a:moveTo>
                        <a:pt x="4" y="8"/>
                      </a:moveTo>
                      <a:lnTo>
                        <a:pt x="2" y="11"/>
                      </a:lnTo>
                      <a:lnTo>
                        <a:pt x="0" y="15"/>
                      </a:lnTo>
                      <a:lnTo>
                        <a:pt x="2" y="22"/>
                      </a:lnTo>
                      <a:lnTo>
                        <a:pt x="4" y="25"/>
                      </a:lnTo>
                      <a:lnTo>
                        <a:pt x="7" y="28"/>
                      </a:lnTo>
                      <a:lnTo>
                        <a:pt x="11" y="31"/>
                      </a:lnTo>
                      <a:lnTo>
                        <a:pt x="16" y="34"/>
                      </a:lnTo>
                      <a:lnTo>
                        <a:pt x="16" y="0"/>
                      </a:lnTo>
                      <a:lnTo>
                        <a:pt x="13" y="0"/>
                      </a:lnTo>
                      <a:lnTo>
                        <a:pt x="11" y="1"/>
                      </a:lnTo>
                      <a:lnTo>
                        <a:pt x="7" y="4"/>
                      </a:lnTo>
                      <a:lnTo>
                        <a:pt x="4" y="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solidFill>
                      <a:schemeClr val="bg1"/>
                    </a:solidFill>
                    <a:latin typeface="+mn-lt"/>
                    <a:ea typeface="楷体" panose="02010609060101010101" pitchFamily="49" charset="-122"/>
                  </a:endParaRPr>
                </a:p>
              </p:txBody>
            </p:sp>
            <p:sp>
              <p:nvSpPr>
                <p:cNvPr id="120" name="Freeform 485"/>
                <p:cNvSpPr>
                  <a:spLocks/>
                </p:cNvSpPr>
                <p:nvPr/>
              </p:nvSpPr>
              <p:spPr bwMode="auto">
                <a:xfrm>
                  <a:off x="-1524000" y="4960938"/>
                  <a:ext cx="11113" cy="28575"/>
                </a:xfrm>
                <a:custGeom>
                  <a:avLst/>
                  <a:gdLst>
                    <a:gd name="T0" fmla="*/ 5 w 14"/>
                    <a:gd name="T1" fmla="*/ 3 h 35"/>
                    <a:gd name="T2" fmla="*/ 0 w 14"/>
                    <a:gd name="T3" fmla="*/ 0 h 35"/>
                    <a:gd name="T4" fmla="*/ 0 w 14"/>
                    <a:gd name="T5" fmla="*/ 35 h 35"/>
                    <a:gd name="T6" fmla="*/ 5 w 14"/>
                    <a:gd name="T7" fmla="*/ 34 h 35"/>
                    <a:gd name="T8" fmla="*/ 8 w 14"/>
                    <a:gd name="T9" fmla="*/ 31 h 35"/>
                    <a:gd name="T10" fmla="*/ 11 w 14"/>
                    <a:gd name="T11" fmla="*/ 28 h 35"/>
                    <a:gd name="T12" fmla="*/ 13 w 14"/>
                    <a:gd name="T13" fmla="*/ 23 h 35"/>
                    <a:gd name="T14" fmla="*/ 14 w 14"/>
                    <a:gd name="T15" fmla="*/ 18 h 35"/>
                    <a:gd name="T16" fmla="*/ 13 w 14"/>
                    <a:gd name="T17" fmla="*/ 12 h 35"/>
                    <a:gd name="T18" fmla="*/ 9 w 14"/>
                    <a:gd name="T19" fmla="*/ 6 h 35"/>
                    <a:gd name="T20" fmla="*/ 5 w 14"/>
                    <a:gd name="T21"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35">
                      <a:moveTo>
                        <a:pt x="5" y="3"/>
                      </a:moveTo>
                      <a:lnTo>
                        <a:pt x="0" y="0"/>
                      </a:lnTo>
                      <a:lnTo>
                        <a:pt x="0" y="35"/>
                      </a:lnTo>
                      <a:lnTo>
                        <a:pt x="5" y="34"/>
                      </a:lnTo>
                      <a:lnTo>
                        <a:pt x="8" y="31"/>
                      </a:lnTo>
                      <a:lnTo>
                        <a:pt x="11" y="28"/>
                      </a:lnTo>
                      <a:lnTo>
                        <a:pt x="13" y="23"/>
                      </a:lnTo>
                      <a:lnTo>
                        <a:pt x="14" y="18"/>
                      </a:lnTo>
                      <a:lnTo>
                        <a:pt x="13" y="12"/>
                      </a:lnTo>
                      <a:lnTo>
                        <a:pt x="9" y="6"/>
                      </a:lnTo>
                      <a:lnTo>
                        <a:pt x="5" y="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solidFill>
                      <a:schemeClr val="bg1"/>
                    </a:solidFill>
                    <a:latin typeface="+mn-lt"/>
                    <a:ea typeface="楷体" panose="02010609060101010101" pitchFamily="49" charset="-122"/>
                  </a:endParaRPr>
                </a:p>
              </p:txBody>
            </p:sp>
            <p:sp>
              <p:nvSpPr>
                <p:cNvPr id="121" name="Freeform 486"/>
                <p:cNvSpPr>
                  <a:spLocks noEditPoints="1"/>
                </p:cNvSpPr>
                <p:nvPr/>
              </p:nvSpPr>
              <p:spPr bwMode="auto">
                <a:xfrm>
                  <a:off x="-1671637" y="4808538"/>
                  <a:ext cx="261938" cy="263525"/>
                </a:xfrm>
                <a:custGeom>
                  <a:avLst/>
                  <a:gdLst>
                    <a:gd name="T0" fmla="*/ 128 w 332"/>
                    <a:gd name="T1" fmla="*/ 5 h 332"/>
                    <a:gd name="T2" fmla="*/ 63 w 332"/>
                    <a:gd name="T3" fmla="*/ 37 h 332"/>
                    <a:gd name="T4" fmla="*/ 18 w 332"/>
                    <a:gd name="T5" fmla="*/ 93 h 332"/>
                    <a:gd name="T6" fmla="*/ 0 w 332"/>
                    <a:gd name="T7" fmla="*/ 167 h 332"/>
                    <a:gd name="T8" fmla="*/ 18 w 332"/>
                    <a:gd name="T9" fmla="*/ 238 h 332"/>
                    <a:gd name="T10" fmla="*/ 63 w 332"/>
                    <a:gd name="T11" fmla="*/ 294 h 332"/>
                    <a:gd name="T12" fmla="*/ 128 w 332"/>
                    <a:gd name="T13" fmla="*/ 327 h 332"/>
                    <a:gd name="T14" fmla="*/ 204 w 332"/>
                    <a:gd name="T15" fmla="*/ 327 h 332"/>
                    <a:gd name="T16" fmla="*/ 269 w 332"/>
                    <a:gd name="T17" fmla="*/ 294 h 332"/>
                    <a:gd name="T18" fmla="*/ 315 w 332"/>
                    <a:gd name="T19" fmla="*/ 238 h 332"/>
                    <a:gd name="T20" fmla="*/ 332 w 332"/>
                    <a:gd name="T21" fmla="*/ 167 h 332"/>
                    <a:gd name="T22" fmla="*/ 315 w 332"/>
                    <a:gd name="T23" fmla="*/ 93 h 332"/>
                    <a:gd name="T24" fmla="*/ 269 w 332"/>
                    <a:gd name="T25" fmla="*/ 37 h 332"/>
                    <a:gd name="T26" fmla="*/ 204 w 332"/>
                    <a:gd name="T27" fmla="*/ 5 h 332"/>
                    <a:gd name="T28" fmla="*/ 241 w 332"/>
                    <a:gd name="T29" fmla="*/ 232 h 332"/>
                    <a:gd name="T30" fmla="*/ 234 w 332"/>
                    <a:gd name="T31" fmla="*/ 244 h 332"/>
                    <a:gd name="T32" fmla="*/ 220 w 332"/>
                    <a:gd name="T33" fmla="*/ 255 h 332"/>
                    <a:gd name="T34" fmla="*/ 198 w 332"/>
                    <a:gd name="T35" fmla="*/ 266 h 332"/>
                    <a:gd name="T36" fmla="*/ 187 w 332"/>
                    <a:gd name="T37" fmla="*/ 299 h 332"/>
                    <a:gd name="T38" fmla="*/ 156 w 332"/>
                    <a:gd name="T39" fmla="*/ 269 h 332"/>
                    <a:gd name="T40" fmla="*/ 116 w 332"/>
                    <a:gd name="T41" fmla="*/ 258 h 332"/>
                    <a:gd name="T42" fmla="*/ 86 w 332"/>
                    <a:gd name="T43" fmla="*/ 237 h 332"/>
                    <a:gd name="T44" fmla="*/ 122 w 332"/>
                    <a:gd name="T45" fmla="*/ 210 h 332"/>
                    <a:gd name="T46" fmla="*/ 139 w 332"/>
                    <a:gd name="T47" fmla="*/ 223 h 332"/>
                    <a:gd name="T48" fmla="*/ 156 w 332"/>
                    <a:gd name="T49" fmla="*/ 229 h 332"/>
                    <a:gd name="T50" fmla="*/ 153 w 332"/>
                    <a:gd name="T51" fmla="*/ 181 h 332"/>
                    <a:gd name="T52" fmla="*/ 111 w 332"/>
                    <a:gd name="T53" fmla="*/ 157 h 332"/>
                    <a:gd name="T54" fmla="*/ 97 w 332"/>
                    <a:gd name="T55" fmla="*/ 120 h 332"/>
                    <a:gd name="T56" fmla="*/ 112 w 332"/>
                    <a:gd name="T57" fmla="*/ 79 h 332"/>
                    <a:gd name="T58" fmla="*/ 156 w 332"/>
                    <a:gd name="T59" fmla="*/ 61 h 332"/>
                    <a:gd name="T60" fmla="*/ 187 w 332"/>
                    <a:gd name="T61" fmla="*/ 33 h 332"/>
                    <a:gd name="T62" fmla="*/ 204 w 332"/>
                    <a:gd name="T63" fmla="*/ 65 h 332"/>
                    <a:gd name="T64" fmla="*/ 228 w 332"/>
                    <a:gd name="T65" fmla="*/ 76 h 332"/>
                    <a:gd name="T66" fmla="*/ 240 w 332"/>
                    <a:gd name="T67" fmla="*/ 87 h 332"/>
                    <a:gd name="T68" fmla="*/ 209 w 332"/>
                    <a:gd name="T69" fmla="*/ 115 h 332"/>
                    <a:gd name="T70" fmla="*/ 201 w 332"/>
                    <a:gd name="T71" fmla="*/ 109 h 332"/>
                    <a:gd name="T72" fmla="*/ 192 w 332"/>
                    <a:gd name="T73" fmla="*/ 104 h 332"/>
                    <a:gd name="T74" fmla="*/ 187 w 332"/>
                    <a:gd name="T75" fmla="*/ 146 h 332"/>
                    <a:gd name="T76" fmla="*/ 215 w 332"/>
                    <a:gd name="T77" fmla="*/ 157 h 332"/>
                    <a:gd name="T78" fmla="*/ 231 w 332"/>
                    <a:gd name="T79" fmla="*/ 170 h 332"/>
                    <a:gd name="T80" fmla="*/ 240 w 332"/>
                    <a:gd name="T81" fmla="*/ 182 h 332"/>
                    <a:gd name="T82" fmla="*/ 246 w 332"/>
                    <a:gd name="T83" fmla="*/ 209 h 332"/>
                    <a:gd name="T84" fmla="*/ 243 w 332"/>
                    <a:gd name="T85" fmla="*/ 22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2">
                      <a:moveTo>
                        <a:pt x="167" y="0"/>
                      </a:moveTo>
                      <a:lnTo>
                        <a:pt x="128" y="5"/>
                      </a:lnTo>
                      <a:lnTo>
                        <a:pt x="94" y="17"/>
                      </a:lnTo>
                      <a:lnTo>
                        <a:pt x="63" y="37"/>
                      </a:lnTo>
                      <a:lnTo>
                        <a:pt x="38" y="62"/>
                      </a:lnTo>
                      <a:lnTo>
                        <a:pt x="18" y="93"/>
                      </a:lnTo>
                      <a:lnTo>
                        <a:pt x="5" y="128"/>
                      </a:lnTo>
                      <a:lnTo>
                        <a:pt x="0" y="167"/>
                      </a:lnTo>
                      <a:lnTo>
                        <a:pt x="5" y="204"/>
                      </a:lnTo>
                      <a:lnTo>
                        <a:pt x="18" y="238"/>
                      </a:lnTo>
                      <a:lnTo>
                        <a:pt x="38" y="269"/>
                      </a:lnTo>
                      <a:lnTo>
                        <a:pt x="63" y="294"/>
                      </a:lnTo>
                      <a:lnTo>
                        <a:pt x="94" y="314"/>
                      </a:lnTo>
                      <a:lnTo>
                        <a:pt x="128" y="327"/>
                      </a:lnTo>
                      <a:lnTo>
                        <a:pt x="167" y="332"/>
                      </a:lnTo>
                      <a:lnTo>
                        <a:pt x="204" y="327"/>
                      </a:lnTo>
                      <a:lnTo>
                        <a:pt x="238" y="314"/>
                      </a:lnTo>
                      <a:lnTo>
                        <a:pt x="269" y="294"/>
                      </a:lnTo>
                      <a:lnTo>
                        <a:pt x="294" y="269"/>
                      </a:lnTo>
                      <a:lnTo>
                        <a:pt x="315" y="238"/>
                      </a:lnTo>
                      <a:lnTo>
                        <a:pt x="327" y="204"/>
                      </a:lnTo>
                      <a:lnTo>
                        <a:pt x="332" y="167"/>
                      </a:lnTo>
                      <a:lnTo>
                        <a:pt x="327" y="128"/>
                      </a:lnTo>
                      <a:lnTo>
                        <a:pt x="315" y="93"/>
                      </a:lnTo>
                      <a:lnTo>
                        <a:pt x="294" y="62"/>
                      </a:lnTo>
                      <a:lnTo>
                        <a:pt x="269" y="37"/>
                      </a:lnTo>
                      <a:lnTo>
                        <a:pt x="238" y="17"/>
                      </a:lnTo>
                      <a:lnTo>
                        <a:pt x="204" y="5"/>
                      </a:lnTo>
                      <a:lnTo>
                        <a:pt x="167" y="0"/>
                      </a:lnTo>
                      <a:close/>
                      <a:moveTo>
                        <a:pt x="241" y="232"/>
                      </a:moveTo>
                      <a:lnTo>
                        <a:pt x="237" y="238"/>
                      </a:lnTo>
                      <a:lnTo>
                        <a:pt x="234" y="244"/>
                      </a:lnTo>
                      <a:lnTo>
                        <a:pt x="229" y="249"/>
                      </a:lnTo>
                      <a:lnTo>
                        <a:pt x="220" y="255"/>
                      </a:lnTo>
                      <a:lnTo>
                        <a:pt x="209" y="262"/>
                      </a:lnTo>
                      <a:lnTo>
                        <a:pt x="198" y="266"/>
                      </a:lnTo>
                      <a:lnTo>
                        <a:pt x="187" y="268"/>
                      </a:lnTo>
                      <a:lnTo>
                        <a:pt x="187" y="299"/>
                      </a:lnTo>
                      <a:lnTo>
                        <a:pt x="156" y="299"/>
                      </a:lnTo>
                      <a:lnTo>
                        <a:pt x="156" y="269"/>
                      </a:lnTo>
                      <a:lnTo>
                        <a:pt x="134" y="266"/>
                      </a:lnTo>
                      <a:lnTo>
                        <a:pt x="116" y="258"/>
                      </a:lnTo>
                      <a:lnTo>
                        <a:pt x="100" y="248"/>
                      </a:lnTo>
                      <a:lnTo>
                        <a:pt x="86" y="237"/>
                      </a:lnTo>
                      <a:lnTo>
                        <a:pt x="116" y="204"/>
                      </a:lnTo>
                      <a:lnTo>
                        <a:pt x="122" y="210"/>
                      </a:lnTo>
                      <a:lnTo>
                        <a:pt x="130" y="216"/>
                      </a:lnTo>
                      <a:lnTo>
                        <a:pt x="139" y="223"/>
                      </a:lnTo>
                      <a:lnTo>
                        <a:pt x="147" y="226"/>
                      </a:lnTo>
                      <a:lnTo>
                        <a:pt x="156" y="229"/>
                      </a:lnTo>
                      <a:lnTo>
                        <a:pt x="156" y="181"/>
                      </a:lnTo>
                      <a:lnTo>
                        <a:pt x="153" y="181"/>
                      </a:lnTo>
                      <a:lnTo>
                        <a:pt x="128" y="171"/>
                      </a:lnTo>
                      <a:lnTo>
                        <a:pt x="111" y="157"/>
                      </a:lnTo>
                      <a:lnTo>
                        <a:pt x="100" y="142"/>
                      </a:lnTo>
                      <a:lnTo>
                        <a:pt x="97" y="120"/>
                      </a:lnTo>
                      <a:lnTo>
                        <a:pt x="100" y="98"/>
                      </a:lnTo>
                      <a:lnTo>
                        <a:pt x="112" y="79"/>
                      </a:lnTo>
                      <a:lnTo>
                        <a:pt x="131" y="67"/>
                      </a:lnTo>
                      <a:lnTo>
                        <a:pt x="156" y="61"/>
                      </a:lnTo>
                      <a:lnTo>
                        <a:pt x="156" y="33"/>
                      </a:lnTo>
                      <a:lnTo>
                        <a:pt x="187" y="33"/>
                      </a:lnTo>
                      <a:lnTo>
                        <a:pt x="187" y="61"/>
                      </a:lnTo>
                      <a:lnTo>
                        <a:pt x="204" y="65"/>
                      </a:lnTo>
                      <a:lnTo>
                        <a:pt x="220" y="72"/>
                      </a:lnTo>
                      <a:lnTo>
                        <a:pt x="228" y="76"/>
                      </a:lnTo>
                      <a:lnTo>
                        <a:pt x="234" y="81"/>
                      </a:lnTo>
                      <a:lnTo>
                        <a:pt x="240" y="87"/>
                      </a:lnTo>
                      <a:lnTo>
                        <a:pt x="212" y="117"/>
                      </a:lnTo>
                      <a:lnTo>
                        <a:pt x="209" y="115"/>
                      </a:lnTo>
                      <a:lnTo>
                        <a:pt x="206" y="112"/>
                      </a:lnTo>
                      <a:lnTo>
                        <a:pt x="201" y="109"/>
                      </a:lnTo>
                      <a:lnTo>
                        <a:pt x="196" y="106"/>
                      </a:lnTo>
                      <a:lnTo>
                        <a:pt x="192" y="104"/>
                      </a:lnTo>
                      <a:lnTo>
                        <a:pt x="187" y="103"/>
                      </a:lnTo>
                      <a:lnTo>
                        <a:pt x="187" y="146"/>
                      </a:lnTo>
                      <a:lnTo>
                        <a:pt x="204" y="153"/>
                      </a:lnTo>
                      <a:lnTo>
                        <a:pt x="215" y="157"/>
                      </a:lnTo>
                      <a:lnTo>
                        <a:pt x="224" y="164"/>
                      </a:lnTo>
                      <a:lnTo>
                        <a:pt x="231" y="170"/>
                      </a:lnTo>
                      <a:lnTo>
                        <a:pt x="235" y="176"/>
                      </a:lnTo>
                      <a:lnTo>
                        <a:pt x="240" y="182"/>
                      </a:lnTo>
                      <a:lnTo>
                        <a:pt x="245" y="195"/>
                      </a:lnTo>
                      <a:lnTo>
                        <a:pt x="246" y="209"/>
                      </a:lnTo>
                      <a:lnTo>
                        <a:pt x="245" y="216"/>
                      </a:lnTo>
                      <a:lnTo>
                        <a:pt x="243" y="224"/>
                      </a:lnTo>
                      <a:lnTo>
                        <a:pt x="241" y="23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solidFill>
                      <a:schemeClr val="bg1"/>
                    </a:solidFill>
                    <a:latin typeface="+mn-lt"/>
                    <a:ea typeface="楷体" panose="02010609060101010101" pitchFamily="49" charset="-122"/>
                  </a:endParaRPr>
                </a:p>
              </p:txBody>
            </p:sp>
          </p:grpSp>
          <p:sp>
            <p:nvSpPr>
              <p:cNvPr id="122" name="TextBox 121"/>
              <p:cNvSpPr txBox="1">
                <a:spLocks/>
              </p:cNvSpPr>
              <p:nvPr/>
            </p:nvSpPr>
            <p:spPr>
              <a:xfrm>
                <a:off x="119064" y="5695961"/>
                <a:ext cx="951583" cy="449728"/>
              </a:xfrm>
              <a:prstGeom prst="rect">
                <a:avLst/>
              </a:prstGeom>
              <a:noFill/>
              <a:ln>
                <a:noFill/>
              </a:ln>
              <a:effectLst/>
            </p:spPr>
            <p:txBody>
              <a:bodyPr wrap="square" lIns="0" tIns="0" rIns="0" bIns="18659" anchor="b">
                <a:spAutoFit/>
              </a:bodyPr>
              <a:lstStyle>
                <a:defPPr>
                  <a:defRPr lang="en-US"/>
                </a:defPPr>
                <a:lvl1pPr>
                  <a:defRPr sz="1400">
                    <a:solidFill>
                      <a:srgbClr val="FFCA21"/>
                    </a:solidFill>
                    <a:latin typeface="Georgia" panose="02040502050405020303" pitchFamily="18" charset="0"/>
                    <a:cs typeface="Times New Roman" panose="02020603050405020304" pitchFamily="18" charset="0"/>
                  </a:defRPr>
                </a:lvl1pPr>
              </a:lstStyle>
              <a:p>
                <a:r>
                  <a:rPr lang="zh-CN" dirty="0">
                    <a:latin typeface="+mn-lt"/>
                    <a:ea typeface="楷体" panose="02010609060101010101" pitchFamily="49" charset="-122"/>
                    <a:cs typeface="SimSun"/>
                  </a:rPr>
                  <a:t>投资活动增加</a:t>
                </a:r>
              </a:p>
            </p:txBody>
          </p:sp>
        </p:grpSp>
        <p:sp>
          <p:nvSpPr>
            <p:cNvPr id="126" name="TextBox 125"/>
            <p:cNvSpPr txBox="1">
              <a:spLocks/>
            </p:cNvSpPr>
            <p:nvPr/>
          </p:nvSpPr>
          <p:spPr>
            <a:xfrm>
              <a:off x="1374210" y="4594225"/>
              <a:ext cx="3025386" cy="50783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5000"/>
                </a:spcBef>
                <a:buClr>
                  <a:schemeClr val="bg1"/>
                </a:buClr>
              </a:pPr>
              <a:r>
                <a:rPr lang="zh-CN" sz="1100" dirty="0">
                  <a:solidFill>
                    <a:schemeClr val="bg1"/>
                  </a:solidFill>
                  <a:ea typeface="楷体" panose="02010609060101010101" pitchFamily="49" charset="-122"/>
                  <a:cs typeface="SimSun"/>
                </a:rPr>
                <a:t>从2011到2015年，人工智能股权交易量上升了6倍，吸引更多初创企业投身</a:t>
              </a:r>
              <a:r>
                <a:rPr lang="zh-CN" altLang="en-US" sz="1100" dirty="0">
                  <a:solidFill>
                    <a:schemeClr val="bg1"/>
                  </a:solidFill>
                  <a:ea typeface="楷体" panose="02010609060101010101" pitchFamily="49" charset="-122"/>
                  <a:cs typeface="SimSun"/>
                </a:rPr>
                <a:t>到</a:t>
              </a:r>
              <a:r>
                <a:rPr lang="zh-CN" sz="1100" dirty="0">
                  <a:solidFill>
                    <a:schemeClr val="bg1"/>
                  </a:solidFill>
                  <a:ea typeface="楷体" panose="02010609060101010101" pitchFamily="49" charset="-122"/>
                  <a:cs typeface="SimSun"/>
                </a:rPr>
                <a:t>深度学习创新</a:t>
              </a:r>
            </a:p>
          </p:txBody>
        </p:sp>
      </p:grpSp>
      <p:sp>
        <p:nvSpPr>
          <p:cNvPr id="39" name="Text Placeholder 2"/>
          <p:cNvSpPr>
            <a:spLocks noGrp="1"/>
          </p:cNvSpPr>
          <p:nvPr>
            <p:custDataLst>
              <p:tags r:id="rId11"/>
            </p:custDataLst>
          </p:nvPr>
        </p:nvSpPr>
        <p:spPr bwMode="auto">
          <a:xfrm>
            <a:off x="5495925" y="2424113"/>
            <a:ext cx="323850"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47A3A5AC-24AA-4E1C-98F2-674842CEE6BD}" type="datetime'''''''''''''''''''1''''9''97'''''''''''''''''''''''''''''''''">
              <a:rPr lang="en-US" altLang="en-US" sz="1100">
                <a:solidFill>
                  <a:schemeClr val="bg1"/>
                </a:solidFill>
                <a:ea typeface="楷体" panose="02010609060101010101" pitchFamily="49" charset="-122"/>
              </a:rPr>
              <a:pPr/>
              <a:t>1997</a:t>
            </a:fld>
            <a:endParaRPr lang="zh-CN" sz="1100" dirty="0">
              <a:solidFill>
                <a:schemeClr val="bg1"/>
              </a:solidFill>
              <a:ea typeface="楷体" panose="02010609060101010101" pitchFamily="49" charset="-122"/>
              <a:sym typeface="+mn-lt"/>
            </a:endParaRPr>
          </a:p>
        </p:txBody>
      </p:sp>
      <p:sp>
        <p:nvSpPr>
          <p:cNvPr id="490" name="Text Placeholder 2"/>
          <p:cNvSpPr>
            <a:spLocks noGrp="1"/>
          </p:cNvSpPr>
          <p:nvPr>
            <p:custDataLst>
              <p:tags r:id="rId12"/>
            </p:custDataLst>
          </p:nvPr>
        </p:nvSpPr>
        <p:spPr bwMode="gray">
          <a:xfrm>
            <a:off x="5724525" y="1501775"/>
            <a:ext cx="39052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dirty="0">
                <a:ea typeface="楷体" panose="02010609060101010101" pitchFamily="49" charset="-122"/>
                <a:cs typeface="SimSun"/>
              </a:rPr>
              <a:t> </a:t>
            </a:r>
            <a:fld id="{85133796-4636-44DA-B592-EE7818E90F24}" type="datetime'''2''''7''''''''''''''''''''''''''''%'''''''''''''">
              <a:rPr lang="en-US" altLang="en-US" sz="1100" smtClean="0">
                <a:solidFill>
                  <a:schemeClr val="bg1"/>
                </a:solidFill>
                <a:ea typeface="楷体" panose="02010609060101010101" pitchFamily="49" charset="-122"/>
                <a:sym typeface="+mn-lt"/>
              </a:rPr>
              <a:pPr algn="ctr"/>
              <a:t>27%</a:t>
            </a:fld>
            <a:r>
              <a:rPr lang="zh-CN" dirty="0">
                <a:ea typeface="楷体" panose="02010609060101010101" pitchFamily="49" charset="-122"/>
                <a:cs typeface="SimSun"/>
              </a:rPr>
              <a:t> </a:t>
            </a:r>
            <a:endParaRPr lang="zh-CN" sz="1100" dirty="0">
              <a:solidFill>
                <a:schemeClr val="bg1"/>
              </a:solidFill>
              <a:ea typeface="楷体" panose="02010609060101010101" pitchFamily="49" charset="-122"/>
              <a:sym typeface="+mn-lt"/>
            </a:endParaRPr>
          </a:p>
        </p:txBody>
      </p:sp>
      <p:sp>
        <p:nvSpPr>
          <p:cNvPr id="491" name="Text Placeholder 2"/>
          <p:cNvSpPr>
            <a:spLocks noGrp="1"/>
          </p:cNvSpPr>
          <p:nvPr>
            <p:custDataLst>
              <p:tags r:id="rId13"/>
            </p:custDataLst>
          </p:nvPr>
        </p:nvSpPr>
        <p:spPr bwMode="gray">
          <a:xfrm>
            <a:off x="5240338" y="2025650"/>
            <a:ext cx="31273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dirty="0">
                <a:ea typeface="楷体" panose="02010609060101010101" pitchFamily="49" charset="-122"/>
                <a:cs typeface="SimSun"/>
              </a:rPr>
              <a:t> </a:t>
            </a:r>
            <a:fld id="{5B3B4314-B2D8-4952-B033-09D0D2EFC71F}" type="datetime'5''''''''''''''''''''''''''''''''''''''''''''''''%'''">
              <a:rPr lang="en-US" altLang="en-US" sz="1100" smtClean="0">
                <a:solidFill>
                  <a:schemeClr val="bg1"/>
                </a:solidFill>
                <a:ea typeface="楷体" panose="02010609060101010101" pitchFamily="49" charset="-122"/>
                <a:sym typeface="+mn-lt"/>
              </a:rPr>
              <a:pPr algn="ctr"/>
              <a:t>5%</a:t>
            </a:fld>
            <a:r>
              <a:rPr lang="zh-CN" dirty="0">
                <a:ea typeface="楷体" panose="02010609060101010101" pitchFamily="49" charset="-122"/>
                <a:cs typeface="SimSun"/>
              </a:rPr>
              <a:t> </a:t>
            </a:r>
            <a:endParaRPr lang="zh-CN" sz="1100" dirty="0">
              <a:solidFill>
                <a:schemeClr val="bg1"/>
              </a:solidFill>
              <a:ea typeface="楷体" panose="02010609060101010101" pitchFamily="49" charset="-122"/>
              <a:sym typeface="+mn-lt"/>
            </a:endParaRPr>
          </a:p>
        </p:txBody>
      </p:sp>
      <p:sp>
        <p:nvSpPr>
          <p:cNvPr id="37" name="Text Placeholder 2"/>
          <p:cNvSpPr>
            <a:spLocks noGrp="1"/>
          </p:cNvSpPr>
          <p:nvPr>
            <p:custDataLst>
              <p:tags r:id="rId14"/>
            </p:custDataLst>
          </p:nvPr>
        </p:nvSpPr>
        <p:spPr bwMode="gray">
          <a:xfrm>
            <a:off x="8237538" y="2006600"/>
            <a:ext cx="3937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altLang="en-US" sz="1100" dirty="0">
                <a:solidFill>
                  <a:schemeClr val="bg1"/>
                </a:solidFill>
                <a:ea typeface="楷体" panose="02010609060101010101" pitchFamily="49" charset="-122"/>
                <a:cs typeface="SimSun"/>
                <a:sym typeface="+mn-lt"/>
              </a:rPr>
              <a:t> &lt;</a:t>
            </a:r>
            <a:fld id="{F95A0D0C-A324-43FA-A20B-799C4D9C3287}" type="datetime'6''''''''''''''''''''''''''''''%'''''''''''">
              <a:rPr lang="en-US" altLang="en-US" sz="1100" smtClean="0">
                <a:solidFill>
                  <a:schemeClr val="bg1"/>
                </a:solidFill>
                <a:ea typeface="楷体" panose="02010609060101010101" pitchFamily="49" charset="-122"/>
              </a:rPr>
              <a:pPr/>
              <a:t>6%</a:t>
            </a:fld>
            <a:r>
              <a:rPr lang="zh-CN" dirty="0">
                <a:ea typeface="楷体" panose="02010609060101010101" pitchFamily="49" charset="-122"/>
                <a:cs typeface="SimSun"/>
              </a:rPr>
              <a:t> </a:t>
            </a:r>
            <a:endParaRPr lang="zh-CN" sz="1100" dirty="0">
              <a:solidFill>
                <a:schemeClr val="bg1"/>
              </a:solidFill>
              <a:ea typeface="楷体" panose="02010609060101010101" pitchFamily="49" charset="-122"/>
              <a:sym typeface="+mn-lt"/>
            </a:endParaRPr>
          </a:p>
        </p:txBody>
      </p:sp>
      <p:sp>
        <p:nvSpPr>
          <p:cNvPr id="494" name="Text Placeholder 2"/>
          <p:cNvSpPr>
            <a:spLocks noGrp="1"/>
          </p:cNvSpPr>
          <p:nvPr>
            <p:custDataLst>
              <p:tags r:id="rId15"/>
            </p:custDataLst>
          </p:nvPr>
        </p:nvSpPr>
        <p:spPr bwMode="gray">
          <a:xfrm>
            <a:off x="7754938" y="2025650"/>
            <a:ext cx="31273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dirty="0">
                <a:ea typeface="楷体" panose="02010609060101010101" pitchFamily="49" charset="-122"/>
                <a:cs typeface="SimSun"/>
              </a:rPr>
              <a:t> </a:t>
            </a:r>
            <a:fld id="{7FBBE81F-80FF-42E1-95BF-B25DA4336536}" type="datetime'''''''5''''''''''''''''''''%'''''''''''">
              <a:rPr lang="en-US" altLang="en-US" sz="1100" smtClean="0">
                <a:solidFill>
                  <a:schemeClr val="bg1"/>
                </a:solidFill>
                <a:ea typeface="楷体" panose="02010609060101010101" pitchFamily="49" charset="-122"/>
                <a:sym typeface="+mn-lt"/>
              </a:rPr>
              <a:pPr algn="ctr"/>
              <a:t>5%</a:t>
            </a:fld>
            <a:r>
              <a:rPr lang="zh-CN" dirty="0">
                <a:ea typeface="楷体" panose="02010609060101010101" pitchFamily="49" charset="-122"/>
                <a:cs typeface="SimSun"/>
              </a:rPr>
              <a:t> </a:t>
            </a:r>
            <a:endParaRPr lang="zh-CN" sz="1100" dirty="0">
              <a:solidFill>
                <a:schemeClr val="bg1"/>
              </a:solidFill>
              <a:ea typeface="楷体" panose="02010609060101010101" pitchFamily="49" charset="-122"/>
              <a:sym typeface="+mn-lt"/>
            </a:endParaRPr>
          </a:p>
        </p:txBody>
      </p:sp>
      <p:sp>
        <p:nvSpPr>
          <p:cNvPr id="493" name="Text Placeholder 2"/>
          <p:cNvSpPr>
            <a:spLocks noGrp="1"/>
          </p:cNvSpPr>
          <p:nvPr>
            <p:custDataLst>
              <p:tags r:id="rId16"/>
            </p:custDataLst>
          </p:nvPr>
        </p:nvSpPr>
        <p:spPr bwMode="gray">
          <a:xfrm>
            <a:off x="6981825" y="1673225"/>
            <a:ext cx="39052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dirty="0">
                <a:ea typeface="楷体" panose="02010609060101010101" pitchFamily="49" charset="-122"/>
                <a:cs typeface="SimSun"/>
              </a:rPr>
              <a:t> </a:t>
            </a:r>
            <a:fld id="{C814E6CB-A56D-4A46-B4D9-F2469C478B59}" type="datetime'''''''''''''''''''''''2''''''0''''''%'''''''''''''''''''">
              <a:rPr lang="en-US" altLang="en-US" sz="1100" smtClean="0">
                <a:solidFill>
                  <a:schemeClr val="bg1"/>
                </a:solidFill>
                <a:ea typeface="楷体" panose="02010609060101010101" pitchFamily="49" charset="-122"/>
                <a:sym typeface="+mn-lt"/>
              </a:rPr>
              <a:pPr algn="ctr"/>
              <a:t>20%</a:t>
            </a:fld>
            <a:r>
              <a:rPr lang="zh-CN" dirty="0">
                <a:ea typeface="楷体" panose="02010609060101010101" pitchFamily="49" charset="-122"/>
                <a:cs typeface="SimSun"/>
              </a:rPr>
              <a:t> </a:t>
            </a:r>
            <a:endParaRPr lang="zh-CN" sz="1100" dirty="0">
              <a:solidFill>
                <a:schemeClr val="bg1"/>
              </a:solidFill>
              <a:ea typeface="楷体" panose="02010609060101010101" pitchFamily="49" charset="-122"/>
              <a:sym typeface="+mn-lt"/>
            </a:endParaRPr>
          </a:p>
        </p:txBody>
      </p:sp>
      <p:sp>
        <p:nvSpPr>
          <p:cNvPr id="492" name="Text Placeholder 2"/>
          <p:cNvSpPr>
            <a:spLocks noGrp="1"/>
          </p:cNvSpPr>
          <p:nvPr>
            <p:custDataLst>
              <p:tags r:id="rId17"/>
            </p:custDataLst>
          </p:nvPr>
        </p:nvSpPr>
        <p:spPr bwMode="gray">
          <a:xfrm>
            <a:off x="6497638" y="2025650"/>
            <a:ext cx="31273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zh-CN" dirty="0">
                <a:ea typeface="楷体" panose="02010609060101010101" pitchFamily="49" charset="-122"/>
                <a:cs typeface="SimSun"/>
              </a:rPr>
              <a:t> </a:t>
            </a:r>
            <a:fld id="{52C00082-80D7-4AF4-9749-E8B17F4DAB48}" type="datetime'''''''''5''''''''''''''''''''''''%'''''''''''''''''''''''''''">
              <a:rPr lang="en-US" altLang="en-US" sz="1100" smtClean="0">
                <a:solidFill>
                  <a:schemeClr val="bg1"/>
                </a:solidFill>
                <a:ea typeface="楷体" panose="02010609060101010101" pitchFamily="49" charset="-122"/>
                <a:sym typeface="+mn-lt"/>
              </a:rPr>
              <a:pPr algn="ctr"/>
              <a:t>5%</a:t>
            </a:fld>
            <a:r>
              <a:rPr lang="zh-CN" dirty="0">
                <a:ea typeface="楷体" panose="02010609060101010101" pitchFamily="49" charset="-122"/>
                <a:cs typeface="SimSun"/>
              </a:rPr>
              <a:t> </a:t>
            </a:r>
            <a:endParaRPr lang="zh-CN" sz="1100" dirty="0">
              <a:solidFill>
                <a:schemeClr val="bg1"/>
              </a:solidFill>
              <a:ea typeface="楷体" panose="02010609060101010101" pitchFamily="49" charset="-122"/>
              <a:sym typeface="+mn-lt"/>
            </a:endParaRPr>
          </a:p>
        </p:txBody>
      </p:sp>
      <p:sp>
        <p:nvSpPr>
          <p:cNvPr id="36" name="Text Placeholder 2"/>
          <p:cNvSpPr>
            <a:spLocks noGrp="1"/>
          </p:cNvSpPr>
          <p:nvPr>
            <p:custDataLst>
              <p:tags r:id="rId18"/>
            </p:custDataLst>
          </p:nvPr>
        </p:nvSpPr>
        <p:spPr bwMode="auto">
          <a:xfrm>
            <a:off x="6753225" y="2424113"/>
            <a:ext cx="323850"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zh-CN" altLang="en-US" sz="1100" dirty="0">
                <a:solidFill>
                  <a:schemeClr val="bg1"/>
                </a:solidFill>
                <a:ea typeface="楷体" panose="02010609060101010101" pitchFamily="49" charset="-122"/>
                <a:cs typeface="SimSun"/>
                <a:sym typeface="+mn-lt"/>
              </a:rPr>
              <a:t>20</a:t>
            </a:r>
            <a:fld id="{E387D39F-77B7-4849-AA8E-D684773AC94B}" type="datetime'''0''''''''''''''''''''''''''''9'">
              <a:rPr lang="en-US" altLang="en-US" sz="1100">
                <a:solidFill>
                  <a:schemeClr val="bg1"/>
                </a:solidFill>
                <a:ea typeface="楷体" panose="02010609060101010101" pitchFamily="49" charset="-122"/>
              </a:rPr>
              <a:pPr/>
              <a:t>09</a:t>
            </a:fld>
            <a:endParaRPr lang="zh-CN" sz="1100" dirty="0">
              <a:solidFill>
                <a:schemeClr val="bg1"/>
              </a:solidFill>
              <a:ea typeface="楷体" panose="02010609060101010101" pitchFamily="49" charset="-122"/>
              <a:sym typeface="+mn-lt"/>
            </a:endParaRPr>
          </a:p>
        </p:txBody>
      </p:sp>
      <p:sp>
        <p:nvSpPr>
          <p:cNvPr id="38" name="Text Placeholder 2"/>
          <p:cNvSpPr>
            <a:spLocks noGrp="1"/>
          </p:cNvSpPr>
          <p:nvPr>
            <p:custDataLst>
              <p:tags r:id="rId19"/>
            </p:custDataLst>
          </p:nvPr>
        </p:nvSpPr>
        <p:spPr bwMode="auto">
          <a:xfrm>
            <a:off x="8010525" y="2424113"/>
            <a:ext cx="323850"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122AA6BF-7F64-4E1D-B4FD-A290B92E1512}" type="datetime'''''2''''0''''15'''''''''''''">
              <a:rPr lang="en-US" altLang="en-US" sz="1100">
                <a:solidFill>
                  <a:schemeClr val="bg1"/>
                </a:solidFill>
                <a:ea typeface="楷体" panose="02010609060101010101" pitchFamily="49" charset="-122"/>
              </a:rPr>
              <a:pPr/>
              <a:t>2015</a:t>
            </a:fld>
            <a:endParaRPr lang="zh-CN" sz="1100" dirty="0">
              <a:solidFill>
                <a:schemeClr val="bg1"/>
              </a:solidFill>
              <a:ea typeface="楷体" panose="02010609060101010101" pitchFamily="49" charset="-122"/>
              <a:sym typeface="+mn-lt"/>
            </a:endParaRPr>
          </a:p>
        </p:txBody>
      </p:sp>
      <p:sp>
        <p:nvSpPr>
          <p:cNvPr id="40" name="Rectangle 39"/>
          <p:cNvSpPr/>
          <p:nvPr>
            <p:custDataLst>
              <p:tags r:id="rId20"/>
            </p:custDataLst>
          </p:nvPr>
        </p:nvSpPr>
        <p:spPr bwMode="auto">
          <a:xfrm>
            <a:off x="7891463" y="311150"/>
            <a:ext cx="138113" cy="138113"/>
          </a:xfrm>
          <a:prstGeom prst="rect">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a typeface="楷体" panose="02010609060101010101" pitchFamily="49" charset="-122"/>
            </a:endParaRPr>
          </a:p>
        </p:txBody>
      </p:sp>
      <p:sp>
        <p:nvSpPr>
          <p:cNvPr id="41" name="Rectangle 40"/>
          <p:cNvSpPr/>
          <p:nvPr>
            <p:custDataLst>
              <p:tags r:id="rId21"/>
            </p:custDataLst>
          </p:nvPr>
        </p:nvSpPr>
        <p:spPr bwMode="auto">
          <a:xfrm>
            <a:off x="7040563" y="311150"/>
            <a:ext cx="138113" cy="138113"/>
          </a:xfrm>
          <a:prstGeom prst="rect">
            <a:avLst/>
          </a:prstGeom>
          <a:solidFill>
            <a:schemeClr val="accent2"/>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a typeface="楷体" panose="02010609060101010101" pitchFamily="49" charset="-122"/>
            </a:endParaRPr>
          </a:p>
        </p:txBody>
      </p:sp>
      <p:sp>
        <p:nvSpPr>
          <p:cNvPr id="43" name="Text Placeholder 2"/>
          <p:cNvSpPr>
            <a:spLocks noGrp="1"/>
          </p:cNvSpPr>
          <p:nvPr>
            <p:custDataLst>
              <p:tags r:id="rId22"/>
            </p:custDataLst>
          </p:nvPr>
        </p:nvSpPr>
        <p:spPr bwMode="auto">
          <a:xfrm>
            <a:off x="7280275" y="30797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zh-CN" altLang="en-US" sz="1000" dirty="0">
                <a:solidFill>
                  <a:schemeClr val="bg1"/>
                </a:solidFill>
                <a:ea typeface="楷体" panose="02010609060101010101" pitchFamily="49" charset="-122"/>
                <a:cs typeface="SimSun"/>
              </a:rPr>
              <a:t>人类</a:t>
            </a:r>
            <a:endParaRPr lang="zh-CN" sz="1000" dirty="0">
              <a:solidFill>
                <a:schemeClr val="bg1"/>
              </a:solidFill>
              <a:ea typeface="楷体" panose="02010609060101010101" pitchFamily="49" charset="-122"/>
              <a:sym typeface="+mn-lt"/>
            </a:endParaRPr>
          </a:p>
        </p:txBody>
      </p:sp>
      <p:sp>
        <p:nvSpPr>
          <p:cNvPr id="42" name="Text Placeholder 2"/>
          <p:cNvSpPr>
            <a:spLocks noGrp="1"/>
          </p:cNvSpPr>
          <p:nvPr>
            <p:custDataLst>
              <p:tags r:id="rId23"/>
            </p:custDataLst>
          </p:nvPr>
        </p:nvSpPr>
        <p:spPr bwMode="auto">
          <a:xfrm>
            <a:off x="8131175" y="307975"/>
            <a:ext cx="555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zh-CN" sz="1000" dirty="0">
                <a:solidFill>
                  <a:schemeClr val="bg1"/>
                </a:solidFill>
                <a:ea typeface="楷体" panose="02010609060101010101" pitchFamily="49" charset="-122"/>
                <a:cs typeface="SimSun"/>
                <a:sym typeface="+mn-lt"/>
              </a:rPr>
              <a:t>计算机</a:t>
            </a:r>
          </a:p>
        </p:txBody>
      </p:sp>
      <p:sp>
        <p:nvSpPr>
          <p:cNvPr id="33" name="Rectangle 7"/>
          <p:cNvSpPr>
            <a:spLocks noChangeArrowheads="1"/>
          </p:cNvSpPr>
          <p:nvPr>
            <p:custDataLst>
              <p:tags r:id="rId24"/>
            </p:custDataLst>
          </p:nvPr>
        </p:nvSpPr>
        <p:spPr bwMode="auto">
          <a:xfrm>
            <a:off x="1374210" y="1168400"/>
            <a:ext cx="3025386" cy="507831"/>
          </a:xfrm>
          <a:prstGeom prst="rect">
            <a:avLst/>
          </a:prstGeom>
        </p:spPr>
        <p:txBody>
          <a:bodyPr vert="horz" wrap="square" lIns="0" tIns="0" rIns="0" bIns="0" rtlCol="0" anchor="t" anchorCtr="0">
            <a:spAutoFit/>
          </a:bodyPr>
          <a:lstStyle/>
          <a:p>
            <a:pPr marL="193675" lvl="1" indent="-192088" defTabSz="895350">
              <a:spcBef>
                <a:spcPts val="0"/>
              </a:spcBef>
              <a:spcAft>
                <a:spcPts val="600"/>
              </a:spcAft>
              <a:buClr>
                <a:schemeClr val="bg1"/>
              </a:buClr>
              <a:buSzPct val="125000"/>
              <a:buFont typeface="Arial" charset="0"/>
              <a:buChar char="▪"/>
            </a:pPr>
            <a:r>
              <a:rPr lang="zh-CN" sz="1100" dirty="0">
                <a:solidFill>
                  <a:schemeClr val="bg1"/>
                </a:solidFill>
                <a:latin typeface="+mn-lt"/>
                <a:ea typeface="楷体" panose="02010609060101010101" pitchFamily="49" charset="-122"/>
                <a:cs typeface="SimSun"/>
              </a:rPr>
              <a:t>卷积神经网络（CNN）带来了图像识别的变革，而循环神经网络（RNN）则推动了语音识别的</a:t>
            </a:r>
            <a:r>
              <a:rPr lang="zh-CN" altLang="en-US" sz="1100" dirty="0">
                <a:solidFill>
                  <a:schemeClr val="bg1"/>
                </a:solidFill>
                <a:latin typeface="+mn-lt"/>
                <a:ea typeface="楷体" panose="02010609060101010101" pitchFamily="49" charset="-122"/>
                <a:cs typeface="SimSun"/>
              </a:rPr>
              <a:t>飞跃</a:t>
            </a:r>
            <a:endParaRPr lang="zh-CN" sz="1100" dirty="0">
              <a:solidFill>
                <a:schemeClr val="bg1"/>
              </a:solidFill>
              <a:latin typeface="+mn-lt"/>
              <a:ea typeface="楷体" panose="02010609060101010101" pitchFamily="49" charset="-122"/>
              <a:cs typeface="SimSun"/>
            </a:endParaRPr>
          </a:p>
        </p:txBody>
      </p:sp>
      <p:sp>
        <p:nvSpPr>
          <p:cNvPr id="44" name="TextBox 43"/>
          <p:cNvSpPr txBox="1">
            <a:spLocks/>
          </p:cNvSpPr>
          <p:nvPr/>
        </p:nvSpPr>
        <p:spPr>
          <a:xfrm>
            <a:off x="5026381" y="1260475"/>
            <a:ext cx="3772179" cy="234285"/>
          </a:xfrm>
          <a:prstGeom prst="rect">
            <a:avLst/>
          </a:prstGeom>
          <a:noFill/>
          <a:ln>
            <a:noFill/>
          </a:ln>
          <a:effectLst/>
        </p:spPr>
        <p:txBody>
          <a:bodyPr lIns="0" tIns="0" rIns="0" bIns="18659" anchor="t">
            <a:spAutoFit/>
          </a:bodyPr>
          <a:lstStyle>
            <a:defPPr>
              <a:defRPr lang="en-US"/>
            </a:defPPr>
            <a:lvl1pPr>
              <a:defRPr sz="1400">
                <a:solidFill>
                  <a:srgbClr val="FFCA21"/>
                </a:solidFill>
                <a:latin typeface="Georgia" panose="02040502050405020303" pitchFamily="18" charset="0"/>
                <a:cs typeface="Times New Roman" panose="02020603050405020304" pitchFamily="18" charset="0"/>
              </a:defRPr>
            </a:lvl1pPr>
          </a:lstStyle>
          <a:p>
            <a:r>
              <a:rPr lang="zh-CN" dirty="0">
                <a:latin typeface="+mn-lt"/>
                <a:ea typeface="楷体" panose="02010609060101010101" pitchFamily="49" charset="-122"/>
                <a:cs typeface="SimSun"/>
              </a:rPr>
              <a:t>语音识别错误率</a:t>
            </a:r>
          </a:p>
        </p:txBody>
      </p:sp>
      <p:sp>
        <p:nvSpPr>
          <p:cNvPr id="481" name="Slide Number"/>
          <p:cNvSpPr txBox="1">
            <a:spLocks/>
          </p:cNvSpPr>
          <p:nvPr/>
        </p:nvSpPr>
        <p:spPr bwMode="auto">
          <a:xfrm>
            <a:off x="8564563" y="6508272"/>
            <a:ext cx="115416"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r>
              <a:rPr lang="zh-CN" sz="800" dirty="0">
                <a:solidFill>
                  <a:schemeClr val="bg1"/>
                </a:solidFill>
                <a:ea typeface="楷体" panose="02010609060101010101" pitchFamily="49" charset="-122"/>
                <a:cs typeface="SimSun"/>
              </a:rPr>
              <a:t>11</a:t>
            </a:r>
          </a:p>
        </p:txBody>
      </p:sp>
      <p:sp>
        <p:nvSpPr>
          <p:cNvPr id="482" name="SlideLogoText"/>
          <p:cNvSpPr>
            <a:spLocks noChangeArrowheads="1"/>
          </p:cNvSpPr>
          <p:nvPr>
            <p:custDataLst>
              <p:tags r:id="rId25"/>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zh-CN" sz="800" dirty="0">
                <a:solidFill>
                  <a:schemeClr val="bg1"/>
                </a:solidFill>
                <a:latin typeface="+mn-lt"/>
                <a:ea typeface="楷体" panose="02010609060101010101" pitchFamily="49" charset="-122"/>
                <a:cs typeface="SimSun"/>
              </a:rPr>
              <a:t>McKinsey &amp; Company</a:t>
            </a:r>
          </a:p>
        </p:txBody>
      </p:sp>
      <p:grpSp>
        <p:nvGrpSpPr>
          <p:cNvPr id="15" name="Group 14"/>
          <p:cNvGrpSpPr>
            <a:grpSpLocks/>
          </p:cNvGrpSpPr>
          <p:nvPr/>
        </p:nvGrpSpPr>
        <p:grpSpPr>
          <a:xfrm>
            <a:off x="119064" y="1168400"/>
            <a:ext cx="951583" cy="1321844"/>
            <a:chOff x="119064" y="1168400"/>
            <a:chExt cx="951583" cy="1321844"/>
          </a:xfrm>
        </p:grpSpPr>
        <p:sp>
          <p:nvSpPr>
            <p:cNvPr id="486" name="TextBox 485"/>
            <p:cNvSpPr txBox="1">
              <a:spLocks/>
            </p:cNvSpPr>
            <p:nvPr/>
          </p:nvSpPr>
          <p:spPr>
            <a:xfrm>
              <a:off x="119064" y="2040516"/>
              <a:ext cx="951583" cy="449728"/>
            </a:xfrm>
            <a:prstGeom prst="rect">
              <a:avLst/>
            </a:prstGeom>
            <a:noFill/>
            <a:ln>
              <a:noFill/>
            </a:ln>
            <a:effectLst/>
          </p:spPr>
          <p:txBody>
            <a:bodyPr wrap="square" lIns="0" tIns="0" rIns="0" bIns="18659" anchor="b">
              <a:spAutoFit/>
            </a:bodyPr>
            <a:lstStyle>
              <a:defPPr>
                <a:defRPr lang="en-US"/>
              </a:defPPr>
              <a:lvl1pPr>
                <a:defRPr sz="1400">
                  <a:solidFill>
                    <a:srgbClr val="FFCA21"/>
                  </a:solidFill>
                  <a:latin typeface="Georgia" panose="02040502050405020303" pitchFamily="18" charset="0"/>
                  <a:cs typeface="Times New Roman" panose="02020603050405020304" pitchFamily="18" charset="0"/>
                </a:defRPr>
              </a:lvl1pPr>
            </a:lstStyle>
            <a:p>
              <a:r>
                <a:rPr lang="zh-CN" dirty="0">
                  <a:latin typeface="+mn-lt"/>
                  <a:ea typeface="楷体" panose="02010609060101010101" pitchFamily="49" charset="-122"/>
                  <a:cs typeface="SimSun"/>
                </a:rPr>
                <a:t>算法和训练方式改善</a:t>
              </a:r>
            </a:p>
          </p:txBody>
        </p:sp>
        <p:sp>
          <p:nvSpPr>
            <p:cNvPr id="487" name="Freeform 50"/>
            <p:cNvSpPr>
              <a:spLocks/>
            </p:cNvSpPr>
            <p:nvPr/>
          </p:nvSpPr>
          <p:spPr bwMode="auto">
            <a:xfrm>
              <a:off x="119064" y="1168400"/>
              <a:ext cx="422621" cy="432794"/>
            </a:xfrm>
            <a:custGeom>
              <a:avLst/>
              <a:gdLst>
                <a:gd name="T0" fmla="*/ 23 w 3806"/>
                <a:gd name="T1" fmla="*/ 3415 h 3901"/>
                <a:gd name="T2" fmla="*/ 483 w 3806"/>
                <a:gd name="T3" fmla="*/ 2693 h 3901"/>
                <a:gd name="T4" fmla="*/ 574 w 3806"/>
                <a:gd name="T5" fmla="*/ 2241 h 3901"/>
                <a:gd name="T6" fmla="*/ 584 w 3806"/>
                <a:gd name="T7" fmla="*/ 1641 h 3901"/>
                <a:gd name="T8" fmla="*/ 1004 w 3806"/>
                <a:gd name="T9" fmla="*/ 1523 h 3901"/>
                <a:gd name="T10" fmla="*/ 1533 w 3806"/>
                <a:gd name="T11" fmla="*/ 755 h 3901"/>
                <a:gd name="T12" fmla="*/ 1504 w 3806"/>
                <a:gd name="T13" fmla="*/ 319 h 3901"/>
                <a:gd name="T14" fmla="*/ 2278 w 3806"/>
                <a:gd name="T15" fmla="*/ 685 h 3901"/>
                <a:gd name="T16" fmla="*/ 2514 w 3806"/>
                <a:gd name="T17" fmla="*/ 1146 h 3901"/>
                <a:gd name="T18" fmla="*/ 2901 w 3806"/>
                <a:gd name="T19" fmla="*/ 1526 h 3901"/>
                <a:gd name="T20" fmla="*/ 3322 w 3806"/>
                <a:gd name="T21" fmla="*/ 1945 h 3901"/>
                <a:gd name="T22" fmla="*/ 3163 w 3806"/>
                <a:gd name="T23" fmla="*/ 2286 h 3901"/>
                <a:gd name="T24" fmla="*/ 3479 w 3806"/>
                <a:gd name="T25" fmla="*/ 3112 h 3901"/>
                <a:gd name="T26" fmla="*/ 3091 w 3806"/>
                <a:gd name="T27" fmla="*/ 3613 h 3901"/>
                <a:gd name="T28" fmla="*/ 3165 w 3806"/>
                <a:gd name="T29" fmla="*/ 3188 h 3901"/>
                <a:gd name="T30" fmla="*/ 2901 w 3806"/>
                <a:gd name="T31" fmla="*/ 2420 h 3901"/>
                <a:gd name="T32" fmla="*/ 2634 w 3806"/>
                <a:gd name="T33" fmla="*/ 3192 h 3901"/>
                <a:gd name="T34" fmla="*/ 2594 w 3806"/>
                <a:gd name="T35" fmla="*/ 3755 h 3901"/>
                <a:gd name="T36" fmla="*/ 2050 w 3806"/>
                <a:gd name="T37" fmla="*/ 3534 h 3901"/>
                <a:gd name="T38" fmla="*/ 2369 w 3806"/>
                <a:gd name="T39" fmla="*/ 3080 h 3901"/>
                <a:gd name="T40" fmla="*/ 2637 w 3806"/>
                <a:gd name="T41" fmla="*/ 2287 h 3901"/>
                <a:gd name="T42" fmla="*/ 2516 w 3806"/>
                <a:gd name="T43" fmla="*/ 1758 h 3901"/>
                <a:gd name="T44" fmla="*/ 2282 w 3806"/>
                <a:gd name="T45" fmla="*/ 1308 h 3901"/>
                <a:gd name="T46" fmla="*/ 1892 w 3806"/>
                <a:gd name="T47" fmla="*/ 928 h 3901"/>
                <a:gd name="T48" fmla="*/ 1500 w 3806"/>
                <a:gd name="T49" fmla="*/ 1307 h 3901"/>
                <a:gd name="T50" fmla="*/ 1266 w 3806"/>
                <a:gd name="T51" fmla="*/ 1758 h 3901"/>
                <a:gd name="T52" fmla="*/ 1145 w 3806"/>
                <a:gd name="T53" fmla="*/ 2287 h 3901"/>
                <a:gd name="T54" fmla="*/ 1413 w 3806"/>
                <a:gd name="T55" fmla="*/ 3080 h 3901"/>
                <a:gd name="T56" fmla="*/ 1731 w 3806"/>
                <a:gd name="T57" fmla="*/ 3534 h 3901"/>
                <a:gd name="T58" fmla="*/ 1187 w 3806"/>
                <a:gd name="T59" fmla="*/ 3755 h 3901"/>
                <a:gd name="T60" fmla="*/ 1148 w 3806"/>
                <a:gd name="T61" fmla="*/ 3192 h 3901"/>
                <a:gd name="T62" fmla="*/ 881 w 3806"/>
                <a:gd name="T63" fmla="*/ 2420 h 3901"/>
                <a:gd name="T64" fmla="*/ 617 w 3806"/>
                <a:gd name="T65" fmla="*/ 3188 h 3901"/>
                <a:gd name="T66" fmla="*/ 727 w 3806"/>
                <a:gd name="T67" fmla="*/ 3430 h 3901"/>
                <a:gd name="T68" fmla="*/ 256 w 3806"/>
                <a:gd name="T69" fmla="*/ 3794 h 3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06" h="3901">
                  <a:moveTo>
                    <a:pt x="256" y="3794"/>
                  </a:moveTo>
                  <a:cubicBezTo>
                    <a:pt x="108" y="3740"/>
                    <a:pt x="0" y="3563"/>
                    <a:pt x="23" y="3415"/>
                  </a:cubicBezTo>
                  <a:cubicBezTo>
                    <a:pt x="46" y="3271"/>
                    <a:pt x="161" y="3146"/>
                    <a:pt x="303" y="3112"/>
                  </a:cubicBezTo>
                  <a:cubicBezTo>
                    <a:pt x="345" y="3101"/>
                    <a:pt x="356" y="3075"/>
                    <a:pt x="483" y="2693"/>
                  </a:cubicBezTo>
                  <a:lnTo>
                    <a:pt x="619" y="2286"/>
                  </a:lnTo>
                  <a:lnTo>
                    <a:pt x="574" y="2241"/>
                  </a:lnTo>
                  <a:cubicBezTo>
                    <a:pt x="493" y="2160"/>
                    <a:pt x="460" y="2073"/>
                    <a:pt x="460" y="1945"/>
                  </a:cubicBezTo>
                  <a:cubicBezTo>
                    <a:pt x="460" y="1813"/>
                    <a:pt x="494" y="1729"/>
                    <a:pt x="584" y="1641"/>
                  </a:cubicBezTo>
                  <a:cubicBezTo>
                    <a:pt x="668" y="1558"/>
                    <a:pt x="743" y="1529"/>
                    <a:pt x="881" y="1526"/>
                  </a:cubicBezTo>
                  <a:lnTo>
                    <a:pt x="1004" y="1523"/>
                  </a:lnTo>
                  <a:lnTo>
                    <a:pt x="1268" y="1146"/>
                  </a:lnTo>
                  <a:cubicBezTo>
                    <a:pt x="1414" y="938"/>
                    <a:pt x="1533" y="763"/>
                    <a:pt x="1533" y="755"/>
                  </a:cubicBezTo>
                  <a:cubicBezTo>
                    <a:pt x="1533" y="748"/>
                    <a:pt x="1520" y="717"/>
                    <a:pt x="1503" y="685"/>
                  </a:cubicBezTo>
                  <a:cubicBezTo>
                    <a:pt x="1463" y="607"/>
                    <a:pt x="1463" y="400"/>
                    <a:pt x="1504" y="319"/>
                  </a:cubicBezTo>
                  <a:cubicBezTo>
                    <a:pt x="1663" y="0"/>
                    <a:pt x="2119" y="0"/>
                    <a:pt x="2278" y="319"/>
                  </a:cubicBezTo>
                  <a:cubicBezTo>
                    <a:pt x="2318" y="400"/>
                    <a:pt x="2319" y="607"/>
                    <a:pt x="2278" y="685"/>
                  </a:cubicBezTo>
                  <a:cubicBezTo>
                    <a:pt x="2262" y="717"/>
                    <a:pt x="2249" y="748"/>
                    <a:pt x="2249" y="755"/>
                  </a:cubicBezTo>
                  <a:cubicBezTo>
                    <a:pt x="2249" y="763"/>
                    <a:pt x="2368" y="938"/>
                    <a:pt x="2514" y="1146"/>
                  </a:cubicBezTo>
                  <a:lnTo>
                    <a:pt x="2778" y="1523"/>
                  </a:lnTo>
                  <a:lnTo>
                    <a:pt x="2901" y="1526"/>
                  </a:lnTo>
                  <a:cubicBezTo>
                    <a:pt x="3039" y="1529"/>
                    <a:pt x="3113" y="1558"/>
                    <a:pt x="3198" y="1641"/>
                  </a:cubicBezTo>
                  <a:cubicBezTo>
                    <a:pt x="3288" y="1729"/>
                    <a:pt x="3322" y="1813"/>
                    <a:pt x="3322" y="1945"/>
                  </a:cubicBezTo>
                  <a:cubicBezTo>
                    <a:pt x="3322" y="2073"/>
                    <a:pt x="3289" y="2160"/>
                    <a:pt x="3208" y="2241"/>
                  </a:cubicBezTo>
                  <a:lnTo>
                    <a:pt x="3163" y="2286"/>
                  </a:lnTo>
                  <a:lnTo>
                    <a:pt x="3299" y="2693"/>
                  </a:lnTo>
                  <a:cubicBezTo>
                    <a:pt x="3426" y="3075"/>
                    <a:pt x="3437" y="3101"/>
                    <a:pt x="3479" y="3112"/>
                  </a:cubicBezTo>
                  <a:cubicBezTo>
                    <a:pt x="3684" y="3162"/>
                    <a:pt x="3806" y="3373"/>
                    <a:pt x="3742" y="3567"/>
                  </a:cubicBezTo>
                  <a:cubicBezTo>
                    <a:pt x="3641" y="3872"/>
                    <a:pt x="3232" y="3901"/>
                    <a:pt x="3091" y="3613"/>
                  </a:cubicBezTo>
                  <a:cubicBezTo>
                    <a:pt x="3030" y="3490"/>
                    <a:pt x="3039" y="3367"/>
                    <a:pt x="3115" y="3259"/>
                  </a:cubicBezTo>
                  <a:lnTo>
                    <a:pt x="3165" y="3188"/>
                  </a:lnTo>
                  <a:lnTo>
                    <a:pt x="3038" y="2804"/>
                  </a:lnTo>
                  <a:cubicBezTo>
                    <a:pt x="2968" y="2593"/>
                    <a:pt x="2906" y="2420"/>
                    <a:pt x="2901" y="2420"/>
                  </a:cubicBezTo>
                  <a:cubicBezTo>
                    <a:pt x="2895" y="2420"/>
                    <a:pt x="2833" y="2594"/>
                    <a:pt x="2762" y="2806"/>
                  </a:cubicBezTo>
                  <a:lnTo>
                    <a:pt x="2634" y="3192"/>
                  </a:lnTo>
                  <a:lnTo>
                    <a:pt x="2673" y="3239"/>
                  </a:lnTo>
                  <a:cubicBezTo>
                    <a:pt x="2800" y="3389"/>
                    <a:pt x="2759" y="3653"/>
                    <a:pt x="2594" y="3755"/>
                  </a:cubicBezTo>
                  <a:cubicBezTo>
                    <a:pt x="2437" y="3851"/>
                    <a:pt x="2272" y="3832"/>
                    <a:pt x="2147" y="3704"/>
                  </a:cubicBezTo>
                  <a:cubicBezTo>
                    <a:pt x="2085" y="3640"/>
                    <a:pt x="2065" y="3605"/>
                    <a:pt x="2050" y="3534"/>
                  </a:cubicBezTo>
                  <a:cubicBezTo>
                    <a:pt x="2014" y="3359"/>
                    <a:pt x="2108" y="3191"/>
                    <a:pt x="2278" y="3127"/>
                  </a:cubicBezTo>
                  <a:cubicBezTo>
                    <a:pt x="2322" y="3111"/>
                    <a:pt x="2363" y="3089"/>
                    <a:pt x="2369" y="3080"/>
                  </a:cubicBezTo>
                  <a:cubicBezTo>
                    <a:pt x="2376" y="3071"/>
                    <a:pt x="2438" y="2888"/>
                    <a:pt x="2509" y="2675"/>
                  </a:cubicBezTo>
                  <a:lnTo>
                    <a:pt x="2637" y="2287"/>
                  </a:lnTo>
                  <a:lnTo>
                    <a:pt x="2577" y="2221"/>
                  </a:lnTo>
                  <a:cubicBezTo>
                    <a:pt x="2465" y="2097"/>
                    <a:pt x="2442" y="1925"/>
                    <a:pt x="2516" y="1758"/>
                  </a:cubicBezTo>
                  <a:lnTo>
                    <a:pt x="2548" y="1687"/>
                  </a:lnTo>
                  <a:lnTo>
                    <a:pt x="2282" y="1308"/>
                  </a:lnTo>
                  <a:lnTo>
                    <a:pt x="2017" y="929"/>
                  </a:lnTo>
                  <a:lnTo>
                    <a:pt x="1892" y="928"/>
                  </a:lnTo>
                  <a:lnTo>
                    <a:pt x="1766" y="927"/>
                  </a:lnTo>
                  <a:lnTo>
                    <a:pt x="1500" y="1307"/>
                  </a:lnTo>
                  <a:lnTo>
                    <a:pt x="1234" y="1687"/>
                  </a:lnTo>
                  <a:lnTo>
                    <a:pt x="1266" y="1758"/>
                  </a:lnTo>
                  <a:cubicBezTo>
                    <a:pt x="1340" y="1925"/>
                    <a:pt x="1317" y="2097"/>
                    <a:pt x="1205" y="2221"/>
                  </a:cubicBezTo>
                  <a:lnTo>
                    <a:pt x="1145" y="2287"/>
                  </a:lnTo>
                  <a:lnTo>
                    <a:pt x="1273" y="2675"/>
                  </a:lnTo>
                  <a:cubicBezTo>
                    <a:pt x="1344" y="2888"/>
                    <a:pt x="1406" y="3071"/>
                    <a:pt x="1413" y="3080"/>
                  </a:cubicBezTo>
                  <a:cubicBezTo>
                    <a:pt x="1419" y="3089"/>
                    <a:pt x="1460" y="3111"/>
                    <a:pt x="1504" y="3127"/>
                  </a:cubicBezTo>
                  <a:cubicBezTo>
                    <a:pt x="1674" y="3191"/>
                    <a:pt x="1768" y="3359"/>
                    <a:pt x="1731" y="3534"/>
                  </a:cubicBezTo>
                  <a:cubicBezTo>
                    <a:pt x="1717" y="3605"/>
                    <a:pt x="1697" y="3640"/>
                    <a:pt x="1635" y="3704"/>
                  </a:cubicBezTo>
                  <a:cubicBezTo>
                    <a:pt x="1510" y="3832"/>
                    <a:pt x="1345" y="3851"/>
                    <a:pt x="1187" y="3755"/>
                  </a:cubicBezTo>
                  <a:cubicBezTo>
                    <a:pt x="1023" y="3653"/>
                    <a:pt x="982" y="3389"/>
                    <a:pt x="1108" y="3239"/>
                  </a:cubicBezTo>
                  <a:lnTo>
                    <a:pt x="1148" y="3192"/>
                  </a:lnTo>
                  <a:lnTo>
                    <a:pt x="1020" y="2806"/>
                  </a:lnTo>
                  <a:cubicBezTo>
                    <a:pt x="949" y="2594"/>
                    <a:pt x="887" y="2420"/>
                    <a:pt x="881" y="2420"/>
                  </a:cubicBezTo>
                  <a:cubicBezTo>
                    <a:pt x="876" y="2420"/>
                    <a:pt x="814" y="2593"/>
                    <a:pt x="744" y="2804"/>
                  </a:cubicBezTo>
                  <a:lnTo>
                    <a:pt x="617" y="3188"/>
                  </a:lnTo>
                  <a:lnTo>
                    <a:pt x="668" y="3260"/>
                  </a:lnTo>
                  <a:cubicBezTo>
                    <a:pt x="706" y="3314"/>
                    <a:pt x="721" y="3356"/>
                    <a:pt x="727" y="3430"/>
                  </a:cubicBezTo>
                  <a:cubicBezTo>
                    <a:pt x="735" y="3516"/>
                    <a:pt x="730" y="3540"/>
                    <a:pt x="688" y="3620"/>
                  </a:cubicBezTo>
                  <a:cubicBezTo>
                    <a:pt x="603" y="3780"/>
                    <a:pt x="419" y="3854"/>
                    <a:pt x="256" y="3794"/>
                  </a:cubicBezTo>
                  <a:close/>
                </a:path>
              </a:pathLst>
            </a:custGeom>
            <a:solidFill>
              <a:srgbClr val="FFCA2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n-lt"/>
                <a:ea typeface="楷体" panose="02010609060101010101" pitchFamily="49" charset="-122"/>
              </a:endParaRPr>
            </a:p>
          </p:txBody>
        </p:sp>
      </p:grpSp>
      <p:cxnSp>
        <p:nvCxnSpPr>
          <p:cNvPr id="488" name="Straight Connector 487"/>
          <p:cNvCxnSpPr>
            <a:cxnSpLocks/>
          </p:cNvCxnSpPr>
          <p:nvPr/>
        </p:nvCxnSpPr>
        <p:spPr bwMode="auto">
          <a:xfrm>
            <a:off x="119064" y="2825152"/>
            <a:ext cx="951583" cy="0"/>
          </a:xfrm>
          <a:prstGeom prst="line">
            <a:avLst/>
          </a:prstGeom>
          <a:ln w="3175">
            <a:solidFill>
              <a:srgbClr val="FFCA21"/>
            </a:solidFill>
          </a:ln>
        </p:spPr>
        <p:style>
          <a:lnRef idx="1">
            <a:schemeClr val="accent1"/>
          </a:lnRef>
          <a:fillRef idx="0">
            <a:schemeClr val="accent1"/>
          </a:fillRef>
          <a:effectRef idx="0">
            <a:schemeClr val="accent1"/>
          </a:effectRef>
          <a:fontRef idx="minor">
            <a:schemeClr val="tx1"/>
          </a:fontRef>
        </p:style>
      </p:cxnSp>
      <p:cxnSp>
        <p:nvCxnSpPr>
          <p:cNvPr id="489" name="Straight Connector 488"/>
          <p:cNvCxnSpPr>
            <a:cxnSpLocks/>
          </p:cNvCxnSpPr>
          <p:nvPr/>
        </p:nvCxnSpPr>
        <p:spPr>
          <a:xfrm>
            <a:off x="1374210" y="2825152"/>
            <a:ext cx="7424350" cy="0"/>
          </a:xfrm>
          <a:prstGeom prst="line">
            <a:avLst/>
          </a:prstGeom>
          <a:ln w="9525">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501" name="Straight Connector 500"/>
          <p:cNvCxnSpPr>
            <a:cxnSpLocks/>
          </p:cNvCxnSpPr>
          <p:nvPr/>
        </p:nvCxnSpPr>
        <p:spPr>
          <a:xfrm>
            <a:off x="4712989" y="1168400"/>
            <a:ext cx="0" cy="1321844"/>
          </a:xfrm>
          <a:prstGeom prst="line">
            <a:avLst/>
          </a:prstGeom>
          <a:ln w="9525">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502" name="Straight Connector 501"/>
          <p:cNvCxnSpPr>
            <a:cxnSpLocks/>
          </p:cNvCxnSpPr>
          <p:nvPr/>
        </p:nvCxnSpPr>
        <p:spPr>
          <a:xfrm>
            <a:off x="4712989" y="4699000"/>
            <a:ext cx="0" cy="1493838"/>
          </a:xfrm>
          <a:prstGeom prst="line">
            <a:avLst/>
          </a:prstGeom>
          <a:ln w="9525">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7680325" y="1668463"/>
            <a:ext cx="1029895" cy="192326"/>
            <a:chOff x="5999967" y="1415441"/>
            <a:chExt cx="1029895" cy="192326"/>
          </a:xfrm>
        </p:grpSpPr>
        <p:cxnSp>
          <p:nvCxnSpPr>
            <p:cNvPr id="47" name="Straight Arrow Connector 46"/>
            <p:cNvCxnSpPr/>
            <p:nvPr/>
          </p:nvCxnSpPr>
          <p:spPr>
            <a:xfrm>
              <a:off x="5999967" y="1415441"/>
              <a:ext cx="996146"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5999967" y="1438490"/>
              <a:ext cx="1029895" cy="169277"/>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dirty="0">
                  <a:solidFill>
                    <a:schemeClr val="bg1"/>
                  </a:solidFill>
                  <a:ea typeface="楷体" panose="02010609060101010101" pitchFamily="49" charset="-122"/>
                  <a:cs typeface="SimSun"/>
                </a:rPr>
                <a:t>深度学习</a:t>
              </a:r>
            </a:p>
          </p:txBody>
        </p:sp>
      </p:grpSp>
      <p:pic>
        <p:nvPicPr>
          <p:cNvPr id="308238" name="Picture 14"/>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4914900" y="4914900"/>
            <a:ext cx="3975100" cy="113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239" name="Picture 15"/>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914900" y="1562100"/>
            <a:ext cx="39751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00381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 name="Group 51"/>
          <p:cNvGrpSpPr>
            <a:grpSpLocks/>
          </p:cNvGrpSpPr>
          <p:nvPr/>
        </p:nvGrpSpPr>
        <p:grpSpPr>
          <a:xfrm>
            <a:off x="0" y="-1"/>
            <a:ext cx="8961438" cy="6721475"/>
            <a:chOff x="749301" y="-1"/>
            <a:chExt cx="8961438" cy="6721475"/>
          </a:xfrm>
        </p:grpSpPr>
        <p:grpSp>
          <p:nvGrpSpPr>
            <p:cNvPr id="57" name="Group 56"/>
            <p:cNvGrpSpPr>
              <a:grpSpLocks/>
            </p:cNvGrpSpPr>
            <p:nvPr/>
          </p:nvGrpSpPr>
          <p:grpSpPr>
            <a:xfrm>
              <a:off x="749301" y="-1"/>
              <a:ext cx="8961438" cy="6721475"/>
              <a:chOff x="-12625388" y="-4110038"/>
              <a:chExt cx="11771313" cy="11769726"/>
            </a:xfrm>
          </p:grpSpPr>
          <p:sp>
            <p:nvSpPr>
              <p:cNvPr id="59" name="Freeform 305"/>
              <p:cNvSpPr>
                <a:spLocks noEditPoints="1"/>
              </p:cNvSpPr>
              <p:nvPr/>
            </p:nvSpPr>
            <p:spPr bwMode="auto">
              <a:xfrm>
                <a:off x="-12625388" y="-4110038"/>
                <a:ext cx="11771313" cy="11769725"/>
              </a:xfrm>
              <a:custGeom>
                <a:avLst/>
                <a:gdLst>
                  <a:gd name="T0" fmla="*/ 15360 w 15446"/>
                  <a:gd name="T1" fmla="*/ 14351 h 15446"/>
                  <a:gd name="T2" fmla="*/ 11037 w 15446"/>
                  <a:gd name="T3" fmla="*/ 13656 h 15446"/>
                  <a:gd name="T4" fmla="*/ 5936 w 15446"/>
                  <a:gd name="T5" fmla="*/ 12632 h 15446"/>
                  <a:gd name="T6" fmla="*/ 13164 w 15446"/>
                  <a:gd name="T7" fmla="*/ 15446 h 15446"/>
                  <a:gd name="T8" fmla="*/ 7984 w 15446"/>
                  <a:gd name="T9" fmla="*/ 14465 h 15446"/>
                  <a:gd name="T10" fmla="*/ 4300 w 15446"/>
                  <a:gd name="T11" fmla="*/ 15446 h 15446"/>
                  <a:gd name="T12" fmla="*/ 750 w 15446"/>
                  <a:gd name="T13" fmla="*/ 12746 h 15446"/>
                  <a:gd name="T14" fmla="*/ 750 w 15446"/>
                  <a:gd name="T15" fmla="*/ 12746 h 15446"/>
                  <a:gd name="T16" fmla="*/ 750 w 15446"/>
                  <a:gd name="T17" fmla="*/ 12746 h 15446"/>
                  <a:gd name="T18" fmla="*/ 371 w 15446"/>
                  <a:gd name="T19" fmla="*/ 15010 h 15446"/>
                  <a:gd name="T20" fmla="*/ 14542 w 15446"/>
                  <a:gd name="T21" fmla="*/ 0 h 15446"/>
                  <a:gd name="T22" fmla="*/ 7468 w 15446"/>
                  <a:gd name="T23" fmla="*/ 1574 h 15446"/>
                  <a:gd name="T24" fmla="*/ 7468 w 15446"/>
                  <a:gd name="T25" fmla="*/ 1574 h 15446"/>
                  <a:gd name="T26" fmla="*/ 3502 w 15446"/>
                  <a:gd name="T27" fmla="*/ 2789 h 15446"/>
                  <a:gd name="T28" fmla="*/ 1065 w 15446"/>
                  <a:gd name="T29" fmla="*/ 1273 h 15446"/>
                  <a:gd name="T30" fmla="*/ 120 w 15446"/>
                  <a:gd name="T31" fmla="*/ 3894 h 15446"/>
                  <a:gd name="T32" fmla="*/ 1145 w 15446"/>
                  <a:gd name="T33" fmla="*/ 6872 h 15446"/>
                  <a:gd name="T34" fmla="*/ 0 w 15446"/>
                  <a:gd name="T35" fmla="*/ 7970 h 15446"/>
                  <a:gd name="T36" fmla="*/ 2324 w 15446"/>
                  <a:gd name="T37" fmla="*/ 8914 h 15446"/>
                  <a:gd name="T38" fmla="*/ 3502 w 15446"/>
                  <a:gd name="T39" fmla="*/ 10955 h 15446"/>
                  <a:gd name="T40" fmla="*/ 2324 w 15446"/>
                  <a:gd name="T41" fmla="*/ 8914 h 15446"/>
                  <a:gd name="T42" fmla="*/ 586 w 15446"/>
                  <a:gd name="T43" fmla="*/ 11428 h 15446"/>
                  <a:gd name="T44" fmla="*/ 3502 w 15446"/>
                  <a:gd name="T45" fmla="*/ 10956 h 15446"/>
                  <a:gd name="T46" fmla="*/ 4943 w 15446"/>
                  <a:gd name="T47" fmla="*/ 15446 h 15446"/>
                  <a:gd name="T48" fmla="*/ 901 w 15446"/>
                  <a:gd name="T49" fmla="*/ 1246 h 15446"/>
                  <a:gd name="T50" fmla="*/ 2324 w 15446"/>
                  <a:gd name="T51" fmla="*/ 748 h 15446"/>
                  <a:gd name="T52" fmla="*/ 45 w 15446"/>
                  <a:gd name="T53" fmla="*/ 0 h 15446"/>
                  <a:gd name="T54" fmla="*/ 3737 w 15446"/>
                  <a:gd name="T55" fmla="*/ 15446 h 15446"/>
                  <a:gd name="T56" fmla="*/ 11037 w 15446"/>
                  <a:gd name="T57" fmla="*/ 13656 h 15446"/>
                  <a:gd name="T58" fmla="*/ 8413 w 15446"/>
                  <a:gd name="T59" fmla="*/ 8879 h 15446"/>
                  <a:gd name="T60" fmla="*/ 10777 w 15446"/>
                  <a:gd name="T61" fmla="*/ 9480 h 15446"/>
                  <a:gd name="T62" fmla="*/ 14110 w 15446"/>
                  <a:gd name="T63" fmla="*/ 8914 h 15446"/>
                  <a:gd name="T64" fmla="*/ 12931 w 15446"/>
                  <a:gd name="T65" fmla="*/ 10955 h 15446"/>
                  <a:gd name="T66" fmla="*/ 14110 w 15446"/>
                  <a:gd name="T67" fmla="*/ 12997 h 15446"/>
                  <a:gd name="T68" fmla="*/ 2324 w 15446"/>
                  <a:gd name="T69" fmla="*/ 12997 h 15446"/>
                  <a:gd name="T70" fmla="*/ 5935 w 15446"/>
                  <a:gd name="T71" fmla="*/ 12631 h 15446"/>
                  <a:gd name="T72" fmla="*/ 5936 w 15446"/>
                  <a:gd name="T73" fmla="*/ 12632 h 15446"/>
                  <a:gd name="T74" fmla="*/ 12931 w 15446"/>
                  <a:gd name="T75" fmla="*/ 6872 h 15446"/>
                  <a:gd name="T76" fmla="*/ 12931 w 15446"/>
                  <a:gd name="T77" fmla="*/ 6872 h 15446"/>
                  <a:gd name="T78" fmla="*/ 5860 w 15446"/>
                  <a:gd name="T79" fmla="*/ 6872 h 15446"/>
                  <a:gd name="T80" fmla="*/ 7038 w 15446"/>
                  <a:gd name="T81" fmla="*/ 8914 h 15446"/>
                  <a:gd name="T82" fmla="*/ 15446 w 15446"/>
                  <a:gd name="T83" fmla="*/ 8914 h 15446"/>
                  <a:gd name="T84" fmla="*/ 8217 w 15446"/>
                  <a:gd name="T85" fmla="*/ 6872 h 15446"/>
                  <a:gd name="T86" fmla="*/ 4159 w 15446"/>
                  <a:gd name="T87" fmla="*/ 4109 h 15446"/>
                  <a:gd name="T88" fmla="*/ 4159 w 15446"/>
                  <a:gd name="T89" fmla="*/ 4109 h 15446"/>
                  <a:gd name="T90" fmla="*/ 2557 w 15446"/>
                  <a:gd name="T91" fmla="*/ 7302 h 15446"/>
                  <a:gd name="T92" fmla="*/ 5860 w 15446"/>
                  <a:gd name="T93" fmla="*/ 6872 h 15446"/>
                  <a:gd name="T94" fmla="*/ 15446 w 15446"/>
                  <a:gd name="T95" fmla="*/ 7072 h 15446"/>
                  <a:gd name="T96" fmla="*/ 10574 w 15446"/>
                  <a:gd name="T97" fmla="*/ 6872 h 15446"/>
                  <a:gd name="T98" fmla="*/ 10574 w 15446"/>
                  <a:gd name="T99" fmla="*/ 6872 h 15446"/>
                  <a:gd name="T100" fmla="*/ 9316 w 15446"/>
                  <a:gd name="T101" fmla="*/ 6257 h 15446"/>
                  <a:gd name="T102" fmla="*/ 12655 w 15446"/>
                  <a:gd name="T103" fmla="*/ 5604 h 15446"/>
                  <a:gd name="T104" fmla="*/ 9316 w 15446"/>
                  <a:gd name="T105" fmla="*/ 6257 h 15446"/>
                  <a:gd name="T106" fmla="*/ 12655 w 15446"/>
                  <a:gd name="T107" fmla="*/ 5604 h 15446"/>
                  <a:gd name="T108" fmla="*/ 8410 w 15446"/>
                  <a:gd name="T109" fmla="*/ 2581 h 15446"/>
                  <a:gd name="T110" fmla="*/ 7038 w 15446"/>
                  <a:gd name="T111" fmla="*/ 4831 h 15446"/>
                  <a:gd name="T112" fmla="*/ 14110 w 15446"/>
                  <a:gd name="T113" fmla="*/ 4831 h 15446"/>
                  <a:gd name="T114" fmla="*/ 14110 w 15446"/>
                  <a:gd name="T115" fmla="*/ 4831 h 15446"/>
                  <a:gd name="T116" fmla="*/ 4603 w 15446"/>
                  <a:gd name="T117" fmla="*/ 3765 h 15446"/>
                  <a:gd name="T118" fmla="*/ 9396 w 15446"/>
                  <a:gd name="T119" fmla="*/ 748 h 15446"/>
                  <a:gd name="T120" fmla="*/ 5859 w 15446"/>
                  <a:gd name="T121" fmla="*/ 2790 h 15446"/>
                  <a:gd name="T122" fmla="*/ 15446 w 15446"/>
                  <a:gd name="T123" fmla="*/ 1876 h 15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46" h="15446">
                    <a:moveTo>
                      <a:pt x="14929" y="15446"/>
                    </a:moveTo>
                    <a:lnTo>
                      <a:pt x="14929" y="15446"/>
                    </a:lnTo>
                    <a:lnTo>
                      <a:pt x="15360" y="14351"/>
                    </a:lnTo>
                    <a:lnTo>
                      <a:pt x="13552" y="15446"/>
                    </a:lnTo>
                    <a:lnTo>
                      <a:pt x="15360" y="14351"/>
                    </a:lnTo>
                    <a:lnTo>
                      <a:pt x="14710" y="13647"/>
                    </a:lnTo>
                    <a:lnTo>
                      <a:pt x="15360" y="14351"/>
                    </a:lnTo>
                    <a:lnTo>
                      <a:pt x="15446" y="14344"/>
                    </a:lnTo>
                    <a:lnTo>
                      <a:pt x="15446" y="14344"/>
                    </a:lnTo>
                    <a:lnTo>
                      <a:pt x="15360" y="14351"/>
                    </a:lnTo>
                    <a:lnTo>
                      <a:pt x="14929" y="15446"/>
                    </a:lnTo>
                    <a:moveTo>
                      <a:pt x="13164" y="15446"/>
                    </a:moveTo>
                    <a:lnTo>
                      <a:pt x="13164" y="15446"/>
                    </a:lnTo>
                    <a:lnTo>
                      <a:pt x="11037" y="13656"/>
                    </a:lnTo>
                    <a:lnTo>
                      <a:pt x="11394" y="15446"/>
                    </a:lnTo>
                    <a:lnTo>
                      <a:pt x="11394" y="15446"/>
                    </a:lnTo>
                    <a:lnTo>
                      <a:pt x="11037" y="13656"/>
                    </a:lnTo>
                    <a:lnTo>
                      <a:pt x="9396" y="12997"/>
                    </a:lnTo>
                    <a:lnTo>
                      <a:pt x="9395" y="12997"/>
                    </a:lnTo>
                    <a:lnTo>
                      <a:pt x="9396" y="12997"/>
                    </a:lnTo>
                    <a:lnTo>
                      <a:pt x="5936" y="12632"/>
                    </a:lnTo>
                    <a:lnTo>
                      <a:pt x="9395" y="12997"/>
                    </a:lnTo>
                    <a:lnTo>
                      <a:pt x="9395" y="12997"/>
                    </a:lnTo>
                    <a:lnTo>
                      <a:pt x="11037" y="13656"/>
                    </a:lnTo>
                    <a:lnTo>
                      <a:pt x="11037" y="13656"/>
                    </a:lnTo>
                    <a:lnTo>
                      <a:pt x="11037" y="13656"/>
                    </a:lnTo>
                    <a:lnTo>
                      <a:pt x="11037" y="13656"/>
                    </a:lnTo>
                    <a:lnTo>
                      <a:pt x="13164" y="15446"/>
                    </a:lnTo>
                    <a:moveTo>
                      <a:pt x="8513" y="15446"/>
                    </a:moveTo>
                    <a:lnTo>
                      <a:pt x="6538" y="15446"/>
                    </a:lnTo>
                    <a:lnTo>
                      <a:pt x="7984" y="14465"/>
                    </a:lnTo>
                    <a:lnTo>
                      <a:pt x="6538" y="15446"/>
                    </a:lnTo>
                    <a:lnTo>
                      <a:pt x="7984" y="14465"/>
                    </a:lnTo>
                    <a:lnTo>
                      <a:pt x="7376" y="13922"/>
                    </a:lnTo>
                    <a:lnTo>
                      <a:pt x="7984" y="14465"/>
                    </a:lnTo>
                    <a:lnTo>
                      <a:pt x="8513" y="15446"/>
                    </a:lnTo>
                    <a:moveTo>
                      <a:pt x="4943" y="15446"/>
                    </a:moveTo>
                    <a:lnTo>
                      <a:pt x="4943" y="15446"/>
                    </a:lnTo>
                    <a:lnTo>
                      <a:pt x="3564" y="14028"/>
                    </a:lnTo>
                    <a:lnTo>
                      <a:pt x="3502" y="15039"/>
                    </a:lnTo>
                    <a:lnTo>
                      <a:pt x="4300" y="15446"/>
                    </a:lnTo>
                    <a:lnTo>
                      <a:pt x="4300" y="15446"/>
                    </a:lnTo>
                    <a:lnTo>
                      <a:pt x="3502" y="15039"/>
                    </a:lnTo>
                    <a:lnTo>
                      <a:pt x="3502" y="15039"/>
                    </a:lnTo>
                    <a:lnTo>
                      <a:pt x="3502" y="15039"/>
                    </a:lnTo>
                    <a:lnTo>
                      <a:pt x="3564" y="14028"/>
                    </a:lnTo>
                    <a:lnTo>
                      <a:pt x="2324" y="12997"/>
                    </a:lnTo>
                    <a:lnTo>
                      <a:pt x="2324" y="12997"/>
                    </a:lnTo>
                    <a:lnTo>
                      <a:pt x="750" y="12746"/>
                    </a:lnTo>
                    <a:lnTo>
                      <a:pt x="750" y="12746"/>
                    </a:lnTo>
                    <a:lnTo>
                      <a:pt x="750" y="12746"/>
                    </a:lnTo>
                    <a:lnTo>
                      <a:pt x="750" y="12746"/>
                    </a:lnTo>
                    <a:lnTo>
                      <a:pt x="586" y="11428"/>
                    </a:lnTo>
                    <a:lnTo>
                      <a:pt x="0" y="11274"/>
                    </a:lnTo>
                    <a:lnTo>
                      <a:pt x="0" y="12062"/>
                    </a:lnTo>
                    <a:lnTo>
                      <a:pt x="750" y="12746"/>
                    </a:lnTo>
                    <a:lnTo>
                      <a:pt x="750" y="12746"/>
                    </a:lnTo>
                    <a:lnTo>
                      <a:pt x="0" y="12062"/>
                    </a:lnTo>
                    <a:lnTo>
                      <a:pt x="750" y="12746"/>
                    </a:lnTo>
                    <a:lnTo>
                      <a:pt x="0" y="13667"/>
                    </a:lnTo>
                    <a:lnTo>
                      <a:pt x="0" y="15111"/>
                    </a:lnTo>
                    <a:lnTo>
                      <a:pt x="371" y="15010"/>
                    </a:lnTo>
                    <a:lnTo>
                      <a:pt x="750" y="12746"/>
                    </a:lnTo>
                    <a:lnTo>
                      <a:pt x="750" y="12746"/>
                    </a:lnTo>
                    <a:lnTo>
                      <a:pt x="372" y="15010"/>
                    </a:lnTo>
                    <a:lnTo>
                      <a:pt x="1152" y="14205"/>
                    </a:lnTo>
                    <a:lnTo>
                      <a:pt x="372" y="15010"/>
                    </a:lnTo>
                    <a:lnTo>
                      <a:pt x="482" y="15446"/>
                    </a:lnTo>
                    <a:lnTo>
                      <a:pt x="482" y="15446"/>
                    </a:lnTo>
                    <a:lnTo>
                      <a:pt x="371" y="15010"/>
                    </a:lnTo>
                    <a:lnTo>
                      <a:pt x="0" y="15111"/>
                    </a:lnTo>
                    <a:lnTo>
                      <a:pt x="0" y="15446"/>
                    </a:lnTo>
                    <a:lnTo>
                      <a:pt x="0" y="0"/>
                    </a:lnTo>
                    <a:lnTo>
                      <a:pt x="15446" y="0"/>
                    </a:lnTo>
                    <a:lnTo>
                      <a:pt x="14542" y="0"/>
                    </a:lnTo>
                    <a:lnTo>
                      <a:pt x="14110" y="748"/>
                    </a:lnTo>
                    <a:lnTo>
                      <a:pt x="14542" y="0"/>
                    </a:lnTo>
                    <a:lnTo>
                      <a:pt x="8964" y="0"/>
                    </a:lnTo>
                    <a:lnTo>
                      <a:pt x="9395" y="747"/>
                    </a:lnTo>
                    <a:lnTo>
                      <a:pt x="9395" y="747"/>
                    </a:lnTo>
                    <a:lnTo>
                      <a:pt x="8964" y="0"/>
                    </a:lnTo>
                    <a:lnTo>
                      <a:pt x="7879" y="0"/>
                    </a:lnTo>
                    <a:lnTo>
                      <a:pt x="7468" y="1574"/>
                    </a:lnTo>
                    <a:lnTo>
                      <a:pt x="7468" y="1574"/>
                    </a:lnTo>
                    <a:lnTo>
                      <a:pt x="7879" y="0"/>
                    </a:lnTo>
                    <a:lnTo>
                      <a:pt x="6111" y="0"/>
                    </a:lnTo>
                    <a:lnTo>
                      <a:pt x="7468" y="1574"/>
                    </a:lnTo>
                    <a:lnTo>
                      <a:pt x="6111" y="0"/>
                    </a:lnTo>
                    <a:lnTo>
                      <a:pt x="4249" y="0"/>
                    </a:lnTo>
                    <a:lnTo>
                      <a:pt x="4681" y="748"/>
                    </a:lnTo>
                    <a:lnTo>
                      <a:pt x="7468" y="1574"/>
                    </a:lnTo>
                    <a:lnTo>
                      <a:pt x="7468" y="1574"/>
                    </a:lnTo>
                    <a:lnTo>
                      <a:pt x="4681" y="748"/>
                    </a:lnTo>
                    <a:lnTo>
                      <a:pt x="5860" y="2789"/>
                    </a:lnTo>
                    <a:lnTo>
                      <a:pt x="5859" y="2789"/>
                    </a:lnTo>
                    <a:lnTo>
                      <a:pt x="4681" y="748"/>
                    </a:lnTo>
                    <a:lnTo>
                      <a:pt x="3502" y="2790"/>
                    </a:lnTo>
                    <a:lnTo>
                      <a:pt x="3502" y="2789"/>
                    </a:lnTo>
                    <a:lnTo>
                      <a:pt x="4681" y="748"/>
                    </a:lnTo>
                    <a:lnTo>
                      <a:pt x="2324" y="748"/>
                    </a:lnTo>
                    <a:lnTo>
                      <a:pt x="3502" y="2789"/>
                    </a:lnTo>
                    <a:lnTo>
                      <a:pt x="3502" y="2789"/>
                    </a:lnTo>
                    <a:lnTo>
                      <a:pt x="2324" y="748"/>
                    </a:lnTo>
                    <a:lnTo>
                      <a:pt x="1065" y="1273"/>
                    </a:lnTo>
                    <a:lnTo>
                      <a:pt x="1065" y="1273"/>
                    </a:lnTo>
                    <a:lnTo>
                      <a:pt x="1065" y="1273"/>
                    </a:lnTo>
                    <a:lnTo>
                      <a:pt x="1065" y="1273"/>
                    </a:lnTo>
                    <a:lnTo>
                      <a:pt x="120" y="3894"/>
                    </a:lnTo>
                    <a:lnTo>
                      <a:pt x="2324" y="4831"/>
                    </a:lnTo>
                    <a:lnTo>
                      <a:pt x="2324" y="4831"/>
                    </a:lnTo>
                    <a:lnTo>
                      <a:pt x="120" y="3894"/>
                    </a:lnTo>
                    <a:lnTo>
                      <a:pt x="120" y="3894"/>
                    </a:lnTo>
                    <a:lnTo>
                      <a:pt x="1065" y="1273"/>
                    </a:lnTo>
                    <a:lnTo>
                      <a:pt x="0" y="1982"/>
                    </a:lnTo>
                    <a:lnTo>
                      <a:pt x="0" y="3795"/>
                    </a:lnTo>
                    <a:lnTo>
                      <a:pt x="120" y="3894"/>
                    </a:lnTo>
                    <a:lnTo>
                      <a:pt x="120" y="3894"/>
                    </a:lnTo>
                    <a:lnTo>
                      <a:pt x="270" y="4331"/>
                    </a:lnTo>
                    <a:lnTo>
                      <a:pt x="1145" y="6872"/>
                    </a:lnTo>
                    <a:lnTo>
                      <a:pt x="270" y="4331"/>
                    </a:lnTo>
                    <a:lnTo>
                      <a:pt x="1145" y="6872"/>
                    </a:lnTo>
                    <a:lnTo>
                      <a:pt x="2088" y="5239"/>
                    </a:lnTo>
                    <a:lnTo>
                      <a:pt x="1145" y="6872"/>
                    </a:lnTo>
                    <a:lnTo>
                      <a:pt x="1145" y="6872"/>
                    </a:lnTo>
                    <a:lnTo>
                      <a:pt x="1109" y="6907"/>
                    </a:lnTo>
                    <a:lnTo>
                      <a:pt x="0" y="7970"/>
                    </a:lnTo>
                    <a:lnTo>
                      <a:pt x="1109" y="6907"/>
                    </a:lnTo>
                    <a:lnTo>
                      <a:pt x="0" y="7970"/>
                    </a:lnTo>
                    <a:lnTo>
                      <a:pt x="0" y="8978"/>
                    </a:lnTo>
                    <a:lnTo>
                      <a:pt x="2324" y="8914"/>
                    </a:lnTo>
                    <a:lnTo>
                      <a:pt x="1145" y="6872"/>
                    </a:lnTo>
                    <a:lnTo>
                      <a:pt x="2324" y="8914"/>
                    </a:lnTo>
                    <a:lnTo>
                      <a:pt x="2324" y="8914"/>
                    </a:lnTo>
                    <a:lnTo>
                      <a:pt x="4116" y="9609"/>
                    </a:lnTo>
                    <a:lnTo>
                      <a:pt x="3114" y="8126"/>
                    </a:lnTo>
                    <a:lnTo>
                      <a:pt x="4116" y="9609"/>
                    </a:lnTo>
                    <a:lnTo>
                      <a:pt x="5860" y="10955"/>
                    </a:lnTo>
                    <a:lnTo>
                      <a:pt x="5859" y="10955"/>
                    </a:lnTo>
                    <a:lnTo>
                      <a:pt x="4116" y="9609"/>
                    </a:lnTo>
                    <a:lnTo>
                      <a:pt x="3502" y="10955"/>
                    </a:lnTo>
                    <a:lnTo>
                      <a:pt x="3502" y="10955"/>
                    </a:lnTo>
                    <a:lnTo>
                      <a:pt x="3502" y="10955"/>
                    </a:lnTo>
                    <a:lnTo>
                      <a:pt x="3502" y="10955"/>
                    </a:lnTo>
                    <a:lnTo>
                      <a:pt x="4116" y="9609"/>
                    </a:lnTo>
                    <a:lnTo>
                      <a:pt x="2324" y="8914"/>
                    </a:lnTo>
                    <a:lnTo>
                      <a:pt x="2324" y="8914"/>
                    </a:lnTo>
                    <a:lnTo>
                      <a:pt x="2324" y="8914"/>
                    </a:lnTo>
                    <a:lnTo>
                      <a:pt x="2324" y="8914"/>
                    </a:lnTo>
                    <a:lnTo>
                      <a:pt x="2324" y="8914"/>
                    </a:lnTo>
                    <a:lnTo>
                      <a:pt x="0" y="8978"/>
                    </a:lnTo>
                    <a:lnTo>
                      <a:pt x="0" y="11274"/>
                    </a:lnTo>
                    <a:lnTo>
                      <a:pt x="586" y="11428"/>
                    </a:lnTo>
                    <a:lnTo>
                      <a:pt x="1542" y="10045"/>
                    </a:lnTo>
                    <a:lnTo>
                      <a:pt x="586" y="11428"/>
                    </a:lnTo>
                    <a:lnTo>
                      <a:pt x="3502" y="10955"/>
                    </a:lnTo>
                    <a:lnTo>
                      <a:pt x="586" y="11428"/>
                    </a:lnTo>
                    <a:lnTo>
                      <a:pt x="750" y="12746"/>
                    </a:lnTo>
                    <a:lnTo>
                      <a:pt x="2324" y="12997"/>
                    </a:lnTo>
                    <a:lnTo>
                      <a:pt x="2324" y="12997"/>
                    </a:lnTo>
                    <a:lnTo>
                      <a:pt x="3564" y="14028"/>
                    </a:lnTo>
                    <a:lnTo>
                      <a:pt x="3502" y="10956"/>
                    </a:lnTo>
                    <a:lnTo>
                      <a:pt x="3564" y="14028"/>
                    </a:lnTo>
                    <a:lnTo>
                      <a:pt x="5860" y="10956"/>
                    </a:lnTo>
                    <a:lnTo>
                      <a:pt x="5860" y="10956"/>
                    </a:lnTo>
                    <a:lnTo>
                      <a:pt x="3564" y="14028"/>
                    </a:lnTo>
                    <a:lnTo>
                      <a:pt x="3564" y="14028"/>
                    </a:lnTo>
                    <a:lnTo>
                      <a:pt x="3564" y="14028"/>
                    </a:lnTo>
                    <a:lnTo>
                      <a:pt x="4943" y="15446"/>
                    </a:lnTo>
                    <a:moveTo>
                      <a:pt x="0" y="3795"/>
                    </a:moveTo>
                    <a:lnTo>
                      <a:pt x="120" y="3894"/>
                    </a:lnTo>
                    <a:lnTo>
                      <a:pt x="0" y="3795"/>
                    </a:lnTo>
                    <a:moveTo>
                      <a:pt x="0" y="1099"/>
                    </a:moveTo>
                    <a:lnTo>
                      <a:pt x="0" y="1982"/>
                    </a:lnTo>
                    <a:lnTo>
                      <a:pt x="1065" y="1273"/>
                    </a:lnTo>
                    <a:lnTo>
                      <a:pt x="901" y="1246"/>
                    </a:lnTo>
                    <a:lnTo>
                      <a:pt x="1065" y="1273"/>
                    </a:lnTo>
                    <a:lnTo>
                      <a:pt x="2324" y="748"/>
                    </a:lnTo>
                    <a:lnTo>
                      <a:pt x="0" y="916"/>
                    </a:lnTo>
                    <a:lnTo>
                      <a:pt x="0" y="1099"/>
                    </a:lnTo>
                    <a:moveTo>
                      <a:pt x="0" y="52"/>
                    </a:moveTo>
                    <a:lnTo>
                      <a:pt x="0" y="916"/>
                    </a:lnTo>
                    <a:lnTo>
                      <a:pt x="2324" y="748"/>
                    </a:lnTo>
                    <a:lnTo>
                      <a:pt x="4681" y="748"/>
                    </a:lnTo>
                    <a:lnTo>
                      <a:pt x="4249" y="0"/>
                    </a:lnTo>
                    <a:lnTo>
                      <a:pt x="1892" y="0"/>
                    </a:lnTo>
                    <a:lnTo>
                      <a:pt x="2324" y="748"/>
                    </a:lnTo>
                    <a:lnTo>
                      <a:pt x="2324" y="748"/>
                    </a:lnTo>
                    <a:lnTo>
                      <a:pt x="1892" y="0"/>
                    </a:lnTo>
                    <a:lnTo>
                      <a:pt x="45" y="0"/>
                    </a:lnTo>
                    <a:lnTo>
                      <a:pt x="0" y="52"/>
                    </a:lnTo>
                    <a:moveTo>
                      <a:pt x="0" y="0"/>
                    </a:moveTo>
                    <a:lnTo>
                      <a:pt x="0" y="52"/>
                    </a:lnTo>
                    <a:lnTo>
                      <a:pt x="44" y="0"/>
                    </a:lnTo>
                    <a:lnTo>
                      <a:pt x="0" y="0"/>
                    </a:lnTo>
                    <a:moveTo>
                      <a:pt x="3737" y="15446"/>
                    </a:moveTo>
                    <a:lnTo>
                      <a:pt x="3737" y="15446"/>
                    </a:lnTo>
                    <a:lnTo>
                      <a:pt x="3502" y="15039"/>
                    </a:lnTo>
                    <a:lnTo>
                      <a:pt x="3737" y="15446"/>
                    </a:lnTo>
                    <a:moveTo>
                      <a:pt x="1074" y="15446"/>
                    </a:moveTo>
                    <a:lnTo>
                      <a:pt x="1074" y="15446"/>
                    </a:lnTo>
                    <a:lnTo>
                      <a:pt x="800" y="15275"/>
                    </a:lnTo>
                    <a:lnTo>
                      <a:pt x="1074" y="15446"/>
                    </a:lnTo>
                    <a:moveTo>
                      <a:pt x="11037" y="13656"/>
                    </a:moveTo>
                    <a:lnTo>
                      <a:pt x="12931" y="10955"/>
                    </a:lnTo>
                    <a:lnTo>
                      <a:pt x="10777" y="9480"/>
                    </a:lnTo>
                    <a:lnTo>
                      <a:pt x="10433" y="11715"/>
                    </a:lnTo>
                    <a:lnTo>
                      <a:pt x="10433" y="11715"/>
                    </a:lnTo>
                    <a:lnTo>
                      <a:pt x="10433" y="11715"/>
                    </a:lnTo>
                    <a:lnTo>
                      <a:pt x="10777" y="9480"/>
                    </a:lnTo>
                    <a:lnTo>
                      <a:pt x="8413" y="8879"/>
                    </a:lnTo>
                    <a:lnTo>
                      <a:pt x="8413" y="8879"/>
                    </a:lnTo>
                    <a:lnTo>
                      <a:pt x="8413" y="8879"/>
                    </a:lnTo>
                    <a:lnTo>
                      <a:pt x="8413" y="8879"/>
                    </a:lnTo>
                    <a:lnTo>
                      <a:pt x="7038" y="8914"/>
                    </a:lnTo>
                    <a:lnTo>
                      <a:pt x="7038" y="8914"/>
                    </a:lnTo>
                    <a:lnTo>
                      <a:pt x="8413" y="8879"/>
                    </a:lnTo>
                    <a:lnTo>
                      <a:pt x="10777" y="9480"/>
                    </a:lnTo>
                    <a:lnTo>
                      <a:pt x="10777" y="9480"/>
                    </a:lnTo>
                    <a:lnTo>
                      <a:pt x="10777" y="9480"/>
                    </a:lnTo>
                    <a:lnTo>
                      <a:pt x="10777" y="9480"/>
                    </a:lnTo>
                    <a:lnTo>
                      <a:pt x="12931" y="10955"/>
                    </a:lnTo>
                    <a:lnTo>
                      <a:pt x="13871" y="11844"/>
                    </a:lnTo>
                    <a:lnTo>
                      <a:pt x="14110" y="8914"/>
                    </a:lnTo>
                    <a:lnTo>
                      <a:pt x="14110" y="8914"/>
                    </a:lnTo>
                    <a:lnTo>
                      <a:pt x="13871" y="11844"/>
                    </a:lnTo>
                    <a:lnTo>
                      <a:pt x="15446" y="11473"/>
                    </a:lnTo>
                    <a:lnTo>
                      <a:pt x="15446" y="11473"/>
                    </a:lnTo>
                    <a:lnTo>
                      <a:pt x="13871" y="11844"/>
                    </a:lnTo>
                    <a:lnTo>
                      <a:pt x="14069" y="12799"/>
                    </a:lnTo>
                    <a:lnTo>
                      <a:pt x="13871" y="11844"/>
                    </a:lnTo>
                    <a:lnTo>
                      <a:pt x="12931" y="10955"/>
                    </a:lnTo>
                    <a:lnTo>
                      <a:pt x="14110" y="12997"/>
                    </a:lnTo>
                    <a:lnTo>
                      <a:pt x="14110" y="12997"/>
                    </a:lnTo>
                    <a:lnTo>
                      <a:pt x="14110" y="12997"/>
                    </a:lnTo>
                    <a:lnTo>
                      <a:pt x="12931" y="10955"/>
                    </a:lnTo>
                    <a:lnTo>
                      <a:pt x="11037" y="13656"/>
                    </a:lnTo>
                    <a:moveTo>
                      <a:pt x="15446" y="12997"/>
                    </a:moveTo>
                    <a:lnTo>
                      <a:pt x="14110" y="12997"/>
                    </a:lnTo>
                    <a:lnTo>
                      <a:pt x="14110" y="12997"/>
                    </a:lnTo>
                    <a:lnTo>
                      <a:pt x="15446" y="12997"/>
                    </a:lnTo>
                    <a:lnTo>
                      <a:pt x="15446" y="12997"/>
                    </a:lnTo>
                    <a:moveTo>
                      <a:pt x="2324" y="12997"/>
                    </a:moveTo>
                    <a:lnTo>
                      <a:pt x="586" y="11428"/>
                    </a:lnTo>
                    <a:lnTo>
                      <a:pt x="2324" y="12997"/>
                    </a:lnTo>
                    <a:lnTo>
                      <a:pt x="2324" y="12997"/>
                    </a:lnTo>
                    <a:moveTo>
                      <a:pt x="750" y="12746"/>
                    </a:moveTo>
                    <a:lnTo>
                      <a:pt x="750" y="12746"/>
                    </a:lnTo>
                    <a:lnTo>
                      <a:pt x="750" y="12746"/>
                    </a:lnTo>
                    <a:lnTo>
                      <a:pt x="750" y="12746"/>
                    </a:lnTo>
                    <a:lnTo>
                      <a:pt x="750" y="12746"/>
                    </a:lnTo>
                    <a:moveTo>
                      <a:pt x="5936" y="12632"/>
                    </a:moveTo>
                    <a:lnTo>
                      <a:pt x="5935" y="12631"/>
                    </a:lnTo>
                    <a:lnTo>
                      <a:pt x="7357" y="11428"/>
                    </a:lnTo>
                    <a:lnTo>
                      <a:pt x="5860" y="10955"/>
                    </a:lnTo>
                    <a:lnTo>
                      <a:pt x="5860" y="10955"/>
                    </a:lnTo>
                    <a:lnTo>
                      <a:pt x="7357" y="11428"/>
                    </a:lnTo>
                    <a:lnTo>
                      <a:pt x="7093" y="9346"/>
                    </a:lnTo>
                    <a:lnTo>
                      <a:pt x="7357" y="11428"/>
                    </a:lnTo>
                    <a:lnTo>
                      <a:pt x="5936" y="12632"/>
                    </a:lnTo>
                    <a:moveTo>
                      <a:pt x="5935" y="12632"/>
                    </a:moveTo>
                    <a:lnTo>
                      <a:pt x="5927" y="12440"/>
                    </a:lnTo>
                    <a:lnTo>
                      <a:pt x="5935" y="12631"/>
                    </a:lnTo>
                    <a:moveTo>
                      <a:pt x="10777" y="9480"/>
                    </a:moveTo>
                    <a:lnTo>
                      <a:pt x="12931" y="6872"/>
                    </a:lnTo>
                    <a:lnTo>
                      <a:pt x="10574" y="6872"/>
                    </a:lnTo>
                    <a:lnTo>
                      <a:pt x="12931" y="6872"/>
                    </a:lnTo>
                    <a:lnTo>
                      <a:pt x="12818" y="6352"/>
                    </a:lnTo>
                    <a:lnTo>
                      <a:pt x="12931" y="6872"/>
                    </a:lnTo>
                    <a:lnTo>
                      <a:pt x="15446" y="7725"/>
                    </a:lnTo>
                    <a:lnTo>
                      <a:pt x="15446" y="7725"/>
                    </a:lnTo>
                    <a:lnTo>
                      <a:pt x="12931" y="6872"/>
                    </a:lnTo>
                    <a:lnTo>
                      <a:pt x="14110" y="8914"/>
                    </a:lnTo>
                    <a:lnTo>
                      <a:pt x="12931" y="6872"/>
                    </a:lnTo>
                    <a:lnTo>
                      <a:pt x="10777" y="9480"/>
                    </a:lnTo>
                    <a:lnTo>
                      <a:pt x="10777" y="9480"/>
                    </a:lnTo>
                    <a:moveTo>
                      <a:pt x="7038" y="8914"/>
                    </a:moveTo>
                    <a:lnTo>
                      <a:pt x="7038" y="8914"/>
                    </a:lnTo>
                    <a:lnTo>
                      <a:pt x="8217" y="6872"/>
                    </a:lnTo>
                    <a:lnTo>
                      <a:pt x="5860" y="6872"/>
                    </a:lnTo>
                    <a:lnTo>
                      <a:pt x="5860" y="6872"/>
                    </a:lnTo>
                    <a:lnTo>
                      <a:pt x="8217" y="6872"/>
                    </a:lnTo>
                    <a:lnTo>
                      <a:pt x="7366" y="5398"/>
                    </a:lnTo>
                    <a:lnTo>
                      <a:pt x="8217" y="6872"/>
                    </a:lnTo>
                    <a:lnTo>
                      <a:pt x="9050" y="6406"/>
                    </a:lnTo>
                    <a:lnTo>
                      <a:pt x="8217" y="6872"/>
                    </a:lnTo>
                    <a:lnTo>
                      <a:pt x="8217" y="6872"/>
                    </a:lnTo>
                    <a:lnTo>
                      <a:pt x="7038" y="8914"/>
                    </a:lnTo>
                    <a:moveTo>
                      <a:pt x="7038" y="8914"/>
                    </a:moveTo>
                    <a:lnTo>
                      <a:pt x="5868" y="6886"/>
                    </a:lnTo>
                    <a:lnTo>
                      <a:pt x="7038" y="8914"/>
                    </a:lnTo>
                    <a:lnTo>
                      <a:pt x="7038" y="8914"/>
                    </a:lnTo>
                    <a:moveTo>
                      <a:pt x="15446" y="8914"/>
                    </a:moveTo>
                    <a:lnTo>
                      <a:pt x="14110" y="8914"/>
                    </a:lnTo>
                    <a:lnTo>
                      <a:pt x="15446" y="8914"/>
                    </a:lnTo>
                    <a:lnTo>
                      <a:pt x="15446" y="8914"/>
                    </a:lnTo>
                    <a:moveTo>
                      <a:pt x="14110" y="8914"/>
                    </a:moveTo>
                    <a:lnTo>
                      <a:pt x="14110" y="8914"/>
                    </a:lnTo>
                    <a:lnTo>
                      <a:pt x="14874" y="8485"/>
                    </a:lnTo>
                    <a:lnTo>
                      <a:pt x="14110" y="8914"/>
                    </a:lnTo>
                    <a:moveTo>
                      <a:pt x="8413" y="8878"/>
                    </a:moveTo>
                    <a:lnTo>
                      <a:pt x="8217" y="6872"/>
                    </a:lnTo>
                    <a:lnTo>
                      <a:pt x="8217" y="6872"/>
                    </a:lnTo>
                    <a:lnTo>
                      <a:pt x="8413" y="8878"/>
                    </a:lnTo>
                    <a:lnTo>
                      <a:pt x="8413" y="8878"/>
                    </a:lnTo>
                    <a:moveTo>
                      <a:pt x="2557" y="7302"/>
                    </a:moveTo>
                    <a:lnTo>
                      <a:pt x="2557" y="7302"/>
                    </a:lnTo>
                    <a:lnTo>
                      <a:pt x="2557" y="7302"/>
                    </a:lnTo>
                    <a:lnTo>
                      <a:pt x="4159" y="4109"/>
                    </a:lnTo>
                    <a:lnTo>
                      <a:pt x="2324" y="4831"/>
                    </a:lnTo>
                    <a:lnTo>
                      <a:pt x="2324" y="4831"/>
                    </a:lnTo>
                    <a:lnTo>
                      <a:pt x="2324" y="4831"/>
                    </a:lnTo>
                    <a:lnTo>
                      <a:pt x="2324" y="4831"/>
                    </a:lnTo>
                    <a:lnTo>
                      <a:pt x="2324" y="4831"/>
                    </a:lnTo>
                    <a:lnTo>
                      <a:pt x="4159" y="4109"/>
                    </a:lnTo>
                    <a:lnTo>
                      <a:pt x="4159" y="4109"/>
                    </a:lnTo>
                    <a:lnTo>
                      <a:pt x="4159" y="4109"/>
                    </a:lnTo>
                    <a:lnTo>
                      <a:pt x="4159" y="4109"/>
                    </a:lnTo>
                    <a:lnTo>
                      <a:pt x="4159" y="4109"/>
                    </a:lnTo>
                    <a:lnTo>
                      <a:pt x="5860" y="6872"/>
                    </a:lnTo>
                    <a:lnTo>
                      <a:pt x="5859" y="6872"/>
                    </a:lnTo>
                    <a:lnTo>
                      <a:pt x="4159" y="4109"/>
                    </a:lnTo>
                    <a:lnTo>
                      <a:pt x="2557" y="7302"/>
                    </a:lnTo>
                    <a:lnTo>
                      <a:pt x="2557" y="7302"/>
                    </a:lnTo>
                    <a:moveTo>
                      <a:pt x="2557" y="7302"/>
                    </a:moveTo>
                    <a:lnTo>
                      <a:pt x="2324" y="4831"/>
                    </a:lnTo>
                    <a:lnTo>
                      <a:pt x="2324" y="4831"/>
                    </a:lnTo>
                    <a:lnTo>
                      <a:pt x="2557" y="7302"/>
                    </a:lnTo>
                    <a:moveTo>
                      <a:pt x="2909" y="7256"/>
                    </a:moveTo>
                    <a:lnTo>
                      <a:pt x="5860" y="6872"/>
                    </a:lnTo>
                    <a:lnTo>
                      <a:pt x="5860" y="6872"/>
                    </a:lnTo>
                    <a:lnTo>
                      <a:pt x="5860" y="6872"/>
                    </a:lnTo>
                    <a:lnTo>
                      <a:pt x="2909" y="7256"/>
                    </a:lnTo>
                    <a:moveTo>
                      <a:pt x="15446" y="7072"/>
                    </a:moveTo>
                    <a:lnTo>
                      <a:pt x="15229" y="6708"/>
                    </a:lnTo>
                    <a:lnTo>
                      <a:pt x="15446" y="7072"/>
                    </a:lnTo>
                    <a:lnTo>
                      <a:pt x="15446" y="7072"/>
                    </a:lnTo>
                    <a:moveTo>
                      <a:pt x="1145" y="6872"/>
                    </a:moveTo>
                    <a:lnTo>
                      <a:pt x="1145" y="6872"/>
                    </a:lnTo>
                    <a:moveTo>
                      <a:pt x="10574" y="6872"/>
                    </a:moveTo>
                    <a:lnTo>
                      <a:pt x="10574" y="6872"/>
                    </a:lnTo>
                    <a:lnTo>
                      <a:pt x="10574" y="6872"/>
                    </a:lnTo>
                    <a:lnTo>
                      <a:pt x="12458" y="5724"/>
                    </a:lnTo>
                    <a:lnTo>
                      <a:pt x="10574" y="6872"/>
                    </a:lnTo>
                    <a:moveTo>
                      <a:pt x="8217" y="6872"/>
                    </a:moveTo>
                    <a:lnTo>
                      <a:pt x="8217" y="6872"/>
                    </a:lnTo>
                    <a:lnTo>
                      <a:pt x="8217" y="6872"/>
                    </a:lnTo>
                    <a:lnTo>
                      <a:pt x="8217" y="6872"/>
                    </a:lnTo>
                    <a:moveTo>
                      <a:pt x="10574" y="6872"/>
                    </a:moveTo>
                    <a:lnTo>
                      <a:pt x="9445" y="6321"/>
                    </a:lnTo>
                    <a:lnTo>
                      <a:pt x="10574" y="6872"/>
                    </a:lnTo>
                    <a:lnTo>
                      <a:pt x="10574" y="6872"/>
                    </a:lnTo>
                    <a:moveTo>
                      <a:pt x="9316" y="6257"/>
                    </a:moveTo>
                    <a:lnTo>
                      <a:pt x="9316" y="6257"/>
                    </a:lnTo>
                    <a:lnTo>
                      <a:pt x="9316" y="6257"/>
                    </a:lnTo>
                    <a:lnTo>
                      <a:pt x="9316" y="6257"/>
                    </a:lnTo>
                    <a:lnTo>
                      <a:pt x="9316" y="6257"/>
                    </a:lnTo>
                    <a:lnTo>
                      <a:pt x="9316" y="6257"/>
                    </a:lnTo>
                    <a:lnTo>
                      <a:pt x="12655" y="5604"/>
                    </a:lnTo>
                    <a:lnTo>
                      <a:pt x="12655" y="5604"/>
                    </a:lnTo>
                    <a:lnTo>
                      <a:pt x="12655" y="5604"/>
                    </a:lnTo>
                    <a:lnTo>
                      <a:pt x="12655" y="5604"/>
                    </a:lnTo>
                    <a:lnTo>
                      <a:pt x="14110" y="4831"/>
                    </a:lnTo>
                    <a:lnTo>
                      <a:pt x="12655" y="5604"/>
                    </a:lnTo>
                    <a:lnTo>
                      <a:pt x="12655" y="5604"/>
                    </a:lnTo>
                    <a:lnTo>
                      <a:pt x="12655" y="5604"/>
                    </a:lnTo>
                    <a:lnTo>
                      <a:pt x="9316" y="6257"/>
                    </a:lnTo>
                    <a:moveTo>
                      <a:pt x="9316" y="6257"/>
                    </a:moveTo>
                    <a:lnTo>
                      <a:pt x="7038" y="4831"/>
                    </a:lnTo>
                    <a:lnTo>
                      <a:pt x="7038" y="4831"/>
                    </a:lnTo>
                    <a:lnTo>
                      <a:pt x="9316" y="6257"/>
                    </a:lnTo>
                    <a:lnTo>
                      <a:pt x="9316" y="6257"/>
                    </a:lnTo>
                    <a:moveTo>
                      <a:pt x="9316" y="6257"/>
                    </a:moveTo>
                    <a:lnTo>
                      <a:pt x="9316" y="3550"/>
                    </a:lnTo>
                    <a:lnTo>
                      <a:pt x="9316" y="6257"/>
                    </a:lnTo>
                    <a:moveTo>
                      <a:pt x="12655" y="5604"/>
                    </a:moveTo>
                    <a:lnTo>
                      <a:pt x="12655" y="5604"/>
                    </a:lnTo>
                    <a:lnTo>
                      <a:pt x="12201" y="3434"/>
                    </a:lnTo>
                    <a:lnTo>
                      <a:pt x="12655" y="5604"/>
                    </a:lnTo>
                    <a:moveTo>
                      <a:pt x="7038" y="4831"/>
                    </a:moveTo>
                    <a:lnTo>
                      <a:pt x="7038" y="4831"/>
                    </a:lnTo>
                    <a:lnTo>
                      <a:pt x="9316" y="3550"/>
                    </a:lnTo>
                    <a:lnTo>
                      <a:pt x="5859" y="2789"/>
                    </a:lnTo>
                    <a:lnTo>
                      <a:pt x="5860" y="2789"/>
                    </a:lnTo>
                    <a:lnTo>
                      <a:pt x="9316" y="3550"/>
                    </a:lnTo>
                    <a:lnTo>
                      <a:pt x="8410" y="2581"/>
                    </a:lnTo>
                    <a:lnTo>
                      <a:pt x="9316" y="3550"/>
                    </a:lnTo>
                    <a:lnTo>
                      <a:pt x="9319" y="3444"/>
                    </a:lnTo>
                    <a:lnTo>
                      <a:pt x="9316" y="3550"/>
                    </a:lnTo>
                    <a:lnTo>
                      <a:pt x="10574" y="2789"/>
                    </a:lnTo>
                    <a:lnTo>
                      <a:pt x="9316" y="3550"/>
                    </a:lnTo>
                    <a:lnTo>
                      <a:pt x="7038" y="4831"/>
                    </a:lnTo>
                    <a:moveTo>
                      <a:pt x="7038" y="4831"/>
                    </a:moveTo>
                    <a:lnTo>
                      <a:pt x="6499" y="3898"/>
                    </a:lnTo>
                    <a:lnTo>
                      <a:pt x="7038" y="4831"/>
                    </a:lnTo>
                    <a:moveTo>
                      <a:pt x="2324" y="4831"/>
                    </a:moveTo>
                    <a:lnTo>
                      <a:pt x="1405" y="2233"/>
                    </a:lnTo>
                    <a:lnTo>
                      <a:pt x="2324" y="4831"/>
                    </a:lnTo>
                    <a:lnTo>
                      <a:pt x="2324" y="4831"/>
                    </a:lnTo>
                    <a:moveTo>
                      <a:pt x="14110" y="4831"/>
                    </a:moveTo>
                    <a:lnTo>
                      <a:pt x="12201" y="3434"/>
                    </a:lnTo>
                    <a:lnTo>
                      <a:pt x="12066" y="2627"/>
                    </a:lnTo>
                    <a:lnTo>
                      <a:pt x="12201" y="3434"/>
                    </a:lnTo>
                    <a:lnTo>
                      <a:pt x="15446" y="2602"/>
                    </a:lnTo>
                    <a:lnTo>
                      <a:pt x="15446" y="2602"/>
                    </a:lnTo>
                    <a:lnTo>
                      <a:pt x="12201" y="3434"/>
                    </a:lnTo>
                    <a:lnTo>
                      <a:pt x="14110" y="4831"/>
                    </a:lnTo>
                    <a:moveTo>
                      <a:pt x="14110" y="4831"/>
                    </a:moveTo>
                    <a:lnTo>
                      <a:pt x="14110" y="4831"/>
                    </a:lnTo>
                    <a:lnTo>
                      <a:pt x="15358" y="3331"/>
                    </a:lnTo>
                    <a:lnTo>
                      <a:pt x="14110" y="4831"/>
                    </a:lnTo>
                    <a:moveTo>
                      <a:pt x="4159" y="4109"/>
                    </a:moveTo>
                    <a:lnTo>
                      <a:pt x="4159" y="4109"/>
                    </a:lnTo>
                    <a:lnTo>
                      <a:pt x="4603" y="3765"/>
                    </a:lnTo>
                    <a:lnTo>
                      <a:pt x="4159" y="4109"/>
                    </a:lnTo>
                    <a:moveTo>
                      <a:pt x="12201" y="3434"/>
                    </a:moveTo>
                    <a:lnTo>
                      <a:pt x="10574" y="2789"/>
                    </a:lnTo>
                    <a:lnTo>
                      <a:pt x="10574" y="2789"/>
                    </a:lnTo>
                    <a:lnTo>
                      <a:pt x="10574" y="2789"/>
                    </a:lnTo>
                    <a:lnTo>
                      <a:pt x="11753" y="748"/>
                    </a:lnTo>
                    <a:lnTo>
                      <a:pt x="9396" y="748"/>
                    </a:lnTo>
                    <a:lnTo>
                      <a:pt x="9396" y="748"/>
                    </a:lnTo>
                    <a:lnTo>
                      <a:pt x="11753" y="748"/>
                    </a:lnTo>
                    <a:lnTo>
                      <a:pt x="11753" y="748"/>
                    </a:lnTo>
                    <a:lnTo>
                      <a:pt x="11753" y="748"/>
                    </a:lnTo>
                    <a:lnTo>
                      <a:pt x="10574" y="2789"/>
                    </a:lnTo>
                    <a:lnTo>
                      <a:pt x="12201" y="3434"/>
                    </a:lnTo>
                    <a:moveTo>
                      <a:pt x="5859" y="2790"/>
                    </a:moveTo>
                    <a:lnTo>
                      <a:pt x="3502" y="2790"/>
                    </a:lnTo>
                    <a:lnTo>
                      <a:pt x="5860" y="2789"/>
                    </a:lnTo>
                    <a:lnTo>
                      <a:pt x="5859" y="2789"/>
                    </a:lnTo>
                    <a:lnTo>
                      <a:pt x="5859" y="2790"/>
                    </a:lnTo>
                    <a:moveTo>
                      <a:pt x="15446" y="1876"/>
                    </a:moveTo>
                    <a:lnTo>
                      <a:pt x="14110" y="748"/>
                    </a:lnTo>
                    <a:lnTo>
                      <a:pt x="15446" y="1876"/>
                    </a:lnTo>
                    <a:lnTo>
                      <a:pt x="15446" y="1876"/>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0" name="Freeform 306"/>
              <p:cNvSpPr>
                <a:spLocks/>
              </p:cNvSpPr>
              <p:nvPr/>
            </p:nvSpPr>
            <p:spPr bwMode="auto">
              <a:xfrm>
                <a:off x="-12625388" y="-3271838"/>
                <a:ext cx="811213" cy="671513"/>
              </a:xfrm>
              <a:custGeom>
                <a:avLst/>
                <a:gdLst>
                  <a:gd name="T0" fmla="*/ 0 w 511"/>
                  <a:gd name="T1" fmla="*/ 423 h 423"/>
                  <a:gd name="T2" fmla="*/ 0 w 511"/>
                  <a:gd name="T3" fmla="*/ 0 h 423"/>
                  <a:gd name="T4" fmla="*/ 433 w 511"/>
                  <a:gd name="T5" fmla="*/ 70 h 423"/>
                  <a:gd name="T6" fmla="*/ 511 w 511"/>
                  <a:gd name="T7" fmla="*/ 83 h 423"/>
                  <a:gd name="T8" fmla="*/ 0 w 511"/>
                  <a:gd name="T9" fmla="*/ 423 h 423"/>
                </a:gdLst>
                <a:ahLst/>
                <a:cxnLst>
                  <a:cxn ang="0">
                    <a:pos x="T0" y="T1"/>
                  </a:cxn>
                  <a:cxn ang="0">
                    <a:pos x="T2" y="T3"/>
                  </a:cxn>
                  <a:cxn ang="0">
                    <a:pos x="T4" y="T5"/>
                  </a:cxn>
                  <a:cxn ang="0">
                    <a:pos x="T6" y="T7"/>
                  </a:cxn>
                  <a:cxn ang="0">
                    <a:pos x="T8" y="T9"/>
                  </a:cxn>
                </a:cxnLst>
                <a:rect l="0" t="0" r="r" b="b"/>
                <a:pathLst>
                  <a:path w="511" h="423">
                    <a:moveTo>
                      <a:pt x="0" y="423"/>
                    </a:moveTo>
                    <a:lnTo>
                      <a:pt x="0" y="0"/>
                    </a:lnTo>
                    <a:lnTo>
                      <a:pt x="433" y="70"/>
                    </a:lnTo>
                    <a:lnTo>
                      <a:pt x="511" y="83"/>
                    </a:lnTo>
                    <a:lnTo>
                      <a:pt x="0" y="42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1" name="Freeform 307"/>
              <p:cNvSpPr>
                <a:spLocks/>
              </p:cNvSpPr>
              <p:nvPr/>
            </p:nvSpPr>
            <p:spPr bwMode="auto">
              <a:xfrm>
                <a:off x="-12625388" y="-4110038"/>
                <a:ext cx="33338" cy="39688"/>
              </a:xfrm>
              <a:custGeom>
                <a:avLst/>
                <a:gdLst>
                  <a:gd name="T0" fmla="*/ 0 w 21"/>
                  <a:gd name="T1" fmla="*/ 25 h 25"/>
                  <a:gd name="T2" fmla="*/ 0 w 21"/>
                  <a:gd name="T3" fmla="*/ 0 h 25"/>
                  <a:gd name="T4" fmla="*/ 21 w 21"/>
                  <a:gd name="T5" fmla="*/ 0 h 25"/>
                  <a:gd name="T6" fmla="*/ 0 w 21"/>
                  <a:gd name="T7" fmla="*/ 25 h 25"/>
                </a:gdLst>
                <a:ahLst/>
                <a:cxnLst>
                  <a:cxn ang="0">
                    <a:pos x="T0" y="T1"/>
                  </a:cxn>
                  <a:cxn ang="0">
                    <a:pos x="T2" y="T3"/>
                  </a:cxn>
                  <a:cxn ang="0">
                    <a:pos x="T4" y="T5"/>
                  </a:cxn>
                  <a:cxn ang="0">
                    <a:pos x="T6" y="T7"/>
                  </a:cxn>
                </a:cxnLst>
                <a:rect l="0" t="0" r="r" b="b"/>
                <a:pathLst>
                  <a:path w="21" h="25">
                    <a:moveTo>
                      <a:pt x="0" y="25"/>
                    </a:moveTo>
                    <a:lnTo>
                      <a:pt x="0" y="0"/>
                    </a:lnTo>
                    <a:lnTo>
                      <a:pt x="21" y="0"/>
                    </a:lnTo>
                    <a:lnTo>
                      <a:pt x="0" y="25"/>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2" name="Freeform 308"/>
              <p:cNvSpPr>
                <a:spLocks/>
              </p:cNvSpPr>
              <p:nvPr/>
            </p:nvSpPr>
            <p:spPr bwMode="auto">
              <a:xfrm>
                <a:off x="-12625388" y="-3540126"/>
                <a:ext cx="1771650" cy="400050"/>
              </a:xfrm>
              <a:custGeom>
                <a:avLst/>
                <a:gdLst>
                  <a:gd name="T0" fmla="*/ 511 w 1116"/>
                  <a:gd name="T1" fmla="*/ 252 h 252"/>
                  <a:gd name="T2" fmla="*/ 433 w 1116"/>
                  <a:gd name="T3" fmla="*/ 239 h 252"/>
                  <a:gd name="T4" fmla="*/ 0 w 1116"/>
                  <a:gd name="T5" fmla="*/ 169 h 252"/>
                  <a:gd name="T6" fmla="*/ 0 w 1116"/>
                  <a:gd name="T7" fmla="*/ 81 h 252"/>
                  <a:gd name="T8" fmla="*/ 1116 w 1116"/>
                  <a:gd name="T9" fmla="*/ 0 h 252"/>
                  <a:gd name="T10" fmla="*/ 511 w 1116"/>
                  <a:gd name="T11" fmla="*/ 252 h 252"/>
                </a:gdLst>
                <a:ahLst/>
                <a:cxnLst>
                  <a:cxn ang="0">
                    <a:pos x="T0" y="T1"/>
                  </a:cxn>
                  <a:cxn ang="0">
                    <a:pos x="T2" y="T3"/>
                  </a:cxn>
                  <a:cxn ang="0">
                    <a:pos x="T4" y="T5"/>
                  </a:cxn>
                  <a:cxn ang="0">
                    <a:pos x="T6" y="T7"/>
                  </a:cxn>
                  <a:cxn ang="0">
                    <a:pos x="T8" y="T9"/>
                  </a:cxn>
                  <a:cxn ang="0">
                    <a:pos x="T10" y="T11"/>
                  </a:cxn>
                </a:cxnLst>
                <a:rect l="0" t="0" r="r" b="b"/>
                <a:pathLst>
                  <a:path w="1116" h="252">
                    <a:moveTo>
                      <a:pt x="511" y="252"/>
                    </a:moveTo>
                    <a:lnTo>
                      <a:pt x="433" y="239"/>
                    </a:lnTo>
                    <a:lnTo>
                      <a:pt x="0" y="169"/>
                    </a:lnTo>
                    <a:lnTo>
                      <a:pt x="0" y="81"/>
                    </a:lnTo>
                    <a:lnTo>
                      <a:pt x="1116" y="0"/>
                    </a:lnTo>
                    <a:lnTo>
                      <a:pt x="511" y="25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3" name="Freeform 309"/>
              <p:cNvSpPr>
                <a:spLocks/>
              </p:cNvSpPr>
              <p:nvPr/>
            </p:nvSpPr>
            <p:spPr bwMode="auto">
              <a:xfrm>
                <a:off x="-12625388" y="-4110038"/>
                <a:ext cx="1771650" cy="698500"/>
              </a:xfrm>
              <a:custGeom>
                <a:avLst/>
                <a:gdLst>
                  <a:gd name="T0" fmla="*/ 0 w 1116"/>
                  <a:gd name="T1" fmla="*/ 440 h 440"/>
                  <a:gd name="T2" fmla="*/ 0 w 1116"/>
                  <a:gd name="T3" fmla="*/ 25 h 440"/>
                  <a:gd name="T4" fmla="*/ 22 w 1116"/>
                  <a:gd name="T5" fmla="*/ 0 h 440"/>
                  <a:gd name="T6" fmla="*/ 908 w 1116"/>
                  <a:gd name="T7" fmla="*/ 0 h 440"/>
                  <a:gd name="T8" fmla="*/ 1116 w 1116"/>
                  <a:gd name="T9" fmla="*/ 359 h 440"/>
                  <a:gd name="T10" fmla="*/ 1116 w 1116"/>
                  <a:gd name="T11" fmla="*/ 359 h 440"/>
                  <a:gd name="T12" fmla="*/ 1116 w 1116"/>
                  <a:gd name="T13" fmla="*/ 359 h 440"/>
                  <a:gd name="T14" fmla="*/ 0 w 1116"/>
                  <a:gd name="T15" fmla="*/ 440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6" h="440">
                    <a:moveTo>
                      <a:pt x="0" y="440"/>
                    </a:moveTo>
                    <a:lnTo>
                      <a:pt x="0" y="25"/>
                    </a:lnTo>
                    <a:lnTo>
                      <a:pt x="22" y="0"/>
                    </a:lnTo>
                    <a:lnTo>
                      <a:pt x="908" y="0"/>
                    </a:lnTo>
                    <a:lnTo>
                      <a:pt x="1116" y="359"/>
                    </a:lnTo>
                    <a:lnTo>
                      <a:pt x="1116" y="359"/>
                    </a:lnTo>
                    <a:lnTo>
                      <a:pt x="1116" y="359"/>
                    </a:lnTo>
                    <a:lnTo>
                      <a:pt x="0" y="440"/>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4" name="Freeform 310"/>
              <p:cNvSpPr>
                <a:spLocks noEditPoints="1"/>
              </p:cNvSpPr>
              <p:nvPr/>
            </p:nvSpPr>
            <p:spPr bwMode="auto">
              <a:xfrm>
                <a:off x="-10853738" y="-4110038"/>
                <a:ext cx="1795463" cy="569913"/>
              </a:xfrm>
              <a:custGeom>
                <a:avLst/>
                <a:gdLst>
                  <a:gd name="T0" fmla="*/ 2357 w 2357"/>
                  <a:gd name="T1" fmla="*/ 748 h 748"/>
                  <a:gd name="T2" fmla="*/ 0 w 2357"/>
                  <a:gd name="T3" fmla="*/ 748 h 748"/>
                  <a:gd name="T4" fmla="*/ 432 w 2357"/>
                  <a:gd name="T5" fmla="*/ 0 h 748"/>
                  <a:gd name="T6" fmla="*/ 1925 w 2357"/>
                  <a:gd name="T7" fmla="*/ 0 h 748"/>
                  <a:gd name="T8" fmla="*/ 2357 w 2357"/>
                  <a:gd name="T9" fmla="*/ 748 h 748"/>
                  <a:gd name="T10" fmla="*/ 0 w 2357"/>
                  <a:gd name="T11" fmla="*/ 748 h 748"/>
                  <a:gd name="T12" fmla="*/ 0 w 2357"/>
                  <a:gd name="T13" fmla="*/ 748 h 748"/>
                  <a:gd name="T14" fmla="*/ 0 w 2357"/>
                  <a:gd name="T15" fmla="*/ 748 h 748"/>
                  <a:gd name="T16" fmla="*/ 0 w 2357"/>
                  <a:gd name="T17" fmla="*/ 748 h 748"/>
                  <a:gd name="T18" fmla="*/ 0 w 2357"/>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7" h="748">
                    <a:moveTo>
                      <a:pt x="2357" y="748"/>
                    </a:moveTo>
                    <a:lnTo>
                      <a:pt x="0" y="748"/>
                    </a:lnTo>
                    <a:lnTo>
                      <a:pt x="432" y="0"/>
                    </a:lnTo>
                    <a:lnTo>
                      <a:pt x="1925" y="0"/>
                    </a:lnTo>
                    <a:lnTo>
                      <a:pt x="2357" y="748"/>
                    </a:lnTo>
                    <a:moveTo>
                      <a:pt x="0" y="748"/>
                    </a:moveTo>
                    <a:lnTo>
                      <a:pt x="0" y="748"/>
                    </a:lnTo>
                    <a:lnTo>
                      <a:pt x="0" y="748"/>
                    </a:lnTo>
                    <a:lnTo>
                      <a:pt x="0" y="748"/>
                    </a:lnTo>
                    <a:lnTo>
                      <a:pt x="0"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5" name="Freeform 311"/>
              <p:cNvSpPr>
                <a:spLocks/>
              </p:cNvSpPr>
              <p:nvPr/>
            </p:nvSpPr>
            <p:spPr bwMode="auto">
              <a:xfrm>
                <a:off x="-9386888" y="-4110038"/>
                <a:ext cx="865188" cy="569913"/>
              </a:xfrm>
              <a:custGeom>
                <a:avLst/>
                <a:gdLst>
                  <a:gd name="T0" fmla="*/ 207 w 545"/>
                  <a:gd name="T1" fmla="*/ 359 h 359"/>
                  <a:gd name="T2" fmla="*/ 0 w 545"/>
                  <a:gd name="T3" fmla="*/ 0 h 359"/>
                  <a:gd name="T4" fmla="*/ 545 w 545"/>
                  <a:gd name="T5" fmla="*/ 0 h 359"/>
                  <a:gd name="T6" fmla="*/ 207 w 545"/>
                  <a:gd name="T7" fmla="*/ 359 h 359"/>
                </a:gdLst>
                <a:ahLst/>
                <a:cxnLst>
                  <a:cxn ang="0">
                    <a:pos x="T0" y="T1"/>
                  </a:cxn>
                  <a:cxn ang="0">
                    <a:pos x="T2" y="T3"/>
                  </a:cxn>
                  <a:cxn ang="0">
                    <a:pos x="T4" y="T5"/>
                  </a:cxn>
                  <a:cxn ang="0">
                    <a:pos x="T6" y="T7"/>
                  </a:cxn>
                </a:cxnLst>
                <a:rect l="0" t="0" r="r" b="b"/>
                <a:pathLst>
                  <a:path w="545" h="359">
                    <a:moveTo>
                      <a:pt x="207" y="359"/>
                    </a:moveTo>
                    <a:lnTo>
                      <a:pt x="0" y="0"/>
                    </a:lnTo>
                    <a:lnTo>
                      <a:pt x="545" y="0"/>
                    </a:lnTo>
                    <a:lnTo>
                      <a:pt x="207"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6" name="Freeform 312"/>
              <p:cNvSpPr>
                <a:spLocks/>
              </p:cNvSpPr>
              <p:nvPr/>
            </p:nvSpPr>
            <p:spPr bwMode="auto">
              <a:xfrm>
                <a:off x="-11183938" y="-4110038"/>
                <a:ext cx="658813" cy="569913"/>
              </a:xfrm>
              <a:custGeom>
                <a:avLst/>
                <a:gdLst>
                  <a:gd name="T0" fmla="*/ 208 w 415"/>
                  <a:gd name="T1" fmla="*/ 359 h 359"/>
                  <a:gd name="T2" fmla="*/ 0 w 415"/>
                  <a:gd name="T3" fmla="*/ 0 h 359"/>
                  <a:gd name="T4" fmla="*/ 415 w 415"/>
                  <a:gd name="T5" fmla="*/ 0 h 359"/>
                  <a:gd name="T6" fmla="*/ 208 w 415"/>
                  <a:gd name="T7" fmla="*/ 359 h 359"/>
                </a:gdLst>
                <a:ahLst/>
                <a:cxnLst>
                  <a:cxn ang="0">
                    <a:pos x="T0" y="T1"/>
                  </a:cxn>
                  <a:cxn ang="0">
                    <a:pos x="T2" y="T3"/>
                  </a:cxn>
                  <a:cxn ang="0">
                    <a:pos x="T4" y="T5"/>
                  </a:cxn>
                  <a:cxn ang="0">
                    <a:pos x="T6" y="T7"/>
                  </a:cxn>
                </a:cxnLst>
                <a:rect l="0" t="0" r="r" b="b"/>
                <a:pathLst>
                  <a:path w="415" h="359">
                    <a:moveTo>
                      <a:pt x="208" y="359"/>
                    </a:moveTo>
                    <a:lnTo>
                      <a:pt x="0" y="0"/>
                    </a:lnTo>
                    <a:lnTo>
                      <a:pt x="415" y="0"/>
                    </a:lnTo>
                    <a:lnTo>
                      <a:pt x="208"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7" name="Freeform 313"/>
              <p:cNvSpPr>
                <a:spLocks/>
              </p:cNvSpPr>
              <p:nvPr/>
            </p:nvSpPr>
            <p:spPr bwMode="auto">
              <a:xfrm>
                <a:off x="-10853738" y="-4110038"/>
                <a:ext cx="328613" cy="569913"/>
              </a:xfrm>
              <a:custGeom>
                <a:avLst/>
                <a:gdLst>
                  <a:gd name="T0" fmla="*/ 0 w 207"/>
                  <a:gd name="T1" fmla="*/ 359 h 359"/>
                  <a:gd name="T2" fmla="*/ 0 w 207"/>
                  <a:gd name="T3" fmla="*/ 359 h 359"/>
                  <a:gd name="T4" fmla="*/ 0 w 207"/>
                  <a:gd name="T5" fmla="*/ 359 h 359"/>
                  <a:gd name="T6" fmla="*/ 207 w 207"/>
                  <a:gd name="T7" fmla="*/ 0 h 359"/>
                  <a:gd name="T8" fmla="*/ 207 w 207"/>
                  <a:gd name="T9" fmla="*/ 0 h 359"/>
                  <a:gd name="T10" fmla="*/ 0 w 207"/>
                  <a:gd name="T11" fmla="*/ 359 h 359"/>
                </a:gdLst>
                <a:ahLst/>
                <a:cxnLst>
                  <a:cxn ang="0">
                    <a:pos x="T0" y="T1"/>
                  </a:cxn>
                  <a:cxn ang="0">
                    <a:pos x="T2" y="T3"/>
                  </a:cxn>
                  <a:cxn ang="0">
                    <a:pos x="T4" y="T5"/>
                  </a:cxn>
                  <a:cxn ang="0">
                    <a:pos x="T6" y="T7"/>
                  </a:cxn>
                  <a:cxn ang="0">
                    <a:pos x="T8" y="T9"/>
                  </a:cxn>
                  <a:cxn ang="0">
                    <a:pos x="T10" y="T11"/>
                  </a:cxn>
                </a:cxnLst>
                <a:rect l="0" t="0" r="r" b="b"/>
                <a:pathLst>
                  <a:path w="207" h="359">
                    <a:moveTo>
                      <a:pt x="0" y="359"/>
                    </a:moveTo>
                    <a:lnTo>
                      <a:pt x="0" y="359"/>
                    </a:lnTo>
                    <a:lnTo>
                      <a:pt x="0" y="359"/>
                    </a:lnTo>
                    <a:lnTo>
                      <a:pt x="207" y="0"/>
                    </a:lnTo>
                    <a:lnTo>
                      <a:pt x="207"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8" name="Freeform 314"/>
              <p:cNvSpPr>
                <a:spLocks noEditPoints="1"/>
              </p:cNvSpPr>
              <p:nvPr/>
            </p:nvSpPr>
            <p:spPr bwMode="auto">
              <a:xfrm>
                <a:off x="-12533313" y="-1143001"/>
                <a:ext cx="781050" cy="2268538"/>
              </a:xfrm>
              <a:custGeom>
                <a:avLst/>
                <a:gdLst>
                  <a:gd name="T0" fmla="*/ 1025 w 1025"/>
                  <a:gd name="T1" fmla="*/ 2978 h 2978"/>
                  <a:gd name="T2" fmla="*/ 150 w 1025"/>
                  <a:gd name="T3" fmla="*/ 437 h 2978"/>
                  <a:gd name="T4" fmla="*/ 1025 w 1025"/>
                  <a:gd name="T5" fmla="*/ 2978 h 2978"/>
                  <a:gd name="T6" fmla="*/ 0 w 1025"/>
                  <a:gd name="T7" fmla="*/ 0 h 2978"/>
                  <a:gd name="T8" fmla="*/ 0 w 1025"/>
                  <a:gd name="T9" fmla="*/ 0 h 2978"/>
                </a:gdLst>
                <a:ahLst/>
                <a:cxnLst>
                  <a:cxn ang="0">
                    <a:pos x="T0" y="T1"/>
                  </a:cxn>
                  <a:cxn ang="0">
                    <a:pos x="T2" y="T3"/>
                  </a:cxn>
                  <a:cxn ang="0">
                    <a:pos x="T4" y="T5"/>
                  </a:cxn>
                  <a:cxn ang="0">
                    <a:pos x="T6" y="T7"/>
                  </a:cxn>
                  <a:cxn ang="0">
                    <a:pos x="T8" y="T9"/>
                  </a:cxn>
                </a:cxnLst>
                <a:rect l="0" t="0" r="r" b="b"/>
                <a:pathLst>
                  <a:path w="1025" h="2978">
                    <a:moveTo>
                      <a:pt x="1025" y="2978"/>
                    </a:moveTo>
                    <a:lnTo>
                      <a:pt x="150" y="437"/>
                    </a:lnTo>
                    <a:lnTo>
                      <a:pt x="1025" y="2978"/>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9" name="Freeform 315"/>
              <p:cNvSpPr>
                <a:spLocks/>
              </p:cNvSpPr>
              <p:nvPr/>
            </p:nvSpPr>
            <p:spPr bwMode="auto">
              <a:xfrm>
                <a:off x="-12625388" y="-3140076"/>
                <a:ext cx="811213" cy="1997075"/>
              </a:xfrm>
              <a:custGeom>
                <a:avLst/>
                <a:gdLst>
                  <a:gd name="T0" fmla="*/ 58 w 511"/>
                  <a:gd name="T1" fmla="*/ 1258 h 1258"/>
                  <a:gd name="T2" fmla="*/ 0 w 511"/>
                  <a:gd name="T3" fmla="*/ 1211 h 1258"/>
                  <a:gd name="T4" fmla="*/ 0 w 511"/>
                  <a:gd name="T5" fmla="*/ 340 h 1258"/>
                  <a:gd name="T6" fmla="*/ 511 w 511"/>
                  <a:gd name="T7" fmla="*/ 0 h 1258"/>
                  <a:gd name="T8" fmla="*/ 58 w 511"/>
                  <a:gd name="T9" fmla="*/ 1258 h 1258"/>
                </a:gdLst>
                <a:ahLst/>
                <a:cxnLst>
                  <a:cxn ang="0">
                    <a:pos x="T0" y="T1"/>
                  </a:cxn>
                  <a:cxn ang="0">
                    <a:pos x="T2" y="T3"/>
                  </a:cxn>
                  <a:cxn ang="0">
                    <a:pos x="T4" y="T5"/>
                  </a:cxn>
                  <a:cxn ang="0">
                    <a:pos x="T6" y="T7"/>
                  </a:cxn>
                  <a:cxn ang="0">
                    <a:pos x="T8" y="T9"/>
                  </a:cxn>
                </a:cxnLst>
                <a:rect l="0" t="0" r="r" b="b"/>
                <a:pathLst>
                  <a:path w="511" h="1258">
                    <a:moveTo>
                      <a:pt x="58" y="1258"/>
                    </a:moveTo>
                    <a:lnTo>
                      <a:pt x="0" y="1211"/>
                    </a:lnTo>
                    <a:lnTo>
                      <a:pt x="0" y="340"/>
                    </a:lnTo>
                    <a:lnTo>
                      <a:pt x="511" y="0"/>
                    </a:lnTo>
                    <a:lnTo>
                      <a:pt x="58" y="1258"/>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70" name="Line 316"/>
              <p:cNvSpPr>
                <a:spLocks noChangeShapeType="1"/>
              </p:cNvSpPr>
              <p:nvPr/>
            </p:nvSpPr>
            <p:spPr bwMode="auto">
              <a:xfrm>
                <a:off x="-12533313" y="-1143001"/>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71" name="Freeform 317"/>
              <p:cNvSpPr>
                <a:spLocks noEditPoints="1"/>
              </p:cNvSpPr>
              <p:nvPr/>
            </p:nvSpPr>
            <p:spPr bwMode="auto">
              <a:xfrm>
                <a:off x="-12533313" y="-1143001"/>
                <a:ext cx="1679575" cy="2268538"/>
              </a:xfrm>
              <a:custGeom>
                <a:avLst/>
                <a:gdLst>
                  <a:gd name="T0" fmla="*/ 1025 w 2204"/>
                  <a:gd name="T1" fmla="*/ 2978 h 2978"/>
                  <a:gd name="T2" fmla="*/ 150 w 2204"/>
                  <a:gd name="T3" fmla="*/ 437 h 2978"/>
                  <a:gd name="T4" fmla="*/ 0 w 2204"/>
                  <a:gd name="T5" fmla="*/ 0 h 2978"/>
                  <a:gd name="T6" fmla="*/ 2204 w 2204"/>
                  <a:gd name="T7" fmla="*/ 937 h 2978"/>
                  <a:gd name="T8" fmla="*/ 2204 w 2204"/>
                  <a:gd name="T9" fmla="*/ 937 h 2978"/>
                  <a:gd name="T10" fmla="*/ 2204 w 2204"/>
                  <a:gd name="T11" fmla="*/ 937 h 2978"/>
                  <a:gd name="T12" fmla="*/ 2204 w 2204"/>
                  <a:gd name="T13" fmla="*/ 937 h 2978"/>
                  <a:gd name="T14" fmla="*/ 2204 w 2204"/>
                  <a:gd name="T15" fmla="*/ 937 h 2978"/>
                  <a:gd name="T16" fmla="*/ 1968 w 2204"/>
                  <a:gd name="T17" fmla="*/ 1345 h 2978"/>
                  <a:gd name="T18" fmla="*/ 1025 w 2204"/>
                  <a:gd name="T19" fmla="*/ 2978 h 2978"/>
                  <a:gd name="T20" fmla="*/ 150 w 2204"/>
                  <a:gd name="T21" fmla="*/ 437 h 2978"/>
                  <a:gd name="T22" fmla="*/ 0 w 2204"/>
                  <a:gd name="T23" fmla="*/ 0 h 2978"/>
                  <a:gd name="T24" fmla="*/ 150 w 2204"/>
                  <a:gd name="T25" fmla="*/ 437 h 2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4" h="2978">
                    <a:moveTo>
                      <a:pt x="1025" y="2978"/>
                    </a:moveTo>
                    <a:lnTo>
                      <a:pt x="150" y="437"/>
                    </a:lnTo>
                    <a:lnTo>
                      <a:pt x="0" y="0"/>
                    </a:lnTo>
                    <a:lnTo>
                      <a:pt x="2204" y="937"/>
                    </a:lnTo>
                    <a:lnTo>
                      <a:pt x="2204" y="937"/>
                    </a:lnTo>
                    <a:lnTo>
                      <a:pt x="2204" y="937"/>
                    </a:lnTo>
                    <a:lnTo>
                      <a:pt x="2204" y="937"/>
                    </a:lnTo>
                    <a:lnTo>
                      <a:pt x="2204" y="937"/>
                    </a:lnTo>
                    <a:lnTo>
                      <a:pt x="1968" y="1345"/>
                    </a:lnTo>
                    <a:lnTo>
                      <a:pt x="1025" y="2978"/>
                    </a:lnTo>
                    <a:moveTo>
                      <a:pt x="150" y="437"/>
                    </a:moveTo>
                    <a:lnTo>
                      <a:pt x="0" y="0"/>
                    </a:lnTo>
                    <a:lnTo>
                      <a:pt x="150" y="437"/>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72" name="Freeform 318"/>
              <p:cNvSpPr>
                <a:spLocks/>
              </p:cNvSpPr>
              <p:nvPr/>
            </p:nvSpPr>
            <p:spPr bwMode="auto">
              <a:xfrm>
                <a:off x="-12533313" y="-1143001"/>
                <a:ext cx="114300" cy="333375"/>
              </a:xfrm>
              <a:custGeom>
                <a:avLst/>
                <a:gdLst>
                  <a:gd name="T0" fmla="*/ 72 w 72"/>
                  <a:gd name="T1" fmla="*/ 210 h 210"/>
                  <a:gd name="T2" fmla="*/ 72 w 72"/>
                  <a:gd name="T3" fmla="*/ 210 h 210"/>
                  <a:gd name="T4" fmla="*/ 0 w 72"/>
                  <a:gd name="T5" fmla="*/ 0 h 210"/>
                  <a:gd name="T6" fmla="*/ 0 w 72"/>
                  <a:gd name="T7" fmla="*/ 0 h 210"/>
                  <a:gd name="T8" fmla="*/ 72 w 72"/>
                  <a:gd name="T9" fmla="*/ 210 h 210"/>
                </a:gdLst>
                <a:ahLst/>
                <a:cxnLst>
                  <a:cxn ang="0">
                    <a:pos x="T0" y="T1"/>
                  </a:cxn>
                  <a:cxn ang="0">
                    <a:pos x="T2" y="T3"/>
                  </a:cxn>
                  <a:cxn ang="0">
                    <a:pos x="T4" y="T5"/>
                  </a:cxn>
                  <a:cxn ang="0">
                    <a:pos x="T6" y="T7"/>
                  </a:cxn>
                  <a:cxn ang="0">
                    <a:pos x="T8" y="T9"/>
                  </a:cxn>
                </a:cxnLst>
                <a:rect l="0" t="0" r="r" b="b"/>
                <a:pathLst>
                  <a:path w="72" h="210">
                    <a:moveTo>
                      <a:pt x="72" y="210"/>
                    </a:moveTo>
                    <a:lnTo>
                      <a:pt x="72" y="210"/>
                    </a:lnTo>
                    <a:lnTo>
                      <a:pt x="0" y="0"/>
                    </a:lnTo>
                    <a:lnTo>
                      <a:pt x="0" y="0"/>
                    </a:lnTo>
                    <a:lnTo>
                      <a:pt x="72" y="210"/>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73" name="Freeform 319"/>
              <p:cNvSpPr>
                <a:spLocks/>
              </p:cNvSpPr>
              <p:nvPr/>
            </p:nvSpPr>
            <p:spPr bwMode="auto">
              <a:xfrm>
                <a:off x="-12625388" y="-1217613"/>
                <a:ext cx="92075" cy="74613"/>
              </a:xfrm>
              <a:custGeom>
                <a:avLst/>
                <a:gdLst>
                  <a:gd name="T0" fmla="*/ 58 w 58"/>
                  <a:gd name="T1" fmla="*/ 47 h 47"/>
                  <a:gd name="T2" fmla="*/ 0 w 58"/>
                  <a:gd name="T3" fmla="*/ 0 h 47"/>
                  <a:gd name="T4" fmla="*/ 58 w 58"/>
                  <a:gd name="T5" fmla="*/ 47 h 47"/>
                </a:gdLst>
                <a:ahLst/>
                <a:cxnLst>
                  <a:cxn ang="0">
                    <a:pos x="T0" y="T1"/>
                  </a:cxn>
                  <a:cxn ang="0">
                    <a:pos x="T2" y="T3"/>
                  </a:cxn>
                  <a:cxn ang="0">
                    <a:pos x="T4" y="T5"/>
                  </a:cxn>
                </a:cxnLst>
                <a:rect l="0" t="0" r="r" b="b"/>
                <a:pathLst>
                  <a:path w="58" h="47">
                    <a:moveTo>
                      <a:pt x="58" y="47"/>
                    </a:moveTo>
                    <a:lnTo>
                      <a:pt x="0" y="0"/>
                    </a:lnTo>
                    <a:lnTo>
                      <a:pt x="58" y="4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74" name="Freeform 320"/>
              <p:cNvSpPr>
                <a:spLocks noEditPoints="1"/>
              </p:cNvSpPr>
              <p:nvPr/>
            </p:nvSpPr>
            <p:spPr bwMode="auto">
              <a:xfrm>
                <a:off x="-12533313" y="-3140076"/>
                <a:ext cx="1679575" cy="2711450"/>
              </a:xfrm>
              <a:custGeom>
                <a:avLst/>
                <a:gdLst>
                  <a:gd name="T0" fmla="*/ 2204 w 2204"/>
                  <a:gd name="T1" fmla="*/ 3558 h 3558"/>
                  <a:gd name="T2" fmla="*/ 0 w 2204"/>
                  <a:gd name="T3" fmla="*/ 2621 h 3558"/>
                  <a:gd name="T4" fmla="*/ 945 w 2204"/>
                  <a:gd name="T5" fmla="*/ 0 h 3558"/>
                  <a:gd name="T6" fmla="*/ 945 w 2204"/>
                  <a:gd name="T7" fmla="*/ 0 h 3558"/>
                  <a:gd name="T8" fmla="*/ 945 w 2204"/>
                  <a:gd name="T9" fmla="*/ 0 h 3558"/>
                  <a:gd name="T10" fmla="*/ 1285 w 2204"/>
                  <a:gd name="T11" fmla="*/ 960 h 3558"/>
                  <a:gd name="T12" fmla="*/ 2204 w 2204"/>
                  <a:gd name="T13" fmla="*/ 3558 h 3558"/>
                  <a:gd name="T14" fmla="*/ 2204 w 2204"/>
                  <a:gd name="T15" fmla="*/ 3558 h 3558"/>
                  <a:gd name="T16" fmla="*/ 2204 w 2204"/>
                  <a:gd name="T17" fmla="*/ 3558 h 3558"/>
                  <a:gd name="T18" fmla="*/ 2204 w 2204"/>
                  <a:gd name="T19" fmla="*/ 3558 h 3558"/>
                  <a:gd name="T20" fmla="*/ 945 w 2204"/>
                  <a:gd name="T21" fmla="*/ 0 h 3558"/>
                  <a:gd name="T22" fmla="*/ 945 w 2204"/>
                  <a:gd name="T23" fmla="*/ 0 h 3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4" h="3558">
                    <a:moveTo>
                      <a:pt x="2204" y="3558"/>
                    </a:moveTo>
                    <a:lnTo>
                      <a:pt x="0" y="2621"/>
                    </a:lnTo>
                    <a:lnTo>
                      <a:pt x="945" y="0"/>
                    </a:lnTo>
                    <a:lnTo>
                      <a:pt x="945" y="0"/>
                    </a:lnTo>
                    <a:lnTo>
                      <a:pt x="945" y="0"/>
                    </a:lnTo>
                    <a:lnTo>
                      <a:pt x="1285" y="960"/>
                    </a:lnTo>
                    <a:lnTo>
                      <a:pt x="2204" y="3558"/>
                    </a:lnTo>
                    <a:lnTo>
                      <a:pt x="2204" y="3558"/>
                    </a:lnTo>
                    <a:lnTo>
                      <a:pt x="2204" y="3558"/>
                    </a:lnTo>
                    <a:lnTo>
                      <a:pt x="2204" y="3558"/>
                    </a:lnTo>
                    <a:moveTo>
                      <a:pt x="945" y="0"/>
                    </a:moveTo>
                    <a:lnTo>
                      <a:pt x="945" y="0"/>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80" name="Rectangle 321"/>
              <p:cNvSpPr>
                <a:spLocks noChangeArrowheads="1"/>
              </p:cNvSpPr>
              <p:nvPr/>
            </p:nvSpPr>
            <p:spPr bwMode="auto">
              <a:xfrm>
                <a:off x="-10853738" y="-428626"/>
                <a:ext cx="1588" cy="1588"/>
              </a:xfrm>
              <a:prstGeom prst="rect">
                <a:avLst/>
              </a:prstGeom>
              <a:solidFill>
                <a:srgbClr val="518DB3"/>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81" name="Freeform 322"/>
              <p:cNvSpPr>
                <a:spLocks/>
              </p:cNvSpPr>
              <p:nvPr/>
            </p:nvSpPr>
            <p:spPr bwMode="auto">
              <a:xfrm>
                <a:off x="-10853738" y="-1984376"/>
                <a:ext cx="1397000" cy="1555750"/>
              </a:xfrm>
              <a:custGeom>
                <a:avLst/>
                <a:gdLst>
                  <a:gd name="T0" fmla="*/ 0 w 880"/>
                  <a:gd name="T1" fmla="*/ 980 h 980"/>
                  <a:gd name="T2" fmla="*/ 565 w 880"/>
                  <a:gd name="T3" fmla="*/ 0 h 980"/>
                  <a:gd name="T4" fmla="*/ 880 w 880"/>
                  <a:gd name="T5" fmla="*/ 633 h 980"/>
                  <a:gd name="T6" fmla="*/ 0 w 880"/>
                  <a:gd name="T7" fmla="*/ 980 h 980"/>
                </a:gdLst>
                <a:ahLst/>
                <a:cxnLst>
                  <a:cxn ang="0">
                    <a:pos x="T0" y="T1"/>
                  </a:cxn>
                  <a:cxn ang="0">
                    <a:pos x="T2" y="T3"/>
                  </a:cxn>
                  <a:cxn ang="0">
                    <a:pos x="T4" y="T5"/>
                  </a:cxn>
                  <a:cxn ang="0">
                    <a:pos x="T6" y="T7"/>
                  </a:cxn>
                </a:cxnLst>
                <a:rect l="0" t="0" r="r" b="b"/>
                <a:pathLst>
                  <a:path w="880" h="980">
                    <a:moveTo>
                      <a:pt x="0" y="980"/>
                    </a:moveTo>
                    <a:lnTo>
                      <a:pt x="565" y="0"/>
                    </a:lnTo>
                    <a:lnTo>
                      <a:pt x="880" y="633"/>
                    </a:lnTo>
                    <a:lnTo>
                      <a:pt x="0"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84" name="Freeform 323"/>
              <p:cNvSpPr>
                <a:spLocks/>
              </p:cNvSpPr>
              <p:nvPr/>
            </p:nvSpPr>
            <p:spPr bwMode="auto">
              <a:xfrm>
                <a:off x="-10853738" y="-3540126"/>
                <a:ext cx="1795463" cy="1555750"/>
              </a:xfrm>
              <a:custGeom>
                <a:avLst/>
                <a:gdLst>
                  <a:gd name="T0" fmla="*/ 565 w 1131"/>
                  <a:gd name="T1" fmla="*/ 980 h 980"/>
                  <a:gd name="T2" fmla="*/ 565 w 1131"/>
                  <a:gd name="T3" fmla="*/ 980 h 980"/>
                  <a:gd name="T4" fmla="*/ 0 w 1131"/>
                  <a:gd name="T5" fmla="*/ 0 h 980"/>
                  <a:gd name="T6" fmla="*/ 1131 w 1131"/>
                  <a:gd name="T7" fmla="*/ 0 h 980"/>
                  <a:gd name="T8" fmla="*/ 565 w 1131"/>
                  <a:gd name="T9" fmla="*/ 980 h 980"/>
                </a:gdLst>
                <a:ahLst/>
                <a:cxnLst>
                  <a:cxn ang="0">
                    <a:pos x="T0" y="T1"/>
                  </a:cxn>
                  <a:cxn ang="0">
                    <a:pos x="T2" y="T3"/>
                  </a:cxn>
                  <a:cxn ang="0">
                    <a:pos x="T4" y="T5"/>
                  </a:cxn>
                  <a:cxn ang="0">
                    <a:pos x="T6" y="T7"/>
                  </a:cxn>
                  <a:cxn ang="0">
                    <a:pos x="T8" y="T9"/>
                  </a:cxn>
                </a:cxnLst>
                <a:rect l="0" t="0" r="r" b="b"/>
                <a:pathLst>
                  <a:path w="1131" h="980">
                    <a:moveTo>
                      <a:pt x="565" y="980"/>
                    </a:moveTo>
                    <a:lnTo>
                      <a:pt x="565" y="980"/>
                    </a:lnTo>
                    <a:lnTo>
                      <a:pt x="0" y="0"/>
                    </a:lnTo>
                    <a:lnTo>
                      <a:pt x="1131" y="0"/>
                    </a:lnTo>
                    <a:lnTo>
                      <a:pt x="565"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86" name="Freeform 324"/>
              <p:cNvSpPr>
                <a:spLocks/>
              </p:cNvSpPr>
              <p:nvPr/>
            </p:nvSpPr>
            <p:spPr bwMode="auto">
              <a:xfrm>
                <a:off x="-9956800" y="-1984376"/>
                <a:ext cx="1797050" cy="1004888"/>
              </a:xfrm>
              <a:custGeom>
                <a:avLst/>
                <a:gdLst>
                  <a:gd name="T0" fmla="*/ 315 w 1132"/>
                  <a:gd name="T1" fmla="*/ 633 h 633"/>
                  <a:gd name="T2" fmla="*/ 315 w 1132"/>
                  <a:gd name="T3" fmla="*/ 633 h 633"/>
                  <a:gd name="T4" fmla="*/ 0 w 1132"/>
                  <a:gd name="T5" fmla="*/ 0 h 633"/>
                  <a:gd name="T6" fmla="*/ 0 w 1132"/>
                  <a:gd name="T7" fmla="*/ 0 h 633"/>
                  <a:gd name="T8" fmla="*/ 1132 w 1132"/>
                  <a:gd name="T9" fmla="*/ 0 h 633"/>
                  <a:gd name="T10" fmla="*/ 529 w 1132"/>
                  <a:gd name="T11" fmla="*/ 468 h 633"/>
                  <a:gd name="T12" fmla="*/ 315 w 1132"/>
                  <a:gd name="T13" fmla="*/ 633 h 633"/>
                  <a:gd name="T14" fmla="*/ 315 w 1132"/>
                  <a:gd name="T15" fmla="*/ 633 h 633"/>
                  <a:gd name="T16" fmla="*/ 315 w 1132"/>
                  <a:gd name="T17" fmla="*/ 633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2" h="633">
                    <a:moveTo>
                      <a:pt x="315" y="633"/>
                    </a:moveTo>
                    <a:lnTo>
                      <a:pt x="315" y="633"/>
                    </a:lnTo>
                    <a:lnTo>
                      <a:pt x="0" y="0"/>
                    </a:lnTo>
                    <a:lnTo>
                      <a:pt x="0" y="0"/>
                    </a:lnTo>
                    <a:lnTo>
                      <a:pt x="1132" y="0"/>
                    </a:lnTo>
                    <a:lnTo>
                      <a:pt x="529" y="468"/>
                    </a:lnTo>
                    <a:lnTo>
                      <a:pt x="315" y="633"/>
                    </a:lnTo>
                    <a:lnTo>
                      <a:pt x="315" y="633"/>
                    </a:lnTo>
                    <a:lnTo>
                      <a:pt x="315" y="633"/>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87" name="Freeform 325"/>
              <p:cNvSpPr>
                <a:spLocks/>
              </p:cNvSpPr>
              <p:nvPr/>
            </p:nvSpPr>
            <p:spPr bwMode="auto">
              <a:xfrm>
                <a:off x="-9956800" y="-1984376"/>
                <a:ext cx="500063" cy="1004888"/>
              </a:xfrm>
              <a:custGeom>
                <a:avLst/>
                <a:gdLst>
                  <a:gd name="T0" fmla="*/ 315 w 315"/>
                  <a:gd name="T1" fmla="*/ 633 h 633"/>
                  <a:gd name="T2" fmla="*/ 0 w 315"/>
                  <a:gd name="T3" fmla="*/ 0 h 633"/>
                  <a:gd name="T4" fmla="*/ 0 w 315"/>
                  <a:gd name="T5" fmla="*/ 0 h 633"/>
                  <a:gd name="T6" fmla="*/ 315 w 315"/>
                  <a:gd name="T7" fmla="*/ 633 h 633"/>
                </a:gdLst>
                <a:ahLst/>
                <a:cxnLst>
                  <a:cxn ang="0">
                    <a:pos x="T0" y="T1"/>
                  </a:cxn>
                  <a:cxn ang="0">
                    <a:pos x="T2" y="T3"/>
                  </a:cxn>
                  <a:cxn ang="0">
                    <a:pos x="T4" y="T5"/>
                  </a:cxn>
                  <a:cxn ang="0">
                    <a:pos x="T6" y="T7"/>
                  </a:cxn>
                </a:cxnLst>
                <a:rect l="0" t="0" r="r" b="b"/>
                <a:pathLst>
                  <a:path w="315" h="633">
                    <a:moveTo>
                      <a:pt x="315" y="633"/>
                    </a:moveTo>
                    <a:lnTo>
                      <a:pt x="0" y="0"/>
                    </a:lnTo>
                    <a:lnTo>
                      <a:pt x="0" y="0"/>
                    </a:lnTo>
                    <a:lnTo>
                      <a:pt x="315" y="63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88" name="Freeform 326"/>
              <p:cNvSpPr>
                <a:spLocks/>
              </p:cNvSpPr>
              <p:nvPr/>
            </p:nvSpPr>
            <p:spPr bwMode="auto">
              <a:xfrm>
                <a:off x="-11814175" y="-3540126"/>
                <a:ext cx="1857375" cy="1555750"/>
              </a:xfrm>
              <a:custGeom>
                <a:avLst/>
                <a:gdLst>
                  <a:gd name="T0" fmla="*/ 1170 w 1170"/>
                  <a:gd name="T1" fmla="*/ 980 h 980"/>
                  <a:gd name="T2" fmla="*/ 0 w 1170"/>
                  <a:gd name="T3" fmla="*/ 252 h 980"/>
                  <a:gd name="T4" fmla="*/ 605 w 1170"/>
                  <a:gd name="T5" fmla="*/ 0 h 980"/>
                  <a:gd name="T6" fmla="*/ 1170 w 1170"/>
                  <a:gd name="T7" fmla="*/ 980 h 980"/>
                </a:gdLst>
                <a:ahLst/>
                <a:cxnLst>
                  <a:cxn ang="0">
                    <a:pos x="T0" y="T1"/>
                  </a:cxn>
                  <a:cxn ang="0">
                    <a:pos x="T2" y="T3"/>
                  </a:cxn>
                  <a:cxn ang="0">
                    <a:pos x="T4" y="T5"/>
                  </a:cxn>
                  <a:cxn ang="0">
                    <a:pos x="T6" y="T7"/>
                  </a:cxn>
                </a:cxnLst>
                <a:rect l="0" t="0" r="r" b="b"/>
                <a:pathLst>
                  <a:path w="1170" h="980">
                    <a:moveTo>
                      <a:pt x="1170" y="980"/>
                    </a:moveTo>
                    <a:lnTo>
                      <a:pt x="0" y="252"/>
                    </a:lnTo>
                    <a:lnTo>
                      <a:pt x="605" y="0"/>
                    </a:lnTo>
                    <a:lnTo>
                      <a:pt x="1170"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89" name="Freeform 327"/>
              <p:cNvSpPr>
                <a:spLocks/>
              </p:cNvSpPr>
              <p:nvPr/>
            </p:nvSpPr>
            <p:spPr bwMode="auto">
              <a:xfrm>
                <a:off x="-9956800" y="-3540126"/>
                <a:ext cx="1797050" cy="1555750"/>
              </a:xfrm>
              <a:custGeom>
                <a:avLst/>
                <a:gdLst>
                  <a:gd name="T0" fmla="*/ 0 w 1132"/>
                  <a:gd name="T1" fmla="*/ 980 h 980"/>
                  <a:gd name="T2" fmla="*/ 0 w 1132"/>
                  <a:gd name="T3" fmla="*/ 980 h 980"/>
                  <a:gd name="T4" fmla="*/ 566 w 1132"/>
                  <a:gd name="T5" fmla="*/ 0 h 980"/>
                  <a:gd name="T6" fmla="*/ 1132 w 1132"/>
                  <a:gd name="T7" fmla="*/ 980 h 980"/>
                  <a:gd name="T8" fmla="*/ 1132 w 1132"/>
                  <a:gd name="T9" fmla="*/ 980 h 980"/>
                  <a:gd name="T10" fmla="*/ 1132 w 1132"/>
                  <a:gd name="T11" fmla="*/ 980 h 980"/>
                  <a:gd name="T12" fmla="*/ 1132 w 1132"/>
                  <a:gd name="T13" fmla="*/ 980 h 980"/>
                  <a:gd name="T14" fmla="*/ 0 w 1132"/>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980">
                    <a:moveTo>
                      <a:pt x="0" y="980"/>
                    </a:moveTo>
                    <a:lnTo>
                      <a:pt x="0" y="980"/>
                    </a:lnTo>
                    <a:lnTo>
                      <a:pt x="566" y="0"/>
                    </a:lnTo>
                    <a:lnTo>
                      <a:pt x="1132" y="980"/>
                    </a:lnTo>
                    <a:lnTo>
                      <a:pt x="1132" y="980"/>
                    </a:lnTo>
                    <a:lnTo>
                      <a:pt x="1132" y="980"/>
                    </a:lnTo>
                    <a:lnTo>
                      <a:pt x="1132" y="980"/>
                    </a:lnTo>
                    <a:lnTo>
                      <a:pt x="0" y="98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0" name="Freeform 328"/>
              <p:cNvSpPr>
                <a:spLocks/>
              </p:cNvSpPr>
              <p:nvPr/>
            </p:nvSpPr>
            <p:spPr bwMode="auto">
              <a:xfrm>
                <a:off x="-11814175" y="-3140076"/>
                <a:ext cx="1857375" cy="2711450"/>
              </a:xfrm>
              <a:custGeom>
                <a:avLst/>
                <a:gdLst>
                  <a:gd name="T0" fmla="*/ 605 w 1170"/>
                  <a:gd name="T1" fmla="*/ 1708 h 1708"/>
                  <a:gd name="T2" fmla="*/ 605 w 1170"/>
                  <a:gd name="T3" fmla="*/ 1708 h 1708"/>
                  <a:gd name="T4" fmla="*/ 605 w 1170"/>
                  <a:gd name="T5" fmla="*/ 1708 h 1708"/>
                  <a:gd name="T6" fmla="*/ 163 w 1170"/>
                  <a:gd name="T7" fmla="*/ 461 h 1708"/>
                  <a:gd name="T8" fmla="*/ 0 w 1170"/>
                  <a:gd name="T9" fmla="*/ 0 h 1708"/>
                  <a:gd name="T10" fmla="*/ 0 w 1170"/>
                  <a:gd name="T11" fmla="*/ 0 h 1708"/>
                  <a:gd name="T12" fmla="*/ 1170 w 1170"/>
                  <a:gd name="T13" fmla="*/ 728 h 1708"/>
                  <a:gd name="T14" fmla="*/ 1170 w 1170"/>
                  <a:gd name="T15" fmla="*/ 728 h 1708"/>
                  <a:gd name="T16" fmla="*/ 1170 w 1170"/>
                  <a:gd name="T17" fmla="*/ 728 h 1708"/>
                  <a:gd name="T18" fmla="*/ 1170 w 1170"/>
                  <a:gd name="T19" fmla="*/ 728 h 1708"/>
                  <a:gd name="T20" fmla="*/ 1170 w 1170"/>
                  <a:gd name="T21" fmla="*/ 728 h 1708"/>
                  <a:gd name="T22" fmla="*/ 1170 w 1170"/>
                  <a:gd name="T23" fmla="*/ 728 h 1708"/>
                  <a:gd name="T24" fmla="*/ 605 w 1170"/>
                  <a:gd name="T25" fmla="*/ 1708 h 1708"/>
                  <a:gd name="T26" fmla="*/ 605 w 1170"/>
                  <a:gd name="T27" fmla="*/ 1708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0" h="1708">
                    <a:moveTo>
                      <a:pt x="605" y="1708"/>
                    </a:moveTo>
                    <a:lnTo>
                      <a:pt x="605" y="1708"/>
                    </a:lnTo>
                    <a:lnTo>
                      <a:pt x="605" y="1708"/>
                    </a:lnTo>
                    <a:lnTo>
                      <a:pt x="163" y="461"/>
                    </a:lnTo>
                    <a:lnTo>
                      <a:pt x="0" y="0"/>
                    </a:lnTo>
                    <a:lnTo>
                      <a:pt x="0" y="0"/>
                    </a:lnTo>
                    <a:lnTo>
                      <a:pt x="1170" y="728"/>
                    </a:lnTo>
                    <a:lnTo>
                      <a:pt x="1170" y="728"/>
                    </a:lnTo>
                    <a:lnTo>
                      <a:pt x="1170" y="728"/>
                    </a:lnTo>
                    <a:lnTo>
                      <a:pt x="1170" y="728"/>
                    </a:lnTo>
                    <a:lnTo>
                      <a:pt x="1170" y="728"/>
                    </a:lnTo>
                    <a:lnTo>
                      <a:pt x="1170" y="728"/>
                    </a:lnTo>
                    <a:lnTo>
                      <a:pt x="605" y="1708"/>
                    </a:lnTo>
                    <a:lnTo>
                      <a:pt x="605" y="1708"/>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1" name="Freeform 329"/>
              <p:cNvSpPr>
                <a:spLocks/>
              </p:cNvSpPr>
              <p:nvPr/>
            </p:nvSpPr>
            <p:spPr bwMode="auto">
              <a:xfrm>
                <a:off x="-12625388" y="3949700"/>
                <a:ext cx="446088" cy="647700"/>
              </a:xfrm>
              <a:custGeom>
                <a:avLst/>
                <a:gdLst>
                  <a:gd name="T0" fmla="*/ 281 w 281"/>
                  <a:gd name="T1" fmla="*/ 408 h 408"/>
                  <a:gd name="T2" fmla="*/ 0 w 281"/>
                  <a:gd name="T3" fmla="*/ 334 h 408"/>
                  <a:gd name="T4" fmla="*/ 0 w 281"/>
                  <a:gd name="T5" fmla="*/ 0 h 408"/>
                  <a:gd name="T6" fmla="*/ 281 w 281"/>
                  <a:gd name="T7" fmla="*/ 408 h 408"/>
                </a:gdLst>
                <a:ahLst/>
                <a:cxnLst>
                  <a:cxn ang="0">
                    <a:pos x="T0" y="T1"/>
                  </a:cxn>
                  <a:cxn ang="0">
                    <a:pos x="T2" y="T3"/>
                  </a:cxn>
                  <a:cxn ang="0">
                    <a:pos x="T4" y="T5"/>
                  </a:cxn>
                  <a:cxn ang="0">
                    <a:pos x="T6" y="T7"/>
                  </a:cxn>
                </a:cxnLst>
                <a:rect l="0" t="0" r="r" b="b"/>
                <a:pathLst>
                  <a:path w="281" h="408">
                    <a:moveTo>
                      <a:pt x="281" y="408"/>
                    </a:moveTo>
                    <a:lnTo>
                      <a:pt x="0" y="334"/>
                    </a:lnTo>
                    <a:lnTo>
                      <a:pt x="0" y="0"/>
                    </a:lnTo>
                    <a:lnTo>
                      <a:pt x="281" y="408"/>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2" name="Freeform 330"/>
              <p:cNvSpPr>
                <a:spLocks/>
              </p:cNvSpPr>
              <p:nvPr/>
            </p:nvSpPr>
            <p:spPr bwMode="auto">
              <a:xfrm>
                <a:off x="-12625388" y="1152525"/>
                <a:ext cx="844550" cy="811213"/>
              </a:xfrm>
              <a:custGeom>
                <a:avLst/>
                <a:gdLst>
                  <a:gd name="T0" fmla="*/ 0 w 532"/>
                  <a:gd name="T1" fmla="*/ 511 h 511"/>
                  <a:gd name="T2" fmla="*/ 0 w 532"/>
                  <a:gd name="T3" fmla="*/ 511 h 511"/>
                  <a:gd name="T4" fmla="*/ 532 w 532"/>
                  <a:gd name="T5" fmla="*/ 0 h 511"/>
                  <a:gd name="T6" fmla="*/ 0 w 532"/>
                  <a:gd name="T7" fmla="*/ 511 h 511"/>
                </a:gdLst>
                <a:ahLst/>
                <a:cxnLst>
                  <a:cxn ang="0">
                    <a:pos x="T0" y="T1"/>
                  </a:cxn>
                  <a:cxn ang="0">
                    <a:pos x="T2" y="T3"/>
                  </a:cxn>
                  <a:cxn ang="0">
                    <a:pos x="T4" y="T5"/>
                  </a:cxn>
                  <a:cxn ang="0">
                    <a:pos x="T6" y="T7"/>
                  </a:cxn>
                </a:cxnLst>
                <a:rect l="0" t="0" r="r" b="b"/>
                <a:pathLst>
                  <a:path w="532" h="511">
                    <a:moveTo>
                      <a:pt x="0" y="511"/>
                    </a:moveTo>
                    <a:lnTo>
                      <a:pt x="0" y="511"/>
                    </a:lnTo>
                    <a:lnTo>
                      <a:pt x="532" y="0"/>
                    </a:lnTo>
                    <a:lnTo>
                      <a:pt x="0" y="51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3" name="Freeform 331"/>
              <p:cNvSpPr>
                <a:spLocks noEditPoints="1"/>
              </p:cNvSpPr>
              <p:nvPr/>
            </p:nvSpPr>
            <p:spPr bwMode="auto">
              <a:xfrm>
                <a:off x="-12625388" y="2682875"/>
                <a:ext cx="1771650" cy="1914525"/>
              </a:xfrm>
              <a:custGeom>
                <a:avLst/>
                <a:gdLst>
                  <a:gd name="T0" fmla="*/ 586 w 2324"/>
                  <a:gd name="T1" fmla="*/ 2514 h 2514"/>
                  <a:gd name="T2" fmla="*/ 586 w 2324"/>
                  <a:gd name="T3" fmla="*/ 2514 h 2514"/>
                  <a:gd name="T4" fmla="*/ 0 w 2324"/>
                  <a:gd name="T5" fmla="*/ 1664 h 2514"/>
                  <a:gd name="T6" fmla="*/ 0 w 2324"/>
                  <a:gd name="T7" fmla="*/ 64 h 2514"/>
                  <a:gd name="T8" fmla="*/ 2324 w 2324"/>
                  <a:gd name="T9" fmla="*/ 0 h 2514"/>
                  <a:gd name="T10" fmla="*/ 1542 w 2324"/>
                  <a:gd name="T11" fmla="*/ 1131 h 2514"/>
                  <a:gd name="T12" fmla="*/ 586 w 2324"/>
                  <a:gd name="T13" fmla="*/ 2514 h 2514"/>
                  <a:gd name="T14" fmla="*/ 2324 w 2324"/>
                  <a:gd name="T15" fmla="*/ 0 h 2514"/>
                  <a:gd name="T16" fmla="*/ 2324 w 2324"/>
                  <a:gd name="T17" fmla="*/ 0 h 2514"/>
                  <a:gd name="T18" fmla="*/ 2324 w 2324"/>
                  <a:gd name="T19"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4" h="2514">
                    <a:moveTo>
                      <a:pt x="586" y="2514"/>
                    </a:moveTo>
                    <a:lnTo>
                      <a:pt x="586" y="2514"/>
                    </a:lnTo>
                    <a:lnTo>
                      <a:pt x="0" y="1664"/>
                    </a:lnTo>
                    <a:lnTo>
                      <a:pt x="0" y="64"/>
                    </a:lnTo>
                    <a:lnTo>
                      <a:pt x="2324" y="0"/>
                    </a:lnTo>
                    <a:lnTo>
                      <a:pt x="1542" y="1131"/>
                    </a:lnTo>
                    <a:lnTo>
                      <a:pt x="586" y="2514"/>
                    </a:lnTo>
                    <a:moveTo>
                      <a:pt x="2324" y="0"/>
                    </a:moveTo>
                    <a:lnTo>
                      <a:pt x="2324" y="0"/>
                    </a:lnTo>
                    <a:lnTo>
                      <a:pt x="2324"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4" name="Freeform 332"/>
              <p:cNvSpPr>
                <a:spLocks/>
              </p:cNvSpPr>
              <p:nvPr/>
            </p:nvSpPr>
            <p:spPr bwMode="auto">
              <a:xfrm>
                <a:off x="-12625388" y="1125537"/>
                <a:ext cx="1771650" cy="1604963"/>
              </a:xfrm>
              <a:custGeom>
                <a:avLst/>
                <a:gdLst>
                  <a:gd name="T0" fmla="*/ 0 w 1116"/>
                  <a:gd name="T1" fmla="*/ 1011 h 1011"/>
                  <a:gd name="T2" fmla="*/ 0 w 1116"/>
                  <a:gd name="T3" fmla="*/ 528 h 1011"/>
                  <a:gd name="T4" fmla="*/ 532 w 1116"/>
                  <a:gd name="T5" fmla="*/ 17 h 1011"/>
                  <a:gd name="T6" fmla="*/ 550 w 1116"/>
                  <a:gd name="T7" fmla="*/ 0 h 1011"/>
                  <a:gd name="T8" fmla="*/ 532 w 1116"/>
                  <a:gd name="T9" fmla="*/ 17 h 1011"/>
                  <a:gd name="T10" fmla="*/ 550 w 1116"/>
                  <a:gd name="T11" fmla="*/ 0 h 1011"/>
                  <a:gd name="T12" fmla="*/ 550 w 1116"/>
                  <a:gd name="T13" fmla="*/ 0 h 1011"/>
                  <a:gd name="T14" fmla="*/ 550 w 1116"/>
                  <a:gd name="T15" fmla="*/ 0 h 1011"/>
                  <a:gd name="T16" fmla="*/ 1116 w 1116"/>
                  <a:gd name="T17" fmla="*/ 981 h 1011"/>
                  <a:gd name="T18" fmla="*/ 0 w 1116"/>
                  <a:gd name="T19" fmla="*/ 1011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6" h="1011">
                    <a:moveTo>
                      <a:pt x="0" y="1011"/>
                    </a:moveTo>
                    <a:lnTo>
                      <a:pt x="0" y="528"/>
                    </a:lnTo>
                    <a:lnTo>
                      <a:pt x="532" y="17"/>
                    </a:lnTo>
                    <a:lnTo>
                      <a:pt x="550" y="0"/>
                    </a:lnTo>
                    <a:lnTo>
                      <a:pt x="532" y="17"/>
                    </a:lnTo>
                    <a:lnTo>
                      <a:pt x="550" y="0"/>
                    </a:lnTo>
                    <a:lnTo>
                      <a:pt x="550" y="0"/>
                    </a:lnTo>
                    <a:lnTo>
                      <a:pt x="550" y="0"/>
                    </a:lnTo>
                    <a:lnTo>
                      <a:pt x="1116" y="981"/>
                    </a:lnTo>
                    <a:lnTo>
                      <a:pt x="0" y="101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5" name="Freeform 333"/>
              <p:cNvSpPr>
                <a:spLocks/>
              </p:cNvSpPr>
              <p:nvPr/>
            </p:nvSpPr>
            <p:spPr bwMode="auto">
              <a:xfrm>
                <a:off x="-11780838" y="1125537"/>
                <a:ext cx="28575" cy="26988"/>
              </a:xfrm>
              <a:custGeom>
                <a:avLst/>
                <a:gdLst>
                  <a:gd name="T0" fmla="*/ 0 w 18"/>
                  <a:gd name="T1" fmla="*/ 17 h 17"/>
                  <a:gd name="T2" fmla="*/ 0 w 18"/>
                  <a:gd name="T3" fmla="*/ 17 h 17"/>
                  <a:gd name="T4" fmla="*/ 18 w 18"/>
                  <a:gd name="T5" fmla="*/ 0 h 17"/>
                  <a:gd name="T6" fmla="*/ 0 w 18"/>
                  <a:gd name="T7" fmla="*/ 17 h 17"/>
                </a:gdLst>
                <a:ahLst/>
                <a:cxnLst>
                  <a:cxn ang="0">
                    <a:pos x="T0" y="T1"/>
                  </a:cxn>
                  <a:cxn ang="0">
                    <a:pos x="T2" y="T3"/>
                  </a:cxn>
                  <a:cxn ang="0">
                    <a:pos x="T4" y="T5"/>
                  </a:cxn>
                  <a:cxn ang="0">
                    <a:pos x="T6" y="T7"/>
                  </a:cxn>
                </a:cxnLst>
                <a:rect l="0" t="0" r="r" b="b"/>
                <a:pathLst>
                  <a:path w="18" h="17">
                    <a:moveTo>
                      <a:pt x="0" y="17"/>
                    </a:moveTo>
                    <a:lnTo>
                      <a:pt x="0" y="17"/>
                    </a:lnTo>
                    <a:lnTo>
                      <a:pt x="18" y="0"/>
                    </a:lnTo>
                    <a:lnTo>
                      <a:pt x="0" y="1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6" name="Freeform 334"/>
              <p:cNvSpPr>
                <a:spLocks noEditPoints="1"/>
              </p:cNvSpPr>
              <p:nvPr/>
            </p:nvSpPr>
            <p:spPr bwMode="auto">
              <a:xfrm>
                <a:off x="-10853738" y="1454150"/>
                <a:ext cx="1365250" cy="1757363"/>
              </a:xfrm>
              <a:custGeom>
                <a:avLst/>
                <a:gdLst>
                  <a:gd name="T0" fmla="*/ 1792 w 1792"/>
                  <a:gd name="T1" fmla="*/ 2307 h 2307"/>
                  <a:gd name="T2" fmla="*/ 0 w 1792"/>
                  <a:gd name="T3" fmla="*/ 1612 h 2307"/>
                  <a:gd name="T4" fmla="*/ 0 w 1792"/>
                  <a:gd name="T5" fmla="*/ 1612 h 2307"/>
                  <a:gd name="T6" fmla="*/ 0 w 1792"/>
                  <a:gd name="T7" fmla="*/ 1612 h 2307"/>
                  <a:gd name="T8" fmla="*/ 233 w 1792"/>
                  <a:gd name="T9" fmla="*/ 0 h 2307"/>
                  <a:gd name="T10" fmla="*/ 790 w 1792"/>
                  <a:gd name="T11" fmla="*/ 824 h 2307"/>
                  <a:gd name="T12" fmla="*/ 1792 w 1792"/>
                  <a:gd name="T13" fmla="*/ 2307 h 2307"/>
                  <a:gd name="T14" fmla="*/ 233 w 1792"/>
                  <a:gd name="T15" fmla="*/ 0 h 2307"/>
                  <a:gd name="T16" fmla="*/ 233 w 1792"/>
                  <a:gd name="T17" fmla="*/ 0 h 2307"/>
                  <a:gd name="T18" fmla="*/ 233 w 1792"/>
                  <a:gd name="T19" fmla="*/ 0 h 2307"/>
                  <a:gd name="T20" fmla="*/ 233 w 1792"/>
                  <a:gd name="T21" fmla="*/ 0 h 2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2" h="2307">
                    <a:moveTo>
                      <a:pt x="1792" y="2307"/>
                    </a:moveTo>
                    <a:lnTo>
                      <a:pt x="0" y="1612"/>
                    </a:lnTo>
                    <a:lnTo>
                      <a:pt x="0" y="1612"/>
                    </a:lnTo>
                    <a:lnTo>
                      <a:pt x="0" y="1612"/>
                    </a:lnTo>
                    <a:lnTo>
                      <a:pt x="233" y="0"/>
                    </a:lnTo>
                    <a:lnTo>
                      <a:pt x="790" y="824"/>
                    </a:lnTo>
                    <a:lnTo>
                      <a:pt x="1792" y="2307"/>
                    </a:lnTo>
                    <a:moveTo>
                      <a:pt x="233" y="0"/>
                    </a:moveTo>
                    <a:lnTo>
                      <a:pt x="233" y="0"/>
                    </a:lnTo>
                    <a:lnTo>
                      <a:pt x="233" y="0"/>
                    </a:lnTo>
                    <a:lnTo>
                      <a:pt x="233"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7" name="Freeform 335"/>
              <p:cNvSpPr>
                <a:spLocks/>
              </p:cNvSpPr>
              <p:nvPr/>
            </p:nvSpPr>
            <p:spPr bwMode="auto">
              <a:xfrm>
                <a:off x="-10853738" y="-979488"/>
                <a:ext cx="1397000" cy="2433638"/>
              </a:xfrm>
              <a:custGeom>
                <a:avLst/>
                <a:gdLst>
                  <a:gd name="T0" fmla="*/ 111 w 880"/>
                  <a:gd name="T1" fmla="*/ 1533 h 1533"/>
                  <a:gd name="T2" fmla="*/ 111 w 880"/>
                  <a:gd name="T3" fmla="*/ 1533 h 1533"/>
                  <a:gd name="T4" fmla="*/ 0 w 880"/>
                  <a:gd name="T5" fmla="*/ 347 h 1533"/>
                  <a:gd name="T6" fmla="*/ 0 w 880"/>
                  <a:gd name="T7" fmla="*/ 347 h 1533"/>
                  <a:gd name="T8" fmla="*/ 0 w 880"/>
                  <a:gd name="T9" fmla="*/ 347 h 1533"/>
                  <a:gd name="T10" fmla="*/ 880 w 880"/>
                  <a:gd name="T11" fmla="*/ 0 h 1533"/>
                  <a:gd name="T12" fmla="*/ 111 w 880"/>
                  <a:gd name="T13" fmla="*/ 1533 h 1533"/>
                </a:gdLst>
                <a:ahLst/>
                <a:cxnLst>
                  <a:cxn ang="0">
                    <a:pos x="T0" y="T1"/>
                  </a:cxn>
                  <a:cxn ang="0">
                    <a:pos x="T2" y="T3"/>
                  </a:cxn>
                  <a:cxn ang="0">
                    <a:pos x="T4" y="T5"/>
                  </a:cxn>
                  <a:cxn ang="0">
                    <a:pos x="T6" y="T7"/>
                  </a:cxn>
                  <a:cxn ang="0">
                    <a:pos x="T8" y="T9"/>
                  </a:cxn>
                  <a:cxn ang="0">
                    <a:pos x="T10" y="T11"/>
                  </a:cxn>
                  <a:cxn ang="0">
                    <a:pos x="T12" y="T13"/>
                  </a:cxn>
                </a:cxnLst>
                <a:rect l="0" t="0" r="r" b="b"/>
                <a:pathLst>
                  <a:path w="880" h="1533">
                    <a:moveTo>
                      <a:pt x="111" y="1533"/>
                    </a:moveTo>
                    <a:lnTo>
                      <a:pt x="111" y="1533"/>
                    </a:lnTo>
                    <a:lnTo>
                      <a:pt x="0" y="347"/>
                    </a:lnTo>
                    <a:lnTo>
                      <a:pt x="0" y="347"/>
                    </a:lnTo>
                    <a:lnTo>
                      <a:pt x="0" y="347"/>
                    </a:lnTo>
                    <a:lnTo>
                      <a:pt x="880" y="0"/>
                    </a:lnTo>
                    <a:lnTo>
                      <a:pt x="111" y="15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00" name="Freeform 336"/>
              <p:cNvSpPr>
                <a:spLocks/>
              </p:cNvSpPr>
              <p:nvPr/>
            </p:nvSpPr>
            <p:spPr bwMode="auto">
              <a:xfrm>
                <a:off x="-10677525" y="1125537"/>
                <a:ext cx="2517775" cy="2085975"/>
              </a:xfrm>
              <a:custGeom>
                <a:avLst/>
                <a:gdLst>
                  <a:gd name="T0" fmla="*/ 749 w 1586"/>
                  <a:gd name="T1" fmla="*/ 1314 h 1314"/>
                  <a:gd name="T2" fmla="*/ 268 w 1586"/>
                  <a:gd name="T3" fmla="*/ 602 h 1314"/>
                  <a:gd name="T4" fmla="*/ 0 w 1586"/>
                  <a:gd name="T5" fmla="*/ 207 h 1314"/>
                  <a:gd name="T6" fmla="*/ 0 w 1586"/>
                  <a:gd name="T7" fmla="*/ 207 h 1314"/>
                  <a:gd name="T8" fmla="*/ 0 w 1586"/>
                  <a:gd name="T9" fmla="*/ 207 h 1314"/>
                  <a:gd name="T10" fmla="*/ 0 w 1586"/>
                  <a:gd name="T11" fmla="*/ 207 h 1314"/>
                  <a:gd name="T12" fmla="*/ 169 w 1586"/>
                  <a:gd name="T13" fmla="*/ 185 h 1314"/>
                  <a:gd name="T14" fmla="*/ 1586 w 1586"/>
                  <a:gd name="T15" fmla="*/ 0 h 1314"/>
                  <a:gd name="T16" fmla="*/ 749 w 1586"/>
                  <a:gd name="T17" fmla="*/ 1314 h 1314"/>
                  <a:gd name="T18" fmla="*/ 749 w 1586"/>
                  <a:gd name="T19" fmla="*/ 1314 h 1314"/>
                  <a:gd name="T20" fmla="*/ 749 w 1586"/>
                  <a:gd name="T21" fmla="*/ 1314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6" h="1314">
                    <a:moveTo>
                      <a:pt x="749" y="1314"/>
                    </a:moveTo>
                    <a:lnTo>
                      <a:pt x="268" y="602"/>
                    </a:lnTo>
                    <a:lnTo>
                      <a:pt x="0" y="207"/>
                    </a:lnTo>
                    <a:lnTo>
                      <a:pt x="0" y="207"/>
                    </a:lnTo>
                    <a:lnTo>
                      <a:pt x="0" y="207"/>
                    </a:lnTo>
                    <a:lnTo>
                      <a:pt x="0" y="207"/>
                    </a:lnTo>
                    <a:lnTo>
                      <a:pt x="169" y="185"/>
                    </a:lnTo>
                    <a:lnTo>
                      <a:pt x="1586" y="0"/>
                    </a:lnTo>
                    <a:lnTo>
                      <a:pt x="749" y="1314"/>
                    </a:lnTo>
                    <a:lnTo>
                      <a:pt x="749" y="1314"/>
                    </a:lnTo>
                    <a:lnTo>
                      <a:pt x="749" y="1314"/>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07" name="Freeform 337"/>
              <p:cNvSpPr>
                <a:spLocks/>
              </p:cNvSpPr>
              <p:nvPr/>
            </p:nvSpPr>
            <p:spPr bwMode="auto">
              <a:xfrm>
                <a:off x="-10677525" y="1454150"/>
                <a:ext cx="425450" cy="627063"/>
              </a:xfrm>
              <a:custGeom>
                <a:avLst/>
                <a:gdLst>
                  <a:gd name="T0" fmla="*/ 268 w 268"/>
                  <a:gd name="T1" fmla="*/ 395 h 395"/>
                  <a:gd name="T2" fmla="*/ 0 w 268"/>
                  <a:gd name="T3" fmla="*/ 0 h 395"/>
                  <a:gd name="T4" fmla="*/ 0 w 268"/>
                  <a:gd name="T5" fmla="*/ 0 h 395"/>
                  <a:gd name="T6" fmla="*/ 268 w 268"/>
                  <a:gd name="T7" fmla="*/ 395 h 395"/>
                </a:gdLst>
                <a:ahLst/>
                <a:cxnLst>
                  <a:cxn ang="0">
                    <a:pos x="T0" y="T1"/>
                  </a:cxn>
                  <a:cxn ang="0">
                    <a:pos x="T2" y="T3"/>
                  </a:cxn>
                  <a:cxn ang="0">
                    <a:pos x="T4" y="T5"/>
                  </a:cxn>
                  <a:cxn ang="0">
                    <a:pos x="T6" y="T7"/>
                  </a:cxn>
                </a:cxnLst>
                <a:rect l="0" t="0" r="r" b="b"/>
                <a:pathLst>
                  <a:path w="268" h="395">
                    <a:moveTo>
                      <a:pt x="268" y="395"/>
                    </a:moveTo>
                    <a:lnTo>
                      <a:pt x="0" y="0"/>
                    </a:lnTo>
                    <a:lnTo>
                      <a:pt x="0" y="0"/>
                    </a:lnTo>
                    <a:lnTo>
                      <a:pt x="268" y="39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08" name="Freeform 338"/>
              <p:cNvSpPr>
                <a:spLocks/>
              </p:cNvSpPr>
              <p:nvPr/>
            </p:nvSpPr>
            <p:spPr bwMode="auto">
              <a:xfrm>
                <a:off x="-11752263" y="-428626"/>
                <a:ext cx="1074738" cy="1882775"/>
              </a:xfrm>
              <a:custGeom>
                <a:avLst/>
                <a:gdLst>
                  <a:gd name="T0" fmla="*/ 677 w 677"/>
                  <a:gd name="T1" fmla="*/ 1186 h 1186"/>
                  <a:gd name="T2" fmla="*/ 0 w 677"/>
                  <a:gd name="T3" fmla="*/ 979 h 1186"/>
                  <a:gd name="T4" fmla="*/ 452 w 677"/>
                  <a:gd name="T5" fmla="*/ 196 h 1186"/>
                  <a:gd name="T6" fmla="*/ 566 w 677"/>
                  <a:gd name="T7" fmla="*/ 0 h 1186"/>
                  <a:gd name="T8" fmla="*/ 677 w 677"/>
                  <a:gd name="T9" fmla="*/ 1186 h 1186"/>
                  <a:gd name="T10" fmla="*/ 677 w 677"/>
                  <a:gd name="T11" fmla="*/ 1186 h 1186"/>
                </a:gdLst>
                <a:ahLst/>
                <a:cxnLst>
                  <a:cxn ang="0">
                    <a:pos x="T0" y="T1"/>
                  </a:cxn>
                  <a:cxn ang="0">
                    <a:pos x="T2" y="T3"/>
                  </a:cxn>
                  <a:cxn ang="0">
                    <a:pos x="T4" y="T5"/>
                  </a:cxn>
                  <a:cxn ang="0">
                    <a:pos x="T6" y="T7"/>
                  </a:cxn>
                  <a:cxn ang="0">
                    <a:pos x="T8" y="T9"/>
                  </a:cxn>
                  <a:cxn ang="0">
                    <a:pos x="T10" y="T11"/>
                  </a:cxn>
                </a:cxnLst>
                <a:rect l="0" t="0" r="r" b="b"/>
                <a:pathLst>
                  <a:path w="677" h="1186">
                    <a:moveTo>
                      <a:pt x="677" y="1186"/>
                    </a:moveTo>
                    <a:lnTo>
                      <a:pt x="0" y="979"/>
                    </a:lnTo>
                    <a:lnTo>
                      <a:pt x="452" y="196"/>
                    </a:lnTo>
                    <a:lnTo>
                      <a:pt x="566" y="0"/>
                    </a:lnTo>
                    <a:lnTo>
                      <a:pt x="677" y="1186"/>
                    </a:lnTo>
                    <a:lnTo>
                      <a:pt x="677" y="118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09" name="Rectangle 339"/>
              <p:cNvSpPr>
                <a:spLocks noChangeArrowheads="1"/>
              </p:cNvSpPr>
              <p:nvPr/>
            </p:nvSpPr>
            <p:spPr bwMode="auto">
              <a:xfrm>
                <a:off x="-10677525" y="1454150"/>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1" name="Rectangle 340"/>
              <p:cNvSpPr>
                <a:spLocks noChangeArrowheads="1"/>
              </p:cNvSpPr>
              <p:nvPr/>
            </p:nvSpPr>
            <p:spPr bwMode="auto">
              <a:xfrm>
                <a:off x="-11752263" y="1125537"/>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2" name="Freeform 341"/>
              <p:cNvSpPr>
                <a:spLocks/>
              </p:cNvSpPr>
              <p:nvPr/>
            </p:nvSpPr>
            <p:spPr bwMode="auto">
              <a:xfrm>
                <a:off x="-10677525" y="-979488"/>
                <a:ext cx="2517775" cy="2433638"/>
              </a:xfrm>
              <a:custGeom>
                <a:avLst/>
                <a:gdLst>
                  <a:gd name="T0" fmla="*/ 0 w 1586"/>
                  <a:gd name="T1" fmla="*/ 1533 h 1533"/>
                  <a:gd name="T2" fmla="*/ 769 w 1586"/>
                  <a:gd name="T3" fmla="*/ 0 h 1533"/>
                  <a:gd name="T4" fmla="*/ 1586 w 1586"/>
                  <a:gd name="T5" fmla="*/ 1326 h 1533"/>
                  <a:gd name="T6" fmla="*/ 1586 w 1586"/>
                  <a:gd name="T7" fmla="*/ 1326 h 1533"/>
                  <a:gd name="T8" fmla="*/ 1586 w 1586"/>
                  <a:gd name="T9" fmla="*/ 1326 h 1533"/>
                  <a:gd name="T10" fmla="*/ 1586 w 1586"/>
                  <a:gd name="T11" fmla="*/ 1326 h 1533"/>
                  <a:gd name="T12" fmla="*/ 169 w 1586"/>
                  <a:gd name="T13" fmla="*/ 1511 h 1533"/>
                  <a:gd name="T14" fmla="*/ 0 w 1586"/>
                  <a:gd name="T15" fmla="*/ 1533 h 15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6" h="1533">
                    <a:moveTo>
                      <a:pt x="0" y="1533"/>
                    </a:moveTo>
                    <a:lnTo>
                      <a:pt x="769" y="0"/>
                    </a:lnTo>
                    <a:lnTo>
                      <a:pt x="1586" y="1326"/>
                    </a:lnTo>
                    <a:lnTo>
                      <a:pt x="1586" y="1326"/>
                    </a:lnTo>
                    <a:lnTo>
                      <a:pt x="1586" y="1326"/>
                    </a:lnTo>
                    <a:lnTo>
                      <a:pt x="1586" y="1326"/>
                    </a:lnTo>
                    <a:lnTo>
                      <a:pt x="169" y="1511"/>
                    </a:lnTo>
                    <a:lnTo>
                      <a:pt x="0" y="1533"/>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3" name="Freeform 342"/>
              <p:cNvSpPr>
                <a:spLocks noEditPoints="1"/>
              </p:cNvSpPr>
              <p:nvPr/>
            </p:nvSpPr>
            <p:spPr bwMode="auto">
              <a:xfrm>
                <a:off x="-11752263" y="1125537"/>
                <a:ext cx="1074738" cy="1557338"/>
              </a:xfrm>
              <a:custGeom>
                <a:avLst/>
                <a:gdLst>
                  <a:gd name="T0" fmla="*/ 1179 w 1412"/>
                  <a:gd name="T1" fmla="*/ 2042 h 2042"/>
                  <a:gd name="T2" fmla="*/ 0 w 1412"/>
                  <a:gd name="T3" fmla="*/ 0 h 2042"/>
                  <a:gd name="T4" fmla="*/ 1412 w 1412"/>
                  <a:gd name="T5" fmla="*/ 430 h 2042"/>
                  <a:gd name="T6" fmla="*/ 1179 w 1412"/>
                  <a:gd name="T7" fmla="*/ 2042 h 2042"/>
                  <a:gd name="T8" fmla="*/ 1412 w 1412"/>
                  <a:gd name="T9" fmla="*/ 430 h 2042"/>
                  <a:gd name="T10" fmla="*/ 1412 w 1412"/>
                  <a:gd name="T11" fmla="*/ 430 h 2042"/>
                  <a:gd name="T12" fmla="*/ 1412 w 1412"/>
                  <a:gd name="T13" fmla="*/ 430 h 2042"/>
                  <a:gd name="T14" fmla="*/ 1412 w 1412"/>
                  <a:gd name="T15" fmla="*/ 430 h 20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2042">
                    <a:moveTo>
                      <a:pt x="1179" y="2042"/>
                    </a:moveTo>
                    <a:lnTo>
                      <a:pt x="0" y="0"/>
                    </a:lnTo>
                    <a:lnTo>
                      <a:pt x="1412" y="430"/>
                    </a:lnTo>
                    <a:lnTo>
                      <a:pt x="1179" y="2042"/>
                    </a:lnTo>
                    <a:moveTo>
                      <a:pt x="1412" y="430"/>
                    </a:moveTo>
                    <a:lnTo>
                      <a:pt x="1412" y="430"/>
                    </a:lnTo>
                    <a:lnTo>
                      <a:pt x="1412" y="430"/>
                    </a:lnTo>
                    <a:lnTo>
                      <a:pt x="1412" y="430"/>
                    </a:lnTo>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0" name="Freeform 343"/>
              <p:cNvSpPr>
                <a:spLocks/>
              </p:cNvSpPr>
              <p:nvPr/>
            </p:nvSpPr>
            <p:spPr bwMode="auto">
              <a:xfrm>
                <a:off x="-10853738" y="1454150"/>
                <a:ext cx="176213" cy="1228725"/>
              </a:xfrm>
              <a:custGeom>
                <a:avLst/>
                <a:gdLst>
                  <a:gd name="T0" fmla="*/ 0 w 111"/>
                  <a:gd name="T1" fmla="*/ 774 h 774"/>
                  <a:gd name="T2" fmla="*/ 0 w 111"/>
                  <a:gd name="T3" fmla="*/ 774 h 774"/>
                  <a:gd name="T4" fmla="*/ 111 w 111"/>
                  <a:gd name="T5" fmla="*/ 0 h 774"/>
                  <a:gd name="T6" fmla="*/ 111 w 111"/>
                  <a:gd name="T7" fmla="*/ 0 h 774"/>
                  <a:gd name="T8" fmla="*/ 111 w 111"/>
                  <a:gd name="T9" fmla="*/ 0 h 774"/>
                  <a:gd name="T10" fmla="*/ 111 w 111"/>
                  <a:gd name="T11" fmla="*/ 0 h 774"/>
                  <a:gd name="T12" fmla="*/ 111 w 111"/>
                  <a:gd name="T13" fmla="*/ 0 h 774"/>
                  <a:gd name="T14" fmla="*/ 111 w 111"/>
                  <a:gd name="T15" fmla="*/ 0 h 774"/>
                  <a:gd name="T16" fmla="*/ 0 w 111"/>
                  <a:gd name="T17" fmla="*/ 77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74">
                    <a:moveTo>
                      <a:pt x="0" y="774"/>
                    </a:moveTo>
                    <a:lnTo>
                      <a:pt x="0" y="774"/>
                    </a:lnTo>
                    <a:lnTo>
                      <a:pt x="111" y="0"/>
                    </a:lnTo>
                    <a:lnTo>
                      <a:pt x="111" y="0"/>
                    </a:lnTo>
                    <a:lnTo>
                      <a:pt x="111" y="0"/>
                    </a:lnTo>
                    <a:lnTo>
                      <a:pt x="111" y="0"/>
                    </a:lnTo>
                    <a:lnTo>
                      <a:pt x="111" y="0"/>
                    </a:lnTo>
                    <a:lnTo>
                      <a:pt x="111" y="0"/>
                    </a:lnTo>
                    <a:lnTo>
                      <a:pt x="0" y="774"/>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1" name="Rectangle 344"/>
              <p:cNvSpPr>
                <a:spLocks noChangeArrowheads="1"/>
              </p:cNvSpPr>
              <p:nvPr/>
            </p:nvSpPr>
            <p:spPr bwMode="auto">
              <a:xfrm>
                <a:off x="-11752263" y="1125537"/>
                <a:ext cx="1588" cy="1588"/>
              </a:xfrm>
              <a:prstGeom prst="rect">
                <a:avLst/>
              </a:prstGeom>
              <a:solidFill>
                <a:srgbClr val="579ABA"/>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2" name="Rectangle 345"/>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3" name="Rectangle 346"/>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4" name="Freeform 347"/>
              <p:cNvSpPr>
                <a:spLocks/>
              </p:cNvSpPr>
              <p:nvPr/>
            </p:nvSpPr>
            <p:spPr bwMode="auto">
              <a:xfrm>
                <a:off x="-11752263" y="1125537"/>
                <a:ext cx="1074738" cy="328613"/>
              </a:xfrm>
              <a:custGeom>
                <a:avLst/>
                <a:gdLst>
                  <a:gd name="T0" fmla="*/ 677 w 677"/>
                  <a:gd name="T1" fmla="*/ 207 h 207"/>
                  <a:gd name="T2" fmla="*/ 0 w 677"/>
                  <a:gd name="T3" fmla="*/ 0 h 207"/>
                  <a:gd name="T4" fmla="*/ 0 w 677"/>
                  <a:gd name="T5" fmla="*/ 0 h 207"/>
                  <a:gd name="T6" fmla="*/ 0 w 677"/>
                  <a:gd name="T7" fmla="*/ 0 h 207"/>
                  <a:gd name="T8" fmla="*/ 677 w 677"/>
                  <a:gd name="T9" fmla="*/ 207 h 207"/>
                  <a:gd name="T10" fmla="*/ 677 w 677"/>
                  <a:gd name="T11" fmla="*/ 207 h 207"/>
                </a:gdLst>
                <a:ahLst/>
                <a:cxnLst>
                  <a:cxn ang="0">
                    <a:pos x="T0" y="T1"/>
                  </a:cxn>
                  <a:cxn ang="0">
                    <a:pos x="T2" y="T3"/>
                  </a:cxn>
                  <a:cxn ang="0">
                    <a:pos x="T4" y="T5"/>
                  </a:cxn>
                  <a:cxn ang="0">
                    <a:pos x="T6" y="T7"/>
                  </a:cxn>
                  <a:cxn ang="0">
                    <a:pos x="T8" y="T9"/>
                  </a:cxn>
                  <a:cxn ang="0">
                    <a:pos x="T10" y="T11"/>
                  </a:cxn>
                </a:cxnLst>
                <a:rect l="0" t="0" r="r" b="b"/>
                <a:pathLst>
                  <a:path w="677" h="207">
                    <a:moveTo>
                      <a:pt x="677" y="207"/>
                    </a:moveTo>
                    <a:lnTo>
                      <a:pt x="0" y="0"/>
                    </a:lnTo>
                    <a:lnTo>
                      <a:pt x="0" y="0"/>
                    </a:lnTo>
                    <a:lnTo>
                      <a:pt x="0" y="0"/>
                    </a:lnTo>
                    <a:lnTo>
                      <a:pt x="677" y="207"/>
                    </a:lnTo>
                    <a:lnTo>
                      <a:pt x="677" y="20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5" name="Rectangle 348"/>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6" name="Freeform 349"/>
              <p:cNvSpPr>
                <a:spLocks noEditPoints="1"/>
              </p:cNvSpPr>
              <p:nvPr/>
            </p:nvSpPr>
            <p:spPr bwMode="auto">
              <a:xfrm>
                <a:off x="-12625388" y="5602287"/>
                <a:ext cx="571500" cy="1801813"/>
              </a:xfrm>
              <a:custGeom>
                <a:avLst/>
                <a:gdLst>
                  <a:gd name="T0" fmla="*/ 0 w 750"/>
                  <a:gd name="T1" fmla="*/ 2365 h 2365"/>
                  <a:gd name="T2" fmla="*/ 0 w 750"/>
                  <a:gd name="T3" fmla="*/ 921 h 2365"/>
                  <a:gd name="T4" fmla="*/ 750 w 750"/>
                  <a:gd name="T5" fmla="*/ 0 h 2365"/>
                  <a:gd name="T6" fmla="*/ 371 w 750"/>
                  <a:gd name="T7" fmla="*/ 2264 h 2365"/>
                  <a:gd name="T8" fmla="*/ 0 w 750"/>
                  <a:gd name="T9" fmla="*/ 2365 h 2365"/>
                  <a:gd name="T10" fmla="*/ 0 w 750"/>
                  <a:gd name="T11" fmla="*/ 921 h 2365"/>
                  <a:gd name="T12" fmla="*/ 0 w 750"/>
                  <a:gd name="T13" fmla="*/ 921 h 2365"/>
                  <a:gd name="T14" fmla="*/ 750 w 750"/>
                  <a:gd name="T15" fmla="*/ 0 h 2365"/>
                  <a:gd name="T16" fmla="*/ 750 w 750"/>
                  <a:gd name="T17" fmla="*/ 0 h 2365"/>
                  <a:gd name="T18" fmla="*/ 750 w 750"/>
                  <a:gd name="T19" fmla="*/ 0 h 2365"/>
                  <a:gd name="T20" fmla="*/ 0 w 750"/>
                  <a:gd name="T21" fmla="*/ 921 h 2365"/>
                  <a:gd name="T22" fmla="*/ 750 w 750"/>
                  <a:gd name="T23" fmla="*/ 0 h 2365"/>
                  <a:gd name="T24" fmla="*/ 750 w 750"/>
                  <a:gd name="T25" fmla="*/ 0 h 2365"/>
                  <a:gd name="T26" fmla="*/ 750 w 750"/>
                  <a:gd name="T27" fmla="*/ 0 h 2365"/>
                  <a:gd name="T28" fmla="*/ 750 w 750"/>
                  <a:gd name="T29" fmla="*/ 0 h 2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0" h="2365">
                    <a:moveTo>
                      <a:pt x="0" y="2365"/>
                    </a:moveTo>
                    <a:lnTo>
                      <a:pt x="0" y="921"/>
                    </a:lnTo>
                    <a:lnTo>
                      <a:pt x="750" y="0"/>
                    </a:lnTo>
                    <a:lnTo>
                      <a:pt x="371" y="2264"/>
                    </a:lnTo>
                    <a:lnTo>
                      <a:pt x="0" y="2365"/>
                    </a:lnTo>
                    <a:moveTo>
                      <a:pt x="0" y="921"/>
                    </a:moveTo>
                    <a:lnTo>
                      <a:pt x="0" y="921"/>
                    </a:lnTo>
                    <a:lnTo>
                      <a:pt x="750" y="0"/>
                    </a:lnTo>
                    <a:lnTo>
                      <a:pt x="750" y="0"/>
                    </a:lnTo>
                    <a:lnTo>
                      <a:pt x="750" y="0"/>
                    </a:lnTo>
                    <a:lnTo>
                      <a:pt x="0" y="921"/>
                    </a:lnTo>
                    <a:moveTo>
                      <a:pt x="750" y="0"/>
                    </a:moveTo>
                    <a:lnTo>
                      <a:pt x="750" y="0"/>
                    </a:lnTo>
                    <a:lnTo>
                      <a:pt x="750" y="0"/>
                    </a:lnTo>
                    <a:lnTo>
                      <a:pt x="750" y="0"/>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7" name="Freeform 350"/>
              <p:cNvSpPr>
                <a:spLocks/>
              </p:cNvSpPr>
              <p:nvPr/>
            </p:nvSpPr>
            <p:spPr bwMode="auto">
              <a:xfrm>
                <a:off x="-12625388" y="4479925"/>
                <a:ext cx="571500" cy="1122363"/>
              </a:xfrm>
              <a:custGeom>
                <a:avLst/>
                <a:gdLst>
                  <a:gd name="T0" fmla="*/ 360 w 360"/>
                  <a:gd name="T1" fmla="*/ 707 h 707"/>
                  <a:gd name="T2" fmla="*/ 0 w 360"/>
                  <a:gd name="T3" fmla="*/ 379 h 707"/>
                  <a:gd name="T4" fmla="*/ 0 w 360"/>
                  <a:gd name="T5" fmla="*/ 0 h 707"/>
                  <a:gd name="T6" fmla="*/ 281 w 360"/>
                  <a:gd name="T7" fmla="*/ 74 h 707"/>
                  <a:gd name="T8" fmla="*/ 360 w 360"/>
                  <a:gd name="T9" fmla="*/ 707 h 707"/>
                </a:gdLst>
                <a:ahLst/>
                <a:cxnLst>
                  <a:cxn ang="0">
                    <a:pos x="T0" y="T1"/>
                  </a:cxn>
                  <a:cxn ang="0">
                    <a:pos x="T2" y="T3"/>
                  </a:cxn>
                  <a:cxn ang="0">
                    <a:pos x="T4" y="T5"/>
                  </a:cxn>
                  <a:cxn ang="0">
                    <a:pos x="T6" y="T7"/>
                  </a:cxn>
                  <a:cxn ang="0">
                    <a:pos x="T8" y="T9"/>
                  </a:cxn>
                </a:cxnLst>
                <a:rect l="0" t="0" r="r" b="b"/>
                <a:pathLst>
                  <a:path w="360" h="707">
                    <a:moveTo>
                      <a:pt x="360" y="707"/>
                    </a:moveTo>
                    <a:lnTo>
                      <a:pt x="0" y="379"/>
                    </a:lnTo>
                    <a:lnTo>
                      <a:pt x="0" y="0"/>
                    </a:lnTo>
                    <a:lnTo>
                      <a:pt x="281" y="74"/>
                    </a:lnTo>
                    <a:lnTo>
                      <a:pt x="360" y="707"/>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8" name="Freeform 351"/>
              <p:cNvSpPr>
                <a:spLocks noEditPoints="1"/>
              </p:cNvSpPr>
              <p:nvPr/>
            </p:nvSpPr>
            <p:spPr bwMode="auto">
              <a:xfrm>
                <a:off x="-12341225" y="5602287"/>
                <a:ext cx="1487488" cy="1725613"/>
              </a:xfrm>
              <a:custGeom>
                <a:avLst/>
                <a:gdLst>
                  <a:gd name="T0" fmla="*/ 0 w 1952"/>
                  <a:gd name="T1" fmla="*/ 2264 h 2264"/>
                  <a:gd name="T2" fmla="*/ 378 w 1952"/>
                  <a:gd name="T3" fmla="*/ 0 h 2264"/>
                  <a:gd name="T4" fmla="*/ 378 w 1952"/>
                  <a:gd name="T5" fmla="*/ 0 h 2264"/>
                  <a:gd name="T6" fmla="*/ 1952 w 1952"/>
                  <a:gd name="T7" fmla="*/ 251 h 2264"/>
                  <a:gd name="T8" fmla="*/ 1952 w 1952"/>
                  <a:gd name="T9" fmla="*/ 251 h 2264"/>
                  <a:gd name="T10" fmla="*/ 1952 w 1952"/>
                  <a:gd name="T11" fmla="*/ 251 h 2264"/>
                  <a:gd name="T12" fmla="*/ 1952 w 1952"/>
                  <a:gd name="T13" fmla="*/ 251 h 2264"/>
                  <a:gd name="T14" fmla="*/ 780 w 1952"/>
                  <a:gd name="T15" fmla="*/ 1459 h 2264"/>
                  <a:gd name="T16" fmla="*/ 0 w 1952"/>
                  <a:gd name="T17" fmla="*/ 2264 h 2264"/>
                  <a:gd name="T18" fmla="*/ 378 w 1952"/>
                  <a:gd name="T19" fmla="*/ 0 h 2264"/>
                  <a:gd name="T20" fmla="*/ 378 w 1952"/>
                  <a:gd name="T21" fmla="*/ 0 h 2264"/>
                  <a:gd name="T22" fmla="*/ 378 w 1952"/>
                  <a:gd name="T23" fmla="*/ 0 h 2264"/>
                  <a:gd name="T24" fmla="*/ 378 w 1952"/>
                  <a:gd name="T25" fmla="*/ 0 h 2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52" h="2264">
                    <a:moveTo>
                      <a:pt x="0" y="2264"/>
                    </a:moveTo>
                    <a:lnTo>
                      <a:pt x="378" y="0"/>
                    </a:lnTo>
                    <a:lnTo>
                      <a:pt x="378" y="0"/>
                    </a:lnTo>
                    <a:lnTo>
                      <a:pt x="1952" y="251"/>
                    </a:lnTo>
                    <a:lnTo>
                      <a:pt x="1952" y="251"/>
                    </a:lnTo>
                    <a:lnTo>
                      <a:pt x="1952" y="251"/>
                    </a:lnTo>
                    <a:lnTo>
                      <a:pt x="1952" y="251"/>
                    </a:lnTo>
                    <a:lnTo>
                      <a:pt x="780" y="1459"/>
                    </a:lnTo>
                    <a:lnTo>
                      <a:pt x="0" y="2264"/>
                    </a:lnTo>
                    <a:moveTo>
                      <a:pt x="378" y="0"/>
                    </a:moveTo>
                    <a:lnTo>
                      <a:pt x="378" y="0"/>
                    </a:lnTo>
                    <a:lnTo>
                      <a:pt x="378" y="0"/>
                    </a:lnTo>
                    <a:lnTo>
                      <a:pt x="378"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9" name="Freeform 352"/>
              <p:cNvSpPr>
                <a:spLocks noEditPoints="1"/>
              </p:cNvSpPr>
              <p:nvPr/>
            </p:nvSpPr>
            <p:spPr bwMode="auto">
              <a:xfrm>
                <a:off x="-12625388" y="5081587"/>
                <a:ext cx="571500" cy="520700"/>
              </a:xfrm>
              <a:custGeom>
                <a:avLst/>
                <a:gdLst>
                  <a:gd name="T0" fmla="*/ 750 w 750"/>
                  <a:gd name="T1" fmla="*/ 684 h 684"/>
                  <a:gd name="T2" fmla="*/ 750 w 750"/>
                  <a:gd name="T3" fmla="*/ 684 h 684"/>
                  <a:gd name="T4" fmla="*/ 750 w 750"/>
                  <a:gd name="T5" fmla="*/ 684 h 684"/>
                  <a:gd name="T6" fmla="*/ 750 w 750"/>
                  <a:gd name="T7" fmla="*/ 684 h 684"/>
                  <a:gd name="T8" fmla="*/ 750 w 750"/>
                  <a:gd name="T9" fmla="*/ 684 h 684"/>
                  <a:gd name="T10" fmla="*/ 0 w 750"/>
                  <a:gd name="T11" fmla="*/ 0 h 684"/>
                  <a:gd name="T12" fmla="*/ 750 w 750"/>
                  <a:gd name="T13" fmla="*/ 684 h 684"/>
                </a:gdLst>
                <a:ahLst/>
                <a:cxnLst>
                  <a:cxn ang="0">
                    <a:pos x="T0" y="T1"/>
                  </a:cxn>
                  <a:cxn ang="0">
                    <a:pos x="T2" y="T3"/>
                  </a:cxn>
                  <a:cxn ang="0">
                    <a:pos x="T4" y="T5"/>
                  </a:cxn>
                  <a:cxn ang="0">
                    <a:pos x="T6" y="T7"/>
                  </a:cxn>
                  <a:cxn ang="0">
                    <a:pos x="T8" y="T9"/>
                  </a:cxn>
                  <a:cxn ang="0">
                    <a:pos x="T10" y="T11"/>
                  </a:cxn>
                  <a:cxn ang="0">
                    <a:pos x="T12" y="T13"/>
                  </a:cxn>
                </a:cxnLst>
                <a:rect l="0" t="0" r="r" b="b"/>
                <a:pathLst>
                  <a:path w="750" h="684">
                    <a:moveTo>
                      <a:pt x="750" y="684"/>
                    </a:moveTo>
                    <a:lnTo>
                      <a:pt x="750" y="684"/>
                    </a:lnTo>
                    <a:lnTo>
                      <a:pt x="750" y="684"/>
                    </a:lnTo>
                    <a:lnTo>
                      <a:pt x="750" y="684"/>
                    </a:lnTo>
                    <a:moveTo>
                      <a:pt x="750" y="684"/>
                    </a:moveTo>
                    <a:lnTo>
                      <a:pt x="0" y="0"/>
                    </a:lnTo>
                    <a:lnTo>
                      <a:pt x="750" y="684"/>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0" name="Rectangle 353"/>
              <p:cNvSpPr>
                <a:spLocks noChangeArrowheads="1"/>
              </p:cNvSpPr>
              <p:nvPr/>
            </p:nvSpPr>
            <p:spPr bwMode="auto">
              <a:xfrm>
                <a:off x="-12053888" y="5602287"/>
                <a:ext cx="1588" cy="1588"/>
              </a:xfrm>
              <a:prstGeom prst="rect">
                <a:avLst/>
              </a:prstGeom>
              <a:solidFill>
                <a:srgbClr val="599DBC"/>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1" name="Line 354"/>
              <p:cNvSpPr>
                <a:spLocks noChangeShapeType="1"/>
              </p:cNvSpPr>
              <p:nvPr/>
            </p:nvSpPr>
            <p:spPr bwMode="auto">
              <a:xfrm>
                <a:off x="-12053888" y="56022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2" name="Freeform 355"/>
              <p:cNvSpPr>
                <a:spLocks/>
              </p:cNvSpPr>
              <p:nvPr/>
            </p:nvSpPr>
            <p:spPr bwMode="auto">
              <a:xfrm>
                <a:off x="-12179300" y="4597400"/>
                <a:ext cx="1325563" cy="1195388"/>
              </a:xfrm>
              <a:custGeom>
                <a:avLst/>
                <a:gdLst>
                  <a:gd name="T0" fmla="*/ 835 w 835"/>
                  <a:gd name="T1" fmla="*/ 753 h 753"/>
                  <a:gd name="T2" fmla="*/ 79 w 835"/>
                  <a:gd name="T3" fmla="*/ 633 h 753"/>
                  <a:gd name="T4" fmla="*/ 0 w 835"/>
                  <a:gd name="T5" fmla="*/ 0 h 753"/>
                  <a:gd name="T6" fmla="*/ 835 w 835"/>
                  <a:gd name="T7" fmla="*/ 753 h 753"/>
                  <a:gd name="T8" fmla="*/ 835 w 835"/>
                  <a:gd name="T9" fmla="*/ 753 h 753"/>
                </a:gdLst>
                <a:ahLst/>
                <a:cxnLst>
                  <a:cxn ang="0">
                    <a:pos x="T0" y="T1"/>
                  </a:cxn>
                  <a:cxn ang="0">
                    <a:pos x="T2" y="T3"/>
                  </a:cxn>
                  <a:cxn ang="0">
                    <a:pos x="T4" y="T5"/>
                  </a:cxn>
                  <a:cxn ang="0">
                    <a:pos x="T6" y="T7"/>
                  </a:cxn>
                  <a:cxn ang="0">
                    <a:pos x="T8" y="T9"/>
                  </a:cxn>
                </a:cxnLst>
                <a:rect l="0" t="0" r="r" b="b"/>
                <a:pathLst>
                  <a:path w="835" h="753">
                    <a:moveTo>
                      <a:pt x="835" y="753"/>
                    </a:moveTo>
                    <a:lnTo>
                      <a:pt x="79" y="633"/>
                    </a:lnTo>
                    <a:lnTo>
                      <a:pt x="0" y="0"/>
                    </a:lnTo>
                    <a:lnTo>
                      <a:pt x="835" y="753"/>
                    </a:lnTo>
                    <a:lnTo>
                      <a:pt x="835" y="753"/>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3" name="Freeform 356"/>
              <p:cNvSpPr>
                <a:spLocks/>
              </p:cNvSpPr>
              <p:nvPr/>
            </p:nvSpPr>
            <p:spPr bwMode="auto">
              <a:xfrm>
                <a:off x="-12625388" y="5602287"/>
                <a:ext cx="571500" cy="701675"/>
              </a:xfrm>
              <a:custGeom>
                <a:avLst/>
                <a:gdLst>
                  <a:gd name="T0" fmla="*/ 0 w 360"/>
                  <a:gd name="T1" fmla="*/ 442 h 442"/>
                  <a:gd name="T2" fmla="*/ 0 w 360"/>
                  <a:gd name="T3" fmla="*/ 442 h 442"/>
                  <a:gd name="T4" fmla="*/ 360 w 360"/>
                  <a:gd name="T5" fmla="*/ 0 h 442"/>
                  <a:gd name="T6" fmla="*/ 360 w 360"/>
                  <a:gd name="T7" fmla="*/ 0 h 442"/>
                  <a:gd name="T8" fmla="*/ 360 w 360"/>
                  <a:gd name="T9" fmla="*/ 0 h 442"/>
                  <a:gd name="T10" fmla="*/ 360 w 360"/>
                  <a:gd name="T11" fmla="*/ 0 h 442"/>
                  <a:gd name="T12" fmla="*/ 360 w 360"/>
                  <a:gd name="T13" fmla="*/ 0 h 442"/>
                  <a:gd name="T14" fmla="*/ 0 w 36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442">
                    <a:moveTo>
                      <a:pt x="0" y="442"/>
                    </a:moveTo>
                    <a:lnTo>
                      <a:pt x="0" y="442"/>
                    </a:lnTo>
                    <a:lnTo>
                      <a:pt x="360" y="0"/>
                    </a:lnTo>
                    <a:lnTo>
                      <a:pt x="360" y="0"/>
                    </a:lnTo>
                    <a:lnTo>
                      <a:pt x="360" y="0"/>
                    </a:lnTo>
                    <a:lnTo>
                      <a:pt x="360" y="0"/>
                    </a:lnTo>
                    <a:lnTo>
                      <a:pt x="360" y="0"/>
                    </a:lnTo>
                    <a:lnTo>
                      <a:pt x="0" y="4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4" name="Freeform 357"/>
              <p:cNvSpPr>
                <a:spLocks noEditPoints="1"/>
              </p:cNvSpPr>
              <p:nvPr/>
            </p:nvSpPr>
            <p:spPr bwMode="auto">
              <a:xfrm>
                <a:off x="-10853738" y="4237037"/>
                <a:ext cx="944563" cy="2341563"/>
              </a:xfrm>
              <a:custGeom>
                <a:avLst/>
                <a:gdLst>
                  <a:gd name="T0" fmla="*/ 1240 w 1240"/>
                  <a:gd name="T1" fmla="*/ 3073 h 3073"/>
                  <a:gd name="T2" fmla="*/ 0 w 1240"/>
                  <a:gd name="T3" fmla="*/ 2042 h 3073"/>
                  <a:gd name="T4" fmla="*/ 0 w 1240"/>
                  <a:gd name="T5" fmla="*/ 2042 h 3073"/>
                  <a:gd name="T6" fmla="*/ 0 w 1240"/>
                  <a:gd name="T7" fmla="*/ 2042 h 3073"/>
                  <a:gd name="T8" fmla="*/ 0 w 1240"/>
                  <a:gd name="T9" fmla="*/ 2042 h 3073"/>
                  <a:gd name="T10" fmla="*/ 1178 w 1240"/>
                  <a:gd name="T11" fmla="*/ 1 h 3073"/>
                  <a:gd name="T12" fmla="*/ 1240 w 1240"/>
                  <a:gd name="T13" fmla="*/ 3073 h 3073"/>
                  <a:gd name="T14" fmla="*/ 1178 w 1240"/>
                  <a:gd name="T15" fmla="*/ 0 h 3073"/>
                  <a:gd name="T16" fmla="*/ 1178 w 1240"/>
                  <a:gd name="T17" fmla="*/ 0 h 3073"/>
                  <a:gd name="T18" fmla="*/ 1178 w 1240"/>
                  <a:gd name="T19" fmla="*/ 0 h 3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0" h="3073">
                    <a:moveTo>
                      <a:pt x="1240" y="3073"/>
                    </a:moveTo>
                    <a:lnTo>
                      <a:pt x="0" y="2042"/>
                    </a:lnTo>
                    <a:lnTo>
                      <a:pt x="0" y="2042"/>
                    </a:lnTo>
                    <a:lnTo>
                      <a:pt x="0" y="2042"/>
                    </a:lnTo>
                    <a:lnTo>
                      <a:pt x="0" y="2042"/>
                    </a:lnTo>
                    <a:lnTo>
                      <a:pt x="1178" y="1"/>
                    </a:lnTo>
                    <a:lnTo>
                      <a:pt x="1240" y="3073"/>
                    </a:lnTo>
                    <a:moveTo>
                      <a:pt x="1178" y="0"/>
                    </a:moveTo>
                    <a:lnTo>
                      <a:pt x="1178" y="0"/>
                    </a:lnTo>
                    <a:lnTo>
                      <a:pt x="1178" y="0"/>
                    </a:lnTo>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5" name="Rectangle 358"/>
              <p:cNvSpPr>
                <a:spLocks noChangeArrowheads="1"/>
              </p:cNvSpPr>
              <p:nvPr/>
            </p:nvSpPr>
            <p:spPr bwMode="auto">
              <a:xfrm>
                <a:off x="-10853738" y="5792787"/>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6" name="Freeform 359"/>
              <p:cNvSpPr>
                <a:spLocks/>
              </p:cNvSpPr>
              <p:nvPr/>
            </p:nvSpPr>
            <p:spPr bwMode="auto">
              <a:xfrm>
                <a:off x="-10853738" y="2682875"/>
                <a:ext cx="1365250" cy="1554163"/>
              </a:xfrm>
              <a:custGeom>
                <a:avLst/>
                <a:gdLst>
                  <a:gd name="T0" fmla="*/ 565 w 860"/>
                  <a:gd name="T1" fmla="*/ 979 h 979"/>
                  <a:gd name="T2" fmla="*/ 565 w 860"/>
                  <a:gd name="T3" fmla="*/ 979 h 979"/>
                  <a:gd name="T4" fmla="*/ 0 w 860"/>
                  <a:gd name="T5" fmla="*/ 0 h 979"/>
                  <a:gd name="T6" fmla="*/ 0 w 860"/>
                  <a:gd name="T7" fmla="*/ 0 h 979"/>
                  <a:gd name="T8" fmla="*/ 860 w 860"/>
                  <a:gd name="T9" fmla="*/ 333 h 979"/>
                  <a:gd name="T10" fmla="*/ 565 w 860"/>
                  <a:gd name="T11" fmla="*/ 979 h 979"/>
                </a:gdLst>
                <a:ahLst/>
                <a:cxnLst>
                  <a:cxn ang="0">
                    <a:pos x="T0" y="T1"/>
                  </a:cxn>
                  <a:cxn ang="0">
                    <a:pos x="T2" y="T3"/>
                  </a:cxn>
                  <a:cxn ang="0">
                    <a:pos x="T4" y="T5"/>
                  </a:cxn>
                  <a:cxn ang="0">
                    <a:pos x="T6" y="T7"/>
                  </a:cxn>
                  <a:cxn ang="0">
                    <a:pos x="T8" y="T9"/>
                  </a:cxn>
                  <a:cxn ang="0">
                    <a:pos x="T10" y="T11"/>
                  </a:cxn>
                </a:cxnLst>
                <a:rect l="0" t="0" r="r" b="b"/>
                <a:pathLst>
                  <a:path w="860" h="979">
                    <a:moveTo>
                      <a:pt x="565" y="979"/>
                    </a:moveTo>
                    <a:lnTo>
                      <a:pt x="565" y="979"/>
                    </a:lnTo>
                    <a:lnTo>
                      <a:pt x="0" y="0"/>
                    </a:lnTo>
                    <a:lnTo>
                      <a:pt x="0" y="0"/>
                    </a:lnTo>
                    <a:lnTo>
                      <a:pt x="860" y="333"/>
                    </a:lnTo>
                    <a:lnTo>
                      <a:pt x="565"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7" name="Freeform 360"/>
              <p:cNvSpPr>
                <a:spLocks/>
              </p:cNvSpPr>
              <p:nvPr/>
            </p:nvSpPr>
            <p:spPr bwMode="auto">
              <a:xfrm>
                <a:off x="-9956800" y="4237037"/>
                <a:ext cx="1797050" cy="2341563"/>
              </a:xfrm>
              <a:custGeom>
                <a:avLst/>
                <a:gdLst>
                  <a:gd name="T0" fmla="*/ 30 w 1132"/>
                  <a:gd name="T1" fmla="*/ 1475 h 1475"/>
                  <a:gd name="T2" fmla="*/ 0 w 1132"/>
                  <a:gd name="T3" fmla="*/ 1 h 1475"/>
                  <a:gd name="T4" fmla="*/ 0 w 1132"/>
                  <a:gd name="T5" fmla="*/ 0 h 1475"/>
                  <a:gd name="T6" fmla="*/ 0 w 1132"/>
                  <a:gd name="T7" fmla="*/ 0 h 1475"/>
                  <a:gd name="T8" fmla="*/ 0 w 1132"/>
                  <a:gd name="T9" fmla="*/ 0 h 1475"/>
                  <a:gd name="T10" fmla="*/ 1132 w 1132"/>
                  <a:gd name="T11" fmla="*/ 0 h 1475"/>
                  <a:gd name="T12" fmla="*/ 1132 w 1132"/>
                  <a:gd name="T13" fmla="*/ 1 h 1475"/>
                  <a:gd name="T14" fmla="*/ 30 w 1132"/>
                  <a:gd name="T15" fmla="*/ 1475 h 14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1475">
                    <a:moveTo>
                      <a:pt x="30" y="1475"/>
                    </a:moveTo>
                    <a:lnTo>
                      <a:pt x="0" y="1"/>
                    </a:lnTo>
                    <a:lnTo>
                      <a:pt x="0" y="0"/>
                    </a:lnTo>
                    <a:lnTo>
                      <a:pt x="0" y="0"/>
                    </a:lnTo>
                    <a:lnTo>
                      <a:pt x="0" y="0"/>
                    </a:lnTo>
                    <a:lnTo>
                      <a:pt x="1132" y="0"/>
                    </a:lnTo>
                    <a:lnTo>
                      <a:pt x="1132" y="1"/>
                    </a:lnTo>
                    <a:lnTo>
                      <a:pt x="30" y="147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8" name="Freeform 361"/>
              <p:cNvSpPr>
                <a:spLocks noEditPoints="1"/>
              </p:cNvSpPr>
              <p:nvPr/>
            </p:nvSpPr>
            <p:spPr bwMode="auto">
              <a:xfrm>
                <a:off x="-12179300" y="2682875"/>
                <a:ext cx="2222500" cy="1914525"/>
              </a:xfrm>
              <a:custGeom>
                <a:avLst/>
                <a:gdLst>
                  <a:gd name="T0" fmla="*/ 0 w 2916"/>
                  <a:gd name="T1" fmla="*/ 2514 h 2514"/>
                  <a:gd name="T2" fmla="*/ 956 w 2916"/>
                  <a:gd name="T3" fmla="*/ 1131 h 2514"/>
                  <a:gd name="T4" fmla="*/ 1738 w 2916"/>
                  <a:gd name="T5" fmla="*/ 0 h 2514"/>
                  <a:gd name="T6" fmla="*/ 2916 w 2916"/>
                  <a:gd name="T7" fmla="*/ 2041 h 2514"/>
                  <a:gd name="T8" fmla="*/ 0 w 2916"/>
                  <a:gd name="T9" fmla="*/ 2514 h 2514"/>
                  <a:gd name="T10" fmla="*/ 1738 w 2916"/>
                  <a:gd name="T11" fmla="*/ 0 h 2514"/>
                  <a:gd name="T12" fmla="*/ 1738 w 2916"/>
                  <a:gd name="T13" fmla="*/ 0 h 2514"/>
                </a:gdLst>
                <a:ahLst/>
                <a:cxnLst>
                  <a:cxn ang="0">
                    <a:pos x="T0" y="T1"/>
                  </a:cxn>
                  <a:cxn ang="0">
                    <a:pos x="T2" y="T3"/>
                  </a:cxn>
                  <a:cxn ang="0">
                    <a:pos x="T4" y="T5"/>
                  </a:cxn>
                  <a:cxn ang="0">
                    <a:pos x="T6" y="T7"/>
                  </a:cxn>
                  <a:cxn ang="0">
                    <a:pos x="T8" y="T9"/>
                  </a:cxn>
                  <a:cxn ang="0">
                    <a:pos x="T10" y="T11"/>
                  </a:cxn>
                  <a:cxn ang="0">
                    <a:pos x="T12" y="T13"/>
                  </a:cxn>
                </a:cxnLst>
                <a:rect l="0" t="0" r="r" b="b"/>
                <a:pathLst>
                  <a:path w="2916" h="2514">
                    <a:moveTo>
                      <a:pt x="0" y="2514"/>
                    </a:moveTo>
                    <a:lnTo>
                      <a:pt x="956" y="1131"/>
                    </a:lnTo>
                    <a:lnTo>
                      <a:pt x="1738" y="0"/>
                    </a:lnTo>
                    <a:lnTo>
                      <a:pt x="2916" y="2041"/>
                    </a:lnTo>
                    <a:lnTo>
                      <a:pt x="0" y="2514"/>
                    </a:lnTo>
                    <a:moveTo>
                      <a:pt x="1738" y="0"/>
                    </a:moveTo>
                    <a:lnTo>
                      <a:pt x="1738"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9" name="Freeform 362"/>
              <p:cNvSpPr>
                <a:spLocks/>
              </p:cNvSpPr>
              <p:nvPr/>
            </p:nvSpPr>
            <p:spPr bwMode="auto">
              <a:xfrm>
                <a:off x="-9956800" y="3211512"/>
                <a:ext cx="1797050" cy="1025525"/>
              </a:xfrm>
              <a:custGeom>
                <a:avLst/>
                <a:gdLst>
                  <a:gd name="T0" fmla="*/ 2358 w 2358"/>
                  <a:gd name="T1" fmla="*/ 1346 h 1346"/>
                  <a:gd name="T2" fmla="*/ 0 w 2358"/>
                  <a:gd name="T3" fmla="*/ 1346 h 1346"/>
                  <a:gd name="T4" fmla="*/ 614 w 2358"/>
                  <a:gd name="T5" fmla="*/ 0 h 1346"/>
                  <a:gd name="T6" fmla="*/ 2358 w 2358"/>
                  <a:gd name="T7" fmla="*/ 1346 h 1346"/>
                  <a:gd name="T8" fmla="*/ 2357 w 2358"/>
                  <a:gd name="T9" fmla="*/ 1346 h 1346"/>
                  <a:gd name="T10" fmla="*/ 2358 w 2358"/>
                  <a:gd name="T11" fmla="*/ 1346 h 1346"/>
                  <a:gd name="T12" fmla="*/ 2358 w 2358"/>
                  <a:gd name="T13" fmla="*/ 1346 h 1346"/>
                  <a:gd name="T14" fmla="*/ 2357 w 2358"/>
                  <a:gd name="T15" fmla="*/ 1346 h 13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8" h="1346">
                    <a:moveTo>
                      <a:pt x="2358" y="1346"/>
                    </a:moveTo>
                    <a:lnTo>
                      <a:pt x="0" y="1346"/>
                    </a:lnTo>
                    <a:lnTo>
                      <a:pt x="614" y="0"/>
                    </a:lnTo>
                    <a:lnTo>
                      <a:pt x="2358" y="1346"/>
                    </a:lnTo>
                    <a:lnTo>
                      <a:pt x="2357" y="1346"/>
                    </a:lnTo>
                    <a:lnTo>
                      <a:pt x="2358" y="1346"/>
                    </a:lnTo>
                    <a:lnTo>
                      <a:pt x="2358" y="1346"/>
                    </a:lnTo>
                    <a:lnTo>
                      <a:pt x="2357" y="1346"/>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0" name="Freeform 363"/>
              <p:cNvSpPr>
                <a:spLocks noEditPoints="1"/>
              </p:cNvSpPr>
              <p:nvPr/>
            </p:nvSpPr>
            <p:spPr bwMode="auto">
              <a:xfrm>
                <a:off x="-12179300" y="4237037"/>
                <a:ext cx="2222500" cy="1555750"/>
              </a:xfrm>
              <a:custGeom>
                <a:avLst/>
                <a:gdLst>
                  <a:gd name="T0" fmla="*/ 1738 w 2916"/>
                  <a:gd name="T1" fmla="*/ 2042 h 2042"/>
                  <a:gd name="T2" fmla="*/ 0 w 2916"/>
                  <a:gd name="T3" fmla="*/ 473 h 2042"/>
                  <a:gd name="T4" fmla="*/ 2916 w 2916"/>
                  <a:gd name="T5" fmla="*/ 0 h 2042"/>
                  <a:gd name="T6" fmla="*/ 1738 w 2916"/>
                  <a:gd name="T7" fmla="*/ 2042 h 2042"/>
                  <a:gd name="T8" fmla="*/ 2916 w 2916"/>
                  <a:gd name="T9" fmla="*/ 1 h 2042"/>
                  <a:gd name="T10" fmla="*/ 2916 w 2916"/>
                  <a:gd name="T11" fmla="*/ 0 h 2042"/>
                  <a:gd name="T12" fmla="*/ 2916 w 2916"/>
                  <a:gd name="T13" fmla="*/ 1 h 2042"/>
                </a:gdLst>
                <a:ahLst/>
                <a:cxnLst>
                  <a:cxn ang="0">
                    <a:pos x="T0" y="T1"/>
                  </a:cxn>
                  <a:cxn ang="0">
                    <a:pos x="T2" y="T3"/>
                  </a:cxn>
                  <a:cxn ang="0">
                    <a:pos x="T4" y="T5"/>
                  </a:cxn>
                  <a:cxn ang="0">
                    <a:pos x="T6" y="T7"/>
                  </a:cxn>
                  <a:cxn ang="0">
                    <a:pos x="T8" y="T9"/>
                  </a:cxn>
                  <a:cxn ang="0">
                    <a:pos x="T10" y="T11"/>
                  </a:cxn>
                  <a:cxn ang="0">
                    <a:pos x="T12" y="T13"/>
                  </a:cxn>
                </a:cxnLst>
                <a:rect l="0" t="0" r="r" b="b"/>
                <a:pathLst>
                  <a:path w="2916" h="2042">
                    <a:moveTo>
                      <a:pt x="1738" y="2042"/>
                    </a:moveTo>
                    <a:lnTo>
                      <a:pt x="0" y="473"/>
                    </a:lnTo>
                    <a:lnTo>
                      <a:pt x="2916" y="0"/>
                    </a:lnTo>
                    <a:lnTo>
                      <a:pt x="1738" y="2042"/>
                    </a:lnTo>
                    <a:moveTo>
                      <a:pt x="2916" y="1"/>
                    </a:moveTo>
                    <a:lnTo>
                      <a:pt x="2916" y="0"/>
                    </a:lnTo>
                    <a:lnTo>
                      <a:pt x="2916" y="1"/>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1" name="Freeform 364"/>
              <p:cNvSpPr>
                <a:spLocks/>
              </p:cNvSpPr>
              <p:nvPr/>
            </p:nvSpPr>
            <p:spPr bwMode="auto">
              <a:xfrm>
                <a:off x="-10853738" y="4237037"/>
                <a:ext cx="896938" cy="1555750"/>
              </a:xfrm>
              <a:custGeom>
                <a:avLst/>
                <a:gdLst>
                  <a:gd name="T0" fmla="*/ 0 w 565"/>
                  <a:gd name="T1" fmla="*/ 980 h 980"/>
                  <a:gd name="T2" fmla="*/ 0 w 565"/>
                  <a:gd name="T3" fmla="*/ 980 h 980"/>
                  <a:gd name="T4" fmla="*/ 565 w 565"/>
                  <a:gd name="T5" fmla="*/ 0 h 980"/>
                  <a:gd name="T6" fmla="*/ 565 w 565"/>
                  <a:gd name="T7" fmla="*/ 1 h 980"/>
                  <a:gd name="T8" fmla="*/ 0 w 565"/>
                  <a:gd name="T9" fmla="*/ 980 h 980"/>
                </a:gdLst>
                <a:ahLst/>
                <a:cxnLst>
                  <a:cxn ang="0">
                    <a:pos x="T0" y="T1"/>
                  </a:cxn>
                  <a:cxn ang="0">
                    <a:pos x="T2" y="T3"/>
                  </a:cxn>
                  <a:cxn ang="0">
                    <a:pos x="T4" y="T5"/>
                  </a:cxn>
                  <a:cxn ang="0">
                    <a:pos x="T6" y="T7"/>
                  </a:cxn>
                  <a:cxn ang="0">
                    <a:pos x="T8" y="T9"/>
                  </a:cxn>
                </a:cxnLst>
                <a:rect l="0" t="0" r="r" b="b"/>
                <a:pathLst>
                  <a:path w="565" h="980">
                    <a:moveTo>
                      <a:pt x="0" y="980"/>
                    </a:moveTo>
                    <a:lnTo>
                      <a:pt x="0" y="980"/>
                    </a:lnTo>
                    <a:lnTo>
                      <a:pt x="565" y="0"/>
                    </a:lnTo>
                    <a:lnTo>
                      <a:pt x="565" y="1"/>
                    </a:lnTo>
                    <a:lnTo>
                      <a:pt x="0" y="980"/>
                    </a:lnTo>
                    <a:close/>
                  </a:path>
                </a:pathLst>
              </a:custGeom>
              <a:solidFill>
                <a:srgbClr val="599FB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2" name="Rectangle 365"/>
              <p:cNvSpPr>
                <a:spLocks noChangeArrowheads="1"/>
              </p:cNvSpPr>
              <p:nvPr/>
            </p:nvSpPr>
            <p:spPr bwMode="auto">
              <a:xfrm>
                <a:off x="-9956800" y="4237037"/>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3" name="Freeform 366"/>
              <p:cNvSpPr>
                <a:spLocks/>
              </p:cNvSpPr>
              <p:nvPr/>
            </p:nvSpPr>
            <p:spPr bwMode="auto">
              <a:xfrm>
                <a:off x="-12625388" y="7327900"/>
                <a:ext cx="366713" cy="331788"/>
              </a:xfrm>
              <a:custGeom>
                <a:avLst/>
                <a:gdLst>
                  <a:gd name="T0" fmla="*/ 231 w 231"/>
                  <a:gd name="T1" fmla="*/ 209 h 209"/>
                  <a:gd name="T2" fmla="*/ 0 w 231"/>
                  <a:gd name="T3" fmla="*/ 209 h 209"/>
                  <a:gd name="T4" fmla="*/ 0 w 231"/>
                  <a:gd name="T5" fmla="*/ 48 h 209"/>
                  <a:gd name="T6" fmla="*/ 178 w 231"/>
                  <a:gd name="T7" fmla="*/ 0 h 209"/>
                  <a:gd name="T8" fmla="*/ 231 w 231"/>
                  <a:gd name="T9" fmla="*/ 209 h 209"/>
                </a:gdLst>
                <a:ahLst/>
                <a:cxnLst>
                  <a:cxn ang="0">
                    <a:pos x="T0" y="T1"/>
                  </a:cxn>
                  <a:cxn ang="0">
                    <a:pos x="T2" y="T3"/>
                  </a:cxn>
                  <a:cxn ang="0">
                    <a:pos x="T4" y="T5"/>
                  </a:cxn>
                  <a:cxn ang="0">
                    <a:pos x="T6" y="T7"/>
                  </a:cxn>
                  <a:cxn ang="0">
                    <a:pos x="T8" y="T9"/>
                  </a:cxn>
                </a:cxnLst>
                <a:rect l="0" t="0" r="r" b="b"/>
                <a:pathLst>
                  <a:path w="231" h="209">
                    <a:moveTo>
                      <a:pt x="231" y="209"/>
                    </a:moveTo>
                    <a:lnTo>
                      <a:pt x="0" y="209"/>
                    </a:lnTo>
                    <a:lnTo>
                      <a:pt x="0" y="48"/>
                    </a:lnTo>
                    <a:lnTo>
                      <a:pt x="178" y="0"/>
                    </a:lnTo>
                    <a:lnTo>
                      <a:pt x="231" y="20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4" name="Freeform 367"/>
              <p:cNvSpPr>
                <a:spLocks/>
              </p:cNvSpPr>
              <p:nvPr/>
            </p:nvSpPr>
            <p:spPr bwMode="auto">
              <a:xfrm>
                <a:off x="-12341225" y="7327900"/>
                <a:ext cx="534988" cy="331788"/>
              </a:xfrm>
              <a:custGeom>
                <a:avLst/>
                <a:gdLst>
                  <a:gd name="T0" fmla="*/ 337 w 337"/>
                  <a:gd name="T1" fmla="*/ 209 h 209"/>
                  <a:gd name="T2" fmla="*/ 52 w 337"/>
                  <a:gd name="T3" fmla="*/ 209 h 209"/>
                  <a:gd name="T4" fmla="*/ 0 w 337"/>
                  <a:gd name="T5" fmla="*/ 0 h 209"/>
                  <a:gd name="T6" fmla="*/ 205 w 337"/>
                  <a:gd name="T7" fmla="*/ 127 h 209"/>
                  <a:gd name="T8" fmla="*/ 337 w 337"/>
                  <a:gd name="T9" fmla="*/ 209 h 209"/>
                </a:gdLst>
                <a:ahLst/>
                <a:cxnLst>
                  <a:cxn ang="0">
                    <a:pos x="T0" y="T1"/>
                  </a:cxn>
                  <a:cxn ang="0">
                    <a:pos x="T2" y="T3"/>
                  </a:cxn>
                  <a:cxn ang="0">
                    <a:pos x="T4" y="T5"/>
                  </a:cxn>
                  <a:cxn ang="0">
                    <a:pos x="T6" y="T7"/>
                  </a:cxn>
                  <a:cxn ang="0">
                    <a:pos x="T8" y="T9"/>
                  </a:cxn>
                </a:cxnLst>
                <a:rect l="0" t="0" r="r" b="b"/>
                <a:pathLst>
                  <a:path w="337" h="209">
                    <a:moveTo>
                      <a:pt x="337" y="209"/>
                    </a:moveTo>
                    <a:lnTo>
                      <a:pt x="52" y="209"/>
                    </a:lnTo>
                    <a:lnTo>
                      <a:pt x="0" y="0"/>
                    </a:lnTo>
                    <a:lnTo>
                      <a:pt x="205" y="127"/>
                    </a:lnTo>
                    <a:lnTo>
                      <a:pt x="337" y="20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5" name="Freeform 368"/>
              <p:cNvSpPr>
                <a:spLocks/>
              </p:cNvSpPr>
              <p:nvPr/>
            </p:nvSpPr>
            <p:spPr bwMode="auto">
              <a:xfrm>
                <a:off x="-10125075" y="7350125"/>
                <a:ext cx="347663" cy="309563"/>
              </a:xfrm>
              <a:custGeom>
                <a:avLst/>
                <a:gdLst>
                  <a:gd name="T0" fmla="*/ 219 w 219"/>
                  <a:gd name="T1" fmla="*/ 195 h 195"/>
                  <a:gd name="T2" fmla="*/ 0 w 219"/>
                  <a:gd name="T3" fmla="*/ 195 h 195"/>
                  <a:gd name="T4" fmla="*/ 106 w 219"/>
                  <a:gd name="T5" fmla="*/ 0 h 195"/>
                  <a:gd name="T6" fmla="*/ 219 w 219"/>
                  <a:gd name="T7" fmla="*/ 195 h 195"/>
                </a:gdLst>
                <a:ahLst/>
                <a:cxnLst>
                  <a:cxn ang="0">
                    <a:pos x="T0" y="T1"/>
                  </a:cxn>
                  <a:cxn ang="0">
                    <a:pos x="T2" y="T3"/>
                  </a:cxn>
                  <a:cxn ang="0">
                    <a:pos x="T4" y="T5"/>
                  </a:cxn>
                  <a:cxn ang="0">
                    <a:pos x="T6" y="T7"/>
                  </a:cxn>
                </a:cxnLst>
                <a:rect l="0" t="0" r="r" b="b"/>
                <a:pathLst>
                  <a:path w="219" h="195">
                    <a:moveTo>
                      <a:pt x="219" y="195"/>
                    </a:moveTo>
                    <a:lnTo>
                      <a:pt x="0" y="195"/>
                    </a:lnTo>
                    <a:lnTo>
                      <a:pt x="106" y="0"/>
                    </a:lnTo>
                    <a:lnTo>
                      <a:pt x="219"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6" name="Freeform 369"/>
              <p:cNvSpPr>
                <a:spLocks/>
              </p:cNvSpPr>
              <p:nvPr/>
            </p:nvSpPr>
            <p:spPr bwMode="auto">
              <a:xfrm>
                <a:off x="-10853738" y="5792787"/>
                <a:ext cx="944563" cy="1557338"/>
              </a:xfrm>
              <a:custGeom>
                <a:avLst/>
                <a:gdLst>
                  <a:gd name="T0" fmla="*/ 565 w 595"/>
                  <a:gd name="T1" fmla="*/ 981 h 981"/>
                  <a:gd name="T2" fmla="*/ 565 w 595"/>
                  <a:gd name="T3" fmla="*/ 981 h 981"/>
                  <a:gd name="T4" fmla="*/ 0 w 595"/>
                  <a:gd name="T5" fmla="*/ 0 h 981"/>
                  <a:gd name="T6" fmla="*/ 0 w 595"/>
                  <a:gd name="T7" fmla="*/ 0 h 981"/>
                  <a:gd name="T8" fmla="*/ 595 w 595"/>
                  <a:gd name="T9" fmla="*/ 495 h 981"/>
                  <a:gd name="T10" fmla="*/ 565 w 595"/>
                  <a:gd name="T11" fmla="*/ 981 h 981"/>
                </a:gdLst>
                <a:ahLst/>
                <a:cxnLst>
                  <a:cxn ang="0">
                    <a:pos x="T0" y="T1"/>
                  </a:cxn>
                  <a:cxn ang="0">
                    <a:pos x="T2" y="T3"/>
                  </a:cxn>
                  <a:cxn ang="0">
                    <a:pos x="T4" y="T5"/>
                  </a:cxn>
                  <a:cxn ang="0">
                    <a:pos x="T6" y="T7"/>
                  </a:cxn>
                  <a:cxn ang="0">
                    <a:pos x="T8" y="T9"/>
                  </a:cxn>
                  <a:cxn ang="0">
                    <a:pos x="T10" y="T11"/>
                  </a:cxn>
                </a:cxnLst>
                <a:rect l="0" t="0" r="r" b="b"/>
                <a:pathLst>
                  <a:path w="595" h="981">
                    <a:moveTo>
                      <a:pt x="565" y="981"/>
                    </a:moveTo>
                    <a:lnTo>
                      <a:pt x="565" y="981"/>
                    </a:lnTo>
                    <a:lnTo>
                      <a:pt x="0" y="0"/>
                    </a:lnTo>
                    <a:lnTo>
                      <a:pt x="0" y="0"/>
                    </a:lnTo>
                    <a:lnTo>
                      <a:pt x="595" y="495"/>
                    </a:lnTo>
                    <a:lnTo>
                      <a:pt x="565"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7" name="Freeform 370"/>
              <p:cNvSpPr>
                <a:spLocks/>
              </p:cNvSpPr>
              <p:nvPr/>
            </p:nvSpPr>
            <p:spPr bwMode="auto">
              <a:xfrm>
                <a:off x="-9956800" y="7350125"/>
                <a:ext cx="608013" cy="309563"/>
              </a:xfrm>
              <a:custGeom>
                <a:avLst/>
                <a:gdLst>
                  <a:gd name="T0" fmla="*/ 383 w 383"/>
                  <a:gd name="T1" fmla="*/ 195 h 195"/>
                  <a:gd name="T2" fmla="*/ 113 w 383"/>
                  <a:gd name="T3" fmla="*/ 195 h 195"/>
                  <a:gd name="T4" fmla="*/ 0 w 383"/>
                  <a:gd name="T5" fmla="*/ 0 h 195"/>
                  <a:gd name="T6" fmla="*/ 0 w 383"/>
                  <a:gd name="T7" fmla="*/ 0 h 195"/>
                  <a:gd name="T8" fmla="*/ 383 w 383"/>
                  <a:gd name="T9" fmla="*/ 195 h 195"/>
                </a:gdLst>
                <a:ahLst/>
                <a:cxnLst>
                  <a:cxn ang="0">
                    <a:pos x="T0" y="T1"/>
                  </a:cxn>
                  <a:cxn ang="0">
                    <a:pos x="T2" y="T3"/>
                  </a:cxn>
                  <a:cxn ang="0">
                    <a:pos x="T4" y="T5"/>
                  </a:cxn>
                  <a:cxn ang="0">
                    <a:pos x="T6" y="T7"/>
                  </a:cxn>
                  <a:cxn ang="0">
                    <a:pos x="T8" y="T9"/>
                  </a:cxn>
                </a:cxnLst>
                <a:rect l="0" t="0" r="r" b="b"/>
                <a:pathLst>
                  <a:path w="383" h="195">
                    <a:moveTo>
                      <a:pt x="383" y="195"/>
                    </a:moveTo>
                    <a:lnTo>
                      <a:pt x="113" y="195"/>
                    </a:lnTo>
                    <a:lnTo>
                      <a:pt x="0" y="0"/>
                    </a:lnTo>
                    <a:lnTo>
                      <a:pt x="0" y="0"/>
                    </a:lnTo>
                    <a:lnTo>
                      <a:pt x="383"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8" name="Freeform 371"/>
              <p:cNvSpPr>
                <a:spLocks/>
              </p:cNvSpPr>
              <p:nvPr/>
            </p:nvSpPr>
            <p:spPr bwMode="auto">
              <a:xfrm>
                <a:off x="-12341225" y="5792787"/>
                <a:ext cx="2384425" cy="1557338"/>
              </a:xfrm>
              <a:custGeom>
                <a:avLst/>
                <a:gdLst>
                  <a:gd name="T0" fmla="*/ 1502 w 1502"/>
                  <a:gd name="T1" fmla="*/ 981 h 981"/>
                  <a:gd name="T2" fmla="*/ 0 w 1502"/>
                  <a:gd name="T3" fmla="*/ 967 h 981"/>
                  <a:gd name="T4" fmla="*/ 0 w 1502"/>
                  <a:gd name="T5" fmla="*/ 967 h 981"/>
                  <a:gd name="T6" fmla="*/ 0 w 1502"/>
                  <a:gd name="T7" fmla="*/ 967 h 981"/>
                  <a:gd name="T8" fmla="*/ 374 w 1502"/>
                  <a:gd name="T9" fmla="*/ 580 h 981"/>
                  <a:gd name="T10" fmla="*/ 937 w 1502"/>
                  <a:gd name="T11" fmla="*/ 0 h 981"/>
                  <a:gd name="T12" fmla="*/ 1502 w 1502"/>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502" h="981">
                    <a:moveTo>
                      <a:pt x="1502" y="981"/>
                    </a:moveTo>
                    <a:lnTo>
                      <a:pt x="0" y="967"/>
                    </a:lnTo>
                    <a:lnTo>
                      <a:pt x="0" y="967"/>
                    </a:lnTo>
                    <a:lnTo>
                      <a:pt x="0" y="967"/>
                    </a:lnTo>
                    <a:lnTo>
                      <a:pt x="374" y="580"/>
                    </a:lnTo>
                    <a:lnTo>
                      <a:pt x="937" y="0"/>
                    </a:lnTo>
                    <a:lnTo>
                      <a:pt x="1502" y="981"/>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9" name="Freeform 372"/>
              <p:cNvSpPr>
                <a:spLocks/>
              </p:cNvSpPr>
              <p:nvPr/>
            </p:nvSpPr>
            <p:spPr bwMode="auto">
              <a:xfrm>
                <a:off x="-9956800" y="6578600"/>
                <a:ext cx="1098550" cy="1081088"/>
              </a:xfrm>
              <a:custGeom>
                <a:avLst/>
                <a:gdLst>
                  <a:gd name="T0" fmla="*/ 692 w 692"/>
                  <a:gd name="T1" fmla="*/ 681 h 681"/>
                  <a:gd name="T2" fmla="*/ 383 w 692"/>
                  <a:gd name="T3" fmla="*/ 681 h 681"/>
                  <a:gd name="T4" fmla="*/ 0 w 692"/>
                  <a:gd name="T5" fmla="*/ 486 h 681"/>
                  <a:gd name="T6" fmla="*/ 30 w 692"/>
                  <a:gd name="T7" fmla="*/ 0 h 681"/>
                  <a:gd name="T8" fmla="*/ 692 w 692"/>
                  <a:gd name="T9" fmla="*/ 681 h 681"/>
                </a:gdLst>
                <a:ahLst/>
                <a:cxnLst>
                  <a:cxn ang="0">
                    <a:pos x="T0" y="T1"/>
                  </a:cxn>
                  <a:cxn ang="0">
                    <a:pos x="T2" y="T3"/>
                  </a:cxn>
                  <a:cxn ang="0">
                    <a:pos x="T4" y="T5"/>
                  </a:cxn>
                  <a:cxn ang="0">
                    <a:pos x="T6" y="T7"/>
                  </a:cxn>
                  <a:cxn ang="0">
                    <a:pos x="T8" y="T9"/>
                  </a:cxn>
                </a:cxnLst>
                <a:rect l="0" t="0" r="r" b="b"/>
                <a:pathLst>
                  <a:path w="692" h="681">
                    <a:moveTo>
                      <a:pt x="692" y="681"/>
                    </a:moveTo>
                    <a:lnTo>
                      <a:pt x="383" y="681"/>
                    </a:lnTo>
                    <a:lnTo>
                      <a:pt x="0" y="486"/>
                    </a:lnTo>
                    <a:lnTo>
                      <a:pt x="30" y="0"/>
                    </a:lnTo>
                    <a:lnTo>
                      <a:pt x="692" y="68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0" name="Freeform 373"/>
              <p:cNvSpPr>
                <a:spLocks noEditPoints="1"/>
              </p:cNvSpPr>
              <p:nvPr/>
            </p:nvSpPr>
            <p:spPr bwMode="auto">
              <a:xfrm>
                <a:off x="-12341225" y="7327900"/>
                <a:ext cx="2384425" cy="331788"/>
              </a:xfrm>
              <a:custGeom>
                <a:avLst/>
                <a:gdLst>
                  <a:gd name="T0" fmla="*/ 2910 w 3130"/>
                  <a:gd name="T1" fmla="*/ 436 h 436"/>
                  <a:gd name="T2" fmla="*/ 702 w 3130"/>
                  <a:gd name="T3" fmla="*/ 436 h 436"/>
                  <a:gd name="T4" fmla="*/ 428 w 3130"/>
                  <a:gd name="T5" fmla="*/ 265 h 436"/>
                  <a:gd name="T6" fmla="*/ 0 w 3130"/>
                  <a:gd name="T7" fmla="*/ 0 h 436"/>
                  <a:gd name="T8" fmla="*/ 3130 w 3130"/>
                  <a:gd name="T9" fmla="*/ 29 h 436"/>
                  <a:gd name="T10" fmla="*/ 2910 w 3130"/>
                  <a:gd name="T11" fmla="*/ 436 h 436"/>
                  <a:gd name="T12" fmla="*/ 3130 w 3130"/>
                  <a:gd name="T13" fmla="*/ 29 h 436"/>
                  <a:gd name="T14" fmla="*/ 3130 w 3130"/>
                  <a:gd name="T15" fmla="*/ 29 h 436"/>
                  <a:gd name="T16" fmla="*/ 3130 w 3130"/>
                  <a:gd name="T17" fmla="*/ 29 h 436"/>
                  <a:gd name="T18" fmla="*/ 3130 w 3130"/>
                  <a:gd name="T19" fmla="*/ 29 h 436"/>
                  <a:gd name="T20" fmla="*/ 3130 w 3130"/>
                  <a:gd name="T21" fmla="*/ 29 h 436"/>
                  <a:gd name="T22" fmla="*/ 3130 w 3130"/>
                  <a:gd name="T23" fmla="*/ 29 h 436"/>
                  <a:gd name="T24" fmla="*/ 0 w 3130"/>
                  <a:gd name="T25" fmla="*/ 0 h 436"/>
                  <a:gd name="T26" fmla="*/ 0 w 3130"/>
                  <a:gd name="T27" fmla="*/ 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30" h="436">
                    <a:moveTo>
                      <a:pt x="2910" y="436"/>
                    </a:moveTo>
                    <a:lnTo>
                      <a:pt x="702" y="436"/>
                    </a:lnTo>
                    <a:lnTo>
                      <a:pt x="428" y="265"/>
                    </a:lnTo>
                    <a:lnTo>
                      <a:pt x="0" y="0"/>
                    </a:lnTo>
                    <a:lnTo>
                      <a:pt x="3130" y="29"/>
                    </a:lnTo>
                    <a:lnTo>
                      <a:pt x="2910" y="436"/>
                    </a:lnTo>
                    <a:moveTo>
                      <a:pt x="3130" y="29"/>
                    </a:moveTo>
                    <a:lnTo>
                      <a:pt x="3130" y="29"/>
                    </a:lnTo>
                    <a:lnTo>
                      <a:pt x="3130" y="29"/>
                    </a:lnTo>
                    <a:lnTo>
                      <a:pt x="3130" y="29"/>
                    </a:lnTo>
                    <a:lnTo>
                      <a:pt x="3130" y="29"/>
                    </a:lnTo>
                    <a:lnTo>
                      <a:pt x="3130" y="29"/>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1" name="Freeform 374"/>
              <p:cNvSpPr>
                <a:spLocks/>
              </p:cNvSpPr>
              <p:nvPr/>
            </p:nvSpPr>
            <p:spPr bwMode="auto">
              <a:xfrm>
                <a:off x="-10125075" y="7350125"/>
                <a:ext cx="168275" cy="309563"/>
              </a:xfrm>
              <a:custGeom>
                <a:avLst/>
                <a:gdLst>
                  <a:gd name="T0" fmla="*/ 0 w 106"/>
                  <a:gd name="T1" fmla="*/ 195 h 195"/>
                  <a:gd name="T2" fmla="*/ 0 w 106"/>
                  <a:gd name="T3" fmla="*/ 195 h 195"/>
                  <a:gd name="T4" fmla="*/ 106 w 106"/>
                  <a:gd name="T5" fmla="*/ 0 h 195"/>
                  <a:gd name="T6" fmla="*/ 106 w 106"/>
                  <a:gd name="T7" fmla="*/ 0 h 195"/>
                  <a:gd name="T8" fmla="*/ 0 w 106"/>
                  <a:gd name="T9" fmla="*/ 195 h 195"/>
                </a:gdLst>
                <a:ahLst/>
                <a:cxnLst>
                  <a:cxn ang="0">
                    <a:pos x="T0" y="T1"/>
                  </a:cxn>
                  <a:cxn ang="0">
                    <a:pos x="T2" y="T3"/>
                  </a:cxn>
                  <a:cxn ang="0">
                    <a:pos x="T4" y="T5"/>
                  </a:cxn>
                  <a:cxn ang="0">
                    <a:pos x="T6" y="T7"/>
                  </a:cxn>
                  <a:cxn ang="0">
                    <a:pos x="T8" y="T9"/>
                  </a:cxn>
                </a:cxnLst>
                <a:rect l="0" t="0" r="r" b="b"/>
                <a:pathLst>
                  <a:path w="106" h="195">
                    <a:moveTo>
                      <a:pt x="0" y="195"/>
                    </a:moveTo>
                    <a:lnTo>
                      <a:pt x="0" y="195"/>
                    </a:lnTo>
                    <a:lnTo>
                      <a:pt x="106" y="0"/>
                    </a:lnTo>
                    <a:lnTo>
                      <a:pt x="106" y="0"/>
                    </a:lnTo>
                    <a:lnTo>
                      <a:pt x="0"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2" name="Rectangle 375"/>
              <p:cNvSpPr>
                <a:spLocks noChangeArrowheads="1"/>
              </p:cNvSpPr>
              <p:nvPr/>
            </p:nvSpPr>
            <p:spPr bwMode="auto">
              <a:xfrm>
                <a:off x="-9956800" y="7350125"/>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3" name="Freeform 376"/>
              <p:cNvSpPr>
                <a:spLocks noEditPoints="1"/>
              </p:cNvSpPr>
              <p:nvPr/>
            </p:nvSpPr>
            <p:spPr bwMode="auto">
              <a:xfrm>
                <a:off x="-12341225" y="7327900"/>
                <a:ext cx="2384425" cy="22225"/>
              </a:xfrm>
              <a:custGeom>
                <a:avLst/>
                <a:gdLst>
                  <a:gd name="T0" fmla="*/ 3130 w 3130"/>
                  <a:gd name="T1" fmla="*/ 29 h 29"/>
                  <a:gd name="T2" fmla="*/ 0 w 3130"/>
                  <a:gd name="T3" fmla="*/ 0 h 29"/>
                  <a:gd name="T4" fmla="*/ 0 w 3130"/>
                  <a:gd name="T5" fmla="*/ 0 h 29"/>
                  <a:gd name="T6" fmla="*/ 3130 w 3130"/>
                  <a:gd name="T7" fmla="*/ 29 h 29"/>
                  <a:gd name="T8" fmla="*/ 3130 w 3130"/>
                  <a:gd name="T9" fmla="*/ 29 h 29"/>
                  <a:gd name="T10" fmla="*/ 0 w 3130"/>
                  <a:gd name="T11" fmla="*/ 0 h 29"/>
                  <a:gd name="T12" fmla="*/ 0 w 3130"/>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130" h="29">
                    <a:moveTo>
                      <a:pt x="3130" y="29"/>
                    </a:moveTo>
                    <a:lnTo>
                      <a:pt x="0" y="0"/>
                    </a:lnTo>
                    <a:lnTo>
                      <a:pt x="0" y="0"/>
                    </a:lnTo>
                    <a:lnTo>
                      <a:pt x="3130" y="29"/>
                    </a:lnTo>
                    <a:lnTo>
                      <a:pt x="3130" y="29"/>
                    </a:lnTo>
                    <a:moveTo>
                      <a:pt x="0" y="0"/>
                    </a:moveTo>
                    <a:lnTo>
                      <a:pt x="0" y="0"/>
                    </a:lnTo>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4" name="Freeform 377"/>
              <p:cNvSpPr>
                <a:spLocks/>
              </p:cNvSpPr>
              <p:nvPr/>
            </p:nvSpPr>
            <p:spPr bwMode="auto">
              <a:xfrm>
                <a:off x="-8159750" y="-2909888"/>
                <a:ext cx="2633663" cy="1504950"/>
              </a:xfrm>
              <a:custGeom>
                <a:avLst/>
                <a:gdLst>
                  <a:gd name="T0" fmla="*/ 1659 w 1659"/>
                  <a:gd name="T1" fmla="*/ 948 h 948"/>
                  <a:gd name="T2" fmla="*/ 0 w 1659"/>
                  <a:gd name="T3" fmla="*/ 583 h 948"/>
                  <a:gd name="T4" fmla="*/ 0 w 1659"/>
                  <a:gd name="T5" fmla="*/ 583 h 948"/>
                  <a:gd name="T6" fmla="*/ 0 w 1659"/>
                  <a:gd name="T7" fmla="*/ 583 h 948"/>
                  <a:gd name="T8" fmla="*/ 0 w 1659"/>
                  <a:gd name="T9" fmla="*/ 583 h 948"/>
                  <a:gd name="T10" fmla="*/ 772 w 1659"/>
                  <a:gd name="T11" fmla="*/ 0 h 948"/>
                  <a:gd name="T12" fmla="*/ 772 w 1659"/>
                  <a:gd name="T13" fmla="*/ 0 h 948"/>
                  <a:gd name="T14" fmla="*/ 772 w 1659"/>
                  <a:gd name="T15" fmla="*/ 0 h 948"/>
                  <a:gd name="T16" fmla="*/ 772 w 1659"/>
                  <a:gd name="T17" fmla="*/ 0 h 948"/>
                  <a:gd name="T18" fmla="*/ 772 w 1659"/>
                  <a:gd name="T19" fmla="*/ 0 h 948"/>
                  <a:gd name="T20" fmla="*/ 1224 w 1659"/>
                  <a:gd name="T21" fmla="*/ 483 h 948"/>
                  <a:gd name="T22" fmla="*/ 1659 w 1659"/>
                  <a:gd name="T23" fmla="*/ 948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9" h="948">
                    <a:moveTo>
                      <a:pt x="1659" y="948"/>
                    </a:moveTo>
                    <a:lnTo>
                      <a:pt x="0" y="583"/>
                    </a:lnTo>
                    <a:lnTo>
                      <a:pt x="0" y="583"/>
                    </a:lnTo>
                    <a:lnTo>
                      <a:pt x="0" y="583"/>
                    </a:lnTo>
                    <a:lnTo>
                      <a:pt x="0" y="583"/>
                    </a:lnTo>
                    <a:lnTo>
                      <a:pt x="772" y="0"/>
                    </a:lnTo>
                    <a:lnTo>
                      <a:pt x="772" y="0"/>
                    </a:lnTo>
                    <a:lnTo>
                      <a:pt x="772" y="0"/>
                    </a:lnTo>
                    <a:lnTo>
                      <a:pt x="772" y="0"/>
                    </a:lnTo>
                    <a:lnTo>
                      <a:pt x="772" y="0"/>
                    </a:lnTo>
                    <a:lnTo>
                      <a:pt x="1224" y="483"/>
                    </a:lnTo>
                    <a:lnTo>
                      <a:pt x="1659" y="948"/>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5" name="Freeform 378"/>
              <p:cNvSpPr>
                <a:spLocks/>
              </p:cNvSpPr>
              <p:nvPr/>
            </p:nvSpPr>
            <p:spPr bwMode="auto">
              <a:xfrm>
                <a:off x="-7967663" y="-4110038"/>
                <a:ext cx="1346200" cy="1200150"/>
              </a:xfrm>
              <a:custGeom>
                <a:avLst/>
                <a:gdLst>
                  <a:gd name="T0" fmla="*/ 651 w 848"/>
                  <a:gd name="T1" fmla="*/ 756 h 756"/>
                  <a:gd name="T2" fmla="*/ 0 w 848"/>
                  <a:gd name="T3" fmla="*/ 0 h 756"/>
                  <a:gd name="T4" fmla="*/ 848 w 848"/>
                  <a:gd name="T5" fmla="*/ 0 h 756"/>
                  <a:gd name="T6" fmla="*/ 651 w 848"/>
                  <a:gd name="T7" fmla="*/ 756 h 756"/>
                </a:gdLst>
                <a:ahLst/>
                <a:cxnLst>
                  <a:cxn ang="0">
                    <a:pos x="T0" y="T1"/>
                  </a:cxn>
                  <a:cxn ang="0">
                    <a:pos x="T2" y="T3"/>
                  </a:cxn>
                  <a:cxn ang="0">
                    <a:pos x="T4" y="T5"/>
                  </a:cxn>
                  <a:cxn ang="0">
                    <a:pos x="T6" y="T7"/>
                  </a:cxn>
                </a:cxnLst>
                <a:rect l="0" t="0" r="r" b="b"/>
                <a:pathLst>
                  <a:path w="848" h="756">
                    <a:moveTo>
                      <a:pt x="651" y="756"/>
                    </a:moveTo>
                    <a:lnTo>
                      <a:pt x="0" y="0"/>
                    </a:lnTo>
                    <a:lnTo>
                      <a:pt x="848" y="0"/>
                    </a:lnTo>
                    <a:lnTo>
                      <a:pt x="651" y="756"/>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6" name="Freeform 379"/>
              <p:cNvSpPr>
                <a:spLocks/>
              </p:cNvSpPr>
              <p:nvPr/>
            </p:nvSpPr>
            <p:spPr bwMode="auto">
              <a:xfrm>
                <a:off x="-6934200" y="-3540126"/>
                <a:ext cx="1468438" cy="2135188"/>
              </a:xfrm>
              <a:custGeom>
                <a:avLst/>
                <a:gdLst>
                  <a:gd name="T0" fmla="*/ 887 w 925"/>
                  <a:gd name="T1" fmla="*/ 1345 h 1345"/>
                  <a:gd name="T2" fmla="*/ 452 w 925"/>
                  <a:gd name="T3" fmla="*/ 880 h 1345"/>
                  <a:gd name="T4" fmla="*/ 0 w 925"/>
                  <a:gd name="T5" fmla="*/ 397 h 1345"/>
                  <a:gd name="T6" fmla="*/ 925 w 925"/>
                  <a:gd name="T7" fmla="*/ 0 h 1345"/>
                  <a:gd name="T8" fmla="*/ 925 w 925"/>
                  <a:gd name="T9" fmla="*/ 0 h 1345"/>
                  <a:gd name="T10" fmla="*/ 888 w 925"/>
                  <a:gd name="T11" fmla="*/ 1294 h 1345"/>
                  <a:gd name="T12" fmla="*/ 887 w 925"/>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925" h="1345">
                    <a:moveTo>
                      <a:pt x="887" y="1345"/>
                    </a:moveTo>
                    <a:lnTo>
                      <a:pt x="452" y="880"/>
                    </a:lnTo>
                    <a:lnTo>
                      <a:pt x="0" y="397"/>
                    </a:lnTo>
                    <a:lnTo>
                      <a:pt x="925" y="0"/>
                    </a:lnTo>
                    <a:lnTo>
                      <a:pt x="925" y="0"/>
                    </a:lnTo>
                    <a:lnTo>
                      <a:pt x="888" y="1294"/>
                    </a:lnTo>
                    <a:lnTo>
                      <a:pt x="887" y="1345"/>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7" name="Freeform 380"/>
              <p:cNvSpPr>
                <a:spLocks/>
              </p:cNvSpPr>
              <p:nvPr/>
            </p:nvSpPr>
            <p:spPr bwMode="auto">
              <a:xfrm>
                <a:off x="-9058275" y="-4110038"/>
                <a:ext cx="2124075" cy="1200150"/>
              </a:xfrm>
              <a:custGeom>
                <a:avLst/>
                <a:gdLst>
                  <a:gd name="T0" fmla="*/ 1338 w 1338"/>
                  <a:gd name="T1" fmla="*/ 756 h 756"/>
                  <a:gd name="T2" fmla="*/ 1338 w 1338"/>
                  <a:gd name="T3" fmla="*/ 756 h 756"/>
                  <a:gd name="T4" fmla="*/ 0 w 1338"/>
                  <a:gd name="T5" fmla="*/ 359 h 756"/>
                  <a:gd name="T6" fmla="*/ 338 w 1338"/>
                  <a:gd name="T7" fmla="*/ 0 h 756"/>
                  <a:gd name="T8" fmla="*/ 687 w 1338"/>
                  <a:gd name="T9" fmla="*/ 0 h 756"/>
                  <a:gd name="T10" fmla="*/ 1338 w 1338"/>
                  <a:gd name="T11" fmla="*/ 756 h 756"/>
                </a:gdLst>
                <a:ahLst/>
                <a:cxnLst>
                  <a:cxn ang="0">
                    <a:pos x="T0" y="T1"/>
                  </a:cxn>
                  <a:cxn ang="0">
                    <a:pos x="T2" y="T3"/>
                  </a:cxn>
                  <a:cxn ang="0">
                    <a:pos x="T4" y="T5"/>
                  </a:cxn>
                  <a:cxn ang="0">
                    <a:pos x="T6" y="T7"/>
                  </a:cxn>
                  <a:cxn ang="0">
                    <a:pos x="T8" y="T9"/>
                  </a:cxn>
                  <a:cxn ang="0">
                    <a:pos x="T10" y="T11"/>
                  </a:cxn>
                </a:cxnLst>
                <a:rect l="0" t="0" r="r" b="b"/>
                <a:pathLst>
                  <a:path w="1338" h="756">
                    <a:moveTo>
                      <a:pt x="1338" y="756"/>
                    </a:moveTo>
                    <a:lnTo>
                      <a:pt x="1338" y="756"/>
                    </a:lnTo>
                    <a:lnTo>
                      <a:pt x="0" y="359"/>
                    </a:lnTo>
                    <a:lnTo>
                      <a:pt x="338" y="0"/>
                    </a:lnTo>
                    <a:lnTo>
                      <a:pt x="687" y="0"/>
                    </a:lnTo>
                    <a:lnTo>
                      <a:pt x="1338"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8" name="Freeform 381"/>
              <p:cNvSpPr>
                <a:spLocks/>
              </p:cNvSpPr>
              <p:nvPr/>
            </p:nvSpPr>
            <p:spPr bwMode="auto">
              <a:xfrm>
                <a:off x="-6934200" y="-4110038"/>
                <a:ext cx="1468438" cy="1200150"/>
              </a:xfrm>
              <a:custGeom>
                <a:avLst/>
                <a:gdLst>
                  <a:gd name="T0" fmla="*/ 0 w 925"/>
                  <a:gd name="T1" fmla="*/ 756 h 756"/>
                  <a:gd name="T2" fmla="*/ 0 w 925"/>
                  <a:gd name="T3" fmla="*/ 756 h 756"/>
                  <a:gd name="T4" fmla="*/ 197 w 925"/>
                  <a:gd name="T5" fmla="*/ 0 h 756"/>
                  <a:gd name="T6" fmla="*/ 718 w 925"/>
                  <a:gd name="T7" fmla="*/ 0 h 756"/>
                  <a:gd name="T8" fmla="*/ 925 w 925"/>
                  <a:gd name="T9" fmla="*/ 359 h 756"/>
                  <a:gd name="T10" fmla="*/ 925 w 925"/>
                  <a:gd name="T11" fmla="*/ 359 h 756"/>
                  <a:gd name="T12" fmla="*/ 925 w 925"/>
                  <a:gd name="T13" fmla="*/ 359 h 756"/>
                  <a:gd name="T14" fmla="*/ 925 w 925"/>
                  <a:gd name="T15" fmla="*/ 359 h 756"/>
                  <a:gd name="T16" fmla="*/ 925 w 925"/>
                  <a:gd name="T17" fmla="*/ 359 h 756"/>
                  <a:gd name="T18" fmla="*/ 925 w 925"/>
                  <a:gd name="T19" fmla="*/ 359 h 756"/>
                  <a:gd name="T20" fmla="*/ 0 w 925"/>
                  <a:gd name="T21" fmla="*/ 756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5" h="756">
                    <a:moveTo>
                      <a:pt x="0" y="756"/>
                    </a:moveTo>
                    <a:lnTo>
                      <a:pt x="0" y="756"/>
                    </a:lnTo>
                    <a:lnTo>
                      <a:pt x="197" y="0"/>
                    </a:lnTo>
                    <a:lnTo>
                      <a:pt x="718" y="0"/>
                    </a:lnTo>
                    <a:lnTo>
                      <a:pt x="925" y="359"/>
                    </a:lnTo>
                    <a:lnTo>
                      <a:pt x="925" y="359"/>
                    </a:lnTo>
                    <a:lnTo>
                      <a:pt x="925" y="359"/>
                    </a:lnTo>
                    <a:lnTo>
                      <a:pt x="925" y="359"/>
                    </a:lnTo>
                    <a:lnTo>
                      <a:pt x="925" y="359"/>
                    </a:lnTo>
                    <a:lnTo>
                      <a:pt x="925" y="359"/>
                    </a:lnTo>
                    <a:lnTo>
                      <a:pt x="0"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9" name="Freeform 382"/>
              <p:cNvSpPr>
                <a:spLocks/>
              </p:cNvSpPr>
              <p:nvPr/>
            </p:nvSpPr>
            <p:spPr bwMode="auto">
              <a:xfrm>
                <a:off x="-9058275" y="-3540126"/>
                <a:ext cx="2124075" cy="1555750"/>
              </a:xfrm>
              <a:custGeom>
                <a:avLst/>
                <a:gdLst>
                  <a:gd name="T0" fmla="*/ 566 w 1338"/>
                  <a:gd name="T1" fmla="*/ 980 h 980"/>
                  <a:gd name="T2" fmla="*/ 0 w 1338"/>
                  <a:gd name="T3" fmla="*/ 0 h 980"/>
                  <a:gd name="T4" fmla="*/ 1338 w 1338"/>
                  <a:gd name="T5" fmla="*/ 397 h 980"/>
                  <a:gd name="T6" fmla="*/ 566 w 1338"/>
                  <a:gd name="T7" fmla="*/ 980 h 980"/>
                </a:gdLst>
                <a:ahLst/>
                <a:cxnLst>
                  <a:cxn ang="0">
                    <a:pos x="T0" y="T1"/>
                  </a:cxn>
                  <a:cxn ang="0">
                    <a:pos x="T2" y="T3"/>
                  </a:cxn>
                  <a:cxn ang="0">
                    <a:pos x="T4" y="T5"/>
                  </a:cxn>
                  <a:cxn ang="0">
                    <a:pos x="T6" y="T7"/>
                  </a:cxn>
                </a:cxnLst>
                <a:rect l="0" t="0" r="r" b="b"/>
                <a:pathLst>
                  <a:path w="1338" h="980">
                    <a:moveTo>
                      <a:pt x="566" y="980"/>
                    </a:moveTo>
                    <a:lnTo>
                      <a:pt x="0" y="0"/>
                    </a:lnTo>
                    <a:lnTo>
                      <a:pt x="1338" y="397"/>
                    </a:lnTo>
                    <a:lnTo>
                      <a:pt x="566"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0" name="Freeform 383"/>
              <p:cNvSpPr>
                <a:spLocks/>
              </p:cNvSpPr>
              <p:nvPr/>
            </p:nvSpPr>
            <p:spPr bwMode="auto">
              <a:xfrm>
                <a:off x="-8159750" y="-2909888"/>
                <a:ext cx="1225550" cy="925513"/>
              </a:xfrm>
              <a:custGeom>
                <a:avLst/>
                <a:gdLst>
                  <a:gd name="T0" fmla="*/ 0 w 772"/>
                  <a:gd name="T1" fmla="*/ 583 h 583"/>
                  <a:gd name="T2" fmla="*/ 0 w 772"/>
                  <a:gd name="T3" fmla="*/ 583 h 583"/>
                  <a:gd name="T4" fmla="*/ 772 w 772"/>
                  <a:gd name="T5" fmla="*/ 0 h 583"/>
                  <a:gd name="T6" fmla="*/ 772 w 772"/>
                  <a:gd name="T7" fmla="*/ 0 h 583"/>
                  <a:gd name="T8" fmla="*/ 0 w 772"/>
                  <a:gd name="T9" fmla="*/ 583 h 583"/>
                </a:gdLst>
                <a:ahLst/>
                <a:cxnLst>
                  <a:cxn ang="0">
                    <a:pos x="T0" y="T1"/>
                  </a:cxn>
                  <a:cxn ang="0">
                    <a:pos x="T2" y="T3"/>
                  </a:cxn>
                  <a:cxn ang="0">
                    <a:pos x="T4" y="T5"/>
                  </a:cxn>
                  <a:cxn ang="0">
                    <a:pos x="T6" y="T7"/>
                  </a:cxn>
                  <a:cxn ang="0">
                    <a:pos x="T8" y="T9"/>
                  </a:cxn>
                </a:cxnLst>
                <a:rect l="0" t="0" r="r" b="b"/>
                <a:pathLst>
                  <a:path w="772" h="583">
                    <a:moveTo>
                      <a:pt x="0" y="583"/>
                    </a:moveTo>
                    <a:lnTo>
                      <a:pt x="0" y="583"/>
                    </a:lnTo>
                    <a:lnTo>
                      <a:pt x="772" y="0"/>
                    </a:lnTo>
                    <a:lnTo>
                      <a:pt x="772" y="0"/>
                    </a:lnTo>
                    <a:lnTo>
                      <a:pt x="0" y="58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1" name="Freeform 384"/>
              <p:cNvSpPr>
                <a:spLocks noEditPoints="1"/>
              </p:cNvSpPr>
              <p:nvPr/>
            </p:nvSpPr>
            <p:spPr bwMode="auto">
              <a:xfrm>
                <a:off x="-5465763" y="-4110038"/>
                <a:ext cx="1797050" cy="569913"/>
              </a:xfrm>
              <a:custGeom>
                <a:avLst/>
                <a:gdLst>
                  <a:gd name="T0" fmla="*/ 2358 w 2358"/>
                  <a:gd name="T1" fmla="*/ 748 h 748"/>
                  <a:gd name="T2" fmla="*/ 1 w 2358"/>
                  <a:gd name="T3" fmla="*/ 748 h 748"/>
                  <a:gd name="T4" fmla="*/ 247 w 2358"/>
                  <a:gd name="T5" fmla="*/ 0 h 748"/>
                  <a:gd name="T6" fmla="*/ 1489 w 2358"/>
                  <a:gd name="T7" fmla="*/ 0 h 748"/>
                  <a:gd name="T8" fmla="*/ 2358 w 2358"/>
                  <a:gd name="T9" fmla="*/ 748 h 748"/>
                  <a:gd name="T10" fmla="*/ 1 w 2358"/>
                  <a:gd name="T11" fmla="*/ 748 h 748"/>
                  <a:gd name="T12" fmla="*/ 0 w 2358"/>
                  <a:gd name="T13" fmla="*/ 748 h 748"/>
                  <a:gd name="T14" fmla="*/ 0 w 2358"/>
                  <a:gd name="T15" fmla="*/ 747 h 748"/>
                  <a:gd name="T16" fmla="*/ 0 w 2358"/>
                  <a:gd name="T17" fmla="*/ 747 h 748"/>
                  <a:gd name="T18" fmla="*/ 1 w 2358"/>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8" h="748">
                    <a:moveTo>
                      <a:pt x="2358" y="748"/>
                    </a:moveTo>
                    <a:lnTo>
                      <a:pt x="1" y="748"/>
                    </a:lnTo>
                    <a:lnTo>
                      <a:pt x="247" y="0"/>
                    </a:lnTo>
                    <a:lnTo>
                      <a:pt x="1489" y="0"/>
                    </a:lnTo>
                    <a:lnTo>
                      <a:pt x="2358" y="748"/>
                    </a:lnTo>
                    <a:moveTo>
                      <a:pt x="1" y="748"/>
                    </a:moveTo>
                    <a:lnTo>
                      <a:pt x="0" y="748"/>
                    </a:lnTo>
                    <a:lnTo>
                      <a:pt x="0" y="747"/>
                    </a:lnTo>
                    <a:lnTo>
                      <a:pt x="0" y="747"/>
                    </a:lnTo>
                    <a:lnTo>
                      <a:pt x="1"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2" name="Freeform 385"/>
              <p:cNvSpPr>
                <a:spLocks/>
              </p:cNvSpPr>
              <p:nvPr/>
            </p:nvSpPr>
            <p:spPr bwMode="auto">
              <a:xfrm>
                <a:off x="-4330700" y="-4110038"/>
                <a:ext cx="1114425" cy="569913"/>
              </a:xfrm>
              <a:custGeom>
                <a:avLst/>
                <a:gdLst>
                  <a:gd name="T0" fmla="*/ 417 w 702"/>
                  <a:gd name="T1" fmla="*/ 359 h 359"/>
                  <a:gd name="T2" fmla="*/ 417 w 702"/>
                  <a:gd name="T3" fmla="*/ 359 h 359"/>
                  <a:gd name="T4" fmla="*/ 417 w 702"/>
                  <a:gd name="T5" fmla="*/ 359 h 359"/>
                  <a:gd name="T6" fmla="*/ 0 w 702"/>
                  <a:gd name="T7" fmla="*/ 0 h 359"/>
                  <a:gd name="T8" fmla="*/ 702 w 702"/>
                  <a:gd name="T9" fmla="*/ 0 h 359"/>
                  <a:gd name="T10" fmla="*/ 417 w 702"/>
                  <a:gd name="T11" fmla="*/ 359 h 359"/>
                  <a:gd name="T12" fmla="*/ 417 w 702"/>
                  <a:gd name="T13" fmla="*/ 359 h 359"/>
                  <a:gd name="T14" fmla="*/ 417 w 702"/>
                  <a:gd name="T15" fmla="*/ 359 h 359"/>
                  <a:gd name="T16" fmla="*/ 417 w 702"/>
                  <a:gd name="T17"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2" h="359">
                    <a:moveTo>
                      <a:pt x="417" y="359"/>
                    </a:moveTo>
                    <a:lnTo>
                      <a:pt x="417" y="359"/>
                    </a:lnTo>
                    <a:lnTo>
                      <a:pt x="417" y="359"/>
                    </a:lnTo>
                    <a:lnTo>
                      <a:pt x="0" y="0"/>
                    </a:lnTo>
                    <a:lnTo>
                      <a:pt x="702" y="0"/>
                    </a:lnTo>
                    <a:lnTo>
                      <a:pt x="417" y="359"/>
                    </a:lnTo>
                    <a:lnTo>
                      <a:pt x="417" y="359"/>
                    </a:lnTo>
                    <a:lnTo>
                      <a:pt x="417" y="359"/>
                    </a:lnTo>
                    <a:lnTo>
                      <a:pt x="417"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3" name="Freeform 386"/>
              <p:cNvSpPr>
                <a:spLocks/>
              </p:cNvSpPr>
              <p:nvPr/>
            </p:nvSpPr>
            <p:spPr bwMode="auto">
              <a:xfrm>
                <a:off x="-4330700" y="-4110038"/>
                <a:ext cx="661988" cy="569913"/>
              </a:xfrm>
              <a:custGeom>
                <a:avLst/>
                <a:gdLst>
                  <a:gd name="T0" fmla="*/ 417 w 417"/>
                  <a:gd name="T1" fmla="*/ 359 h 359"/>
                  <a:gd name="T2" fmla="*/ 417 w 417"/>
                  <a:gd name="T3" fmla="*/ 359 h 359"/>
                  <a:gd name="T4" fmla="*/ 0 w 417"/>
                  <a:gd name="T5" fmla="*/ 0 h 359"/>
                  <a:gd name="T6" fmla="*/ 0 w 417"/>
                  <a:gd name="T7" fmla="*/ 0 h 359"/>
                  <a:gd name="T8" fmla="*/ 417 w 417"/>
                  <a:gd name="T9" fmla="*/ 359 h 359"/>
                </a:gdLst>
                <a:ahLst/>
                <a:cxnLst>
                  <a:cxn ang="0">
                    <a:pos x="T0" y="T1"/>
                  </a:cxn>
                  <a:cxn ang="0">
                    <a:pos x="T2" y="T3"/>
                  </a:cxn>
                  <a:cxn ang="0">
                    <a:pos x="T4" y="T5"/>
                  </a:cxn>
                  <a:cxn ang="0">
                    <a:pos x="T6" y="T7"/>
                  </a:cxn>
                  <a:cxn ang="0">
                    <a:pos x="T8" y="T9"/>
                  </a:cxn>
                </a:cxnLst>
                <a:rect l="0" t="0" r="r" b="b"/>
                <a:pathLst>
                  <a:path w="417" h="359">
                    <a:moveTo>
                      <a:pt x="417" y="359"/>
                    </a:moveTo>
                    <a:lnTo>
                      <a:pt x="417" y="359"/>
                    </a:lnTo>
                    <a:lnTo>
                      <a:pt x="0" y="0"/>
                    </a:lnTo>
                    <a:lnTo>
                      <a:pt x="0" y="0"/>
                    </a:lnTo>
                    <a:lnTo>
                      <a:pt x="417"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4" name="Freeform 387"/>
              <p:cNvSpPr>
                <a:spLocks/>
              </p:cNvSpPr>
              <p:nvPr/>
            </p:nvSpPr>
            <p:spPr bwMode="auto">
              <a:xfrm>
                <a:off x="-5794375" y="-4110038"/>
                <a:ext cx="517525" cy="569913"/>
              </a:xfrm>
              <a:custGeom>
                <a:avLst/>
                <a:gdLst>
                  <a:gd name="T0" fmla="*/ 207 w 326"/>
                  <a:gd name="T1" fmla="*/ 359 h 359"/>
                  <a:gd name="T2" fmla="*/ 0 w 326"/>
                  <a:gd name="T3" fmla="*/ 0 h 359"/>
                  <a:gd name="T4" fmla="*/ 326 w 326"/>
                  <a:gd name="T5" fmla="*/ 0 h 359"/>
                  <a:gd name="T6" fmla="*/ 207 w 326"/>
                  <a:gd name="T7" fmla="*/ 359 h 359"/>
                </a:gdLst>
                <a:ahLst/>
                <a:cxnLst>
                  <a:cxn ang="0">
                    <a:pos x="T0" y="T1"/>
                  </a:cxn>
                  <a:cxn ang="0">
                    <a:pos x="T2" y="T3"/>
                  </a:cxn>
                  <a:cxn ang="0">
                    <a:pos x="T4" y="T5"/>
                  </a:cxn>
                  <a:cxn ang="0">
                    <a:pos x="T6" y="T7"/>
                  </a:cxn>
                </a:cxnLst>
                <a:rect l="0" t="0" r="r" b="b"/>
                <a:pathLst>
                  <a:path w="326" h="359">
                    <a:moveTo>
                      <a:pt x="207" y="359"/>
                    </a:moveTo>
                    <a:lnTo>
                      <a:pt x="0" y="0"/>
                    </a:lnTo>
                    <a:lnTo>
                      <a:pt x="326" y="0"/>
                    </a:lnTo>
                    <a:lnTo>
                      <a:pt x="207" y="35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5" name="Freeform 388"/>
              <p:cNvSpPr>
                <a:spLocks/>
              </p:cNvSpPr>
              <p:nvPr/>
            </p:nvSpPr>
            <p:spPr bwMode="auto">
              <a:xfrm>
                <a:off x="-5465763" y="-4110038"/>
                <a:ext cx="188913" cy="569913"/>
              </a:xfrm>
              <a:custGeom>
                <a:avLst/>
                <a:gdLst>
                  <a:gd name="T0" fmla="*/ 0 w 119"/>
                  <a:gd name="T1" fmla="*/ 359 h 359"/>
                  <a:gd name="T2" fmla="*/ 0 w 119"/>
                  <a:gd name="T3" fmla="*/ 359 h 359"/>
                  <a:gd name="T4" fmla="*/ 0 w 119"/>
                  <a:gd name="T5" fmla="*/ 359 h 359"/>
                  <a:gd name="T6" fmla="*/ 119 w 119"/>
                  <a:gd name="T7" fmla="*/ 0 h 359"/>
                  <a:gd name="T8" fmla="*/ 119 w 119"/>
                  <a:gd name="T9" fmla="*/ 0 h 359"/>
                  <a:gd name="T10" fmla="*/ 0 w 119"/>
                  <a:gd name="T11" fmla="*/ 359 h 359"/>
                </a:gdLst>
                <a:ahLst/>
                <a:cxnLst>
                  <a:cxn ang="0">
                    <a:pos x="T0" y="T1"/>
                  </a:cxn>
                  <a:cxn ang="0">
                    <a:pos x="T2" y="T3"/>
                  </a:cxn>
                  <a:cxn ang="0">
                    <a:pos x="T4" y="T5"/>
                  </a:cxn>
                  <a:cxn ang="0">
                    <a:pos x="T6" y="T7"/>
                  </a:cxn>
                  <a:cxn ang="0">
                    <a:pos x="T8" y="T9"/>
                  </a:cxn>
                  <a:cxn ang="0">
                    <a:pos x="T10" y="T11"/>
                  </a:cxn>
                </a:cxnLst>
                <a:rect l="0" t="0" r="r" b="b"/>
                <a:pathLst>
                  <a:path w="119" h="359">
                    <a:moveTo>
                      <a:pt x="0" y="359"/>
                    </a:moveTo>
                    <a:lnTo>
                      <a:pt x="0" y="359"/>
                    </a:lnTo>
                    <a:lnTo>
                      <a:pt x="0" y="359"/>
                    </a:lnTo>
                    <a:lnTo>
                      <a:pt x="119" y="0"/>
                    </a:lnTo>
                    <a:lnTo>
                      <a:pt x="119"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6" name="Freeform 389"/>
              <p:cNvSpPr>
                <a:spLocks noEditPoints="1"/>
              </p:cNvSpPr>
              <p:nvPr/>
            </p:nvSpPr>
            <p:spPr bwMode="auto">
              <a:xfrm>
                <a:off x="-8159750" y="-428626"/>
                <a:ext cx="1795463" cy="1554163"/>
              </a:xfrm>
              <a:custGeom>
                <a:avLst/>
                <a:gdLst>
                  <a:gd name="T0" fmla="*/ 2358 w 2358"/>
                  <a:gd name="T1" fmla="*/ 2041 h 2041"/>
                  <a:gd name="T2" fmla="*/ 1 w 2358"/>
                  <a:gd name="T3" fmla="*/ 2041 h 2041"/>
                  <a:gd name="T4" fmla="*/ 1179 w 2358"/>
                  <a:gd name="T5" fmla="*/ 0 h 2041"/>
                  <a:gd name="T6" fmla="*/ 1179 w 2358"/>
                  <a:gd name="T7" fmla="*/ 0 h 2041"/>
                  <a:gd name="T8" fmla="*/ 1179 w 2358"/>
                  <a:gd name="T9" fmla="*/ 0 h 2041"/>
                  <a:gd name="T10" fmla="*/ 1507 w 2358"/>
                  <a:gd name="T11" fmla="*/ 567 h 2041"/>
                  <a:gd name="T12" fmla="*/ 2358 w 2358"/>
                  <a:gd name="T13" fmla="*/ 2041 h 2041"/>
                  <a:gd name="T14" fmla="*/ 1 w 2358"/>
                  <a:gd name="T15" fmla="*/ 2041 h 2041"/>
                  <a:gd name="T16" fmla="*/ 0 w 2358"/>
                  <a:gd name="T17" fmla="*/ 2041 h 2041"/>
                  <a:gd name="T18" fmla="*/ 1 w 2358"/>
                  <a:gd name="T19" fmla="*/ 2041 h 2041"/>
                  <a:gd name="T20" fmla="*/ 1 w 2358"/>
                  <a:gd name="T21" fmla="*/ 2041 h 2041"/>
                  <a:gd name="T22" fmla="*/ 1179 w 2358"/>
                  <a:gd name="T23" fmla="*/ 0 h 2041"/>
                  <a:gd name="T24" fmla="*/ 1179 w 2358"/>
                  <a:gd name="T25" fmla="*/ 0 h 2041"/>
                  <a:gd name="T26" fmla="*/ 1179 w 2358"/>
                  <a:gd name="T27" fmla="*/ 0 h 2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8" h="2041">
                    <a:moveTo>
                      <a:pt x="2358" y="2041"/>
                    </a:moveTo>
                    <a:lnTo>
                      <a:pt x="1" y="2041"/>
                    </a:lnTo>
                    <a:lnTo>
                      <a:pt x="1179" y="0"/>
                    </a:lnTo>
                    <a:lnTo>
                      <a:pt x="1179" y="0"/>
                    </a:lnTo>
                    <a:lnTo>
                      <a:pt x="1179" y="0"/>
                    </a:lnTo>
                    <a:lnTo>
                      <a:pt x="1507" y="567"/>
                    </a:lnTo>
                    <a:lnTo>
                      <a:pt x="2358" y="2041"/>
                    </a:lnTo>
                    <a:moveTo>
                      <a:pt x="1" y="2041"/>
                    </a:moveTo>
                    <a:lnTo>
                      <a:pt x="0" y="2041"/>
                    </a:lnTo>
                    <a:lnTo>
                      <a:pt x="1" y="2041"/>
                    </a:lnTo>
                    <a:lnTo>
                      <a:pt x="1" y="2041"/>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7" name="Freeform 390"/>
              <p:cNvSpPr>
                <a:spLocks/>
              </p:cNvSpPr>
              <p:nvPr/>
            </p:nvSpPr>
            <p:spPr bwMode="auto">
              <a:xfrm>
                <a:off x="-8159750" y="-1984376"/>
                <a:ext cx="2633663" cy="1555750"/>
              </a:xfrm>
              <a:custGeom>
                <a:avLst/>
                <a:gdLst>
                  <a:gd name="T0" fmla="*/ 566 w 1659"/>
                  <a:gd name="T1" fmla="*/ 980 h 980"/>
                  <a:gd name="T2" fmla="*/ 566 w 1659"/>
                  <a:gd name="T3" fmla="*/ 980 h 980"/>
                  <a:gd name="T4" fmla="*/ 307 w 1659"/>
                  <a:gd name="T5" fmla="*/ 532 h 980"/>
                  <a:gd name="T6" fmla="*/ 0 w 1659"/>
                  <a:gd name="T7" fmla="*/ 0 h 980"/>
                  <a:gd name="T8" fmla="*/ 0 w 1659"/>
                  <a:gd name="T9" fmla="*/ 0 h 980"/>
                  <a:gd name="T10" fmla="*/ 1659 w 1659"/>
                  <a:gd name="T11" fmla="*/ 365 h 980"/>
                  <a:gd name="T12" fmla="*/ 566 w 1659"/>
                  <a:gd name="T13" fmla="*/ 980 h 980"/>
                </a:gdLst>
                <a:ahLst/>
                <a:cxnLst>
                  <a:cxn ang="0">
                    <a:pos x="T0" y="T1"/>
                  </a:cxn>
                  <a:cxn ang="0">
                    <a:pos x="T2" y="T3"/>
                  </a:cxn>
                  <a:cxn ang="0">
                    <a:pos x="T4" y="T5"/>
                  </a:cxn>
                  <a:cxn ang="0">
                    <a:pos x="T6" y="T7"/>
                  </a:cxn>
                  <a:cxn ang="0">
                    <a:pos x="T8" y="T9"/>
                  </a:cxn>
                  <a:cxn ang="0">
                    <a:pos x="T10" y="T11"/>
                  </a:cxn>
                  <a:cxn ang="0">
                    <a:pos x="T12" y="T13"/>
                  </a:cxn>
                </a:cxnLst>
                <a:rect l="0" t="0" r="r" b="b"/>
                <a:pathLst>
                  <a:path w="1659" h="980">
                    <a:moveTo>
                      <a:pt x="566" y="980"/>
                    </a:moveTo>
                    <a:lnTo>
                      <a:pt x="566" y="980"/>
                    </a:lnTo>
                    <a:lnTo>
                      <a:pt x="307" y="532"/>
                    </a:lnTo>
                    <a:lnTo>
                      <a:pt x="0" y="0"/>
                    </a:lnTo>
                    <a:lnTo>
                      <a:pt x="0" y="0"/>
                    </a:lnTo>
                    <a:lnTo>
                      <a:pt x="1659" y="36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8" name="Freeform 391"/>
              <p:cNvSpPr>
                <a:spLocks/>
              </p:cNvSpPr>
              <p:nvPr/>
            </p:nvSpPr>
            <p:spPr bwMode="auto">
              <a:xfrm>
                <a:off x="-7261225" y="-428626"/>
                <a:ext cx="1735138" cy="1554163"/>
              </a:xfrm>
              <a:custGeom>
                <a:avLst/>
                <a:gdLst>
                  <a:gd name="T0" fmla="*/ 565 w 1093"/>
                  <a:gd name="T1" fmla="*/ 979 h 979"/>
                  <a:gd name="T2" fmla="*/ 157 w 1093"/>
                  <a:gd name="T3" fmla="*/ 272 h 979"/>
                  <a:gd name="T4" fmla="*/ 0 w 1093"/>
                  <a:gd name="T5" fmla="*/ 0 h 979"/>
                  <a:gd name="T6" fmla="*/ 1093 w 1093"/>
                  <a:gd name="T7" fmla="*/ 684 h 979"/>
                  <a:gd name="T8" fmla="*/ 1093 w 1093"/>
                  <a:gd name="T9" fmla="*/ 684 h 979"/>
                  <a:gd name="T10" fmla="*/ 1093 w 1093"/>
                  <a:gd name="T11" fmla="*/ 684 h 979"/>
                  <a:gd name="T12" fmla="*/ 1093 w 1093"/>
                  <a:gd name="T13" fmla="*/ 684 h 979"/>
                  <a:gd name="T14" fmla="*/ 1093 w 1093"/>
                  <a:gd name="T15" fmla="*/ 684 h 979"/>
                  <a:gd name="T16" fmla="*/ 965 w 1093"/>
                  <a:gd name="T17" fmla="*/ 756 h 979"/>
                  <a:gd name="T18" fmla="*/ 565 w 1093"/>
                  <a:gd name="T19" fmla="*/ 979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3" h="979">
                    <a:moveTo>
                      <a:pt x="565" y="979"/>
                    </a:moveTo>
                    <a:lnTo>
                      <a:pt x="157" y="272"/>
                    </a:lnTo>
                    <a:lnTo>
                      <a:pt x="0" y="0"/>
                    </a:lnTo>
                    <a:lnTo>
                      <a:pt x="1093" y="684"/>
                    </a:lnTo>
                    <a:lnTo>
                      <a:pt x="1093" y="684"/>
                    </a:lnTo>
                    <a:lnTo>
                      <a:pt x="1093" y="684"/>
                    </a:lnTo>
                    <a:lnTo>
                      <a:pt x="1093" y="684"/>
                    </a:lnTo>
                    <a:lnTo>
                      <a:pt x="1093" y="684"/>
                    </a:lnTo>
                    <a:lnTo>
                      <a:pt x="965" y="756"/>
                    </a:lnTo>
                    <a:lnTo>
                      <a:pt x="565" y="97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9" name="Freeform 392"/>
              <p:cNvSpPr>
                <a:spLocks noEditPoints="1"/>
              </p:cNvSpPr>
              <p:nvPr/>
            </p:nvSpPr>
            <p:spPr bwMode="auto">
              <a:xfrm>
                <a:off x="-9456738" y="-1984376"/>
                <a:ext cx="2195513" cy="1555750"/>
              </a:xfrm>
              <a:custGeom>
                <a:avLst/>
                <a:gdLst>
                  <a:gd name="T0" fmla="*/ 2879 w 2879"/>
                  <a:gd name="T1" fmla="*/ 2042 h 2042"/>
                  <a:gd name="T2" fmla="*/ 0 w 2879"/>
                  <a:gd name="T3" fmla="*/ 1320 h 2042"/>
                  <a:gd name="T4" fmla="*/ 444 w 2879"/>
                  <a:gd name="T5" fmla="*/ 976 h 2042"/>
                  <a:gd name="T6" fmla="*/ 1701 w 2879"/>
                  <a:gd name="T7" fmla="*/ 1 h 2042"/>
                  <a:gd name="T8" fmla="*/ 2340 w 2879"/>
                  <a:gd name="T9" fmla="*/ 1109 h 2042"/>
                  <a:gd name="T10" fmla="*/ 2879 w 2879"/>
                  <a:gd name="T11" fmla="*/ 2042 h 2042"/>
                  <a:gd name="T12" fmla="*/ 2879 w 2879"/>
                  <a:gd name="T13" fmla="*/ 2042 h 2042"/>
                  <a:gd name="T14" fmla="*/ 1701 w 2879"/>
                  <a:gd name="T15" fmla="*/ 1 h 2042"/>
                  <a:gd name="T16" fmla="*/ 1700 w 2879"/>
                  <a:gd name="T17" fmla="*/ 1 h 2042"/>
                  <a:gd name="T18" fmla="*/ 1701 w 2879"/>
                  <a:gd name="T19" fmla="*/ 0 h 2042"/>
                  <a:gd name="T20" fmla="*/ 1701 w 2879"/>
                  <a:gd name="T21" fmla="*/ 1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9" h="2042">
                    <a:moveTo>
                      <a:pt x="2879" y="2042"/>
                    </a:moveTo>
                    <a:lnTo>
                      <a:pt x="0" y="1320"/>
                    </a:lnTo>
                    <a:lnTo>
                      <a:pt x="444" y="976"/>
                    </a:lnTo>
                    <a:lnTo>
                      <a:pt x="1701" y="1"/>
                    </a:lnTo>
                    <a:lnTo>
                      <a:pt x="2340" y="1109"/>
                    </a:lnTo>
                    <a:lnTo>
                      <a:pt x="2879" y="2042"/>
                    </a:lnTo>
                    <a:lnTo>
                      <a:pt x="2879" y="2042"/>
                    </a:lnTo>
                    <a:moveTo>
                      <a:pt x="1701" y="1"/>
                    </a:moveTo>
                    <a:lnTo>
                      <a:pt x="1700" y="1"/>
                    </a:lnTo>
                    <a:lnTo>
                      <a:pt x="1701" y="0"/>
                    </a:lnTo>
                    <a:lnTo>
                      <a:pt x="170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0" name="Freeform 393"/>
              <p:cNvSpPr>
                <a:spLocks/>
              </p:cNvSpPr>
              <p:nvPr/>
            </p:nvSpPr>
            <p:spPr bwMode="auto">
              <a:xfrm>
                <a:off x="-9117013" y="-1984376"/>
                <a:ext cx="957263" cy="742950"/>
              </a:xfrm>
              <a:custGeom>
                <a:avLst/>
                <a:gdLst>
                  <a:gd name="T0" fmla="*/ 0 w 603"/>
                  <a:gd name="T1" fmla="*/ 468 h 468"/>
                  <a:gd name="T2" fmla="*/ 603 w 603"/>
                  <a:gd name="T3" fmla="*/ 0 h 468"/>
                  <a:gd name="T4" fmla="*/ 603 w 603"/>
                  <a:gd name="T5" fmla="*/ 0 h 468"/>
                  <a:gd name="T6" fmla="*/ 603 w 603"/>
                  <a:gd name="T7" fmla="*/ 0 h 468"/>
                  <a:gd name="T8" fmla="*/ 0 w 603"/>
                  <a:gd name="T9" fmla="*/ 468 h 468"/>
                </a:gdLst>
                <a:ahLst/>
                <a:cxnLst>
                  <a:cxn ang="0">
                    <a:pos x="T0" y="T1"/>
                  </a:cxn>
                  <a:cxn ang="0">
                    <a:pos x="T2" y="T3"/>
                  </a:cxn>
                  <a:cxn ang="0">
                    <a:pos x="T4" y="T5"/>
                  </a:cxn>
                  <a:cxn ang="0">
                    <a:pos x="T6" y="T7"/>
                  </a:cxn>
                  <a:cxn ang="0">
                    <a:pos x="T8" y="T9"/>
                  </a:cxn>
                </a:cxnLst>
                <a:rect l="0" t="0" r="r" b="b"/>
                <a:pathLst>
                  <a:path w="603" h="468">
                    <a:moveTo>
                      <a:pt x="0" y="468"/>
                    </a:moveTo>
                    <a:lnTo>
                      <a:pt x="603" y="0"/>
                    </a:lnTo>
                    <a:lnTo>
                      <a:pt x="603" y="0"/>
                    </a:lnTo>
                    <a:lnTo>
                      <a:pt x="603" y="0"/>
                    </a:lnTo>
                    <a:lnTo>
                      <a:pt x="0" y="468"/>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1" name="Freeform 394"/>
              <p:cNvSpPr>
                <a:spLocks/>
              </p:cNvSpPr>
              <p:nvPr/>
            </p:nvSpPr>
            <p:spPr bwMode="auto">
              <a:xfrm>
                <a:off x="-8159750" y="-1984376"/>
                <a:ext cx="487363" cy="844550"/>
              </a:xfrm>
              <a:custGeom>
                <a:avLst/>
                <a:gdLst>
                  <a:gd name="T0" fmla="*/ 307 w 307"/>
                  <a:gd name="T1" fmla="*/ 532 h 532"/>
                  <a:gd name="T2" fmla="*/ 0 w 307"/>
                  <a:gd name="T3" fmla="*/ 0 h 532"/>
                  <a:gd name="T4" fmla="*/ 0 w 307"/>
                  <a:gd name="T5" fmla="*/ 0 h 532"/>
                  <a:gd name="T6" fmla="*/ 0 w 307"/>
                  <a:gd name="T7" fmla="*/ 0 h 532"/>
                  <a:gd name="T8" fmla="*/ 0 w 307"/>
                  <a:gd name="T9" fmla="*/ 0 h 532"/>
                  <a:gd name="T10" fmla="*/ 307 w 307"/>
                  <a:gd name="T11" fmla="*/ 532 h 532"/>
                </a:gdLst>
                <a:ahLst/>
                <a:cxnLst>
                  <a:cxn ang="0">
                    <a:pos x="T0" y="T1"/>
                  </a:cxn>
                  <a:cxn ang="0">
                    <a:pos x="T2" y="T3"/>
                  </a:cxn>
                  <a:cxn ang="0">
                    <a:pos x="T4" y="T5"/>
                  </a:cxn>
                  <a:cxn ang="0">
                    <a:pos x="T6" y="T7"/>
                  </a:cxn>
                  <a:cxn ang="0">
                    <a:pos x="T8" y="T9"/>
                  </a:cxn>
                  <a:cxn ang="0">
                    <a:pos x="T10" y="T11"/>
                  </a:cxn>
                </a:cxnLst>
                <a:rect l="0" t="0" r="r" b="b"/>
                <a:pathLst>
                  <a:path w="307" h="532">
                    <a:moveTo>
                      <a:pt x="307" y="532"/>
                    </a:moveTo>
                    <a:lnTo>
                      <a:pt x="0" y="0"/>
                    </a:lnTo>
                    <a:lnTo>
                      <a:pt x="0" y="0"/>
                    </a:lnTo>
                    <a:lnTo>
                      <a:pt x="0" y="0"/>
                    </a:lnTo>
                    <a:lnTo>
                      <a:pt x="0" y="0"/>
                    </a:lnTo>
                    <a:lnTo>
                      <a:pt x="307" y="5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2" name="Freeform 395"/>
              <p:cNvSpPr>
                <a:spLocks noEditPoints="1"/>
              </p:cNvSpPr>
              <p:nvPr/>
            </p:nvSpPr>
            <p:spPr bwMode="auto">
              <a:xfrm>
                <a:off x="-7261225" y="-1404938"/>
                <a:ext cx="1735138" cy="2062163"/>
              </a:xfrm>
              <a:custGeom>
                <a:avLst/>
                <a:gdLst>
                  <a:gd name="T0" fmla="*/ 2278 w 2278"/>
                  <a:gd name="T1" fmla="*/ 2707 h 2707"/>
                  <a:gd name="T2" fmla="*/ 2278 w 2278"/>
                  <a:gd name="T3" fmla="*/ 2707 h 2707"/>
                  <a:gd name="T4" fmla="*/ 2278 w 2278"/>
                  <a:gd name="T5" fmla="*/ 2707 h 2707"/>
                  <a:gd name="T6" fmla="*/ 2278 w 2278"/>
                  <a:gd name="T7" fmla="*/ 2707 h 2707"/>
                  <a:gd name="T8" fmla="*/ 2278 w 2278"/>
                  <a:gd name="T9" fmla="*/ 2707 h 2707"/>
                  <a:gd name="T10" fmla="*/ 0 w 2278"/>
                  <a:gd name="T11" fmla="*/ 1281 h 2707"/>
                  <a:gd name="T12" fmla="*/ 0 w 2278"/>
                  <a:gd name="T13" fmla="*/ 1281 h 2707"/>
                  <a:gd name="T14" fmla="*/ 2278 w 2278"/>
                  <a:gd name="T15" fmla="*/ 0 h 2707"/>
                  <a:gd name="T16" fmla="*/ 2278 w 2278"/>
                  <a:gd name="T17" fmla="*/ 2707 h 2707"/>
                  <a:gd name="T18" fmla="*/ 2278 w 2278"/>
                  <a:gd name="T19" fmla="*/ 2707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8" h="2707">
                    <a:moveTo>
                      <a:pt x="2278" y="2707"/>
                    </a:moveTo>
                    <a:lnTo>
                      <a:pt x="2278" y="2707"/>
                    </a:lnTo>
                    <a:lnTo>
                      <a:pt x="2278" y="2707"/>
                    </a:lnTo>
                    <a:lnTo>
                      <a:pt x="2278" y="2707"/>
                    </a:lnTo>
                    <a:moveTo>
                      <a:pt x="2278" y="2707"/>
                    </a:moveTo>
                    <a:lnTo>
                      <a:pt x="0" y="1281"/>
                    </a:lnTo>
                    <a:lnTo>
                      <a:pt x="0" y="1281"/>
                    </a:lnTo>
                    <a:lnTo>
                      <a:pt x="2278" y="0"/>
                    </a:lnTo>
                    <a:lnTo>
                      <a:pt x="2278" y="2707"/>
                    </a:lnTo>
                    <a:lnTo>
                      <a:pt x="2278" y="2707"/>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3" name="Freeform 396"/>
              <p:cNvSpPr>
                <a:spLocks/>
              </p:cNvSpPr>
              <p:nvPr/>
            </p:nvSpPr>
            <p:spPr bwMode="auto">
              <a:xfrm>
                <a:off x="-9456738" y="-979488"/>
                <a:ext cx="2195513" cy="2105025"/>
              </a:xfrm>
              <a:custGeom>
                <a:avLst/>
                <a:gdLst>
                  <a:gd name="T0" fmla="*/ 817 w 1383"/>
                  <a:gd name="T1" fmla="*/ 1326 h 1326"/>
                  <a:gd name="T2" fmla="*/ 0 w 1383"/>
                  <a:gd name="T3" fmla="*/ 0 h 1326"/>
                  <a:gd name="T4" fmla="*/ 1383 w 1383"/>
                  <a:gd name="T5" fmla="*/ 347 h 1326"/>
                  <a:gd name="T6" fmla="*/ 817 w 1383"/>
                  <a:gd name="T7" fmla="*/ 1326 h 1326"/>
                </a:gdLst>
                <a:ahLst/>
                <a:cxnLst>
                  <a:cxn ang="0">
                    <a:pos x="T0" y="T1"/>
                  </a:cxn>
                  <a:cxn ang="0">
                    <a:pos x="T2" y="T3"/>
                  </a:cxn>
                  <a:cxn ang="0">
                    <a:pos x="T4" y="T5"/>
                  </a:cxn>
                  <a:cxn ang="0">
                    <a:pos x="T6" y="T7"/>
                  </a:cxn>
                </a:cxnLst>
                <a:rect l="0" t="0" r="r" b="b"/>
                <a:pathLst>
                  <a:path w="1383" h="1326">
                    <a:moveTo>
                      <a:pt x="817" y="1326"/>
                    </a:moveTo>
                    <a:lnTo>
                      <a:pt x="0" y="0"/>
                    </a:lnTo>
                    <a:lnTo>
                      <a:pt x="1383" y="347"/>
                    </a:lnTo>
                    <a:lnTo>
                      <a:pt x="817" y="132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4" name="Freeform 397"/>
              <p:cNvSpPr>
                <a:spLocks/>
              </p:cNvSpPr>
              <p:nvPr/>
            </p:nvSpPr>
            <p:spPr bwMode="auto">
              <a:xfrm>
                <a:off x="-8159750" y="-428626"/>
                <a:ext cx="898525" cy="1554163"/>
              </a:xfrm>
              <a:custGeom>
                <a:avLst/>
                <a:gdLst>
                  <a:gd name="T0" fmla="*/ 0 w 566"/>
                  <a:gd name="T1" fmla="*/ 979 h 979"/>
                  <a:gd name="T2" fmla="*/ 0 w 566"/>
                  <a:gd name="T3" fmla="*/ 979 h 979"/>
                  <a:gd name="T4" fmla="*/ 0 w 566"/>
                  <a:gd name="T5" fmla="*/ 979 h 979"/>
                  <a:gd name="T6" fmla="*/ 566 w 566"/>
                  <a:gd name="T7" fmla="*/ 0 h 979"/>
                  <a:gd name="T8" fmla="*/ 566 w 566"/>
                  <a:gd name="T9" fmla="*/ 0 h 979"/>
                  <a:gd name="T10" fmla="*/ 0 w 566"/>
                  <a:gd name="T11" fmla="*/ 979 h 979"/>
                </a:gdLst>
                <a:ahLst/>
                <a:cxnLst>
                  <a:cxn ang="0">
                    <a:pos x="T0" y="T1"/>
                  </a:cxn>
                  <a:cxn ang="0">
                    <a:pos x="T2" y="T3"/>
                  </a:cxn>
                  <a:cxn ang="0">
                    <a:pos x="T4" y="T5"/>
                  </a:cxn>
                  <a:cxn ang="0">
                    <a:pos x="T6" y="T7"/>
                  </a:cxn>
                  <a:cxn ang="0">
                    <a:pos x="T8" y="T9"/>
                  </a:cxn>
                  <a:cxn ang="0">
                    <a:pos x="T10" y="T11"/>
                  </a:cxn>
                </a:cxnLst>
                <a:rect l="0" t="0" r="r" b="b"/>
                <a:pathLst>
                  <a:path w="566" h="979">
                    <a:moveTo>
                      <a:pt x="0" y="979"/>
                    </a:moveTo>
                    <a:lnTo>
                      <a:pt x="0" y="979"/>
                    </a:ln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5" name="Freeform 398"/>
              <p:cNvSpPr>
                <a:spLocks noEditPoints="1"/>
              </p:cNvSpPr>
              <p:nvPr/>
            </p:nvSpPr>
            <p:spPr bwMode="auto">
              <a:xfrm>
                <a:off x="-5526088" y="-1984376"/>
                <a:ext cx="2544763" cy="2641600"/>
              </a:xfrm>
              <a:custGeom>
                <a:avLst/>
                <a:gdLst>
                  <a:gd name="T0" fmla="*/ 0 w 3339"/>
                  <a:gd name="T1" fmla="*/ 3468 h 3468"/>
                  <a:gd name="T2" fmla="*/ 0 w 3339"/>
                  <a:gd name="T3" fmla="*/ 3468 h 3468"/>
                  <a:gd name="T4" fmla="*/ 0 w 3339"/>
                  <a:gd name="T5" fmla="*/ 3468 h 3468"/>
                  <a:gd name="T6" fmla="*/ 0 w 3339"/>
                  <a:gd name="T7" fmla="*/ 3468 h 3468"/>
                  <a:gd name="T8" fmla="*/ 0 w 3339"/>
                  <a:gd name="T9" fmla="*/ 3468 h 3468"/>
                  <a:gd name="T10" fmla="*/ 0 w 3339"/>
                  <a:gd name="T11" fmla="*/ 3468 h 3468"/>
                  <a:gd name="T12" fmla="*/ 0 w 3339"/>
                  <a:gd name="T13" fmla="*/ 3468 h 3468"/>
                  <a:gd name="T14" fmla="*/ 0 w 3339"/>
                  <a:gd name="T15" fmla="*/ 3468 h 3468"/>
                  <a:gd name="T16" fmla="*/ 1258 w 3339"/>
                  <a:gd name="T17" fmla="*/ 0 h 3468"/>
                  <a:gd name="T18" fmla="*/ 3339 w 3339"/>
                  <a:gd name="T19" fmla="*/ 2815 h 3468"/>
                  <a:gd name="T20" fmla="*/ 0 w 3339"/>
                  <a:gd name="T21" fmla="*/ 3468 h 3468"/>
                  <a:gd name="T22" fmla="*/ 3339 w 3339"/>
                  <a:gd name="T23" fmla="*/ 2815 h 3468"/>
                  <a:gd name="T24" fmla="*/ 3339 w 3339"/>
                  <a:gd name="T25" fmla="*/ 2815 h 3468"/>
                  <a:gd name="T26" fmla="*/ 3339 w 3339"/>
                  <a:gd name="T27" fmla="*/ 2815 h 3468"/>
                  <a:gd name="T28" fmla="*/ 1258 w 3339"/>
                  <a:gd name="T29" fmla="*/ 0 h 3468"/>
                  <a:gd name="T30" fmla="*/ 1258 w 3339"/>
                  <a:gd name="T31" fmla="*/ 0 h 3468"/>
                  <a:gd name="T32" fmla="*/ 1258 w 3339"/>
                  <a:gd name="T33" fmla="*/ 1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39" h="3468">
                    <a:moveTo>
                      <a:pt x="0" y="3468"/>
                    </a:moveTo>
                    <a:lnTo>
                      <a:pt x="0" y="3468"/>
                    </a:lnTo>
                    <a:lnTo>
                      <a:pt x="0" y="3468"/>
                    </a:lnTo>
                    <a:lnTo>
                      <a:pt x="0" y="3468"/>
                    </a:lnTo>
                    <a:lnTo>
                      <a:pt x="0" y="3468"/>
                    </a:lnTo>
                    <a:lnTo>
                      <a:pt x="0" y="3468"/>
                    </a:lnTo>
                    <a:lnTo>
                      <a:pt x="0" y="3468"/>
                    </a:lnTo>
                    <a:moveTo>
                      <a:pt x="0" y="3468"/>
                    </a:moveTo>
                    <a:lnTo>
                      <a:pt x="1258" y="0"/>
                    </a:lnTo>
                    <a:lnTo>
                      <a:pt x="3339" y="2815"/>
                    </a:lnTo>
                    <a:lnTo>
                      <a:pt x="0" y="3468"/>
                    </a:lnTo>
                    <a:moveTo>
                      <a:pt x="3339" y="2815"/>
                    </a:moveTo>
                    <a:lnTo>
                      <a:pt x="3339" y="2815"/>
                    </a:lnTo>
                    <a:lnTo>
                      <a:pt x="3339" y="2815"/>
                    </a:lnTo>
                    <a:moveTo>
                      <a:pt x="1258" y="0"/>
                    </a:moveTo>
                    <a:lnTo>
                      <a:pt x="1258" y="0"/>
                    </a:lnTo>
                    <a:lnTo>
                      <a:pt x="1258" y="1"/>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6" name="Freeform 399"/>
              <p:cNvSpPr>
                <a:spLocks/>
              </p:cNvSpPr>
              <p:nvPr/>
            </p:nvSpPr>
            <p:spPr bwMode="auto">
              <a:xfrm>
                <a:off x="-5465763" y="-3540126"/>
                <a:ext cx="1797050" cy="1555750"/>
              </a:xfrm>
              <a:custGeom>
                <a:avLst/>
                <a:gdLst>
                  <a:gd name="T0" fmla="*/ 566 w 1132"/>
                  <a:gd name="T1" fmla="*/ 980 h 980"/>
                  <a:gd name="T2" fmla="*/ 566 w 1132"/>
                  <a:gd name="T3" fmla="*/ 980 h 980"/>
                  <a:gd name="T4" fmla="*/ 0 w 1132"/>
                  <a:gd name="T5" fmla="*/ 0 h 980"/>
                  <a:gd name="T6" fmla="*/ 0 w 1132"/>
                  <a:gd name="T7" fmla="*/ 0 h 980"/>
                  <a:gd name="T8" fmla="*/ 1132 w 1132"/>
                  <a:gd name="T9" fmla="*/ 0 h 980"/>
                  <a:gd name="T10" fmla="*/ 566 w 1132"/>
                  <a:gd name="T11" fmla="*/ 980 h 980"/>
                </a:gdLst>
                <a:ahLst/>
                <a:cxnLst>
                  <a:cxn ang="0">
                    <a:pos x="T0" y="T1"/>
                  </a:cxn>
                  <a:cxn ang="0">
                    <a:pos x="T2" y="T3"/>
                  </a:cxn>
                  <a:cxn ang="0">
                    <a:pos x="T4" y="T5"/>
                  </a:cxn>
                  <a:cxn ang="0">
                    <a:pos x="T6" y="T7"/>
                  </a:cxn>
                  <a:cxn ang="0">
                    <a:pos x="T8" y="T9"/>
                  </a:cxn>
                  <a:cxn ang="0">
                    <a:pos x="T10" y="T11"/>
                  </a:cxn>
                </a:cxnLst>
                <a:rect l="0" t="0" r="r" b="b"/>
                <a:pathLst>
                  <a:path w="1132" h="980">
                    <a:moveTo>
                      <a:pt x="566" y="980"/>
                    </a:moveTo>
                    <a:lnTo>
                      <a:pt x="566" y="980"/>
                    </a:lnTo>
                    <a:lnTo>
                      <a:pt x="0" y="0"/>
                    </a:lnTo>
                    <a:lnTo>
                      <a:pt x="0" y="0"/>
                    </a:lnTo>
                    <a:lnTo>
                      <a:pt x="1132" y="0"/>
                    </a:lnTo>
                    <a:lnTo>
                      <a:pt x="566"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7" name="Freeform 400"/>
              <p:cNvSpPr>
                <a:spLocks/>
              </p:cNvSpPr>
              <p:nvPr/>
            </p:nvSpPr>
            <p:spPr bwMode="auto">
              <a:xfrm>
                <a:off x="-5465763" y="-354012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99D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8" name="Rectangle 401"/>
              <p:cNvSpPr>
                <a:spLocks noChangeArrowheads="1"/>
              </p:cNvSpPr>
              <p:nvPr/>
            </p:nvSpPr>
            <p:spPr bwMode="auto">
              <a:xfrm>
                <a:off x="-5465763" y="-3540126"/>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9" name="Freeform 402"/>
              <p:cNvSpPr>
                <a:spLocks noEditPoints="1"/>
              </p:cNvSpPr>
              <p:nvPr/>
            </p:nvSpPr>
            <p:spPr bwMode="auto">
              <a:xfrm>
                <a:off x="-4567238" y="-1984376"/>
                <a:ext cx="1585913" cy="2144713"/>
              </a:xfrm>
              <a:custGeom>
                <a:avLst/>
                <a:gdLst>
                  <a:gd name="T0" fmla="*/ 2081 w 2081"/>
                  <a:gd name="T1" fmla="*/ 2815 h 2815"/>
                  <a:gd name="T2" fmla="*/ 2081 w 2081"/>
                  <a:gd name="T3" fmla="*/ 2815 h 2815"/>
                  <a:gd name="T4" fmla="*/ 2081 w 2081"/>
                  <a:gd name="T5" fmla="*/ 2815 h 2815"/>
                  <a:gd name="T6" fmla="*/ 2081 w 2081"/>
                  <a:gd name="T7" fmla="*/ 2815 h 2815"/>
                  <a:gd name="T8" fmla="*/ 0 w 2081"/>
                  <a:gd name="T9" fmla="*/ 0 h 2815"/>
                  <a:gd name="T10" fmla="*/ 0 w 2081"/>
                  <a:gd name="T11" fmla="*/ 0 h 2815"/>
                  <a:gd name="T12" fmla="*/ 1627 w 2081"/>
                  <a:gd name="T13" fmla="*/ 645 h 2815"/>
                  <a:gd name="T14" fmla="*/ 2081 w 2081"/>
                  <a:gd name="T15" fmla="*/ 2815 h 28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1" h="2815">
                    <a:moveTo>
                      <a:pt x="2081" y="2815"/>
                    </a:moveTo>
                    <a:lnTo>
                      <a:pt x="2081" y="2815"/>
                    </a:lnTo>
                    <a:lnTo>
                      <a:pt x="2081" y="2815"/>
                    </a:lnTo>
                    <a:moveTo>
                      <a:pt x="2081" y="2815"/>
                    </a:moveTo>
                    <a:lnTo>
                      <a:pt x="0" y="0"/>
                    </a:lnTo>
                    <a:lnTo>
                      <a:pt x="0" y="0"/>
                    </a:lnTo>
                    <a:lnTo>
                      <a:pt x="1627" y="645"/>
                    </a:lnTo>
                    <a:lnTo>
                      <a:pt x="2081" y="2815"/>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0" name="Freeform 403"/>
              <p:cNvSpPr>
                <a:spLocks/>
              </p:cNvSpPr>
              <p:nvPr/>
            </p:nvSpPr>
            <p:spPr bwMode="auto">
              <a:xfrm>
                <a:off x="-4567238" y="-1984376"/>
                <a:ext cx="1585913" cy="2144713"/>
              </a:xfrm>
              <a:custGeom>
                <a:avLst/>
                <a:gdLst>
                  <a:gd name="T0" fmla="*/ 999 w 999"/>
                  <a:gd name="T1" fmla="*/ 1351 h 1351"/>
                  <a:gd name="T2" fmla="*/ 0 w 999"/>
                  <a:gd name="T3" fmla="*/ 0 h 1351"/>
                  <a:gd name="T4" fmla="*/ 0 w 999"/>
                  <a:gd name="T5" fmla="*/ 0 h 1351"/>
                  <a:gd name="T6" fmla="*/ 999 w 999"/>
                  <a:gd name="T7" fmla="*/ 1351 h 1351"/>
                  <a:gd name="T8" fmla="*/ 999 w 999"/>
                  <a:gd name="T9" fmla="*/ 1351 h 1351"/>
                  <a:gd name="T10" fmla="*/ 999 w 999"/>
                  <a:gd name="T11" fmla="*/ 1351 h 1351"/>
                </a:gdLst>
                <a:ahLst/>
                <a:cxnLst>
                  <a:cxn ang="0">
                    <a:pos x="T0" y="T1"/>
                  </a:cxn>
                  <a:cxn ang="0">
                    <a:pos x="T2" y="T3"/>
                  </a:cxn>
                  <a:cxn ang="0">
                    <a:pos x="T4" y="T5"/>
                  </a:cxn>
                  <a:cxn ang="0">
                    <a:pos x="T6" y="T7"/>
                  </a:cxn>
                  <a:cxn ang="0">
                    <a:pos x="T8" y="T9"/>
                  </a:cxn>
                  <a:cxn ang="0">
                    <a:pos x="T10" y="T11"/>
                  </a:cxn>
                </a:cxnLst>
                <a:rect l="0" t="0" r="r" b="b"/>
                <a:pathLst>
                  <a:path w="999" h="1351">
                    <a:moveTo>
                      <a:pt x="999" y="1351"/>
                    </a:moveTo>
                    <a:lnTo>
                      <a:pt x="0" y="0"/>
                    </a:lnTo>
                    <a:lnTo>
                      <a:pt x="0" y="0"/>
                    </a:lnTo>
                    <a:lnTo>
                      <a:pt x="999" y="1351"/>
                    </a:lnTo>
                    <a:lnTo>
                      <a:pt x="999" y="1351"/>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1" name="Rectangle 404"/>
              <p:cNvSpPr>
                <a:spLocks noChangeArrowheads="1"/>
              </p:cNvSpPr>
              <p:nvPr/>
            </p:nvSpPr>
            <p:spPr bwMode="auto">
              <a:xfrm>
                <a:off x="-4567238" y="-1984376"/>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2" name="Freeform 405"/>
              <p:cNvSpPr>
                <a:spLocks/>
              </p:cNvSpPr>
              <p:nvPr/>
            </p:nvSpPr>
            <p:spPr bwMode="auto">
              <a:xfrm>
                <a:off x="-5526088" y="-3540126"/>
                <a:ext cx="958850" cy="2135188"/>
              </a:xfrm>
              <a:custGeom>
                <a:avLst/>
                <a:gdLst>
                  <a:gd name="T0" fmla="*/ 0 w 604"/>
                  <a:gd name="T1" fmla="*/ 1345 h 1345"/>
                  <a:gd name="T2" fmla="*/ 1 w 604"/>
                  <a:gd name="T3" fmla="*/ 1294 h 1345"/>
                  <a:gd name="T4" fmla="*/ 38 w 604"/>
                  <a:gd name="T5" fmla="*/ 0 h 1345"/>
                  <a:gd name="T6" fmla="*/ 38 w 604"/>
                  <a:gd name="T7" fmla="*/ 0 h 1345"/>
                  <a:gd name="T8" fmla="*/ 38 w 604"/>
                  <a:gd name="T9" fmla="*/ 0 h 1345"/>
                  <a:gd name="T10" fmla="*/ 604 w 604"/>
                  <a:gd name="T11" fmla="*/ 980 h 1345"/>
                  <a:gd name="T12" fmla="*/ 0 w 604"/>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604" h="1345">
                    <a:moveTo>
                      <a:pt x="0" y="1345"/>
                    </a:moveTo>
                    <a:lnTo>
                      <a:pt x="1" y="1294"/>
                    </a:lnTo>
                    <a:lnTo>
                      <a:pt x="38" y="0"/>
                    </a:lnTo>
                    <a:lnTo>
                      <a:pt x="38" y="0"/>
                    </a:lnTo>
                    <a:lnTo>
                      <a:pt x="38" y="0"/>
                    </a:lnTo>
                    <a:lnTo>
                      <a:pt x="604" y="980"/>
                    </a:lnTo>
                    <a:lnTo>
                      <a:pt x="0" y="134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3" name="Freeform 406"/>
              <p:cNvSpPr>
                <a:spLocks/>
              </p:cNvSpPr>
              <p:nvPr/>
            </p:nvSpPr>
            <p:spPr bwMode="auto">
              <a:xfrm>
                <a:off x="-4567238" y="-3540126"/>
                <a:ext cx="1239838" cy="2046288"/>
              </a:xfrm>
              <a:custGeom>
                <a:avLst/>
                <a:gdLst>
                  <a:gd name="T0" fmla="*/ 781 w 781"/>
                  <a:gd name="T1" fmla="*/ 1289 h 1289"/>
                  <a:gd name="T2" fmla="*/ 0 w 781"/>
                  <a:gd name="T3" fmla="*/ 980 h 1289"/>
                  <a:gd name="T4" fmla="*/ 566 w 781"/>
                  <a:gd name="T5" fmla="*/ 0 h 1289"/>
                  <a:gd name="T6" fmla="*/ 716 w 781"/>
                  <a:gd name="T7" fmla="*/ 902 h 1289"/>
                  <a:gd name="T8" fmla="*/ 781 w 781"/>
                  <a:gd name="T9" fmla="*/ 1289 h 1289"/>
                </a:gdLst>
                <a:ahLst/>
                <a:cxnLst>
                  <a:cxn ang="0">
                    <a:pos x="T0" y="T1"/>
                  </a:cxn>
                  <a:cxn ang="0">
                    <a:pos x="T2" y="T3"/>
                  </a:cxn>
                  <a:cxn ang="0">
                    <a:pos x="T4" y="T5"/>
                  </a:cxn>
                  <a:cxn ang="0">
                    <a:pos x="T6" y="T7"/>
                  </a:cxn>
                  <a:cxn ang="0">
                    <a:pos x="T8" y="T9"/>
                  </a:cxn>
                </a:cxnLst>
                <a:rect l="0" t="0" r="r" b="b"/>
                <a:pathLst>
                  <a:path w="781" h="1289">
                    <a:moveTo>
                      <a:pt x="781" y="1289"/>
                    </a:moveTo>
                    <a:lnTo>
                      <a:pt x="0" y="980"/>
                    </a:lnTo>
                    <a:lnTo>
                      <a:pt x="566" y="0"/>
                    </a:lnTo>
                    <a:lnTo>
                      <a:pt x="716" y="902"/>
                    </a:lnTo>
                    <a:lnTo>
                      <a:pt x="781" y="128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4" name="Freeform 407"/>
              <p:cNvSpPr>
                <a:spLocks noEditPoints="1"/>
              </p:cNvSpPr>
              <p:nvPr/>
            </p:nvSpPr>
            <p:spPr bwMode="auto">
              <a:xfrm>
                <a:off x="-5526088" y="-1984376"/>
                <a:ext cx="958850" cy="2641600"/>
              </a:xfrm>
              <a:custGeom>
                <a:avLst/>
                <a:gdLst>
                  <a:gd name="T0" fmla="*/ 0 w 1258"/>
                  <a:gd name="T1" fmla="*/ 3467 h 3467"/>
                  <a:gd name="T2" fmla="*/ 0 w 1258"/>
                  <a:gd name="T3" fmla="*/ 3467 h 3467"/>
                  <a:gd name="T4" fmla="*/ 0 w 1258"/>
                  <a:gd name="T5" fmla="*/ 3467 h 3467"/>
                  <a:gd name="T6" fmla="*/ 0 w 1258"/>
                  <a:gd name="T7" fmla="*/ 3467 h 3467"/>
                  <a:gd name="T8" fmla="*/ 0 w 1258"/>
                  <a:gd name="T9" fmla="*/ 3467 h 3467"/>
                  <a:gd name="T10" fmla="*/ 0 w 1258"/>
                  <a:gd name="T11" fmla="*/ 760 h 3467"/>
                  <a:gd name="T12" fmla="*/ 1258 w 1258"/>
                  <a:gd name="T13" fmla="*/ 0 h 3467"/>
                  <a:gd name="T14" fmla="*/ 0 w 1258"/>
                  <a:gd name="T15" fmla="*/ 3467 h 3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8" h="3467">
                    <a:moveTo>
                      <a:pt x="0" y="3467"/>
                    </a:moveTo>
                    <a:lnTo>
                      <a:pt x="0" y="3467"/>
                    </a:lnTo>
                    <a:lnTo>
                      <a:pt x="0" y="3467"/>
                    </a:lnTo>
                    <a:lnTo>
                      <a:pt x="0" y="3467"/>
                    </a:lnTo>
                    <a:moveTo>
                      <a:pt x="0" y="3467"/>
                    </a:moveTo>
                    <a:lnTo>
                      <a:pt x="0" y="760"/>
                    </a:lnTo>
                    <a:lnTo>
                      <a:pt x="1258" y="0"/>
                    </a:lnTo>
                    <a:lnTo>
                      <a:pt x="0" y="3467"/>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5" name="Freeform 408"/>
              <p:cNvSpPr>
                <a:spLocks/>
              </p:cNvSpPr>
              <p:nvPr/>
            </p:nvSpPr>
            <p:spPr bwMode="auto">
              <a:xfrm>
                <a:off x="-5526088" y="-1984376"/>
                <a:ext cx="958850" cy="2641600"/>
              </a:xfrm>
              <a:custGeom>
                <a:avLst/>
                <a:gdLst>
                  <a:gd name="T0" fmla="*/ 0 w 604"/>
                  <a:gd name="T1" fmla="*/ 1664 h 1664"/>
                  <a:gd name="T2" fmla="*/ 0 w 604"/>
                  <a:gd name="T3" fmla="*/ 1664 h 1664"/>
                  <a:gd name="T4" fmla="*/ 604 w 604"/>
                  <a:gd name="T5" fmla="*/ 0 h 1664"/>
                  <a:gd name="T6" fmla="*/ 604 w 604"/>
                  <a:gd name="T7" fmla="*/ 0 h 1664"/>
                  <a:gd name="T8" fmla="*/ 604 w 604"/>
                  <a:gd name="T9" fmla="*/ 0 h 1664"/>
                  <a:gd name="T10" fmla="*/ 0 w 604"/>
                  <a:gd name="T11" fmla="*/ 1664 h 1664"/>
                  <a:gd name="T12" fmla="*/ 0 w 604"/>
                  <a:gd name="T13" fmla="*/ 1664 h 1664"/>
                </a:gdLst>
                <a:ahLst/>
                <a:cxnLst>
                  <a:cxn ang="0">
                    <a:pos x="T0" y="T1"/>
                  </a:cxn>
                  <a:cxn ang="0">
                    <a:pos x="T2" y="T3"/>
                  </a:cxn>
                  <a:cxn ang="0">
                    <a:pos x="T4" y="T5"/>
                  </a:cxn>
                  <a:cxn ang="0">
                    <a:pos x="T6" y="T7"/>
                  </a:cxn>
                  <a:cxn ang="0">
                    <a:pos x="T8" y="T9"/>
                  </a:cxn>
                  <a:cxn ang="0">
                    <a:pos x="T10" y="T11"/>
                  </a:cxn>
                  <a:cxn ang="0">
                    <a:pos x="T12" y="T13"/>
                  </a:cxn>
                </a:cxnLst>
                <a:rect l="0" t="0" r="r" b="b"/>
                <a:pathLst>
                  <a:path w="604" h="1664">
                    <a:moveTo>
                      <a:pt x="0" y="1664"/>
                    </a:moveTo>
                    <a:lnTo>
                      <a:pt x="0" y="1664"/>
                    </a:lnTo>
                    <a:lnTo>
                      <a:pt x="604" y="0"/>
                    </a:lnTo>
                    <a:lnTo>
                      <a:pt x="604" y="0"/>
                    </a:lnTo>
                    <a:lnTo>
                      <a:pt x="604" y="0"/>
                    </a:lnTo>
                    <a:lnTo>
                      <a:pt x="0" y="1664"/>
                    </a:lnTo>
                    <a:lnTo>
                      <a:pt x="0" y="166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6" name="Freeform 409"/>
              <p:cNvSpPr>
                <a:spLocks/>
              </p:cNvSpPr>
              <p:nvPr/>
            </p:nvSpPr>
            <p:spPr bwMode="auto">
              <a:xfrm>
                <a:off x="-4567238" y="-19843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7" name="Freeform 410"/>
              <p:cNvSpPr>
                <a:spLocks noEditPoints="1"/>
              </p:cNvSpPr>
              <p:nvPr/>
            </p:nvSpPr>
            <p:spPr bwMode="auto">
              <a:xfrm>
                <a:off x="-8159750" y="2682875"/>
                <a:ext cx="1141413" cy="1914525"/>
              </a:xfrm>
              <a:custGeom>
                <a:avLst/>
                <a:gdLst>
                  <a:gd name="T0" fmla="*/ 1498 w 1498"/>
                  <a:gd name="T1" fmla="*/ 2514 h 2514"/>
                  <a:gd name="T2" fmla="*/ 1 w 1498"/>
                  <a:gd name="T3" fmla="*/ 2041 h 2514"/>
                  <a:gd name="T4" fmla="*/ 0 w 1498"/>
                  <a:gd name="T5" fmla="*/ 2041 h 2514"/>
                  <a:gd name="T6" fmla="*/ 1 w 1498"/>
                  <a:gd name="T7" fmla="*/ 2041 h 2514"/>
                  <a:gd name="T8" fmla="*/ 1179 w 1498"/>
                  <a:gd name="T9" fmla="*/ 0 h 2514"/>
                  <a:gd name="T10" fmla="*/ 1179 w 1498"/>
                  <a:gd name="T11" fmla="*/ 0 h 2514"/>
                  <a:gd name="T12" fmla="*/ 1179 w 1498"/>
                  <a:gd name="T13" fmla="*/ 0 h 2514"/>
                  <a:gd name="T14" fmla="*/ 1179 w 1498"/>
                  <a:gd name="T15" fmla="*/ 0 h 2514"/>
                  <a:gd name="T16" fmla="*/ 1179 w 1498"/>
                  <a:gd name="T17" fmla="*/ 0 h 2514"/>
                  <a:gd name="T18" fmla="*/ 1234 w 1498"/>
                  <a:gd name="T19" fmla="*/ 432 h 2514"/>
                  <a:gd name="T20" fmla="*/ 1498 w 1498"/>
                  <a:gd name="T21" fmla="*/ 2514 h 2514"/>
                  <a:gd name="T22" fmla="*/ 1179 w 1498"/>
                  <a:gd name="T23" fmla="*/ 0 h 2514"/>
                  <a:gd name="T24" fmla="*/ 1179 w 1498"/>
                  <a:gd name="T25" fmla="*/ 0 h 2514"/>
                  <a:gd name="T26" fmla="*/ 1179 w 1498"/>
                  <a:gd name="T27"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8" h="2514">
                    <a:moveTo>
                      <a:pt x="1498" y="2514"/>
                    </a:moveTo>
                    <a:lnTo>
                      <a:pt x="1" y="2041"/>
                    </a:lnTo>
                    <a:lnTo>
                      <a:pt x="0" y="2041"/>
                    </a:lnTo>
                    <a:lnTo>
                      <a:pt x="1" y="2041"/>
                    </a:lnTo>
                    <a:lnTo>
                      <a:pt x="1179" y="0"/>
                    </a:lnTo>
                    <a:lnTo>
                      <a:pt x="1179" y="0"/>
                    </a:lnTo>
                    <a:lnTo>
                      <a:pt x="1179" y="0"/>
                    </a:lnTo>
                    <a:lnTo>
                      <a:pt x="1179" y="0"/>
                    </a:lnTo>
                    <a:lnTo>
                      <a:pt x="1179" y="0"/>
                    </a:lnTo>
                    <a:lnTo>
                      <a:pt x="1234" y="432"/>
                    </a:lnTo>
                    <a:lnTo>
                      <a:pt x="1498" y="2514"/>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8" name="Freeform 411"/>
              <p:cNvSpPr>
                <a:spLocks/>
              </p:cNvSpPr>
              <p:nvPr/>
            </p:nvSpPr>
            <p:spPr bwMode="auto">
              <a:xfrm>
                <a:off x="-8159750" y="1125537"/>
                <a:ext cx="1795463" cy="1557338"/>
              </a:xfrm>
              <a:custGeom>
                <a:avLst/>
                <a:gdLst>
                  <a:gd name="T0" fmla="*/ 566 w 1131"/>
                  <a:gd name="T1" fmla="*/ 981 h 981"/>
                  <a:gd name="T2" fmla="*/ 4 w 1131"/>
                  <a:gd name="T3" fmla="*/ 7 h 981"/>
                  <a:gd name="T4" fmla="*/ 0 w 1131"/>
                  <a:gd name="T5" fmla="*/ 0 h 981"/>
                  <a:gd name="T6" fmla="*/ 0 w 1131"/>
                  <a:gd name="T7" fmla="*/ 0 h 981"/>
                  <a:gd name="T8" fmla="*/ 0 w 1131"/>
                  <a:gd name="T9" fmla="*/ 0 h 981"/>
                  <a:gd name="T10" fmla="*/ 0 w 1131"/>
                  <a:gd name="T11" fmla="*/ 0 h 981"/>
                  <a:gd name="T12" fmla="*/ 1131 w 1131"/>
                  <a:gd name="T13" fmla="*/ 0 h 981"/>
                  <a:gd name="T14" fmla="*/ 566 w 1131"/>
                  <a:gd name="T15" fmla="*/ 981 h 9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981">
                    <a:moveTo>
                      <a:pt x="566" y="981"/>
                    </a:moveTo>
                    <a:lnTo>
                      <a:pt x="4" y="7"/>
                    </a:lnTo>
                    <a:lnTo>
                      <a:pt x="0" y="0"/>
                    </a:lnTo>
                    <a:lnTo>
                      <a:pt x="0" y="0"/>
                    </a:lnTo>
                    <a:lnTo>
                      <a:pt x="0" y="0"/>
                    </a:lnTo>
                    <a:lnTo>
                      <a:pt x="0" y="0"/>
                    </a:lnTo>
                    <a:lnTo>
                      <a:pt x="1131" y="0"/>
                    </a:lnTo>
                    <a:lnTo>
                      <a:pt x="566" y="98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9" name="Freeform 412"/>
              <p:cNvSpPr>
                <a:spLocks noEditPoints="1"/>
              </p:cNvSpPr>
              <p:nvPr/>
            </p:nvSpPr>
            <p:spPr bwMode="auto">
              <a:xfrm>
                <a:off x="-7261225" y="2655887"/>
                <a:ext cx="1047750" cy="1941513"/>
              </a:xfrm>
              <a:custGeom>
                <a:avLst/>
                <a:gdLst>
                  <a:gd name="T0" fmla="*/ 319 w 1375"/>
                  <a:gd name="T1" fmla="*/ 2549 h 2549"/>
                  <a:gd name="T2" fmla="*/ 55 w 1375"/>
                  <a:gd name="T3" fmla="*/ 467 h 2549"/>
                  <a:gd name="T4" fmla="*/ 0 w 1375"/>
                  <a:gd name="T5" fmla="*/ 35 h 2549"/>
                  <a:gd name="T6" fmla="*/ 1375 w 1375"/>
                  <a:gd name="T7" fmla="*/ 0 h 2549"/>
                  <a:gd name="T8" fmla="*/ 1375 w 1375"/>
                  <a:gd name="T9" fmla="*/ 0 h 2549"/>
                  <a:gd name="T10" fmla="*/ 319 w 1375"/>
                  <a:gd name="T11" fmla="*/ 2549 h 2549"/>
                  <a:gd name="T12" fmla="*/ 1375 w 1375"/>
                  <a:gd name="T13" fmla="*/ 0 h 2549"/>
                  <a:gd name="T14" fmla="*/ 1375 w 1375"/>
                  <a:gd name="T15" fmla="*/ 0 h 2549"/>
                  <a:gd name="T16" fmla="*/ 1375 w 1375"/>
                  <a:gd name="T17" fmla="*/ 0 h 2549"/>
                  <a:gd name="T18" fmla="*/ 1375 w 1375"/>
                  <a:gd name="T19" fmla="*/ 0 h 2549"/>
                  <a:gd name="T20" fmla="*/ 1375 w 1375"/>
                  <a:gd name="T21" fmla="*/ 0 h 2549"/>
                  <a:gd name="T22" fmla="*/ 1375 w 1375"/>
                  <a:gd name="T23" fmla="*/ 0 h 2549"/>
                  <a:gd name="T24" fmla="*/ 1375 w 1375"/>
                  <a:gd name="T25" fmla="*/ 0 h 2549"/>
                  <a:gd name="T26" fmla="*/ 1375 w 1375"/>
                  <a:gd name="T27" fmla="*/ 0 h 2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5" h="2549">
                    <a:moveTo>
                      <a:pt x="319" y="2549"/>
                    </a:moveTo>
                    <a:lnTo>
                      <a:pt x="55" y="467"/>
                    </a:lnTo>
                    <a:lnTo>
                      <a:pt x="0" y="35"/>
                    </a:lnTo>
                    <a:lnTo>
                      <a:pt x="1375" y="0"/>
                    </a:lnTo>
                    <a:lnTo>
                      <a:pt x="1375" y="0"/>
                    </a:lnTo>
                    <a:lnTo>
                      <a:pt x="319" y="2549"/>
                    </a:lnTo>
                    <a:moveTo>
                      <a:pt x="1375" y="0"/>
                    </a:moveTo>
                    <a:lnTo>
                      <a:pt x="1375" y="0"/>
                    </a:lnTo>
                    <a:lnTo>
                      <a:pt x="1375" y="0"/>
                    </a:lnTo>
                    <a:lnTo>
                      <a:pt x="1375" y="0"/>
                    </a:lnTo>
                    <a:moveTo>
                      <a:pt x="1375" y="0"/>
                    </a:moveTo>
                    <a:lnTo>
                      <a:pt x="1375" y="0"/>
                    </a:lnTo>
                    <a:lnTo>
                      <a:pt x="1375" y="0"/>
                    </a:lnTo>
                    <a:lnTo>
                      <a:pt x="1375"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0" name="Freeform 413"/>
              <p:cNvSpPr>
                <a:spLocks noEditPoints="1"/>
              </p:cNvSpPr>
              <p:nvPr/>
            </p:nvSpPr>
            <p:spPr bwMode="auto">
              <a:xfrm>
                <a:off x="-9488488" y="1125537"/>
                <a:ext cx="2227263" cy="2085975"/>
              </a:xfrm>
              <a:custGeom>
                <a:avLst/>
                <a:gdLst>
                  <a:gd name="T0" fmla="*/ 0 w 2922"/>
                  <a:gd name="T1" fmla="*/ 2737 h 2737"/>
                  <a:gd name="T2" fmla="*/ 0 w 2922"/>
                  <a:gd name="T3" fmla="*/ 2737 h 2737"/>
                  <a:gd name="T4" fmla="*/ 0 w 2922"/>
                  <a:gd name="T5" fmla="*/ 2737 h 2737"/>
                  <a:gd name="T6" fmla="*/ 0 w 2922"/>
                  <a:gd name="T7" fmla="*/ 2737 h 2737"/>
                  <a:gd name="T8" fmla="*/ 1744 w 2922"/>
                  <a:gd name="T9" fmla="*/ 0 h 2737"/>
                  <a:gd name="T10" fmla="*/ 1752 w 2922"/>
                  <a:gd name="T11" fmla="*/ 14 h 2737"/>
                  <a:gd name="T12" fmla="*/ 2922 w 2922"/>
                  <a:gd name="T13" fmla="*/ 2042 h 2737"/>
                  <a:gd name="T14" fmla="*/ 2922 w 2922"/>
                  <a:gd name="T15" fmla="*/ 2042 h 2737"/>
                  <a:gd name="T16" fmla="*/ 0 w 2922"/>
                  <a:gd name="T17" fmla="*/ 2737 h 2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22" h="2737">
                    <a:moveTo>
                      <a:pt x="0" y="2737"/>
                    </a:moveTo>
                    <a:lnTo>
                      <a:pt x="0" y="2737"/>
                    </a:lnTo>
                    <a:lnTo>
                      <a:pt x="0" y="2737"/>
                    </a:lnTo>
                    <a:moveTo>
                      <a:pt x="0" y="2737"/>
                    </a:moveTo>
                    <a:lnTo>
                      <a:pt x="1744" y="0"/>
                    </a:lnTo>
                    <a:lnTo>
                      <a:pt x="1752" y="14"/>
                    </a:lnTo>
                    <a:lnTo>
                      <a:pt x="2922" y="2042"/>
                    </a:lnTo>
                    <a:lnTo>
                      <a:pt x="2922" y="2042"/>
                    </a:lnTo>
                    <a:lnTo>
                      <a:pt x="0" y="2737"/>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1" name="Freeform 414"/>
              <p:cNvSpPr>
                <a:spLocks/>
              </p:cNvSpPr>
              <p:nvPr/>
            </p:nvSpPr>
            <p:spPr bwMode="auto">
              <a:xfrm>
                <a:off x="-7261225" y="1125537"/>
                <a:ext cx="1047750" cy="1557338"/>
              </a:xfrm>
              <a:custGeom>
                <a:avLst/>
                <a:gdLst>
                  <a:gd name="T0" fmla="*/ 0 w 660"/>
                  <a:gd name="T1" fmla="*/ 981 h 981"/>
                  <a:gd name="T2" fmla="*/ 0 w 660"/>
                  <a:gd name="T3" fmla="*/ 981 h 981"/>
                  <a:gd name="T4" fmla="*/ 565 w 660"/>
                  <a:gd name="T5" fmla="*/ 0 h 981"/>
                  <a:gd name="T6" fmla="*/ 565 w 660"/>
                  <a:gd name="T7" fmla="*/ 0 h 981"/>
                  <a:gd name="T8" fmla="*/ 565 w 660"/>
                  <a:gd name="T9" fmla="*/ 0 h 981"/>
                  <a:gd name="T10" fmla="*/ 660 w 660"/>
                  <a:gd name="T11" fmla="*/ 963 h 981"/>
                  <a:gd name="T12" fmla="*/ 660 w 660"/>
                  <a:gd name="T13" fmla="*/ 963 h 981"/>
                  <a:gd name="T14" fmla="*/ 660 w 660"/>
                  <a:gd name="T15" fmla="*/ 964 h 981"/>
                  <a:gd name="T16" fmla="*/ 660 w 660"/>
                  <a:gd name="T17" fmla="*/ 964 h 981"/>
                  <a:gd name="T18" fmla="*/ 0 w 660"/>
                  <a:gd name="T19" fmla="*/ 981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0" h="981">
                    <a:moveTo>
                      <a:pt x="0" y="981"/>
                    </a:moveTo>
                    <a:lnTo>
                      <a:pt x="0" y="981"/>
                    </a:lnTo>
                    <a:lnTo>
                      <a:pt x="565" y="0"/>
                    </a:lnTo>
                    <a:lnTo>
                      <a:pt x="565" y="0"/>
                    </a:lnTo>
                    <a:lnTo>
                      <a:pt x="565" y="0"/>
                    </a:lnTo>
                    <a:lnTo>
                      <a:pt x="660" y="963"/>
                    </a:lnTo>
                    <a:lnTo>
                      <a:pt x="660" y="963"/>
                    </a:lnTo>
                    <a:lnTo>
                      <a:pt x="660" y="964"/>
                    </a:lnTo>
                    <a:lnTo>
                      <a:pt x="660" y="964"/>
                    </a:lnTo>
                    <a:lnTo>
                      <a:pt x="0"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2" name="Freeform 415"/>
              <p:cNvSpPr>
                <a:spLocks/>
              </p:cNvSpPr>
              <p:nvPr/>
            </p:nvSpPr>
            <p:spPr bwMode="auto">
              <a:xfrm>
                <a:off x="-9488488" y="2682875"/>
                <a:ext cx="2227263" cy="1554163"/>
              </a:xfrm>
              <a:custGeom>
                <a:avLst/>
                <a:gdLst>
                  <a:gd name="T0" fmla="*/ 1744 w 2922"/>
                  <a:gd name="T1" fmla="*/ 2041 h 2041"/>
                  <a:gd name="T2" fmla="*/ 0 w 2922"/>
                  <a:gd name="T3" fmla="*/ 695 h 2041"/>
                  <a:gd name="T4" fmla="*/ 2922 w 2922"/>
                  <a:gd name="T5" fmla="*/ 0 h 2041"/>
                  <a:gd name="T6" fmla="*/ 1743 w 2922"/>
                  <a:gd name="T7" fmla="*/ 2041 h 2041"/>
                </a:gdLst>
                <a:ahLst/>
                <a:cxnLst>
                  <a:cxn ang="0">
                    <a:pos x="T0" y="T1"/>
                  </a:cxn>
                  <a:cxn ang="0">
                    <a:pos x="T2" y="T3"/>
                  </a:cxn>
                  <a:cxn ang="0">
                    <a:pos x="T4" y="T5"/>
                  </a:cxn>
                  <a:cxn ang="0">
                    <a:pos x="T6" y="T7"/>
                  </a:cxn>
                </a:cxnLst>
                <a:rect l="0" t="0" r="r" b="b"/>
                <a:pathLst>
                  <a:path w="2922" h="2041">
                    <a:moveTo>
                      <a:pt x="1744" y="2041"/>
                    </a:moveTo>
                    <a:lnTo>
                      <a:pt x="0" y="695"/>
                    </a:lnTo>
                    <a:lnTo>
                      <a:pt x="2922" y="0"/>
                    </a:lnTo>
                    <a:lnTo>
                      <a:pt x="1743" y="204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3" name="Freeform 416"/>
              <p:cNvSpPr>
                <a:spLocks/>
              </p:cNvSpPr>
              <p:nvPr/>
            </p:nvSpPr>
            <p:spPr bwMode="auto">
              <a:xfrm>
                <a:off x="-8159750" y="2682875"/>
                <a:ext cx="898525" cy="1554163"/>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4" name="Freeform 417"/>
              <p:cNvSpPr>
                <a:spLocks/>
              </p:cNvSpPr>
              <p:nvPr/>
            </p:nvSpPr>
            <p:spPr bwMode="auto">
              <a:xfrm>
                <a:off x="-9488488" y="2682875"/>
                <a:ext cx="2227263" cy="528638"/>
              </a:xfrm>
              <a:custGeom>
                <a:avLst/>
                <a:gdLst>
                  <a:gd name="T0" fmla="*/ 0 w 1403"/>
                  <a:gd name="T1" fmla="*/ 333 h 333"/>
                  <a:gd name="T2" fmla="*/ 0 w 1403"/>
                  <a:gd name="T3" fmla="*/ 333 h 333"/>
                  <a:gd name="T4" fmla="*/ 1403 w 1403"/>
                  <a:gd name="T5" fmla="*/ 0 h 333"/>
                  <a:gd name="T6" fmla="*/ 1403 w 1403"/>
                  <a:gd name="T7" fmla="*/ 0 h 333"/>
                  <a:gd name="T8" fmla="*/ 0 w 1403"/>
                  <a:gd name="T9" fmla="*/ 333 h 333"/>
                </a:gdLst>
                <a:ahLst/>
                <a:cxnLst>
                  <a:cxn ang="0">
                    <a:pos x="T0" y="T1"/>
                  </a:cxn>
                  <a:cxn ang="0">
                    <a:pos x="T2" y="T3"/>
                  </a:cxn>
                  <a:cxn ang="0">
                    <a:pos x="T4" y="T5"/>
                  </a:cxn>
                  <a:cxn ang="0">
                    <a:pos x="T6" y="T7"/>
                  </a:cxn>
                  <a:cxn ang="0">
                    <a:pos x="T8" y="T9"/>
                  </a:cxn>
                </a:cxnLst>
                <a:rect l="0" t="0" r="r" b="b"/>
                <a:pathLst>
                  <a:path w="1403" h="333">
                    <a:moveTo>
                      <a:pt x="0" y="333"/>
                    </a:moveTo>
                    <a:lnTo>
                      <a:pt x="0" y="333"/>
                    </a:lnTo>
                    <a:lnTo>
                      <a:pt x="1403" y="0"/>
                    </a:lnTo>
                    <a:lnTo>
                      <a:pt x="1403" y="0"/>
                    </a:lnTo>
                    <a:lnTo>
                      <a:pt x="0" y="3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5" name="Freeform 418"/>
              <p:cNvSpPr>
                <a:spLocks noEditPoints="1"/>
              </p:cNvSpPr>
              <p:nvPr/>
            </p:nvSpPr>
            <p:spPr bwMode="auto">
              <a:xfrm>
                <a:off x="-6213475" y="1125537"/>
                <a:ext cx="1800225" cy="1987550"/>
              </a:xfrm>
              <a:custGeom>
                <a:avLst/>
                <a:gdLst>
                  <a:gd name="T0" fmla="*/ 2364 w 2364"/>
                  <a:gd name="T1" fmla="*/ 2608 h 2608"/>
                  <a:gd name="T2" fmla="*/ 0 w 2364"/>
                  <a:gd name="T3" fmla="*/ 2007 h 2608"/>
                  <a:gd name="T4" fmla="*/ 0 w 2364"/>
                  <a:gd name="T5" fmla="*/ 2006 h 2608"/>
                  <a:gd name="T6" fmla="*/ 0 w 2364"/>
                  <a:gd name="T7" fmla="*/ 2006 h 2608"/>
                  <a:gd name="T8" fmla="*/ 0 w 2364"/>
                  <a:gd name="T9" fmla="*/ 2006 h 2608"/>
                  <a:gd name="T10" fmla="*/ 2161 w 2364"/>
                  <a:gd name="T11" fmla="*/ 0 h 2608"/>
                  <a:gd name="T12" fmla="*/ 2364 w 2364"/>
                  <a:gd name="T13" fmla="*/ 2608 h 2608"/>
                  <a:gd name="T14" fmla="*/ 2161 w 2364"/>
                  <a:gd name="T15" fmla="*/ 0 h 2608"/>
                  <a:gd name="T16" fmla="*/ 2161 w 2364"/>
                  <a:gd name="T17" fmla="*/ 0 h 2608"/>
                  <a:gd name="T18" fmla="*/ 2161 w 2364"/>
                  <a:gd name="T19" fmla="*/ 0 h 2608"/>
                  <a:gd name="T20" fmla="*/ 2161 w 2364"/>
                  <a:gd name="T21" fmla="*/ 0 h 2608"/>
                  <a:gd name="T22" fmla="*/ 2161 w 2364"/>
                  <a:gd name="T23" fmla="*/ 0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64" h="2608">
                    <a:moveTo>
                      <a:pt x="2364" y="2608"/>
                    </a:moveTo>
                    <a:lnTo>
                      <a:pt x="0" y="2007"/>
                    </a:lnTo>
                    <a:lnTo>
                      <a:pt x="0" y="2006"/>
                    </a:lnTo>
                    <a:lnTo>
                      <a:pt x="0" y="2006"/>
                    </a:lnTo>
                    <a:lnTo>
                      <a:pt x="0" y="2006"/>
                    </a:lnTo>
                    <a:lnTo>
                      <a:pt x="2161" y="0"/>
                    </a:lnTo>
                    <a:lnTo>
                      <a:pt x="2364" y="2608"/>
                    </a:lnTo>
                    <a:moveTo>
                      <a:pt x="2161" y="0"/>
                    </a:moveTo>
                    <a:lnTo>
                      <a:pt x="2161" y="0"/>
                    </a:lnTo>
                    <a:lnTo>
                      <a:pt x="2161" y="0"/>
                    </a:lnTo>
                    <a:lnTo>
                      <a:pt x="2161" y="0"/>
                    </a:lnTo>
                    <a:lnTo>
                      <a:pt x="2161" y="0"/>
                    </a:lnTo>
                  </a:path>
                </a:pathLst>
              </a:custGeom>
              <a:solidFill>
                <a:srgbClr val="59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6" name="Rectangle 419"/>
              <p:cNvSpPr>
                <a:spLocks noChangeArrowheads="1"/>
              </p:cNvSpPr>
              <p:nvPr/>
            </p:nvSpPr>
            <p:spPr bwMode="auto">
              <a:xfrm>
                <a:off x="-6213475" y="2654300"/>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7" name="Freeform 420"/>
              <p:cNvSpPr>
                <a:spLocks/>
              </p:cNvSpPr>
              <p:nvPr/>
            </p:nvSpPr>
            <p:spPr bwMode="auto">
              <a:xfrm>
                <a:off x="-5526088" y="160337"/>
                <a:ext cx="2544763" cy="965200"/>
              </a:xfrm>
              <a:custGeom>
                <a:avLst/>
                <a:gdLst>
                  <a:gd name="T0" fmla="*/ 604 w 1603"/>
                  <a:gd name="T1" fmla="*/ 608 h 608"/>
                  <a:gd name="T2" fmla="*/ 62 w 1603"/>
                  <a:gd name="T3" fmla="*/ 344 h 608"/>
                  <a:gd name="T4" fmla="*/ 0 w 1603"/>
                  <a:gd name="T5" fmla="*/ 313 h 608"/>
                  <a:gd name="T6" fmla="*/ 0 w 1603"/>
                  <a:gd name="T7" fmla="*/ 313 h 608"/>
                  <a:gd name="T8" fmla="*/ 1603 w 1603"/>
                  <a:gd name="T9" fmla="*/ 0 h 608"/>
                  <a:gd name="T10" fmla="*/ 1508 w 1603"/>
                  <a:gd name="T11" fmla="*/ 57 h 608"/>
                  <a:gd name="T12" fmla="*/ 604 w 1603"/>
                  <a:gd name="T13" fmla="*/ 608 h 608"/>
                </a:gdLst>
                <a:ahLst/>
                <a:cxnLst>
                  <a:cxn ang="0">
                    <a:pos x="T0" y="T1"/>
                  </a:cxn>
                  <a:cxn ang="0">
                    <a:pos x="T2" y="T3"/>
                  </a:cxn>
                  <a:cxn ang="0">
                    <a:pos x="T4" y="T5"/>
                  </a:cxn>
                  <a:cxn ang="0">
                    <a:pos x="T6" y="T7"/>
                  </a:cxn>
                  <a:cxn ang="0">
                    <a:pos x="T8" y="T9"/>
                  </a:cxn>
                  <a:cxn ang="0">
                    <a:pos x="T10" y="T11"/>
                  </a:cxn>
                  <a:cxn ang="0">
                    <a:pos x="T12" y="T13"/>
                  </a:cxn>
                </a:cxnLst>
                <a:rect l="0" t="0" r="r" b="b"/>
                <a:pathLst>
                  <a:path w="1603" h="608">
                    <a:moveTo>
                      <a:pt x="604" y="608"/>
                    </a:moveTo>
                    <a:lnTo>
                      <a:pt x="62" y="344"/>
                    </a:lnTo>
                    <a:lnTo>
                      <a:pt x="0" y="313"/>
                    </a:lnTo>
                    <a:lnTo>
                      <a:pt x="0" y="313"/>
                    </a:lnTo>
                    <a:lnTo>
                      <a:pt x="1603" y="0"/>
                    </a:lnTo>
                    <a:lnTo>
                      <a:pt x="1508" y="57"/>
                    </a:lnTo>
                    <a:lnTo>
                      <a:pt x="604" y="608"/>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8" name="Freeform 421"/>
              <p:cNvSpPr>
                <a:spLocks/>
              </p:cNvSpPr>
              <p:nvPr/>
            </p:nvSpPr>
            <p:spPr bwMode="auto">
              <a:xfrm>
                <a:off x="-5526088" y="65722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89C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9" name="Freeform 422"/>
              <p:cNvSpPr>
                <a:spLocks/>
              </p:cNvSpPr>
              <p:nvPr/>
            </p:nvSpPr>
            <p:spPr bwMode="auto">
              <a:xfrm>
                <a:off x="-4567238" y="1125537"/>
                <a:ext cx="1795463" cy="1987550"/>
              </a:xfrm>
              <a:custGeom>
                <a:avLst/>
                <a:gdLst>
                  <a:gd name="T0" fmla="*/ 97 w 1131"/>
                  <a:gd name="T1" fmla="*/ 1252 h 1252"/>
                  <a:gd name="T2" fmla="*/ 97 w 1131"/>
                  <a:gd name="T3" fmla="*/ 1252 h 1252"/>
                  <a:gd name="T4" fmla="*/ 0 w 1131"/>
                  <a:gd name="T5" fmla="*/ 0 h 1252"/>
                  <a:gd name="T6" fmla="*/ 0 w 1131"/>
                  <a:gd name="T7" fmla="*/ 0 h 1252"/>
                  <a:gd name="T8" fmla="*/ 1131 w 1131"/>
                  <a:gd name="T9" fmla="*/ 0 h 1252"/>
                  <a:gd name="T10" fmla="*/ 97 w 1131"/>
                  <a:gd name="T11" fmla="*/ 1252 h 1252"/>
                  <a:gd name="T12" fmla="*/ 97 w 1131"/>
                  <a:gd name="T13" fmla="*/ 1252 h 1252"/>
                  <a:gd name="T14" fmla="*/ 97 w 1131"/>
                  <a:gd name="T15" fmla="*/ 1252 h 1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1252">
                    <a:moveTo>
                      <a:pt x="97" y="1252"/>
                    </a:moveTo>
                    <a:lnTo>
                      <a:pt x="97" y="1252"/>
                    </a:lnTo>
                    <a:lnTo>
                      <a:pt x="0" y="0"/>
                    </a:lnTo>
                    <a:lnTo>
                      <a:pt x="0" y="0"/>
                    </a:lnTo>
                    <a:lnTo>
                      <a:pt x="1131" y="0"/>
                    </a:lnTo>
                    <a:lnTo>
                      <a:pt x="97" y="1252"/>
                    </a:lnTo>
                    <a:lnTo>
                      <a:pt x="97" y="1252"/>
                    </a:lnTo>
                    <a:lnTo>
                      <a:pt x="97" y="1252"/>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0" name="Freeform 423"/>
              <p:cNvSpPr>
                <a:spLocks/>
              </p:cNvSpPr>
              <p:nvPr/>
            </p:nvSpPr>
            <p:spPr bwMode="auto">
              <a:xfrm>
                <a:off x="-4567238" y="1125537"/>
                <a:ext cx="153988" cy="1987550"/>
              </a:xfrm>
              <a:custGeom>
                <a:avLst/>
                <a:gdLst>
                  <a:gd name="T0" fmla="*/ 97 w 97"/>
                  <a:gd name="T1" fmla="*/ 1252 h 1252"/>
                  <a:gd name="T2" fmla="*/ 97 w 97"/>
                  <a:gd name="T3" fmla="*/ 1252 h 1252"/>
                  <a:gd name="T4" fmla="*/ 0 w 97"/>
                  <a:gd name="T5" fmla="*/ 0 h 1252"/>
                  <a:gd name="T6" fmla="*/ 0 w 97"/>
                  <a:gd name="T7" fmla="*/ 0 h 1252"/>
                  <a:gd name="T8" fmla="*/ 97 w 97"/>
                  <a:gd name="T9" fmla="*/ 1252 h 1252"/>
                </a:gdLst>
                <a:ahLst/>
                <a:cxnLst>
                  <a:cxn ang="0">
                    <a:pos x="T0" y="T1"/>
                  </a:cxn>
                  <a:cxn ang="0">
                    <a:pos x="T2" y="T3"/>
                  </a:cxn>
                  <a:cxn ang="0">
                    <a:pos x="T4" y="T5"/>
                  </a:cxn>
                  <a:cxn ang="0">
                    <a:pos x="T6" y="T7"/>
                  </a:cxn>
                  <a:cxn ang="0">
                    <a:pos x="T8" y="T9"/>
                  </a:cxn>
                </a:cxnLst>
                <a:rect l="0" t="0" r="r" b="b"/>
                <a:pathLst>
                  <a:path w="97" h="1252">
                    <a:moveTo>
                      <a:pt x="97" y="1252"/>
                    </a:moveTo>
                    <a:lnTo>
                      <a:pt x="97" y="1252"/>
                    </a:lnTo>
                    <a:lnTo>
                      <a:pt x="0" y="0"/>
                    </a:lnTo>
                    <a:lnTo>
                      <a:pt x="0" y="0"/>
                    </a:lnTo>
                    <a:lnTo>
                      <a:pt x="97" y="1252"/>
                    </a:lnTo>
                    <a:close/>
                  </a:path>
                </a:pathLst>
              </a:custGeom>
              <a:solidFill>
                <a:srgbClr val="5BA2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1" name="Freeform 424"/>
              <p:cNvSpPr>
                <a:spLocks noEditPoints="1"/>
              </p:cNvSpPr>
              <p:nvPr/>
            </p:nvSpPr>
            <p:spPr bwMode="auto">
              <a:xfrm>
                <a:off x="-6364288" y="657225"/>
                <a:ext cx="1797050" cy="468313"/>
              </a:xfrm>
              <a:custGeom>
                <a:avLst/>
                <a:gdLst>
                  <a:gd name="T0" fmla="*/ 0 w 2357"/>
                  <a:gd name="T1" fmla="*/ 615 h 615"/>
                  <a:gd name="T2" fmla="*/ 0 w 2357"/>
                  <a:gd name="T3" fmla="*/ 615 h 615"/>
                  <a:gd name="T4" fmla="*/ 0 w 2357"/>
                  <a:gd name="T5" fmla="*/ 615 h 615"/>
                  <a:gd name="T6" fmla="*/ 0 w 2357"/>
                  <a:gd name="T7" fmla="*/ 615 h 615"/>
                  <a:gd name="T8" fmla="*/ 0 w 2357"/>
                  <a:gd name="T9" fmla="*/ 615 h 615"/>
                  <a:gd name="T10" fmla="*/ 2357 w 2357"/>
                  <a:gd name="T11" fmla="*/ 615 h 615"/>
                  <a:gd name="T12" fmla="*/ 0 w 2357"/>
                  <a:gd name="T13" fmla="*/ 615 h 615"/>
                  <a:gd name="T14" fmla="*/ 833 w 2357"/>
                  <a:gd name="T15" fmla="*/ 149 h 615"/>
                  <a:gd name="T16" fmla="*/ 1099 w 2357"/>
                  <a:gd name="T17" fmla="*/ 0 h 615"/>
                  <a:gd name="T18" fmla="*/ 1228 w 2357"/>
                  <a:gd name="T19" fmla="*/ 64 h 615"/>
                  <a:gd name="T20" fmla="*/ 2357 w 2357"/>
                  <a:gd name="T21" fmla="*/ 615 h 615"/>
                  <a:gd name="T22" fmla="*/ 2357 w 2357"/>
                  <a:gd name="T23"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7" h="615">
                    <a:moveTo>
                      <a:pt x="0" y="615"/>
                    </a:moveTo>
                    <a:lnTo>
                      <a:pt x="0" y="615"/>
                    </a:lnTo>
                    <a:lnTo>
                      <a:pt x="0" y="615"/>
                    </a:lnTo>
                    <a:lnTo>
                      <a:pt x="0" y="615"/>
                    </a:lnTo>
                    <a:lnTo>
                      <a:pt x="0" y="615"/>
                    </a:lnTo>
                    <a:moveTo>
                      <a:pt x="2357" y="615"/>
                    </a:moveTo>
                    <a:lnTo>
                      <a:pt x="0" y="615"/>
                    </a:lnTo>
                    <a:lnTo>
                      <a:pt x="833" y="149"/>
                    </a:lnTo>
                    <a:lnTo>
                      <a:pt x="1099" y="0"/>
                    </a:lnTo>
                    <a:lnTo>
                      <a:pt x="1228" y="64"/>
                    </a:lnTo>
                    <a:lnTo>
                      <a:pt x="2357" y="615"/>
                    </a:lnTo>
                    <a:lnTo>
                      <a:pt x="2357" y="615"/>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2" name="Freeform 425"/>
              <p:cNvSpPr>
                <a:spLocks/>
              </p:cNvSpPr>
              <p:nvPr/>
            </p:nvSpPr>
            <p:spPr bwMode="auto">
              <a:xfrm>
                <a:off x="-5729288" y="657225"/>
                <a:ext cx="203200" cy="114300"/>
              </a:xfrm>
              <a:custGeom>
                <a:avLst/>
                <a:gdLst>
                  <a:gd name="T0" fmla="*/ 0 w 128"/>
                  <a:gd name="T1" fmla="*/ 72 h 72"/>
                  <a:gd name="T2" fmla="*/ 128 w 128"/>
                  <a:gd name="T3" fmla="*/ 0 h 72"/>
                  <a:gd name="T4" fmla="*/ 128 w 128"/>
                  <a:gd name="T5" fmla="*/ 0 h 72"/>
                  <a:gd name="T6" fmla="*/ 0 w 128"/>
                  <a:gd name="T7" fmla="*/ 72 h 72"/>
                </a:gdLst>
                <a:ahLst/>
                <a:cxnLst>
                  <a:cxn ang="0">
                    <a:pos x="T0" y="T1"/>
                  </a:cxn>
                  <a:cxn ang="0">
                    <a:pos x="T2" y="T3"/>
                  </a:cxn>
                  <a:cxn ang="0">
                    <a:pos x="T4" y="T5"/>
                  </a:cxn>
                  <a:cxn ang="0">
                    <a:pos x="T6" y="T7"/>
                  </a:cxn>
                </a:cxnLst>
                <a:rect l="0" t="0" r="r" b="b"/>
                <a:pathLst>
                  <a:path w="128" h="72">
                    <a:moveTo>
                      <a:pt x="0" y="72"/>
                    </a:moveTo>
                    <a:lnTo>
                      <a:pt x="128" y="0"/>
                    </a:lnTo>
                    <a:lnTo>
                      <a:pt x="128" y="0"/>
                    </a:lnTo>
                    <a:lnTo>
                      <a:pt x="0" y="72"/>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3" name="Freeform 426"/>
              <p:cNvSpPr>
                <a:spLocks/>
              </p:cNvSpPr>
              <p:nvPr/>
            </p:nvSpPr>
            <p:spPr bwMode="auto">
              <a:xfrm>
                <a:off x="-5526088" y="657225"/>
                <a:ext cx="98425" cy="49213"/>
              </a:xfrm>
              <a:custGeom>
                <a:avLst/>
                <a:gdLst>
                  <a:gd name="T0" fmla="*/ 62 w 62"/>
                  <a:gd name="T1" fmla="*/ 31 h 31"/>
                  <a:gd name="T2" fmla="*/ 0 w 62"/>
                  <a:gd name="T3" fmla="*/ 0 h 31"/>
                  <a:gd name="T4" fmla="*/ 0 w 62"/>
                  <a:gd name="T5" fmla="*/ 0 h 31"/>
                  <a:gd name="T6" fmla="*/ 62 w 62"/>
                  <a:gd name="T7" fmla="*/ 31 h 31"/>
                </a:gdLst>
                <a:ahLst/>
                <a:cxnLst>
                  <a:cxn ang="0">
                    <a:pos x="T0" y="T1"/>
                  </a:cxn>
                  <a:cxn ang="0">
                    <a:pos x="T2" y="T3"/>
                  </a:cxn>
                  <a:cxn ang="0">
                    <a:pos x="T4" y="T5"/>
                  </a:cxn>
                  <a:cxn ang="0">
                    <a:pos x="T6" y="T7"/>
                  </a:cxn>
                </a:cxnLst>
                <a:rect l="0" t="0" r="r" b="b"/>
                <a:pathLst>
                  <a:path w="62" h="31">
                    <a:moveTo>
                      <a:pt x="62" y="31"/>
                    </a:moveTo>
                    <a:lnTo>
                      <a:pt x="0" y="0"/>
                    </a:lnTo>
                    <a:lnTo>
                      <a:pt x="0" y="0"/>
                    </a:lnTo>
                    <a:lnTo>
                      <a:pt x="62" y="31"/>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4" name="Rectangle 427"/>
              <p:cNvSpPr>
                <a:spLocks noChangeArrowheads="1"/>
              </p:cNvSpPr>
              <p:nvPr/>
            </p:nvSpPr>
            <p:spPr bwMode="auto">
              <a:xfrm>
                <a:off x="-5526088" y="657225"/>
                <a:ext cx="1588" cy="1588"/>
              </a:xfrm>
              <a:prstGeom prst="rect">
                <a:avLst/>
              </a:prstGeom>
              <a:solidFill>
                <a:srgbClr val="589CBB"/>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5" name="Freeform 428"/>
              <p:cNvSpPr>
                <a:spLocks/>
              </p:cNvSpPr>
              <p:nvPr/>
            </p:nvSpPr>
            <p:spPr bwMode="auto">
              <a:xfrm>
                <a:off x="-4567238" y="160337"/>
                <a:ext cx="1795463" cy="965200"/>
              </a:xfrm>
              <a:custGeom>
                <a:avLst/>
                <a:gdLst>
                  <a:gd name="T0" fmla="*/ 0 w 1131"/>
                  <a:gd name="T1" fmla="*/ 608 h 608"/>
                  <a:gd name="T2" fmla="*/ 0 w 1131"/>
                  <a:gd name="T3" fmla="*/ 608 h 608"/>
                  <a:gd name="T4" fmla="*/ 904 w 1131"/>
                  <a:gd name="T5" fmla="*/ 57 h 608"/>
                  <a:gd name="T6" fmla="*/ 999 w 1131"/>
                  <a:gd name="T7" fmla="*/ 0 h 608"/>
                  <a:gd name="T8" fmla="*/ 999 w 1131"/>
                  <a:gd name="T9" fmla="*/ 0 h 608"/>
                  <a:gd name="T10" fmla="*/ 1077 w 1131"/>
                  <a:gd name="T11" fmla="*/ 359 h 608"/>
                  <a:gd name="T12" fmla="*/ 1131 w 1131"/>
                  <a:gd name="T13" fmla="*/ 608 h 608"/>
                  <a:gd name="T14" fmla="*/ 0 w 1131"/>
                  <a:gd name="T15" fmla="*/ 608 h 6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608">
                    <a:moveTo>
                      <a:pt x="0" y="608"/>
                    </a:moveTo>
                    <a:lnTo>
                      <a:pt x="0" y="608"/>
                    </a:lnTo>
                    <a:lnTo>
                      <a:pt x="904" y="57"/>
                    </a:lnTo>
                    <a:lnTo>
                      <a:pt x="999" y="0"/>
                    </a:lnTo>
                    <a:lnTo>
                      <a:pt x="999" y="0"/>
                    </a:lnTo>
                    <a:lnTo>
                      <a:pt x="1077" y="359"/>
                    </a:lnTo>
                    <a:lnTo>
                      <a:pt x="1131" y="608"/>
                    </a:lnTo>
                    <a:lnTo>
                      <a:pt x="0" y="608"/>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6" name="Freeform 429"/>
              <p:cNvSpPr>
                <a:spLocks/>
              </p:cNvSpPr>
              <p:nvPr/>
            </p:nvSpPr>
            <p:spPr bwMode="auto">
              <a:xfrm>
                <a:off x="-3132138" y="160337"/>
                <a:ext cx="150813" cy="90488"/>
              </a:xfrm>
              <a:custGeom>
                <a:avLst/>
                <a:gdLst>
                  <a:gd name="T0" fmla="*/ 0 w 95"/>
                  <a:gd name="T1" fmla="*/ 57 h 57"/>
                  <a:gd name="T2" fmla="*/ 95 w 95"/>
                  <a:gd name="T3" fmla="*/ 0 h 57"/>
                  <a:gd name="T4" fmla="*/ 95 w 95"/>
                  <a:gd name="T5" fmla="*/ 0 h 57"/>
                  <a:gd name="T6" fmla="*/ 0 w 95"/>
                  <a:gd name="T7" fmla="*/ 57 h 57"/>
                </a:gdLst>
                <a:ahLst/>
                <a:cxnLst>
                  <a:cxn ang="0">
                    <a:pos x="T0" y="T1"/>
                  </a:cxn>
                  <a:cxn ang="0">
                    <a:pos x="T2" y="T3"/>
                  </a:cxn>
                  <a:cxn ang="0">
                    <a:pos x="T4" y="T5"/>
                  </a:cxn>
                  <a:cxn ang="0">
                    <a:pos x="T6" y="T7"/>
                  </a:cxn>
                </a:cxnLst>
                <a:rect l="0" t="0" r="r" b="b"/>
                <a:pathLst>
                  <a:path w="95" h="57">
                    <a:moveTo>
                      <a:pt x="0" y="57"/>
                    </a:moveTo>
                    <a:lnTo>
                      <a:pt x="95" y="0"/>
                    </a:lnTo>
                    <a:lnTo>
                      <a:pt x="95" y="0"/>
                    </a:lnTo>
                    <a:lnTo>
                      <a:pt x="0" y="5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7" name="Freeform 430"/>
              <p:cNvSpPr>
                <a:spLocks noEditPoints="1"/>
              </p:cNvSpPr>
              <p:nvPr/>
            </p:nvSpPr>
            <p:spPr bwMode="auto">
              <a:xfrm>
                <a:off x="-6364288" y="1125537"/>
                <a:ext cx="1797050" cy="1528763"/>
              </a:xfrm>
              <a:custGeom>
                <a:avLst/>
                <a:gdLst>
                  <a:gd name="T0" fmla="*/ 196 w 2357"/>
                  <a:gd name="T1" fmla="*/ 2006 h 2006"/>
                  <a:gd name="T2" fmla="*/ 0 w 2357"/>
                  <a:gd name="T3" fmla="*/ 0 h 2006"/>
                  <a:gd name="T4" fmla="*/ 2357 w 2357"/>
                  <a:gd name="T5" fmla="*/ 0 h 2006"/>
                  <a:gd name="T6" fmla="*/ 196 w 2357"/>
                  <a:gd name="T7" fmla="*/ 2006 h 2006"/>
                  <a:gd name="T8" fmla="*/ 2357 w 2357"/>
                  <a:gd name="T9" fmla="*/ 0 h 2006"/>
                  <a:gd name="T10" fmla="*/ 2357 w 2357"/>
                  <a:gd name="T11" fmla="*/ 0 h 2006"/>
                  <a:gd name="T12" fmla="*/ 2357 w 2357"/>
                  <a:gd name="T13" fmla="*/ 0 h 2006"/>
                  <a:gd name="T14" fmla="*/ 0 w 2357"/>
                  <a:gd name="T15" fmla="*/ 0 h 2006"/>
                  <a:gd name="T16" fmla="*/ 0 w 2357"/>
                  <a:gd name="T17" fmla="*/ 0 h 2006"/>
                  <a:gd name="T18" fmla="*/ 0 w 2357"/>
                  <a:gd name="T19" fmla="*/ 0 h 2006"/>
                  <a:gd name="T20" fmla="*/ 0 w 2357"/>
                  <a:gd name="T21" fmla="*/ 0 h 2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7" h="2006">
                    <a:moveTo>
                      <a:pt x="196" y="2006"/>
                    </a:moveTo>
                    <a:lnTo>
                      <a:pt x="0" y="0"/>
                    </a:lnTo>
                    <a:lnTo>
                      <a:pt x="2357" y="0"/>
                    </a:lnTo>
                    <a:lnTo>
                      <a:pt x="196" y="2006"/>
                    </a:lnTo>
                    <a:moveTo>
                      <a:pt x="2357" y="0"/>
                    </a:moveTo>
                    <a:lnTo>
                      <a:pt x="2357" y="0"/>
                    </a:lnTo>
                    <a:lnTo>
                      <a:pt x="2357" y="0"/>
                    </a:lnTo>
                    <a:moveTo>
                      <a:pt x="0" y="0"/>
                    </a:moveTo>
                    <a:lnTo>
                      <a:pt x="0" y="0"/>
                    </a:lnTo>
                    <a:lnTo>
                      <a:pt x="0" y="0"/>
                    </a:ln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8" name="Freeform 431"/>
              <p:cNvSpPr>
                <a:spLocks/>
              </p:cNvSpPr>
              <p:nvPr/>
            </p:nvSpPr>
            <p:spPr bwMode="auto">
              <a:xfrm>
                <a:off x="-6213475" y="1125537"/>
                <a:ext cx="1646238" cy="1528763"/>
              </a:xfrm>
              <a:custGeom>
                <a:avLst/>
                <a:gdLst>
                  <a:gd name="T0" fmla="*/ 0 w 1037"/>
                  <a:gd name="T1" fmla="*/ 963 h 963"/>
                  <a:gd name="T2" fmla="*/ 0 w 1037"/>
                  <a:gd name="T3" fmla="*/ 963 h 963"/>
                  <a:gd name="T4" fmla="*/ 1037 w 1037"/>
                  <a:gd name="T5" fmla="*/ 0 h 963"/>
                  <a:gd name="T6" fmla="*/ 1037 w 1037"/>
                  <a:gd name="T7" fmla="*/ 0 h 963"/>
                  <a:gd name="T8" fmla="*/ 1037 w 1037"/>
                  <a:gd name="T9" fmla="*/ 0 h 963"/>
                  <a:gd name="T10" fmla="*/ 1037 w 1037"/>
                  <a:gd name="T11" fmla="*/ 0 h 963"/>
                  <a:gd name="T12" fmla="*/ 0 w 1037"/>
                  <a:gd name="T13" fmla="*/ 963 h 963"/>
                </a:gdLst>
                <a:ahLst/>
                <a:cxnLst>
                  <a:cxn ang="0">
                    <a:pos x="T0" y="T1"/>
                  </a:cxn>
                  <a:cxn ang="0">
                    <a:pos x="T2" y="T3"/>
                  </a:cxn>
                  <a:cxn ang="0">
                    <a:pos x="T4" y="T5"/>
                  </a:cxn>
                  <a:cxn ang="0">
                    <a:pos x="T6" y="T7"/>
                  </a:cxn>
                  <a:cxn ang="0">
                    <a:pos x="T8" y="T9"/>
                  </a:cxn>
                  <a:cxn ang="0">
                    <a:pos x="T10" y="T11"/>
                  </a:cxn>
                  <a:cxn ang="0">
                    <a:pos x="T12" y="T13"/>
                  </a:cxn>
                </a:cxnLst>
                <a:rect l="0" t="0" r="r" b="b"/>
                <a:pathLst>
                  <a:path w="1037" h="963">
                    <a:moveTo>
                      <a:pt x="0" y="963"/>
                    </a:moveTo>
                    <a:lnTo>
                      <a:pt x="0" y="963"/>
                    </a:lnTo>
                    <a:lnTo>
                      <a:pt x="1037" y="0"/>
                    </a:lnTo>
                    <a:lnTo>
                      <a:pt x="1037" y="0"/>
                    </a:lnTo>
                    <a:lnTo>
                      <a:pt x="1037" y="0"/>
                    </a:lnTo>
                    <a:lnTo>
                      <a:pt x="1037" y="0"/>
                    </a:lnTo>
                    <a:lnTo>
                      <a:pt x="0" y="963"/>
                    </a:lnTo>
                    <a:close/>
                  </a:path>
                </a:pathLst>
              </a:custGeom>
              <a:solidFill>
                <a:srgbClr val="5AA1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9" name="Freeform 432"/>
              <p:cNvSpPr>
                <a:spLocks noEditPoints="1"/>
              </p:cNvSpPr>
              <p:nvPr/>
            </p:nvSpPr>
            <p:spPr bwMode="auto">
              <a:xfrm>
                <a:off x="-8323263" y="5514975"/>
                <a:ext cx="1782763" cy="2144713"/>
              </a:xfrm>
              <a:custGeom>
                <a:avLst/>
                <a:gdLst>
                  <a:gd name="T0" fmla="*/ 893 w 2339"/>
                  <a:gd name="T1" fmla="*/ 2815 h 2815"/>
                  <a:gd name="T2" fmla="*/ 0 w 2339"/>
                  <a:gd name="T3" fmla="*/ 2815 h 2815"/>
                  <a:gd name="T4" fmla="*/ 290 w 2339"/>
                  <a:gd name="T5" fmla="*/ 1 h 2815"/>
                  <a:gd name="T6" fmla="*/ 290 w 2339"/>
                  <a:gd name="T7" fmla="*/ 0 h 2815"/>
                  <a:gd name="T8" fmla="*/ 291 w 2339"/>
                  <a:gd name="T9" fmla="*/ 1 h 2815"/>
                  <a:gd name="T10" fmla="*/ 290 w 2339"/>
                  <a:gd name="T11" fmla="*/ 1 h 2815"/>
                  <a:gd name="T12" fmla="*/ 1731 w 2339"/>
                  <a:gd name="T13" fmla="*/ 1291 h 2815"/>
                  <a:gd name="T14" fmla="*/ 2339 w 2339"/>
                  <a:gd name="T15" fmla="*/ 1834 h 2815"/>
                  <a:gd name="T16" fmla="*/ 893 w 2339"/>
                  <a:gd name="T17" fmla="*/ 2815 h 2815"/>
                  <a:gd name="T18" fmla="*/ 291 w 2339"/>
                  <a:gd name="T19" fmla="*/ 1 h 2815"/>
                  <a:gd name="T20" fmla="*/ 290 w 2339"/>
                  <a:gd name="T21" fmla="*/ 1 h 2815"/>
                  <a:gd name="T22" fmla="*/ 291 w 2339"/>
                  <a:gd name="T23" fmla="*/ 1 h 2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39" h="2815">
                    <a:moveTo>
                      <a:pt x="893" y="2815"/>
                    </a:moveTo>
                    <a:lnTo>
                      <a:pt x="0" y="2815"/>
                    </a:lnTo>
                    <a:lnTo>
                      <a:pt x="290" y="1"/>
                    </a:lnTo>
                    <a:lnTo>
                      <a:pt x="290" y="0"/>
                    </a:lnTo>
                    <a:lnTo>
                      <a:pt x="291" y="1"/>
                    </a:lnTo>
                    <a:lnTo>
                      <a:pt x="290" y="1"/>
                    </a:lnTo>
                    <a:lnTo>
                      <a:pt x="1731" y="1291"/>
                    </a:lnTo>
                    <a:lnTo>
                      <a:pt x="2339" y="1834"/>
                    </a:lnTo>
                    <a:lnTo>
                      <a:pt x="893" y="2815"/>
                    </a:lnTo>
                    <a:moveTo>
                      <a:pt x="291" y="1"/>
                    </a:moveTo>
                    <a:lnTo>
                      <a:pt x="290" y="1"/>
                    </a:lnTo>
                    <a:lnTo>
                      <a:pt x="29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0" name="Freeform 433"/>
              <p:cNvSpPr>
                <a:spLocks/>
              </p:cNvSpPr>
              <p:nvPr/>
            </p:nvSpPr>
            <p:spPr bwMode="auto">
              <a:xfrm>
                <a:off x="-8159750" y="4237037"/>
                <a:ext cx="1141413" cy="1277938"/>
              </a:xfrm>
              <a:custGeom>
                <a:avLst/>
                <a:gdLst>
                  <a:gd name="T0" fmla="*/ 36 w 719"/>
                  <a:gd name="T1" fmla="*/ 805 h 805"/>
                  <a:gd name="T2" fmla="*/ 36 w 719"/>
                  <a:gd name="T3" fmla="*/ 805 h 805"/>
                  <a:gd name="T4" fmla="*/ 32 w 719"/>
                  <a:gd name="T5" fmla="*/ 713 h 805"/>
                  <a:gd name="T6" fmla="*/ 0 w 719"/>
                  <a:gd name="T7" fmla="*/ 1 h 805"/>
                  <a:gd name="T8" fmla="*/ 0 w 719"/>
                  <a:gd name="T9" fmla="*/ 1 h 805"/>
                  <a:gd name="T10" fmla="*/ 0 w 719"/>
                  <a:gd name="T11" fmla="*/ 0 h 805"/>
                  <a:gd name="T12" fmla="*/ 0 w 719"/>
                  <a:gd name="T13" fmla="*/ 0 h 805"/>
                  <a:gd name="T14" fmla="*/ 719 w 719"/>
                  <a:gd name="T15" fmla="*/ 227 h 805"/>
                  <a:gd name="T16" fmla="*/ 36 w 719"/>
                  <a:gd name="T17" fmla="*/ 805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9" h="805">
                    <a:moveTo>
                      <a:pt x="36" y="805"/>
                    </a:moveTo>
                    <a:lnTo>
                      <a:pt x="36" y="805"/>
                    </a:lnTo>
                    <a:lnTo>
                      <a:pt x="32" y="713"/>
                    </a:lnTo>
                    <a:lnTo>
                      <a:pt x="0" y="1"/>
                    </a:lnTo>
                    <a:lnTo>
                      <a:pt x="0" y="1"/>
                    </a:lnTo>
                    <a:lnTo>
                      <a:pt x="0" y="0"/>
                    </a:lnTo>
                    <a:lnTo>
                      <a:pt x="0" y="0"/>
                    </a:lnTo>
                    <a:lnTo>
                      <a:pt x="719" y="227"/>
                    </a:lnTo>
                    <a:lnTo>
                      <a:pt x="36" y="80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1" name="Freeform 434"/>
              <p:cNvSpPr>
                <a:spLocks/>
              </p:cNvSpPr>
              <p:nvPr/>
            </p:nvSpPr>
            <p:spPr bwMode="auto">
              <a:xfrm>
                <a:off x="-8101013" y="5514975"/>
                <a:ext cx="2635250" cy="1397000"/>
              </a:xfrm>
              <a:custGeom>
                <a:avLst/>
                <a:gdLst>
                  <a:gd name="T0" fmla="*/ 983 w 1660"/>
                  <a:gd name="T1" fmla="*/ 880 h 880"/>
                  <a:gd name="T2" fmla="*/ 691 w 1660"/>
                  <a:gd name="T3" fmla="*/ 619 h 880"/>
                  <a:gd name="T4" fmla="*/ 0 w 1660"/>
                  <a:gd name="T5" fmla="*/ 0 h 880"/>
                  <a:gd name="T6" fmla="*/ 1660 w 1660"/>
                  <a:gd name="T7" fmla="*/ 175 h 880"/>
                  <a:gd name="T8" fmla="*/ 1660 w 1660"/>
                  <a:gd name="T9" fmla="*/ 175 h 880"/>
                  <a:gd name="T10" fmla="*/ 1660 w 1660"/>
                  <a:gd name="T11" fmla="*/ 175 h 880"/>
                  <a:gd name="T12" fmla="*/ 1660 w 1660"/>
                  <a:gd name="T13" fmla="*/ 175 h 880"/>
                  <a:gd name="T14" fmla="*/ 983 w 1660"/>
                  <a:gd name="T15" fmla="*/ 880 h 8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0" h="880">
                    <a:moveTo>
                      <a:pt x="983" y="880"/>
                    </a:moveTo>
                    <a:lnTo>
                      <a:pt x="691" y="619"/>
                    </a:lnTo>
                    <a:lnTo>
                      <a:pt x="0" y="0"/>
                    </a:lnTo>
                    <a:lnTo>
                      <a:pt x="1660" y="175"/>
                    </a:lnTo>
                    <a:lnTo>
                      <a:pt x="1660" y="175"/>
                    </a:lnTo>
                    <a:lnTo>
                      <a:pt x="1660" y="175"/>
                    </a:lnTo>
                    <a:lnTo>
                      <a:pt x="1660" y="175"/>
                    </a:lnTo>
                    <a:lnTo>
                      <a:pt x="983" y="8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2" name="Freeform 435"/>
              <p:cNvSpPr>
                <a:spLocks/>
              </p:cNvSpPr>
              <p:nvPr/>
            </p:nvSpPr>
            <p:spPr bwMode="auto">
              <a:xfrm>
                <a:off x="-8102600" y="5514975"/>
                <a:ext cx="1098550" cy="982663"/>
              </a:xfrm>
              <a:custGeom>
                <a:avLst/>
                <a:gdLst>
                  <a:gd name="T0" fmla="*/ 692 w 692"/>
                  <a:gd name="T1" fmla="*/ 619 h 619"/>
                  <a:gd name="T2" fmla="*/ 0 w 692"/>
                  <a:gd name="T3" fmla="*/ 0 h 619"/>
                  <a:gd name="T4" fmla="*/ 1 w 692"/>
                  <a:gd name="T5" fmla="*/ 0 h 619"/>
                  <a:gd name="T6" fmla="*/ 692 w 692"/>
                  <a:gd name="T7" fmla="*/ 619 h 619"/>
                </a:gdLst>
                <a:ahLst/>
                <a:cxnLst>
                  <a:cxn ang="0">
                    <a:pos x="T0" y="T1"/>
                  </a:cxn>
                  <a:cxn ang="0">
                    <a:pos x="T2" y="T3"/>
                  </a:cxn>
                  <a:cxn ang="0">
                    <a:pos x="T4" y="T5"/>
                  </a:cxn>
                  <a:cxn ang="0">
                    <a:pos x="T6" y="T7"/>
                  </a:cxn>
                </a:cxnLst>
                <a:rect l="0" t="0" r="r" b="b"/>
                <a:pathLst>
                  <a:path w="692" h="619">
                    <a:moveTo>
                      <a:pt x="692" y="619"/>
                    </a:moveTo>
                    <a:lnTo>
                      <a:pt x="0" y="0"/>
                    </a:lnTo>
                    <a:lnTo>
                      <a:pt x="1" y="0"/>
                    </a:lnTo>
                    <a:lnTo>
                      <a:pt x="692" y="61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3" name="Freeform 436"/>
              <p:cNvSpPr>
                <a:spLocks noEditPoints="1"/>
              </p:cNvSpPr>
              <p:nvPr/>
            </p:nvSpPr>
            <p:spPr bwMode="auto">
              <a:xfrm>
                <a:off x="-9909175" y="4238625"/>
                <a:ext cx="1806575" cy="2339975"/>
              </a:xfrm>
              <a:custGeom>
                <a:avLst/>
                <a:gdLst>
                  <a:gd name="T0" fmla="*/ 0 w 2371"/>
                  <a:gd name="T1" fmla="*/ 3072 h 3072"/>
                  <a:gd name="T2" fmla="*/ 0 w 2371"/>
                  <a:gd name="T3" fmla="*/ 3072 h 3072"/>
                  <a:gd name="T4" fmla="*/ 0 w 2371"/>
                  <a:gd name="T5" fmla="*/ 3072 h 3072"/>
                  <a:gd name="T6" fmla="*/ 0 w 2371"/>
                  <a:gd name="T7" fmla="*/ 3072 h 3072"/>
                  <a:gd name="T8" fmla="*/ 2296 w 2371"/>
                  <a:gd name="T9" fmla="*/ 0 h 3072"/>
                  <a:gd name="T10" fmla="*/ 2363 w 2371"/>
                  <a:gd name="T11" fmla="*/ 1484 h 3072"/>
                  <a:gd name="T12" fmla="*/ 2371 w 2371"/>
                  <a:gd name="T13" fmla="*/ 1676 h 3072"/>
                  <a:gd name="T14" fmla="*/ 2371 w 2371"/>
                  <a:gd name="T15" fmla="*/ 1676 h 3072"/>
                  <a:gd name="T16" fmla="*/ 0 w 2371"/>
                  <a:gd name="T17" fmla="*/ 3072 h 3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1" h="3072">
                    <a:moveTo>
                      <a:pt x="0" y="3072"/>
                    </a:moveTo>
                    <a:lnTo>
                      <a:pt x="0" y="3072"/>
                    </a:lnTo>
                    <a:lnTo>
                      <a:pt x="0" y="3072"/>
                    </a:lnTo>
                    <a:moveTo>
                      <a:pt x="0" y="3072"/>
                    </a:moveTo>
                    <a:lnTo>
                      <a:pt x="2296" y="0"/>
                    </a:lnTo>
                    <a:lnTo>
                      <a:pt x="2363" y="1484"/>
                    </a:lnTo>
                    <a:lnTo>
                      <a:pt x="2371" y="1676"/>
                    </a:lnTo>
                    <a:lnTo>
                      <a:pt x="2371" y="1676"/>
                    </a:lnTo>
                    <a:lnTo>
                      <a:pt x="0" y="3072"/>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4" name="Freeform 437"/>
              <p:cNvSpPr>
                <a:spLocks/>
              </p:cNvSpPr>
              <p:nvPr/>
            </p:nvSpPr>
            <p:spPr bwMode="auto">
              <a:xfrm>
                <a:off x="-8102600" y="551497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5" name="Freeform 438"/>
              <p:cNvSpPr>
                <a:spLocks/>
              </p:cNvSpPr>
              <p:nvPr/>
            </p:nvSpPr>
            <p:spPr bwMode="auto">
              <a:xfrm>
                <a:off x="-8159750" y="4238625"/>
                <a:ext cx="50800" cy="1130300"/>
              </a:xfrm>
              <a:custGeom>
                <a:avLst/>
                <a:gdLst>
                  <a:gd name="T0" fmla="*/ 32 w 32"/>
                  <a:gd name="T1" fmla="*/ 712 h 712"/>
                  <a:gd name="T2" fmla="*/ 0 w 32"/>
                  <a:gd name="T3" fmla="*/ 0 h 712"/>
                  <a:gd name="T4" fmla="*/ 0 w 32"/>
                  <a:gd name="T5" fmla="*/ 0 h 712"/>
                  <a:gd name="T6" fmla="*/ 32 w 32"/>
                  <a:gd name="T7" fmla="*/ 712 h 712"/>
                </a:gdLst>
                <a:ahLst/>
                <a:cxnLst>
                  <a:cxn ang="0">
                    <a:pos x="T0" y="T1"/>
                  </a:cxn>
                  <a:cxn ang="0">
                    <a:pos x="T2" y="T3"/>
                  </a:cxn>
                  <a:cxn ang="0">
                    <a:pos x="T4" y="T5"/>
                  </a:cxn>
                  <a:cxn ang="0">
                    <a:pos x="T6" y="T7"/>
                  </a:cxn>
                </a:cxnLst>
                <a:rect l="0" t="0" r="r" b="b"/>
                <a:pathLst>
                  <a:path w="32" h="712">
                    <a:moveTo>
                      <a:pt x="32" y="712"/>
                    </a:moveTo>
                    <a:lnTo>
                      <a:pt x="0" y="0"/>
                    </a:lnTo>
                    <a:lnTo>
                      <a:pt x="0" y="0"/>
                    </a:lnTo>
                    <a:lnTo>
                      <a:pt x="32" y="71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6" name="Freeform 439"/>
              <p:cNvSpPr>
                <a:spLocks/>
              </p:cNvSpPr>
              <p:nvPr/>
            </p:nvSpPr>
            <p:spPr bwMode="auto">
              <a:xfrm>
                <a:off x="-8101013" y="4597400"/>
                <a:ext cx="2635250" cy="1195388"/>
              </a:xfrm>
              <a:custGeom>
                <a:avLst/>
                <a:gdLst>
                  <a:gd name="T0" fmla="*/ 1660 w 1660"/>
                  <a:gd name="T1" fmla="*/ 753 h 753"/>
                  <a:gd name="T2" fmla="*/ 0 w 1660"/>
                  <a:gd name="T3" fmla="*/ 578 h 753"/>
                  <a:gd name="T4" fmla="*/ 0 w 1660"/>
                  <a:gd name="T5" fmla="*/ 578 h 753"/>
                  <a:gd name="T6" fmla="*/ 682 w 1660"/>
                  <a:gd name="T7" fmla="*/ 0 h 753"/>
                  <a:gd name="T8" fmla="*/ 1660 w 1660"/>
                  <a:gd name="T9" fmla="*/ 753 h 753"/>
                  <a:gd name="T10" fmla="*/ 1660 w 1660"/>
                  <a:gd name="T11" fmla="*/ 753 h 753"/>
                </a:gdLst>
                <a:ahLst/>
                <a:cxnLst>
                  <a:cxn ang="0">
                    <a:pos x="T0" y="T1"/>
                  </a:cxn>
                  <a:cxn ang="0">
                    <a:pos x="T2" y="T3"/>
                  </a:cxn>
                  <a:cxn ang="0">
                    <a:pos x="T4" y="T5"/>
                  </a:cxn>
                  <a:cxn ang="0">
                    <a:pos x="T6" y="T7"/>
                  </a:cxn>
                  <a:cxn ang="0">
                    <a:pos x="T8" y="T9"/>
                  </a:cxn>
                  <a:cxn ang="0">
                    <a:pos x="T10" y="T11"/>
                  </a:cxn>
                </a:cxnLst>
                <a:rect l="0" t="0" r="r" b="b"/>
                <a:pathLst>
                  <a:path w="1660" h="753">
                    <a:moveTo>
                      <a:pt x="1660" y="753"/>
                    </a:moveTo>
                    <a:lnTo>
                      <a:pt x="0" y="578"/>
                    </a:lnTo>
                    <a:lnTo>
                      <a:pt x="0" y="578"/>
                    </a:lnTo>
                    <a:lnTo>
                      <a:pt x="682" y="0"/>
                    </a:lnTo>
                    <a:lnTo>
                      <a:pt x="1660" y="753"/>
                    </a:lnTo>
                    <a:lnTo>
                      <a:pt x="1660" y="753"/>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7" name="Freeform 440"/>
              <p:cNvSpPr>
                <a:spLocks/>
              </p:cNvSpPr>
              <p:nvPr/>
            </p:nvSpPr>
            <p:spPr bwMode="auto">
              <a:xfrm>
                <a:off x="-8102600" y="5514975"/>
                <a:ext cx="1588"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8" name="Freeform 441"/>
              <p:cNvSpPr>
                <a:spLocks/>
              </p:cNvSpPr>
              <p:nvPr/>
            </p:nvSpPr>
            <p:spPr bwMode="auto">
              <a:xfrm>
                <a:off x="-9909175" y="5514975"/>
                <a:ext cx="1806575" cy="2144713"/>
              </a:xfrm>
              <a:custGeom>
                <a:avLst/>
                <a:gdLst>
                  <a:gd name="T0" fmla="*/ 999 w 1138"/>
                  <a:gd name="T1" fmla="*/ 1351 h 1351"/>
                  <a:gd name="T2" fmla="*/ 662 w 1138"/>
                  <a:gd name="T3" fmla="*/ 1351 h 1351"/>
                  <a:gd name="T4" fmla="*/ 0 w 1138"/>
                  <a:gd name="T5" fmla="*/ 670 h 1351"/>
                  <a:gd name="T6" fmla="*/ 0 w 1138"/>
                  <a:gd name="T7" fmla="*/ 670 h 1351"/>
                  <a:gd name="T8" fmla="*/ 1138 w 1138"/>
                  <a:gd name="T9" fmla="*/ 0 h 1351"/>
                  <a:gd name="T10" fmla="*/ 999 w 1138"/>
                  <a:gd name="T11" fmla="*/ 1351 h 1351"/>
                </a:gdLst>
                <a:ahLst/>
                <a:cxnLst>
                  <a:cxn ang="0">
                    <a:pos x="T0" y="T1"/>
                  </a:cxn>
                  <a:cxn ang="0">
                    <a:pos x="T2" y="T3"/>
                  </a:cxn>
                  <a:cxn ang="0">
                    <a:pos x="T4" y="T5"/>
                  </a:cxn>
                  <a:cxn ang="0">
                    <a:pos x="T6" y="T7"/>
                  </a:cxn>
                  <a:cxn ang="0">
                    <a:pos x="T8" y="T9"/>
                  </a:cxn>
                  <a:cxn ang="0">
                    <a:pos x="T10" y="T11"/>
                  </a:cxn>
                </a:cxnLst>
                <a:rect l="0" t="0" r="r" b="b"/>
                <a:pathLst>
                  <a:path w="1138" h="1351">
                    <a:moveTo>
                      <a:pt x="999" y="1351"/>
                    </a:moveTo>
                    <a:lnTo>
                      <a:pt x="662" y="1351"/>
                    </a:lnTo>
                    <a:lnTo>
                      <a:pt x="0" y="670"/>
                    </a:lnTo>
                    <a:lnTo>
                      <a:pt x="0" y="670"/>
                    </a:lnTo>
                    <a:lnTo>
                      <a:pt x="1138" y="0"/>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9" name="Freeform 442"/>
              <p:cNvSpPr>
                <a:spLocks/>
              </p:cNvSpPr>
              <p:nvPr/>
            </p:nvSpPr>
            <p:spPr bwMode="auto">
              <a:xfrm>
                <a:off x="-5465763" y="4816475"/>
                <a:ext cx="1250950" cy="1479550"/>
              </a:xfrm>
              <a:custGeom>
                <a:avLst/>
                <a:gdLst>
                  <a:gd name="T0" fmla="*/ 788 w 788"/>
                  <a:gd name="T1" fmla="*/ 932 h 932"/>
                  <a:gd name="T2" fmla="*/ 0 w 788"/>
                  <a:gd name="T3" fmla="*/ 615 h 932"/>
                  <a:gd name="T4" fmla="*/ 0 w 788"/>
                  <a:gd name="T5" fmla="*/ 615 h 932"/>
                  <a:gd name="T6" fmla="*/ 0 w 788"/>
                  <a:gd name="T7" fmla="*/ 615 h 932"/>
                  <a:gd name="T8" fmla="*/ 498 w 788"/>
                  <a:gd name="T9" fmla="*/ 0 h 932"/>
                  <a:gd name="T10" fmla="*/ 788 w 788"/>
                  <a:gd name="T11" fmla="*/ 932 h 932"/>
                </a:gdLst>
                <a:ahLst/>
                <a:cxnLst>
                  <a:cxn ang="0">
                    <a:pos x="T0" y="T1"/>
                  </a:cxn>
                  <a:cxn ang="0">
                    <a:pos x="T2" y="T3"/>
                  </a:cxn>
                  <a:cxn ang="0">
                    <a:pos x="T4" y="T5"/>
                  </a:cxn>
                  <a:cxn ang="0">
                    <a:pos x="T6" y="T7"/>
                  </a:cxn>
                  <a:cxn ang="0">
                    <a:pos x="T8" y="T9"/>
                  </a:cxn>
                  <a:cxn ang="0">
                    <a:pos x="T10" y="T11"/>
                  </a:cxn>
                </a:cxnLst>
                <a:rect l="0" t="0" r="r" b="b"/>
                <a:pathLst>
                  <a:path w="788" h="932">
                    <a:moveTo>
                      <a:pt x="788" y="932"/>
                    </a:moveTo>
                    <a:lnTo>
                      <a:pt x="0" y="615"/>
                    </a:lnTo>
                    <a:lnTo>
                      <a:pt x="0" y="615"/>
                    </a:lnTo>
                    <a:lnTo>
                      <a:pt x="0" y="615"/>
                    </a:lnTo>
                    <a:lnTo>
                      <a:pt x="498" y="0"/>
                    </a:lnTo>
                    <a:lnTo>
                      <a:pt x="788"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0" name="Freeform 443"/>
              <p:cNvSpPr>
                <a:spLocks/>
              </p:cNvSpPr>
              <p:nvPr/>
            </p:nvSpPr>
            <p:spPr bwMode="auto">
              <a:xfrm>
                <a:off x="-6213475" y="2655887"/>
                <a:ext cx="1800225" cy="2160588"/>
              </a:xfrm>
              <a:custGeom>
                <a:avLst/>
                <a:gdLst>
                  <a:gd name="T0" fmla="*/ 969 w 1134"/>
                  <a:gd name="T1" fmla="*/ 1361 h 1361"/>
                  <a:gd name="T2" fmla="*/ 969 w 1134"/>
                  <a:gd name="T3" fmla="*/ 1361 h 1361"/>
                  <a:gd name="T4" fmla="*/ 0 w 1134"/>
                  <a:gd name="T5" fmla="*/ 0 h 1361"/>
                  <a:gd name="T6" fmla="*/ 0 w 1134"/>
                  <a:gd name="T7" fmla="*/ 0 h 1361"/>
                  <a:gd name="T8" fmla="*/ 1134 w 1134"/>
                  <a:gd name="T9" fmla="*/ 288 h 1361"/>
                  <a:gd name="T10" fmla="*/ 969 w 1134"/>
                  <a:gd name="T11" fmla="*/ 1361 h 1361"/>
                </a:gdLst>
                <a:ahLst/>
                <a:cxnLst>
                  <a:cxn ang="0">
                    <a:pos x="T0" y="T1"/>
                  </a:cxn>
                  <a:cxn ang="0">
                    <a:pos x="T2" y="T3"/>
                  </a:cxn>
                  <a:cxn ang="0">
                    <a:pos x="T4" y="T5"/>
                  </a:cxn>
                  <a:cxn ang="0">
                    <a:pos x="T6" y="T7"/>
                  </a:cxn>
                  <a:cxn ang="0">
                    <a:pos x="T8" y="T9"/>
                  </a:cxn>
                  <a:cxn ang="0">
                    <a:pos x="T10" y="T11"/>
                  </a:cxn>
                </a:cxnLst>
                <a:rect l="0" t="0" r="r" b="b"/>
                <a:pathLst>
                  <a:path w="1134" h="1361">
                    <a:moveTo>
                      <a:pt x="969" y="1361"/>
                    </a:moveTo>
                    <a:lnTo>
                      <a:pt x="969" y="1361"/>
                    </a:lnTo>
                    <a:lnTo>
                      <a:pt x="0" y="0"/>
                    </a:lnTo>
                    <a:lnTo>
                      <a:pt x="0" y="0"/>
                    </a:lnTo>
                    <a:lnTo>
                      <a:pt x="1134" y="288"/>
                    </a:lnTo>
                    <a:lnTo>
                      <a:pt x="969" y="1361"/>
                    </a:lnTo>
                    <a:close/>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1" name="Rectangle 444"/>
              <p:cNvSpPr>
                <a:spLocks noChangeArrowheads="1"/>
              </p:cNvSpPr>
              <p:nvPr/>
            </p:nvSpPr>
            <p:spPr bwMode="auto">
              <a:xfrm>
                <a:off x="-6213475" y="2655887"/>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2" name="Rectangle 445"/>
              <p:cNvSpPr>
                <a:spLocks noChangeArrowheads="1"/>
              </p:cNvSpPr>
              <p:nvPr/>
            </p:nvSpPr>
            <p:spPr bwMode="auto">
              <a:xfrm>
                <a:off x="-6213475" y="2655887"/>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3" name="Freeform 446"/>
              <p:cNvSpPr>
                <a:spLocks/>
              </p:cNvSpPr>
              <p:nvPr/>
            </p:nvSpPr>
            <p:spPr bwMode="auto">
              <a:xfrm>
                <a:off x="-4675188" y="4237037"/>
                <a:ext cx="1903413" cy="2058988"/>
              </a:xfrm>
              <a:custGeom>
                <a:avLst/>
                <a:gdLst>
                  <a:gd name="T0" fmla="*/ 290 w 1199"/>
                  <a:gd name="T1" fmla="*/ 1297 h 1297"/>
                  <a:gd name="T2" fmla="*/ 290 w 1199"/>
                  <a:gd name="T3" fmla="*/ 1297 h 1297"/>
                  <a:gd name="T4" fmla="*/ 0 w 1199"/>
                  <a:gd name="T5" fmla="*/ 365 h 1297"/>
                  <a:gd name="T6" fmla="*/ 0 w 1199"/>
                  <a:gd name="T7" fmla="*/ 365 h 1297"/>
                  <a:gd name="T8" fmla="*/ 0 w 1199"/>
                  <a:gd name="T9" fmla="*/ 365 h 1297"/>
                  <a:gd name="T10" fmla="*/ 0 w 1199"/>
                  <a:gd name="T11" fmla="*/ 365 h 1297"/>
                  <a:gd name="T12" fmla="*/ 1199 w 1199"/>
                  <a:gd name="T13" fmla="*/ 0 h 1297"/>
                  <a:gd name="T14" fmla="*/ 290 w 1199"/>
                  <a:gd name="T15" fmla="*/ 1297 h 1297"/>
                  <a:gd name="T16" fmla="*/ 290 w 1199"/>
                  <a:gd name="T17" fmla="*/ 1297 h 1297"/>
                  <a:gd name="T18" fmla="*/ 290 w 1199"/>
                  <a:gd name="T19" fmla="*/ 129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9" h="1297">
                    <a:moveTo>
                      <a:pt x="290" y="1297"/>
                    </a:moveTo>
                    <a:lnTo>
                      <a:pt x="290" y="1297"/>
                    </a:lnTo>
                    <a:lnTo>
                      <a:pt x="0" y="365"/>
                    </a:lnTo>
                    <a:lnTo>
                      <a:pt x="0" y="365"/>
                    </a:lnTo>
                    <a:lnTo>
                      <a:pt x="0" y="365"/>
                    </a:lnTo>
                    <a:lnTo>
                      <a:pt x="0" y="365"/>
                    </a:lnTo>
                    <a:lnTo>
                      <a:pt x="1199" y="0"/>
                    </a:lnTo>
                    <a:lnTo>
                      <a:pt x="290" y="1297"/>
                    </a:lnTo>
                    <a:lnTo>
                      <a:pt x="290" y="1297"/>
                    </a:lnTo>
                    <a:lnTo>
                      <a:pt x="290" y="1297"/>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4" name="Freeform 447"/>
              <p:cNvSpPr>
                <a:spLocks/>
              </p:cNvSpPr>
              <p:nvPr/>
            </p:nvSpPr>
            <p:spPr bwMode="auto">
              <a:xfrm>
                <a:off x="-4675188" y="4816475"/>
                <a:ext cx="460375" cy="1479550"/>
              </a:xfrm>
              <a:custGeom>
                <a:avLst/>
                <a:gdLst>
                  <a:gd name="T0" fmla="*/ 290 w 290"/>
                  <a:gd name="T1" fmla="*/ 932 h 932"/>
                  <a:gd name="T2" fmla="*/ 290 w 290"/>
                  <a:gd name="T3" fmla="*/ 932 h 932"/>
                  <a:gd name="T4" fmla="*/ 0 w 290"/>
                  <a:gd name="T5" fmla="*/ 0 h 932"/>
                  <a:gd name="T6" fmla="*/ 0 w 290"/>
                  <a:gd name="T7" fmla="*/ 0 h 932"/>
                  <a:gd name="T8" fmla="*/ 290 w 290"/>
                  <a:gd name="T9" fmla="*/ 932 h 932"/>
                </a:gdLst>
                <a:ahLst/>
                <a:cxnLst>
                  <a:cxn ang="0">
                    <a:pos x="T0" y="T1"/>
                  </a:cxn>
                  <a:cxn ang="0">
                    <a:pos x="T2" y="T3"/>
                  </a:cxn>
                  <a:cxn ang="0">
                    <a:pos x="T4" y="T5"/>
                  </a:cxn>
                  <a:cxn ang="0">
                    <a:pos x="T6" y="T7"/>
                  </a:cxn>
                  <a:cxn ang="0">
                    <a:pos x="T8" y="T9"/>
                  </a:cxn>
                </a:cxnLst>
                <a:rect l="0" t="0" r="r" b="b"/>
                <a:pathLst>
                  <a:path w="290" h="932">
                    <a:moveTo>
                      <a:pt x="290" y="932"/>
                    </a:moveTo>
                    <a:lnTo>
                      <a:pt x="290" y="932"/>
                    </a:lnTo>
                    <a:lnTo>
                      <a:pt x="0" y="0"/>
                    </a:lnTo>
                    <a:lnTo>
                      <a:pt x="0" y="0"/>
                    </a:lnTo>
                    <a:lnTo>
                      <a:pt x="290"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5" name="Freeform 448"/>
              <p:cNvSpPr>
                <a:spLocks/>
              </p:cNvSpPr>
              <p:nvPr/>
            </p:nvSpPr>
            <p:spPr bwMode="auto">
              <a:xfrm>
                <a:off x="-7018338" y="2655887"/>
                <a:ext cx="2343150" cy="2160588"/>
              </a:xfrm>
              <a:custGeom>
                <a:avLst/>
                <a:gdLst>
                  <a:gd name="T0" fmla="*/ 1476 w 1476"/>
                  <a:gd name="T1" fmla="*/ 1361 h 1361"/>
                  <a:gd name="T2" fmla="*/ 0 w 1476"/>
                  <a:gd name="T3" fmla="*/ 1223 h 1361"/>
                  <a:gd name="T4" fmla="*/ 507 w 1476"/>
                  <a:gd name="T5" fmla="*/ 0 h 1361"/>
                  <a:gd name="T6" fmla="*/ 1476 w 1476"/>
                  <a:gd name="T7" fmla="*/ 1361 h 1361"/>
                </a:gdLst>
                <a:ahLst/>
                <a:cxnLst>
                  <a:cxn ang="0">
                    <a:pos x="T0" y="T1"/>
                  </a:cxn>
                  <a:cxn ang="0">
                    <a:pos x="T2" y="T3"/>
                  </a:cxn>
                  <a:cxn ang="0">
                    <a:pos x="T4" y="T5"/>
                  </a:cxn>
                  <a:cxn ang="0">
                    <a:pos x="T6" y="T7"/>
                  </a:cxn>
                </a:cxnLst>
                <a:rect l="0" t="0" r="r" b="b"/>
                <a:pathLst>
                  <a:path w="1476" h="1361">
                    <a:moveTo>
                      <a:pt x="1476" y="1361"/>
                    </a:moveTo>
                    <a:lnTo>
                      <a:pt x="0" y="1223"/>
                    </a:lnTo>
                    <a:lnTo>
                      <a:pt x="507" y="0"/>
                    </a:lnTo>
                    <a:lnTo>
                      <a:pt x="1476" y="136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6" name="Freeform 449"/>
              <p:cNvSpPr>
                <a:spLocks/>
              </p:cNvSpPr>
              <p:nvPr/>
            </p:nvSpPr>
            <p:spPr bwMode="auto">
              <a:xfrm>
                <a:off x="-7018338" y="2655887"/>
                <a:ext cx="804863" cy="1941513"/>
              </a:xfrm>
              <a:custGeom>
                <a:avLst/>
                <a:gdLst>
                  <a:gd name="T0" fmla="*/ 0 w 507"/>
                  <a:gd name="T1" fmla="*/ 1223 h 1223"/>
                  <a:gd name="T2" fmla="*/ 507 w 507"/>
                  <a:gd name="T3" fmla="*/ 0 h 1223"/>
                  <a:gd name="T4" fmla="*/ 507 w 507"/>
                  <a:gd name="T5" fmla="*/ 0 h 1223"/>
                  <a:gd name="T6" fmla="*/ 0 w 507"/>
                  <a:gd name="T7" fmla="*/ 1223 h 1223"/>
                </a:gdLst>
                <a:ahLst/>
                <a:cxnLst>
                  <a:cxn ang="0">
                    <a:pos x="T0" y="T1"/>
                  </a:cxn>
                  <a:cxn ang="0">
                    <a:pos x="T2" y="T3"/>
                  </a:cxn>
                  <a:cxn ang="0">
                    <a:pos x="T4" y="T5"/>
                  </a:cxn>
                  <a:cxn ang="0">
                    <a:pos x="T6" y="T7"/>
                  </a:cxn>
                </a:cxnLst>
                <a:rect l="0" t="0" r="r" b="b"/>
                <a:pathLst>
                  <a:path w="507" h="1223">
                    <a:moveTo>
                      <a:pt x="0" y="1223"/>
                    </a:moveTo>
                    <a:lnTo>
                      <a:pt x="507" y="0"/>
                    </a:lnTo>
                    <a:lnTo>
                      <a:pt x="507" y="0"/>
                    </a:lnTo>
                    <a:lnTo>
                      <a:pt x="0" y="122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7" name="Rectangle 450"/>
              <p:cNvSpPr>
                <a:spLocks noChangeArrowheads="1"/>
              </p:cNvSpPr>
              <p:nvPr/>
            </p:nvSpPr>
            <p:spPr bwMode="auto">
              <a:xfrm>
                <a:off x="-6213475" y="2655887"/>
                <a:ext cx="1588" cy="1588"/>
              </a:xfrm>
              <a:prstGeom prst="rect">
                <a:avLst/>
              </a:prstGeom>
              <a:solidFill>
                <a:srgbClr val="5698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8" name="Freeform 451"/>
              <p:cNvSpPr>
                <a:spLocks/>
              </p:cNvSpPr>
              <p:nvPr/>
            </p:nvSpPr>
            <p:spPr bwMode="auto">
              <a:xfrm>
                <a:off x="-6213475" y="2655887"/>
                <a:ext cx="1538288" cy="2160588"/>
              </a:xfrm>
              <a:custGeom>
                <a:avLst/>
                <a:gdLst>
                  <a:gd name="T0" fmla="*/ 969 w 969"/>
                  <a:gd name="T1" fmla="*/ 1361 h 1361"/>
                  <a:gd name="T2" fmla="*/ 969 w 969"/>
                  <a:gd name="T3" fmla="*/ 1361 h 1361"/>
                  <a:gd name="T4" fmla="*/ 0 w 969"/>
                  <a:gd name="T5" fmla="*/ 0 h 1361"/>
                  <a:gd name="T6" fmla="*/ 0 w 969"/>
                  <a:gd name="T7" fmla="*/ 0 h 1361"/>
                  <a:gd name="T8" fmla="*/ 969 w 969"/>
                  <a:gd name="T9" fmla="*/ 1361 h 1361"/>
                </a:gdLst>
                <a:ahLst/>
                <a:cxnLst>
                  <a:cxn ang="0">
                    <a:pos x="T0" y="T1"/>
                  </a:cxn>
                  <a:cxn ang="0">
                    <a:pos x="T2" y="T3"/>
                  </a:cxn>
                  <a:cxn ang="0">
                    <a:pos x="T4" y="T5"/>
                  </a:cxn>
                  <a:cxn ang="0">
                    <a:pos x="T6" y="T7"/>
                  </a:cxn>
                  <a:cxn ang="0">
                    <a:pos x="T8" y="T9"/>
                  </a:cxn>
                </a:cxnLst>
                <a:rect l="0" t="0" r="r" b="b"/>
                <a:pathLst>
                  <a:path w="969" h="1361">
                    <a:moveTo>
                      <a:pt x="969" y="1361"/>
                    </a:moveTo>
                    <a:lnTo>
                      <a:pt x="969" y="1361"/>
                    </a:lnTo>
                    <a:lnTo>
                      <a:pt x="0" y="0"/>
                    </a:lnTo>
                    <a:lnTo>
                      <a:pt x="0" y="0"/>
                    </a:lnTo>
                    <a:lnTo>
                      <a:pt x="969" y="1361"/>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9" name="Freeform 452"/>
              <p:cNvSpPr>
                <a:spLocks/>
              </p:cNvSpPr>
              <p:nvPr/>
            </p:nvSpPr>
            <p:spPr bwMode="auto">
              <a:xfrm>
                <a:off x="-6213475" y="2655887"/>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0" name="Freeform 453"/>
              <p:cNvSpPr>
                <a:spLocks/>
              </p:cNvSpPr>
              <p:nvPr/>
            </p:nvSpPr>
            <p:spPr bwMode="auto">
              <a:xfrm>
                <a:off x="-4675188" y="3113087"/>
                <a:ext cx="1903413" cy="1703388"/>
              </a:xfrm>
              <a:custGeom>
                <a:avLst/>
                <a:gdLst>
                  <a:gd name="T0" fmla="*/ 0 w 1199"/>
                  <a:gd name="T1" fmla="*/ 1073 h 1073"/>
                  <a:gd name="T2" fmla="*/ 165 w 1199"/>
                  <a:gd name="T3" fmla="*/ 0 h 1073"/>
                  <a:gd name="T4" fmla="*/ 1199 w 1199"/>
                  <a:gd name="T5" fmla="*/ 708 h 1073"/>
                  <a:gd name="T6" fmla="*/ 0 w 1199"/>
                  <a:gd name="T7" fmla="*/ 1073 h 1073"/>
                </a:gdLst>
                <a:ahLst/>
                <a:cxnLst>
                  <a:cxn ang="0">
                    <a:pos x="T0" y="T1"/>
                  </a:cxn>
                  <a:cxn ang="0">
                    <a:pos x="T2" y="T3"/>
                  </a:cxn>
                  <a:cxn ang="0">
                    <a:pos x="T4" y="T5"/>
                  </a:cxn>
                  <a:cxn ang="0">
                    <a:pos x="T6" y="T7"/>
                  </a:cxn>
                </a:cxnLst>
                <a:rect l="0" t="0" r="r" b="b"/>
                <a:pathLst>
                  <a:path w="1199" h="1073">
                    <a:moveTo>
                      <a:pt x="0" y="1073"/>
                    </a:moveTo>
                    <a:lnTo>
                      <a:pt x="165" y="0"/>
                    </a:lnTo>
                    <a:lnTo>
                      <a:pt x="1199" y="708"/>
                    </a:lnTo>
                    <a:lnTo>
                      <a:pt x="0" y="1073"/>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1" name="Freeform 454"/>
              <p:cNvSpPr>
                <a:spLocks/>
              </p:cNvSpPr>
              <p:nvPr/>
            </p:nvSpPr>
            <p:spPr bwMode="auto">
              <a:xfrm>
                <a:off x="-7018338" y="4597400"/>
                <a:ext cx="2343150" cy="1195388"/>
              </a:xfrm>
              <a:custGeom>
                <a:avLst/>
                <a:gdLst>
                  <a:gd name="T0" fmla="*/ 978 w 1476"/>
                  <a:gd name="T1" fmla="*/ 753 h 753"/>
                  <a:gd name="T2" fmla="*/ 978 w 1476"/>
                  <a:gd name="T3" fmla="*/ 753 h 753"/>
                  <a:gd name="T4" fmla="*/ 0 w 1476"/>
                  <a:gd name="T5" fmla="*/ 0 h 753"/>
                  <a:gd name="T6" fmla="*/ 1476 w 1476"/>
                  <a:gd name="T7" fmla="*/ 138 h 753"/>
                  <a:gd name="T8" fmla="*/ 978 w 1476"/>
                  <a:gd name="T9" fmla="*/ 753 h 753"/>
                </a:gdLst>
                <a:ahLst/>
                <a:cxnLst>
                  <a:cxn ang="0">
                    <a:pos x="T0" y="T1"/>
                  </a:cxn>
                  <a:cxn ang="0">
                    <a:pos x="T2" y="T3"/>
                  </a:cxn>
                  <a:cxn ang="0">
                    <a:pos x="T4" y="T5"/>
                  </a:cxn>
                  <a:cxn ang="0">
                    <a:pos x="T6" y="T7"/>
                  </a:cxn>
                  <a:cxn ang="0">
                    <a:pos x="T8" y="T9"/>
                  </a:cxn>
                </a:cxnLst>
                <a:rect l="0" t="0" r="r" b="b"/>
                <a:pathLst>
                  <a:path w="1476" h="753">
                    <a:moveTo>
                      <a:pt x="978" y="753"/>
                    </a:moveTo>
                    <a:lnTo>
                      <a:pt x="978" y="753"/>
                    </a:lnTo>
                    <a:lnTo>
                      <a:pt x="0" y="0"/>
                    </a:lnTo>
                    <a:lnTo>
                      <a:pt x="1476" y="138"/>
                    </a:lnTo>
                    <a:lnTo>
                      <a:pt x="978" y="7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2" name="Line 455"/>
              <p:cNvSpPr>
                <a:spLocks noChangeShapeType="1"/>
              </p:cNvSpPr>
              <p:nvPr/>
            </p:nvSpPr>
            <p:spPr bwMode="auto">
              <a:xfrm>
                <a:off x="-7643813" y="76596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3" name="Freeform 456"/>
              <p:cNvSpPr>
                <a:spLocks/>
              </p:cNvSpPr>
              <p:nvPr/>
            </p:nvSpPr>
            <p:spPr bwMode="auto">
              <a:xfrm>
                <a:off x="-7643813" y="6911975"/>
                <a:ext cx="1103313" cy="747713"/>
              </a:xfrm>
              <a:custGeom>
                <a:avLst/>
                <a:gdLst>
                  <a:gd name="T0" fmla="*/ 0 w 695"/>
                  <a:gd name="T1" fmla="*/ 471 h 471"/>
                  <a:gd name="T2" fmla="*/ 0 w 695"/>
                  <a:gd name="T3" fmla="*/ 471 h 471"/>
                  <a:gd name="T4" fmla="*/ 695 w 695"/>
                  <a:gd name="T5" fmla="*/ 0 h 471"/>
                  <a:gd name="T6" fmla="*/ 0 w 695"/>
                  <a:gd name="T7" fmla="*/ 471 h 471"/>
                </a:gdLst>
                <a:ahLst/>
                <a:cxnLst>
                  <a:cxn ang="0">
                    <a:pos x="T0" y="T1"/>
                  </a:cxn>
                  <a:cxn ang="0">
                    <a:pos x="T2" y="T3"/>
                  </a:cxn>
                  <a:cxn ang="0">
                    <a:pos x="T4" y="T5"/>
                  </a:cxn>
                  <a:cxn ang="0">
                    <a:pos x="T6" y="T7"/>
                  </a:cxn>
                </a:cxnLst>
                <a:rect l="0" t="0" r="r" b="b"/>
                <a:pathLst>
                  <a:path w="695" h="471">
                    <a:moveTo>
                      <a:pt x="0" y="471"/>
                    </a:moveTo>
                    <a:lnTo>
                      <a:pt x="0" y="471"/>
                    </a:lnTo>
                    <a:lnTo>
                      <a:pt x="695" y="0"/>
                    </a:lnTo>
                    <a:lnTo>
                      <a:pt x="0" y="47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4" name="Freeform 457"/>
              <p:cNvSpPr>
                <a:spLocks/>
              </p:cNvSpPr>
              <p:nvPr/>
            </p:nvSpPr>
            <p:spPr bwMode="auto">
              <a:xfrm>
                <a:off x="-5465763" y="5792787"/>
                <a:ext cx="1524000" cy="1866900"/>
              </a:xfrm>
              <a:custGeom>
                <a:avLst/>
                <a:gdLst>
                  <a:gd name="T0" fmla="*/ 960 w 960"/>
                  <a:gd name="T1" fmla="*/ 1176 h 1176"/>
                  <a:gd name="T2" fmla="*/ 823 w 960"/>
                  <a:gd name="T3" fmla="*/ 1176 h 1176"/>
                  <a:gd name="T4" fmla="*/ 0 w 960"/>
                  <a:gd name="T5" fmla="*/ 0 h 1176"/>
                  <a:gd name="T6" fmla="*/ 788 w 960"/>
                  <a:gd name="T7" fmla="*/ 317 h 1176"/>
                  <a:gd name="T8" fmla="*/ 960 w 960"/>
                  <a:gd name="T9" fmla="*/ 1176 h 1176"/>
                </a:gdLst>
                <a:ahLst/>
                <a:cxnLst>
                  <a:cxn ang="0">
                    <a:pos x="T0" y="T1"/>
                  </a:cxn>
                  <a:cxn ang="0">
                    <a:pos x="T2" y="T3"/>
                  </a:cxn>
                  <a:cxn ang="0">
                    <a:pos x="T4" y="T5"/>
                  </a:cxn>
                  <a:cxn ang="0">
                    <a:pos x="T6" y="T7"/>
                  </a:cxn>
                  <a:cxn ang="0">
                    <a:pos x="T8" y="T9"/>
                  </a:cxn>
                </a:cxnLst>
                <a:rect l="0" t="0" r="r" b="b"/>
                <a:pathLst>
                  <a:path w="960" h="1176">
                    <a:moveTo>
                      <a:pt x="960" y="1176"/>
                    </a:moveTo>
                    <a:lnTo>
                      <a:pt x="823" y="1176"/>
                    </a:lnTo>
                    <a:lnTo>
                      <a:pt x="0" y="0"/>
                    </a:lnTo>
                    <a:lnTo>
                      <a:pt x="788" y="317"/>
                    </a:lnTo>
                    <a:lnTo>
                      <a:pt x="960" y="117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5" name="Rectangle 458"/>
              <p:cNvSpPr>
                <a:spLocks noChangeArrowheads="1"/>
              </p:cNvSpPr>
              <p:nvPr/>
            </p:nvSpPr>
            <p:spPr bwMode="auto">
              <a:xfrm>
                <a:off x="-5465763" y="5792787"/>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6" name="Freeform 459"/>
              <p:cNvSpPr>
                <a:spLocks/>
              </p:cNvSpPr>
              <p:nvPr/>
            </p:nvSpPr>
            <p:spPr bwMode="auto">
              <a:xfrm>
                <a:off x="-6540500" y="5792787"/>
                <a:ext cx="2381250" cy="1866900"/>
              </a:xfrm>
              <a:custGeom>
                <a:avLst/>
                <a:gdLst>
                  <a:gd name="T0" fmla="*/ 1500 w 1500"/>
                  <a:gd name="T1" fmla="*/ 1176 h 1176"/>
                  <a:gd name="T2" fmla="*/ 1072 w 1500"/>
                  <a:gd name="T3" fmla="*/ 1176 h 1176"/>
                  <a:gd name="T4" fmla="*/ 0 w 1500"/>
                  <a:gd name="T5" fmla="*/ 705 h 1176"/>
                  <a:gd name="T6" fmla="*/ 677 w 1500"/>
                  <a:gd name="T7" fmla="*/ 0 h 1176"/>
                  <a:gd name="T8" fmla="*/ 677 w 1500"/>
                  <a:gd name="T9" fmla="*/ 0 h 1176"/>
                  <a:gd name="T10" fmla="*/ 1500 w 1500"/>
                  <a:gd name="T11" fmla="*/ 1176 h 1176"/>
                </a:gdLst>
                <a:ahLst/>
                <a:cxnLst>
                  <a:cxn ang="0">
                    <a:pos x="T0" y="T1"/>
                  </a:cxn>
                  <a:cxn ang="0">
                    <a:pos x="T2" y="T3"/>
                  </a:cxn>
                  <a:cxn ang="0">
                    <a:pos x="T4" y="T5"/>
                  </a:cxn>
                  <a:cxn ang="0">
                    <a:pos x="T6" y="T7"/>
                  </a:cxn>
                  <a:cxn ang="0">
                    <a:pos x="T8" y="T9"/>
                  </a:cxn>
                  <a:cxn ang="0">
                    <a:pos x="T10" y="T11"/>
                  </a:cxn>
                </a:cxnLst>
                <a:rect l="0" t="0" r="r" b="b"/>
                <a:pathLst>
                  <a:path w="1500" h="1176">
                    <a:moveTo>
                      <a:pt x="1500" y="1176"/>
                    </a:moveTo>
                    <a:lnTo>
                      <a:pt x="1072" y="1176"/>
                    </a:lnTo>
                    <a:lnTo>
                      <a:pt x="0" y="705"/>
                    </a:lnTo>
                    <a:lnTo>
                      <a:pt x="677" y="0"/>
                    </a:lnTo>
                    <a:lnTo>
                      <a:pt x="677" y="0"/>
                    </a:lnTo>
                    <a:lnTo>
                      <a:pt x="150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7" name="Freeform 460"/>
              <p:cNvSpPr>
                <a:spLocks/>
              </p:cNvSpPr>
              <p:nvPr/>
            </p:nvSpPr>
            <p:spPr bwMode="auto">
              <a:xfrm>
                <a:off x="-4214813" y="6296025"/>
                <a:ext cx="1620838" cy="1363663"/>
              </a:xfrm>
              <a:custGeom>
                <a:avLst/>
                <a:gdLst>
                  <a:gd name="T0" fmla="*/ 1021 w 1021"/>
                  <a:gd name="T1" fmla="*/ 859 h 859"/>
                  <a:gd name="T2" fmla="*/ 172 w 1021"/>
                  <a:gd name="T3" fmla="*/ 859 h 859"/>
                  <a:gd name="T4" fmla="*/ 0 w 1021"/>
                  <a:gd name="T5" fmla="*/ 0 h 859"/>
                  <a:gd name="T6" fmla="*/ 1021 w 1021"/>
                  <a:gd name="T7" fmla="*/ 859 h 859"/>
                </a:gdLst>
                <a:ahLst/>
                <a:cxnLst>
                  <a:cxn ang="0">
                    <a:pos x="T0" y="T1"/>
                  </a:cxn>
                  <a:cxn ang="0">
                    <a:pos x="T2" y="T3"/>
                  </a:cxn>
                  <a:cxn ang="0">
                    <a:pos x="T4" y="T5"/>
                  </a:cxn>
                  <a:cxn ang="0">
                    <a:pos x="T6" y="T7"/>
                  </a:cxn>
                </a:cxnLst>
                <a:rect l="0" t="0" r="r" b="b"/>
                <a:pathLst>
                  <a:path w="1021" h="859">
                    <a:moveTo>
                      <a:pt x="1021" y="859"/>
                    </a:moveTo>
                    <a:lnTo>
                      <a:pt x="172" y="859"/>
                    </a:lnTo>
                    <a:lnTo>
                      <a:pt x="0" y="0"/>
                    </a:lnTo>
                    <a:lnTo>
                      <a:pt x="1021" y="8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8" name="Freeform 461"/>
              <p:cNvSpPr>
                <a:spLocks/>
              </p:cNvSpPr>
              <p:nvPr/>
            </p:nvSpPr>
            <p:spPr bwMode="auto">
              <a:xfrm>
                <a:off x="-6540500" y="6911975"/>
                <a:ext cx="1701800" cy="747713"/>
              </a:xfrm>
              <a:custGeom>
                <a:avLst/>
                <a:gdLst>
                  <a:gd name="T0" fmla="*/ 1072 w 1072"/>
                  <a:gd name="T1" fmla="*/ 471 h 471"/>
                  <a:gd name="T2" fmla="*/ 254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254" y="471"/>
                    </a:lnTo>
                    <a:lnTo>
                      <a:pt x="0" y="0"/>
                    </a:lnTo>
                    <a:lnTo>
                      <a:pt x="1072" y="471"/>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9" name="Line 462"/>
              <p:cNvSpPr>
                <a:spLocks noChangeShapeType="1"/>
              </p:cNvSpPr>
              <p:nvPr/>
            </p:nvSpPr>
            <p:spPr bwMode="auto">
              <a:xfrm>
                <a:off x="-6137275" y="76596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0" name="Freeform 463"/>
              <p:cNvSpPr>
                <a:spLocks/>
              </p:cNvSpPr>
              <p:nvPr/>
            </p:nvSpPr>
            <p:spPr bwMode="auto">
              <a:xfrm>
                <a:off x="-6540500" y="6911975"/>
                <a:ext cx="403225" cy="747713"/>
              </a:xfrm>
              <a:custGeom>
                <a:avLst/>
                <a:gdLst>
                  <a:gd name="T0" fmla="*/ 254 w 254"/>
                  <a:gd name="T1" fmla="*/ 471 h 471"/>
                  <a:gd name="T2" fmla="*/ 254 w 254"/>
                  <a:gd name="T3" fmla="*/ 471 h 471"/>
                  <a:gd name="T4" fmla="*/ 0 w 254"/>
                  <a:gd name="T5" fmla="*/ 0 h 471"/>
                  <a:gd name="T6" fmla="*/ 254 w 254"/>
                  <a:gd name="T7" fmla="*/ 471 h 471"/>
                </a:gdLst>
                <a:ahLst/>
                <a:cxnLst>
                  <a:cxn ang="0">
                    <a:pos x="T0" y="T1"/>
                  </a:cxn>
                  <a:cxn ang="0">
                    <a:pos x="T2" y="T3"/>
                  </a:cxn>
                  <a:cxn ang="0">
                    <a:pos x="T4" y="T5"/>
                  </a:cxn>
                  <a:cxn ang="0">
                    <a:pos x="T6" y="T7"/>
                  </a:cxn>
                </a:cxnLst>
                <a:rect l="0" t="0" r="r" b="b"/>
                <a:pathLst>
                  <a:path w="254" h="471">
                    <a:moveTo>
                      <a:pt x="254" y="471"/>
                    </a:moveTo>
                    <a:lnTo>
                      <a:pt x="254" y="471"/>
                    </a:lnTo>
                    <a:lnTo>
                      <a:pt x="0" y="0"/>
                    </a:lnTo>
                    <a:lnTo>
                      <a:pt x="254" y="471"/>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1" name="Freeform 464"/>
              <p:cNvSpPr>
                <a:spLocks/>
              </p:cNvSpPr>
              <p:nvPr/>
            </p:nvSpPr>
            <p:spPr bwMode="auto">
              <a:xfrm>
                <a:off x="-6540500" y="6911975"/>
                <a:ext cx="1701800" cy="747713"/>
              </a:xfrm>
              <a:custGeom>
                <a:avLst/>
                <a:gdLst>
                  <a:gd name="T0" fmla="*/ 1072 w 1072"/>
                  <a:gd name="T1" fmla="*/ 471 h 471"/>
                  <a:gd name="T2" fmla="*/ 1072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1072" y="471"/>
                    </a:lnTo>
                    <a:lnTo>
                      <a:pt x="0" y="0"/>
                    </a:lnTo>
                    <a:lnTo>
                      <a:pt x="1072" y="47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2" name="Freeform 465"/>
              <p:cNvSpPr>
                <a:spLocks/>
              </p:cNvSpPr>
              <p:nvPr/>
            </p:nvSpPr>
            <p:spPr bwMode="auto">
              <a:xfrm>
                <a:off x="-3327400" y="-3540126"/>
                <a:ext cx="2473325" cy="2046288"/>
              </a:xfrm>
              <a:custGeom>
                <a:avLst/>
                <a:gdLst>
                  <a:gd name="T0" fmla="*/ 0 w 1558"/>
                  <a:gd name="T1" fmla="*/ 1289 h 1289"/>
                  <a:gd name="T2" fmla="*/ 916 w 1558"/>
                  <a:gd name="T3" fmla="*/ 0 h 1289"/>
                  <a:gd name="T4" fmla="*/ 1558 w 1558"/>
                  <a:gd name="T5" fmla="*/ 541 h 1289"/>
                  <a:gd name="T6" fmla="*/ 1558 w 1558"/>
                  <a:gd name="T7" fmla="*/ 890 h 1289"/>
                  <a:gd name="T8" fmla="*/ 0 w 1558"/>
                  <a:gd name="T9" fmla="*/ 1289 h 1289"/>
                </a:gdLst>
                <a:ahLst/>
                <a:cxnLst>
                  <a:cxn ang="0">
                    <a:pos x="T0" y="T1"/>
                  </a:cxn>
                  <a:cxn ang="0">
                    <a:pos x="T2" y="T3"/>
                  </a:cxn>
                  <a:cxn ang="0">
                    <a:pos x="T4" y="T5"/>
                  </a:cxn>
                  <a:cxn ang="0">
                    <a:pos x="T6" y="T7"/>
                  </a:cxn>
                  <a:cxn ang="0">
                    <a:pos x="T8" y="T9"/>
                  </a:cxn>
                </a:cxnLst>
                <a:rect l="0" t="0" r="r" b="b"/>
                <a:pathLst>
                  <a:path w="1558" h="1289">
                    <a:moveTo>
                      <a:pt x="0" y="1289"/>
                    </a:moveTo>
                    <a:lnTo>
                      <a:pt x="916" y="0"/>
                    </a:lnTo>
                    <a:lnTo>
                      <a:pt x="1558" y="541"/>
                    </a:lnTo>
                    <a:lnTo>
                      <a:pt x="1558" y="890"/>
                    </a:lnTo>
                    <a:lnTo>
                      <a:pt x="0" y="128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3" name="Freeform 466"/>
              <p:cNvSpPr>
                <a:spLocks/>
              </p:cNvSpPr>
              <p:nvPr/>
            </p:nvSpPr>
            <p:spPr bwMode="auto">
              <a:xfrm>
                <a:off x="-2697163" y="-4110038"/>
                <a:ext cx="1154113" cy="569913"/>
              </a:xfrm>
              <a:custGeom>
                <a:avLst/>
                <a:gdLst>
                  <a:gd name="T0" fmla="*/ 519 w 727"/>
                  <a:gd name="T1" fmla="*/ 359 h 359"/>
                  <a:gd name="T2" fmla="*/ 519 w 727"/>
                  <a:gd name="T3" fmla="*/ 359 h 359"/>
                  <a:gd name="T4" fmla="*/ 0 w 727"/>
                  <a:gd name="T5" fmla="*/ 0 h 359"/>
                  <a:gd name="T6" fmla="*/ 727 w 727"/>
                  <a:gd name="T7" fmla="*/ 0 h 359"/>
                  <a:gd name="T8" fmla="*/ 519 w 727"/>
                  <a:gd name="T9" fmla="*/ 359 h 359"/>
                </a:gdLst>
                <a:ahLst/>
                <a:cxnLst>
                  <a:cxn ang="0">
                    <a:pos x="T0" y="T1"/>
                  </a:cxn>
                  <a:cxn ang="0">
                    <a:pos x="T2" y="T3"/>
                  </a:cxn>
                  <a:cxn ang="0">
                    <a:pos x="T4" y="T5"/>
                  </a:cxn>
                  <a:cxn ang="0">
                    <a:pos x="T6" y="T7"/>
                  </a:cxn>
                  <a:cxn ang="0">
                    <a:pos x="T8" y="T9"/>
                  </a:cxn>
                </a:cxnLst>
                <a:rect l="0" t="0" r="r" b="b"/>
                <a:pathLst>
                  <a:path w="727" h="359">
                    <a:moveTo>
                      <a:pt x="519" y="359"/>
                    </a:moveTo>
                    <a:lnTo>
                      <a:pt x="519" y="359"/>
                    </a:lnTo>
                    <a:lnTo>
                      <a:pt x="0" y="0"/>
                    </a:lnTo>
                    <a:lnTo>
                      <a:pt x="727" y="0"/>
                    </a:lnTo>
                    <a:lnTo>
                      <a:pt x="519"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4" name="Freeform 467"/>
              <p:cNvSpPr>
                <a:spLocks/>
              </p:cNvSpPr>
              <p:nvPr/>
            </p:nvSpPr>
            <p:spPr bwMode="auto">
              <a:xfrm>
                <a:off x="-1873250" y="-3540126"/>
                <a:ext cx="1019175" cy="858838"/>
              </a:xfrm>
              <a:custGeom>
                <a:avLst/>
                <a:gdLst>
                  <a:gd name="T0" fmla="*/ 642 w 642"/>
                  <a:gd name="T1" fmla="*/ 541 h 541"/>
                  <a:gd name="T2" fmla="*/ 0 w 642"/>
                  <a:gd name="T3" fmla="*/ 0 h 541"/>
                  <a:gd name="T4" fmla="*/ 642 w 642"/>
                  <a:gd name="T5" fmla="*/ 0 h 541"/>
                  <a:gd name="T6" fmla="*/ 642 w 642"/>
                  <a:gd name="T7" fmla="*/ 541 h 541"/>
                </a:gdLst>
                <a:ahLst/>
                <a:cxnLst>
                  <a:cxn ang="0">
                    <a:pos x="T0" y="T1"/>
                  </a:cxn>
                  <a:cxn ang="0">
                    <a:pos x="T2" y="T3"/>
                  </a:cxn>
                  <a:cxn ang="0">
                    <a:pos x="T4" y="T5"/>
                  </a:cxn>
                  <a:cxn ang="0">
                    <a:pos x="T6" y="T7"/>
                  </a:cxn>
                </a:cxnLst>
                <a:rect l="0" t="0" r="r" b="b"/>
                <a:pathLst>
                  <a:path w="642" h="541">
                    <a:moveTo>
                      <a:pt x="642" y="541"/>
                    </a:moveTo>
                    <a:lnTo>
                      <a:pt x="0" y="0"/>
                    </a:lnTo>
                    <a:lnTo>
                      <a:pt x="642" y="0"/>
                    </a:lnTo>
                    <a:lnTo>
                      <a:pt x="642" y="541"/>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5" name="Freeform 468"/>
              <p:cNvSpPr>
                <a:spLocks/>
              </p:cNvSpPr>
              <p:nvPr/>
            </p:nvSpPr>
            <p:spPr bwMode="auto">
              <a:xfrm>
                <a:off x="-3668713" y="-4110038"/>
                <a:ext cx="1795463" cy="569913"/>
              </a:xfrm>
              <a:custGeom>
                <a:avLst/>
                <a:gdLst>
                  <a:gd name="T0" fmla="*/ 1131 w 1131"/>
                  <a:gd name="T1" fmla="*/ 359 h 359"/>
                  <a:gd name="T2" fmla="*/ 0 w 1131"/>
                  <a:gd name="T3" fmla="*/ 359 h 359"/>
                  <a:gd name="T4" fmla="*/ 285 w 1131"/>
                  <a:gd name="T5" fmla="*/ 0 h 359"/>
                  <a:gd name="T6" fmla="*/ 612 w 1131"/>
                  <a:gd name="T7" fmla="*/ 0 h 359"/>
                  <a:gd name="T8" fmla="*/ 1131 w 1131"/>
                  <a:gd name="T9" fmla="*/ 359 h 359"/>
                </a:gdLst>
                <a:ahLst/>
                <a:cxnLst>
                  <a:cxn ang="0">
                    <a:pos x="T0" y="T1"/>
                  </a:cxn>
                  <a:cxn ang="0">
                    <a:pos x="T2" y="T3"/>
                  </a:cxn>
                  <a:cxn ang="0">
                    <a:pos x="T4" y="T5"/>
                  </a:cxn>
                  <a:cxn ang="0">
                    <a:pos x="T6" y="T7"/>
                  </a:cxn>
                  <a:cxn ang="0">
                    <a:pos x="T8" y="T9"/>
                  </a:cxn>
                </a:cxnLst>
                <a:rect l="0" t="0" r="r" b="b"/>
                <a:pathLst>
                  <a:path w="1131" h="359">
                    <a:moveTo>
                      <a:pt x="1131" y="359"/>
                    </a:moveTo>
                    <a:lnTo>
                      <a:pt x="0" y="359"/>
                    </a:lnTo>
                    <a:lnTo>
                      <a:pt x="285" y="0"/>
                    </a:lnTo>
                    <a:lnTo>
                      <a:pt x="612" y="0"/>
                    </a:lnTo>
                    <a:lnTo>
                      <a:pt x="1131"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6" name="Freeform 469"/>
              <p:cNvSpPr>
                <a:spLocks/>
              </p:cNvSpPr>
              <p:nvPr/>
            </p:nvSpPr>
            <p:spPr bwMode="auto">
              <a:xfrm>
                <a:off x="-1873250" y="-4110038"/>
                <a:ext cx="1019175" cy="569913"/>
              </a:xfrm>
              <a:custGeom>
                <a:avLst/>
                <a:gdLst>
                  <a:gd name="T0" fmla="*/ 642 w 642"/>
                  <a:gd name="T1" fmla="*/ 359 h 359"/>
                  <a:gd name="T2" fmla="*/ 0 w 642"/>
                  <a:gd name="T3" fmla="*/ 359 h 359"/>
                  <a:gd name="T4" fmla="*/ 208 w 642"/>
                  <a:gd name="T5" fmla="*/ 0 h 359"/>
                  <a:gd name="T6" fmla="*/ 642 w 642"/>
                  <a:gd name="T7" fmla="*/ 0 h 359"/>
                  <a:gd name="T8" fmla="*/ 642 w 642"/>
                  <a:gd name="T9" fmla="*/ 359 h 359"/>
                </a:gdLst>
                <a:ahLst/>
                <a:cxnLst>
                  <a:cxn ang="0">
                    <a:pos x="T0" y="T1"/>
                  </a:cxn>
                  <a:cxn ang="0">
                    <a:pos x="T2" y="T3"/>
                  </a:cxn>
                  <a:cxn ang="0">
                    <a:pos x="T4" y="T5"/>
                  </a:cxn>
                  <a:cxn ang="0">
                    <a:pos x="T6" y="T7"/>
                  </a:cxn>
                  <a:cxn ang="0">
                    <a:pos x="T8" y="T9"/>
                  </a:cxn>
                </a:cxnLst>
                <a:rect l="0" t="0" r="r" b="b"/>
                <a:pathLst>
                  <a:path w="642" h="359">
                    <a:moveTo>
                      <a:pt x="642" y="359"/>
                    </a:moveTo>
                    <a:lnTo>
                      <a:pt x="0" y="359"/>
                    </a:lnTo>
                    <a:lnTo>
                      <a:pt x="208" y="0"/>
                    </a:lnTo>
                    <a:lnTo>
                      <a:pt x="642" y="0"/>
                    </a:lnTo>
                    <a:lnTo>
                      <a:pt x="642"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7" name="Freeform 470"/>
              <p:cNvSpPr>
                <a:spLocks/>
              </p:cNvSpPr>
              <p:nvPr/>
            </p:nvSpPr>
            <p:spPr bwMode="auto">
              <a:xfrm>
                <a:off x="-3668713" y="-3540126"/>
                <a:ext cx="1795463" cy="2046288"/>
              </a:xfrm>
              <a:custGeom>
                <a:avLst/>
                <a:gdLst>
                  <a:gd name="T0" fmla="*/ 215 w 1131"/>
                  <a:gd name="T1" fmla="*/ 1289 h 1289"/>
                  <a:gd name="T2" fmla="*/ 150 w 1131"/>
                  <a:gd name="T3" fmla="*/ 902 h 1289"/>
                  <a:gd name="T4" fmla="*/ 0 w 1131"/>
                  <a:gd name="T5" fmla="*/ 0 h 1289"/>
                  <a:gd name="T6" fmla="*/ 0 w 1131"/>
                  <a:gd name="T7" fmla="*/ 0 h 1289"/>
                  <a:gd name="T8" fmla="*/ 0 w 1131"/>
                  <a:gd name="T9" fmla="*/ 0 h 1289"/>
                  <a:gd name="T10" fmla="*/ 1131 w 1131"/>
                  <a:gd name="T11" fmla="*/ 0 h 1289"/>
                  <a:gd name="T12" fmla="*/ 215 w 1131"/>
                  <a:gd name="T13" fmla="*/ 1289 h 1289"/>
                </a:gdLst>
                <a:ahLst/>
                <a:cxnLst>
                  <a:cxn ang="0">
                    <a:pos x="T0" y="T1"/>
                  </a:cxn>
                  <a:cxn ang="0">
                    <a:pos x="T2" y="T3"/>
                  </a:cxn>
                  <a:cxn ang="0">
                    <a:pos x="T4" y="T5"/>
                  </a:cxn>
                  <a:cxn ang="0">
                    <a:pos x="T6" y="T7"/>
                  </a:cxn>
                  <a:cxn ang="0">
                    <a:pos x="T8" y="T9"/>
                  </a:cxn>
                  <a:cxn ang="0">
                    <a:pos x="T10" y="T11"/>
                  </a:cxn>
                  <a:cxn ang="0">
                    <a:pos x="T12" y="T13"/>
                  </a:cxn>
                </a:cxnLst>
                <a:rect l="0" t="0" r="r" b="b"/>
                <a:pathLst>
                  <a:path w="1131" h="1289">
                    <a:moveTo>
                      <a:pt x="215" y="1289"/>
                    </a:moveTo>
                    <a:lnTo>
                      <a:pt x="150" y="902"/>
                    </a:lnTo>
                    <a:lnTo>
                      <a:pt x="0" y="0"/>
                    </a:lnTo>
                    <a:lnTo>
                      <a:pt x="0" y="0"/>
                    </a:lnTo>
                    <a:lnTo>
                      <a:pt x="0" y="0"/>
                    </a:lnTo>
                    <a:lnTo>
                      <a:pt x="1131" y="0"/>
                    </a:lnTo>
                    <a:lnTo>
                      <a:pt x="215" y="128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8" name="Freeform 471"/>
              <p:cNvSpPr>
                <a:spLocks/>
              </p:cNvSpPr>
              <p:nvPr/>
            </p:nvSpPr>
            <p:spPr bwMode="auto">
              <a:xfrm>
                <a:off x="-3668713" y="-35401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9" name="Freeform 472"/>
              <p:cNvSpPr>
                <a:spLocks/>
              </p:cNvSpPr>
              <p:nvPr/>
            </p:nvSpPr>
            <p:spPr bwMode="auto">
              <a:xfrm>
                <a:off x="-3668713" y="-3540126"/>
                <a:ext cx="238125" cy="1431925"/>
              </a:xfrm>
              <a:custGeom>
                <a:avLst/>
                <a:gdLst>
                  <a:gd name="T0" fmla="*/ 150 w 150"/>
                  <a:gd name="T1" fmla="*/ 902 h 902"/>
                  <a:gd name="T2" fmla="*/ 0 w 150"/>
                  <a:gd name="T3" fmla="*/ 0 h 902"/>
                  <a:gd name="T4" fmla="*/ 0 w 150"/>
                  <a:gd name="T5" fmla="*/ 0 h 902"/>
                  <a:gd name="T6" fmla="*/ 150 w 150"/>
                  <a:gd name="T7" fmla="*/ 902 h 902"/>
                </a:gdLst>
                <a:ahLst/>
                <a:cxnLst>
                  <a:cxn ang="0">
                    <a:pos x="T0" y="T1"/>
                  </a:cxn>
                  <a:cxn ang="0">
                    <a:pos x="T2" y="T3"/>
                  </a:cxn>
                  <a:cxn ang="0">
                    <a:pos x="T4" y="T5"/>
                  </a:cxn>
                  <a:cxn ang="0">
                    <a:pos x="T6" y="T7"/>
                  </a:cxn>
                </a:cxnLst>
                <a:rect l="0" t="0" r="r" b="b"/>
                <a:pathLst>
                  <a:path w="150" h="902">
                    <a:moveTo>
                      <a:pt x="150" y="902"/>
                    </a:moveTo>
                    <a:lnTo>
                      <a:pt x="0" y="0"/>
                    </a:lnTo>
                    <a:lnTo>
                      <a:pt x="0" y="0"/>
                    </a:lnTo>
                    <a:lnTo>
                      <a:pt x="150" y="902"/>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0" name="Freeform 473"/>
              <p:cNvSpPr>
                <a:spLocks/>
              </p:cNvSpPr>
              <p:nvPr/>
            </p:nvSpPr>
            <p:spPr bwMode="auto">
              <a:xfrm>
                <a:off x="-2771775" y="-428626"/>
                <a:ext cx="1917700" cy="2205038"/>
              </a:xfrm>
              <a:custGeom>
                <a:avLst/>
                <a:gdLst>
                  <a:gd name="T0" fmla="*/ 1208 w 1208"/>
                  <a:gd name="T1" fmla="*/ 1389 h 1389"/>
                  <a:gd name="T2" fmla="*/ 0 w 1208"/>
                  <a:gd name="T3" fmla="*/ 979 h 1389"/>
                  <a:gd name="T4" fmla="*/ 566 w 1208"/>
                  <a:gd name="T5" fmla="*/ 0 h 1389"/>
                  <a:gd name="T6" fmla="*/ 566 w 1208"/>
                  <a:gd name="T7" fmla="*/ 0 h 1389"/>
                  <a:gd name="T8" fmla="*/ 566 w 1208"/>
                  <a:gd name="T9" fmla="*/ 0 h 1389"/>
                  <a:gd name="T10" fmla="*/ 566 w 1208"/>
                  <a:gd name="T11" fmla="*/ 0 h 1389"/>
                  <a:gd name="T12" fmla="*/ 566 w 1208"/>
                  <a:gd name="T13" fmla="*/ 0 h 1389"/>
                  <a:gd name="T14" fmla="*/ 1104 w 1208"/>
                  <a:gd name="T15" fmla="*/ 901 h 1389"/>
                  <a:gd name="T16" fmla="*/ 1208 w 1208"/>
                  <a:gd name="T17" fmla="*/ 1075 h 1389"/>
                  <a:gd name="T18" fmla="*/ 1208 w 1208"/>
                  <a:gd name="T19" fmla="*/ 1389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8" h="1389">
                    <a:moveTo>
                      <a:pt x="1208" y="1389"/>
                    </a:moveTo>
                    <a:lnTo>
                      <a:pt x="0" y="979"/>
                    </a:lnTo>
                    <a:lnTo>
                      <a:pt x="566" y="0"/>
                    </a:lnTo>
                    <a:lnTo>
                      <a:pt x="566" y="0"/>
                    </a:lnTo>
                    <a:lnTo>
                      <a:pt x="566" y="0"/>
                    </a:lnTo>
                    <a:lnTo>
                      <a:pt x="566" y="0"/>
                    </a:lnTo>
                    <a:lnTo>
                      <a:pt x="566" y="0"/>
                    </a:lnTo>
                    <a:lnTo>
                      <a:pt x="1104" y="901"/>
                    </a:lnTo>
                    <a:lnTo>
                      <a:pt x="1208" y="1075"/>
                    </a:lnTo>
                    <a:lnTo>
                      <a:pt x="1208" y="138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1" name="Freeform 474"/>
              <p:cNvSpPr>
                <a:spLocks/>
              </p:cNvSpPr>
              <p:nvPr/>
            </p:nvSpPr>
            <p:spPr bwMode="auto">
              <a:xfrm>
                <a:off x="-3327400" y="-2127251"/>
                <a:ext cx="2473325" cy="1698625"/>
              </a:xfrm>
              <a:custGeom>
                <a:avLst/>
                <a:gdLst>
                  <a:gd name="T0" fmla="*/ 916 w 1558"/>
                  <a:gd name="T1" fmla="*/ 1070 h 1070"/>
                  <a:gd name="T2" fmla="*/ 916 w 1558"/>
                  <a:gd name="T3" fmla="*/ 1070 h 1070"/>
                  <a:gd name="T4" fmla="*/ 0 w 1558"/>
                  <a:gd name="T5" fmla="*/ 399 h 1070"/>
                  <a:gd name="T6" fmla="*/ 1558 w 1558"/>
                  <a:gd name="T7" fmla="*/ 0 h 1070"/>
                  <a:gd name="T8" fmla="*/ 1558 w 1558"/>
                  <a:gd name="T9" fmla="*/ 299 h 1070"/>
                  <a:gd name="T10" fmla="*/ 1515 w 1558"/>
                  <a:gd name="T11" fmla="*/ 350 h 1070"/>
                  <a:gd name="T12" fmla="*/ 916 w 1558"/>
                  <a:gd name="T13" fmla="*/ 1070 h 1070"/>
                </a:gdLst>
                <a:ahLst/>
                <a:cxnLst>
                  <a:cxn ang="0">
                    <a:pos x="T0" y="T1"/>
                  </a:cxn>
                  <a:cxn ang="0">
                    <a:pos x="T2" y="T3"/>
                  </a:cxn>
                  <a:cxn ang="0">
                    <a:pos x="T4" y="T5"/>
                  </a:cxn>
                  <a:cxn ang="0">
                    <a:pos x="T6" y="T7"/>
                  </a:cxn>
                  <a:cxn ang="0">
                    <a:pos x="T8" y="T9"/>
                  </a:cxn>
                  <a:cxn ang="0">
                    <a:pos x="T10" y="T11"/>
                  </a:cxn>
                  <a:cxn ang="0">
                    <a:pos x="T12" y="T13"/>
                  </a:cxn>
                </a:cxnLst>
                <a:rect l="0" t="0" r="r" b="b"/>
                <a:pathLst>
                  <a:path w="1558" h="1070">
                    <a:moveTo>
                      <a:pt x="916" y="1070"/>
                    </a:moveTo>
                    <a:lnTo>
                      <a:pt x="916" y="1070"/>
                    </a:lnTo>
                    <a:lnTo>
                      <a:pt x="0" y="399"/>
                    </a:lnTo>
                    <a:lnTo>
                      <a:pt x="1558" y="0"/>
                    </a:lnTo>
                    <a:lnTo>
                      <a:pt x="1558" y="299"/>
                    </a:lnTo>
                    <a:lnTo>
                      <a:pt x="1515" y="350"/>
                    </a:lnTo>
                    <a:lnTo>
                      <a:pt x="916" y="107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2" name="Freeform 475"/>
              <p:cNvSpPr>
                <a:spLocks/>
              </p:cNvSpPr>
              <p:nvPr/>
            </p:nvSpPr>
            <p:spPr bwMode="auto">
              <a:xfrm>
                <a:off x="-1873250" y="-428626"/>
                <a:ext cx="1019175" cy="1706563"/>
              </a:xfrm>
              <a:custGeom>
                <a:avLst/>
                <a:gdLst>
                  <a:gd name="T0" fmla="*/ 642 w 642"/>
                  <a:gd name="T1" fmla="*/ 1075 h 1075"/>
                  <a:gd name="T2" fmla="*/ 538 w 642"/>
                  <a:gd name="T3" fmla="*/ 901 h 1075"/>
                  <a:gd name="T4" fmla="*/ 0 w 642"/>
                  <a:gd name="T5" fmla="*/ 0 h 1075"/>
                  <a:gd name="T6" fmla="*/ 642 w 642"/>
                  <a:gd name="T7" fmla="*/ 193 h 1075"/>
                  <a:gd name="T8" fmla="*/ 642 w 642"/>
                  <a:gd name="T9" fmla="*/ 1075 h 1075"/>
                </a:gdLst>
                <a:ahLst/>
                <a:cxnLst>
                  <a:cxn ang="0">
                    <a:pos x="T0" y="T1"/>
                  </a:cxn>
                  <a:cxn ang="0">
                    <a:pos x="T2" y="T3"/>
                  </a:cxn>
                  <a:cxn ang="0">
                    <a:pos x="T4" y="T5"/>
                  </a:cxn>
                  <a:cxn ang="0">
                    <a:pos x="T6" y="T7"/>
                  </a:cxn>
                  <a:cxn ang="0">
                    <a:pos x="T8" y="T9"/>
                  </a:cxn>
                </a:cxnLst>
                <a:rect l="0" t="0" r="r" b="b"/>
                <a:pathLst>
                  <a:path w="642" h="1075">
                    <a:moveTo>
                      <a:pt x="642" y="1075"/>
                    </a:moveTo>
                    <a:lnTo>
                      <a:pt x="538" y="901"/>
                    </a:lnTo>
                    <a:lnTo>
                      <a:pt x="0" y="0"/>
                    </a:lnTo>
                    <a:lnTo>
                      <a:pt x="642" y="193"/>
                    </a:lnTo>
                    <a:lnTo>
                      <a:pt x="642" y="107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3" name="Freeform 476"/>
              <p:cNvSpPr>
                <a:spLocks/>
              </p:cNvSpPr>
              <p:nvPr/>
            </p:nvSpPr>
            <p:spPr bwMode="auto">
              <a:xfrm>
                <a:off x="-3327400" y="-1493838"/>
                <a:ext cx="1454150" cy="1654175"/>
              </a:xfrm>
              <a:custGeom>
                <a:avLst/>
                <a:gdLst>
                  <a:gd name="T0" fmla="*/ 218 w 916"/>
                  <a:gd name="T1" fmla="*/ 1042 h 1042"/>
                  <a:gd name="T2" fmla="*/ 218 w 916"/>
                  <a:gd name="T3" fmla="*/ 1042 h 1042"/>
                  <a:gd name="T4" fmla="*/ 0 w 916"/>
                  <a:gd name="T5" fmla="*/ 0 h 1042"/>
                  <a:gd name="T6" fmla="*/ 916 w 916"/>
                  <a:gd name="T7" fmla="*/ 671 h 1042"/>
                  <a:gd name="T8" fmla="*/ 916 w 916"/>
                  <a:gd name="T9" fmla="*/ 671 h 1042"/>
                  <a:gd name="T10" fmla="*/ 218 w 916"/>
                  <a:gd name="T11" fmla="*/ 1042 h 1042"/>
                </a:gdLst>
                <a:ahLst/>
                <a:cxnLst>
                  <a:cxn ang="0">
                    <a:pos x="T0" y="T1"/>
                  </a:cxn>
                  <a:cxn ang="0">
                    <a:pos x="T2" y="T3"/>
                  </a:cxn>
                  <a:cxn ang="0">
                    <a:pos x="T4" y="T5"/>
                  </a:cxn>
                  <a:cxn ang="0">
                    <a:pos x="T6" y="T7"/>
                  </a:cxn>
                  <a:cxn ang="0">
                    <a:pos x="T8" y="T9"/>
                  </a:cxn>
                  <a:cxn ang="0">
                    <a:pos x="T10" y="T11"/>
                  </a:cxn>
                </a:cxnLst>
                <a:rect l="0" t="0" r="r" b="b"/>
                <a:pathLst>
                  <a:path w="916" h="1042">
                    <a:moveTo>
                      <a:pt x="218" y="1042"/>
                    </a:moveTo>
                    <a:lnTo>
                      <a:pt x="218" y="1042"/>
                    </a:lnTo>
                    <a:lnTo>
                      <a:pt x="0" y="0"/>
                    </a:lnTo>
                    <a:lnTo>
                      <a:pt x="916" y="671"/>
                    </a:lnTo>
                    <a:lnTo>
                      <a:pt x="916" y="671"/>
                    </a:lnTo>
                    <a:lnTo>
                      <a:pt x="218" y="10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4" name="Freeform 477"/>
              <p:cNvSpPr>
                <a:spLocks/>
              </p:cNvSpPr>
              <p:nvPr/>
            </p:nvSpPr>
            <p:spPr bwMode="auto">
              <a:xfrm>
                <a:off x="-1873250" y="-1652588"/>
                <a:ext cx="1019175" cy="1530350"/>
              </a:xfrm>
              <a:custGeom>
                <a:avLst/>
                <a:gdLst>
                  <a:gd name="T0" fmla="*/ 642 w 642"/>
                  <a:gd name="T1" fmla="*/ 964 h 964"/>
                  <a:gd name="T2" fmla="*/ 0 w 642"/>
                  <a:gd name="T3" fmla="*/ 771 h 964"/>
                  <a:gd name="T4" fmla="*/ 0 w 642"/>
                  <a:gd name="T5" fmla="*/ 771 h 964"/>
                  <a:gd name="T6" fmla="*/ 599 w 642"/>
                  <a:gd name="T7" fmla="*/ 51 h 964"/>
                  <a:gd name="T8" fmla="*/ 642 w 642"/>
                  <a:gd name="T9" fmla="*/ 0 h 964"/>
                  <a:gd name="T10" fmla="*/ 642 w 642"/>
                  <a:gd name="T11" fmla="*/ 964 h 964"/>
                </a:gdLst>
                <a:ahLst/>
                <a:cxnLst>
                  <a:cxn ang="0">
                    <a:pos x="T0" y="T1"/>
                  </a:cxn>
                  <a:cxn ang="0">
                    <a:pos x="T2" y="T3"/>
                  </a:cxn>
                  <a:cxn ang="0">
                    <a:pos x="T4" y="T5"/>
                  </a:cxn>
                  <a:cxn ang="0">
                    <a:pos x="T6" y="T7"/>
                  </a:cxn>
                  <a:cxn ang="0">
                    <a:pos x="T8" y="T9"/>
                  </a:cxn>
                  <a:cxn ang="0">
                    <a:pos x="T10" y="T11"/>
                  </a:cxn>
                </a:cxnLst>
                <a:rect l="0" t="0" r="r" b="b"/>
                <a:pathLst>
                  <a:path w="642" h="964">
                    <a:moveTo>
                      <a:pt x="642" y="964"/>
                    </a:moveTo>
                    <a:lnTo>
                      <a:pt x="0" y="771"/>
                    </a:lnTo>
                    <a:lnTo>
                      <a:pt x="0" y="771"/>
                    </a:lnTo>
                    <a:lnTo>
                      <a:pt x="599" y="51"/>
                    </a:lnTo>
                    <a:lnTo>
                      <a:pt x="642" y="0"/>
                    </a:lnTo>
                    <a:lnTo>
                      <a:pt x="642" y="964"/>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5" name="Freeform 478"/>
              <p:cNvSpPr>
                <a:spLocks/>
              </p:cNvSpPr>
              <p:nvPr/>
            </p:nvSpPr>
            <p:spPr bwMode="auto">
              <a:xfrm>
                <a:off x="-922338" y="-1652588"/>
                <a:ext cx="68263" cy="80963"/>
              </a:xfrm>
              <a:custGeom>
                <a:avLst/>
                <a:gdLst>
                  <a:gd name="T0" fmla="*/ 0 w 43"/>
                  <a:gd name="T1" fmla="*/ 51 h 51"/>
                  <a:gd name="T2" fmla="*/ 43 w 43"/>
                  <a:gd name="T3" fmla="*/ 0 h 51"/>
                  <a:gd name="T4" fmla="*/ 43 w 43"/>
                  <a:gd name="T5" fmla="*/ 0 h 51"/>
                  <a:gd name="T6" fmla="*/ 0 w 43"/>
                  <a:gd name="T7" fmla="*/ 51 h 51"/>
                </a:gdLst>
                <a:ahLst/>
                <a:cxnLst>
                  <a:cxn ang="0">
                    <a:pos x="T0" y="T1"/>
                  </a:cxn>
                  <a:cxn ang="0">
                    <a:pos x="T2" y="T3"/>
                  </a:cxn>
                  <a:cxn ang="0">
                    <a:pos x="T4" y="T5"/>
                  </a:cxn>
                  <a:cxn ang="0">
                    <a:pos x="T6" y="T7"/>
                  </a:cxn>
                </a:cxnLst>
                <a:rect l="0" t="0" r="r" b="b"/>
                <a:pathLst>
                  <a:path w="43" h="51">
                    <a:moveTo>
                      <a:pt x="0" y="51"/>
                    </a:moveTo>
                    <a:lnTo>
                      <a:pt x="43" y="0"/>
                    </a:lnTo>
                    <a:lnTo>
                      <a:pt x="43" y="0"/>
                    </a:lnTo>
                    <a:lnTo>
                      <a:pt x="0" y="51"/>
                    </a:lnTo>
                    <a:close/>
                  </a:path>
                </a:pathLst>
              </a:custGeom>
              <a:solidFill>
                <a:srgbClr val="5A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6" name="Freeform 479"/>
              <p:cNvSpPr>
                <a:spLocks/>
              </p:cNvSpPr>
              <p:nvPr/>
            </p:nvSpPr>
            <p:spPr bwMode="auto">
              <a:xfrm>
                <a:off x="-2981325" y="-428626"/>
                <a:ext cx="1108075" cy="1554163"/>
              </a:xfrm>
              <a:custGeom>
                <a:avLst/>
                <a:gdLst>
                  <a:gd name="T0" fmla="*/ 132 w 698"/>
                  <a:gd name="T1" fmla="*/ 979 h 979"/>
                  <a:gd name="T2" fmla="*/ 78 w 698"/>
                  <a:gd name="T3" fmla="*/ 730 h 979"/>
                  <a:gd name="T4" fmla="*/ 0 w 698"/>
                  <a:gd name="T5" fmla="*/ 371 h 979"/>
                  <a:gd name="T6" fmla="*/ 0 w 698"/>
                  <a:gd name="T7" fmla="*/ 371 h 979"/>
                  <a:gd name="T8" fmla="*/ 698 w 698"/>
                  <a:gd name="T9" fmla="*/ 0 h 979"/>
                  <a:gd name="T10" fmla="*/ 132 w 698"/>
                  <a:gd name="T11" fmla="*/ 979 h 979"/>
                </a:gdLst>
                <a:ahLst/>
                <a:cxnLst>
                  <a:cxn ang="0">
                    <a:pos x="T0" y="T1"/>
                  </a:cxn>
                  <a:cxn ang="0">
                    <a:pos x="T2" y="T3"/>
                  </a:cxn>
                  <a:cxn ang="0">
                    <a:pos x="T4" y="T5"/>
                  </a:cxn>
                  <a:cxn ang="0">
                    <a:pos x="T6" y="T7"/>
                  </a:cxn>
                  <a:cxn ang="0">
                    <a:pos x="T8" y="T9"/>
                  </a:cxn>
                  <a:cxn ang="0">
                    <a:pos x="T10" y="T11"/>
                  </a:cxn>
                </a:cxnLst>
                <a:rect l="0" t="0" r="r" b="b"/>
                <a:pathLst>
                  <a:path w="698" h="979">
                    <a:moveTo>
                      <a:pt x="132" y="979"/>
                    </a:moveTo>
                    <a:lnTo>
                      <a:pt x="78" y="730"/>
                    </a:lnTo>
                    <a:lnTo>
                      <a:pt x="0" y="371"/>
                    </a:lnTo>
                    <a:lnTo>
                      <a:pt x="0" y="371"/>
                    </a:lnTo>
                    <a:lnTo>
                      <a:pt x="698" y="0"/>
                    </a:lnTo>
                    <a:lnTo>
                      <a:pt x="132" y="97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7" name="Freeform 480"/>
              <p:cNvSpPr>
                <a:spLocks/>
              </p:cNvSpPr>
              <p:nvPr/>
            </p:nvSpPr>
            <p:spPr bwMode="auto">
              <a:xfrm>
                <a:off x="-2981325" y="160337"/>
                <a:ext cx="123825" cy="569913"/>
              </a:xfrm>
              <a:custGeom>
                <a:avLst/>
                <a:gdLst>
                  <a:gd name="T0" fmla="*/ 78 w 78"/>
                  <a:gd name="T1" fmla="*/ 359 h 359"/>
                  <a:gd name="T2" fmla="*/ 0 w 78"/>
                  <a:gd name="T3" fmla="*/ 0 h 359"/>
                  <a:gd name="T4" fmla="*/ 0 w 78"/>
                  <a:gd name="T5" fmla="*/ 0 h 359"/>
                  <a:gd name="T6" fmla="*/ 78 w 78"/>
                  <a:gd name="T7" fmla="*/ 359 h 359"/>
                </a:gdLst>
                <a:ahLst/>
                <a:cxnLst>
                  <a:cxn ang="0">
                    <a:pos x="T0" y="T1"/>
                  </a:cxn>
                  <a:cxn ang="0">
                    <a:pos x="T2" y="T3"/>
                  </a:cxn>
                  <a:cxn ang="0">
                    <a:pos x="T4" y="T5"/>
                  </a:cxn>
                  <a:cxn ang="0">
                    <a:pos x="T6" y="T7"/>
                  </a:cxn>
                </a:cxnLst>
                <a:rect l="0" t="0" r="r" b="b"/>
                <a:pathLst>
                  <a:path w="78" h="359">
                    <a:moveTo>
                      <a:pt x="78" y="359"/>
                    </a:moveTo>
                    <a:lnTo>
                      <a:pt x="0" y="0"/>
                    </a:lnTo>
                    <a:lnTo>
                      <a:pt x="0" y="0"/>
                    </a:lnTo>
                    <a:lnTo>
                      <a:pt x="78" y="359"/>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8" name="Freeform 481"/>
              <p:cNvSpPr>
                <a:spLocks/>
              </p:cNvSpPr>
              <p:nvPr/>
            </p:nvSpPr>
            <p:spPr bwMode="auto">
              <a:xfrm>
                <a:off x="-2771775" y="-428626"/>
                <a:ext cx="898525" cy="1554163"/>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9" name="Freeform 482"/>
              <p:cNvSpPr>
                <a:spLocks noEditPoints="1"/>
              </p:cNvSpPr>
              <p:nvPr/>
            </p:nvSpPr>
            <p:spPr bwMode="auto">
              <a:xfrm>
                <a:off x="-2771775" y="2682875"/>
                <a:ext cx="898525" cy="2232025"/>
              </a:xfrm>
              <a:custGeom>
                <a:avLst/>
                <a:gdLst>
                  <a:gd name="T0" fmla="*/ 940 w 1179"/>
                  <a:gd name="T1" fmla="*/ 2930 h 2930"/>
                  <a:gd name="T2" fmla="*/ 0 w 1179"/>
                  <a:gd name="T3" fmla="*/ 2041 h 2930"/>
                  <a:gd name="T4" fmla="*/ 1179 w 1179"/>
                  <a:gd name="T5" fmla="*/ 0 h 2930"/>
                  <a:gd name="T6" fmla="*/ 940 w 1179"/>
                  <a:gd name="T7" fmla="*/ 2930 h 2930"/>
                  <a:gd name="T8" fmla="*/ 1179 w 1179"/>
                  <a:gd name="T9" fmla="*/ 0 h 2930"/>
                  <a:gd name="T10" fmla="*/ 1179 w 1179"/>
                  <a:gd name="T11" fmla="*/ 0 h 2930"/>
                </a:gdLst>
                <a:ahLst/>
                <a:cxnLst>
                  <a:cxn ang="0">
                    <a:pos x="T0" y="T1"/>
                  </a:cxn>
                  <a:cxn ang="0">
                    <a:pos x="T2" y="T3"/>
                  </a:cxn>
                  <a:cxn ang="0">
                    <a:pos x="T4" y="T5"/>
                  </a:cxn>
                  <a:cxn ang="0">
                    <a:pos x="T6" y="T7"/>
                  </a:cxn>
                  <a:cxn ang="0">
                    <a:pos x="T8" y="T9"/>
                  </a:cxn>
                  <a:cxn ang="0">
                    <a:pos x="T10" y="T11"/>
                  </a:cxn>
                </a:cxnLst>
                <a:rect l="0" t="0" r="r" b="b"/>
                <a:pathLst>
                  <a:path w="1179" h="2930">
                    <a:moveTo>
                      <a:pt x="940" y="2930"/>
                    </a:moveTo>
                    <a:lnTo>
                      <a:pt x="0" y="2041"/>
                    </a:lnTo>
                    <a:lnTo>
                      <a:pt x="1179" y="0"/>
                    </a:lnTo>
                    <a:lnTo>
                      <a:pt x="940" y="2930"/>
                    </a:lnTo>
                    <a:moveTo>
                      <a:pt x="1179" y="0"/>
                    </a:moveTo>
                    <a:lnTo>
                      <a:pt x="1179"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0" name="Freeform 483"/>
              <p:cNvSpPr>
                <a:spLocks/>
              </p:cNvSpPr>
              <p:nvPr/>
            </p:nvSpPr>
            <p:spPr bwMode="auto">
              <a:xfrm>
                <a:off x="-2771775" y="1125537"/>
                <a:ext cx="1917700" cy="1557338"/>
              </a:xfrm>
              <a:custGeom>
                <a:avLst/>
                <a:gdLst>
                  <a:gd name="T0" fmla="*/ 566 w 1208"/>
                  <a:gd name="T1" fmla="*/ 981 h 981"/>
                  <a:gd name="T2" fmla="*/ 566 w 1208"/>
                  <a:gd name="T3" fmla="*/ 981 h 981"/>
                  <a:gd name="T4" fmla="*/ 0 w 1208"/>
                  <a:gd name="T5" fmla="*/ 0 h 981"/>
                  <a:gd name="T6" fmla="*/ 1208 w 1208"/>
                  <a:gd name="T7" fmla="*/ 410 h 981"/>
                  <a:gd name="T8" fmla="*/ 1208 w 1208"/>
                  <a:gd name="T9" fmla="*/ 621 h 981"/>
                  <a:gd name="T10" fmla="*/ 933 w 1208"/>
                  <a:gd name="T11" fmla="*/ 775 h 981"/>
                  <a:gd name="T12" fmla="*/ 566 w 1208"/>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208" h="981">
                    <a:moveTo>
                      <a:pt x="566" y="981"/>
                    </a:moveTo>
                    <a:lnTo>
                      <a:pt x="566" y="981"/>
                    </a:lnTo>
                    <a:lnTo>
                      <a:pt x="0" y="0"/>
                    </a:lnTo>
                    <a:lnTo>
                      <a:pt x="1208" y="410"/>
                    </a:lnTo>
                    <a:lnTo>
                      <a:pt x="1208" y="621"/>
                    </a:lnTo>
                    <a:lnTo>
                      <a:pt x="933" y="775"/>
                    </a:lnTo>
                    <a:lnTo>
                      <a:pt x="566"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1" name="Freeform 484"/>
              <p:cNvSpPr>
                <a:spLocks/>
              </p:cNvSpPr>
              <p:nvPr/>
            </p:nvSpPr>
            <p:spPr bwMode="auto">
              <a:xfrm>
                <a:off x="-2054225" y="2682875"/>
                <a:ext cx="1200150" cy="2232025"/>
              </a:xfrm>
              <a:custGeom>
                <a:avLst/>
                <a:gdLst>
                  <a:gd name="T0" fmla="*/ 0 w 756"/>
                  <a:gd name="T1" fmla="*/ 1406 h 1406"/>
                  <a:gd name="T2" fmla="*/ 114 w 756"/>
                  <a:gd name="T3" fmla="*/ 0 h 1406"/>
                  <a:gd name="T4" fmla="*/ 756 w 756"/>
                  <a:gd name="T5" fmla="*/ 0 h 1406"/>
                  <a:gd name="T6" fmla="*/ 756 w 756"/>
                  <a:gd name="T7" fmla="*/ 553 h 1406"/>
                  <a:gd name="T8" fmla="*/ 0 w 756"/>
                  <a:gd name="T9" fmla="*/ 1406 h 1406"/>
                </a:gdLst>
                <a:ahLst/>
                <a:cxnLst>
                  <a:cxn ang="0">
                    <a:pos x="T0" y="T1"/>
                  </a:cxn>
                  <a:cxn ang="0">
                    <a:pos x="T2" y="T3"/>
                  </a:cxn>
                  <a:cxn ang="0">
                    <a:pos x="T4" y="T5"/>
                  </a:cxn>
                  <a:cxn ang="0">
                    <a:pos x="T6" y="T7"/>
                  </a:cxn>
                  <a:cxn ang="0">
                    <a:pos x="T8" y="T9"/>
                  </a:cxn>
                </a:cxnLst>
                <a:rect l="0" t="0" r="r" b="b"/>
                <a:pathLst>
                  <a:path w="756" h="1406">
                    <a:moveTo>
                      <a:pt x="0" y="1406"/>
                    </a:moveTo>
                    <a:lnTo>
                      <a:pt x="114" y="0"/>
                    </a:lnTo>
                    <a:lnTo>
                      <a:pt x="756" y="0"/>
                    </a:lnTo>
                    <a:lnTo>
                      <a:pt x="756" y="553"/>
                    </a:lnTo>
                    <a:lnTo>
                      <a:pt x="0" y="140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2" name="Freeform 485"/>
              <p:cNvSpPr>
                <a:spLocks noEditPoints="1"/>
              </p:cNvSpPr>
              <p:nvPr/>
            </p:nvSpPr>
            <p:spPr bwMode="auto">
              <a:xfrm>
                <a:off x="-4413250" y="1125537"/>
                <a:ext cx="2540000" cy="1987550"/>
              </a:xfrm>
              <a:custGeom>
                <a:avLst/>
                <a:gdLst>
                  <a:gd name="T0" fmla="*/ 0 w 3333"/>
                  <a:gd name="T1" fmla="*/ 2608 h 2608"/>
                  <a:gd name="T2" fmla="*/ 0 w 3333"/>
                  <a:gd name="T3" fmla="*/ 2608 h 2608"/>
                  <a:gd name="T4" fmla="*/ 0 w 3333"/>
                  <a:gd name="T5" fmla="*/ 2608 h 2608"/>
                  <a:gd name="T6" fmla="*/ 0 w 3333"/>
                  <a:gd name="T7" fmla="*/ 2608 h 2608"/>
                  <a:gd name="T8" fmla="*/ 0 w 3333"/>
                  <a:gd name="T9" fmla="*/ 2608 h 2608"/>
                  <a:gd name="T10" fmla="*/ 2154 w 3333"/>
                  <a:gd name="T11" fmla="*/ 0 h 2608"/>
                  <a:gd name="T12" fmla="*/ 3333 w 3333"/>
                  <a:gd name="T13" fmla="*/ 2042 h 2608"/>
                  <a:gd name="T14" fmla="*/ 3333 w 3333"/>
                  <a:gd name="T15" fmla="*/ 2042 h 2608"/>
                  <a:gd name="T16" fmla="*/ 0 w 3333"/>
                  <a:gd name="T17" fmla="*/ 2608 h 2608"/>
                  <a:gd name="T18" fmla="*/ 3333 w 3333"/>
                  <a:gd name="T19" fmla="*/ 2042 h 2608"/>
                  <a:gd name="T20" fmla="*/ 3333 w 3333"/>
                  <a:gd name="T21" fmla="*/ 2042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33" h="2608">
                    <a:moveTo>
                      <a:pt x="0" y="2608"/>
                    </a:moveTo>
                    <a:lnTo>
                      <a:pt x="0" y="2608"/>
                    </a:lnTo>
                    <a:lnTo>
                      <a:pt x="0" y="2608"/>
                    </a:lnTo>
                    <a:lnTo>
                      <a:pt x="0" y="2608"/>
                    </a:lnTo>
                    <a:moveTo>
                      <a:pt x="0" y="2608"/>
                    </a:moveTo>
                    <a:lnTo>
                      <a:pt x="2154" y="0"/>
                    </a:lnTo>
                    <a:lnTo>
                      <a:pt x="3333" y="2042"/>
                    </a:lnTo>
                    <a:lnTo>
                      <a:pt x="3333" y="2042"/>
                    </a:lnTo>
                    <a:lnTo>
                      <a:pt x="0" y="2608"/>
                    </a:lnTo>
                    <a:moveTo>
                      <a:pt x="3333" y="2042"/>
                    </a:moveTo>
                    <a:lnTo>
                      <a:pt x="3333" y="2042"/>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3" name="Freeform 486"/>
              <p:cNvSpPr>
                <a:spLocks/>
              </p:cNvSpPr>
              <p:nvPr/>
            </p:nvSpPr>
            <p:spPr bwMode="auto">
              <a:xfrm>
                <a:off x="-1873250" y="2111375"/>
                <a:ext cx="1019175" cy="571500"/>
              </a:xfrm>
              <a:custGeom>
                <a:avLst/>
                <a:gdLst>
                  <a:gd name="T0" fmla="*/ 0 w 642"/>
                  <a:gd name="T1" fmla="*/ 360 h 360"/>
                  <a:gd name="T2" fmla="*/ 0 w 642"/>
                  <a:gd name="T3" fmla="*/ 360 h 360"/>
                  <a:gd name="T4" fmla="*/ 367 w 642"/>
                  <a:gd name="T5" fmla="*/ 154 h 360"/>
                  <a:gd name="T6" fmla="*/ 642 w 642"/>
                  <a:gd name="T7" fmla="*/ 0 h 360"/>
                  <a:gd name="T8" fmla="*/ 642 w 642"/>
                  <a:gd name="T9" fmla="*/ 360 h 360"/>
                  <a:gd name="T10" fmla="*/ 0 w 642"/>
                  <a:gd name="T11" fmla="*/ 360 h 360"/>
                </a:gdLst>
                <a:ahLst/>
                <a:cxnLst>
                  <a:cxn ang="0">
                    <a:pos x="T0" y="T1"/>
                  </a:cxn>
                  <a:cxn ang="0">
                    <a:pos x="T2" y="T3"/>
                  </a:cxn>
                  <a:cxn ang="0">
                    <a:pos x="T4" y="T5"/>
                  </a:cxn>
                  <a:cxn ang="0">
                    <a:pos x="T6" y="T7"/>
                  </a:cxn>
                  <a:cxn ang="0">
                    <a:pos x="T8" y="T9"/>
                  </a:cxn>
                  <a:cxn ang="0">
                    <a:pos x="T10" y="T11"/>
                  </a:cxn>
                </a:cxnLst>
                <a:rect l="0" t="0" r="r" b="b"/>
                <a:pathLst>
                  <a:path w="642" h="360">
                    <a:moveTo>
                      <a:pt x="0" y="360"/>
                    </a:moveTo>
                    <a:lnTo>
                      <a:pt x="0" y="360"/>
                    </a:lnTo>
                    <a:lnTo>
                      <a:pt x="367" y="154"/>
                    </a:lnTo>
                    <a:lnTo>
                      <a:pt x="642" y="0"/>
                    </a:lnTo>
                    <a:lnTo>
                      <a:pt x="642" y="360"/>
                    </a:lnTo>
                    <a:lnTo>
                      <a:pt x="0" y="36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4" name="Freeform 487"/>
              <p:cNvSpPr>
                <a:spLocks/>
              </p:cNvSpPr>
              <p:nvPr/>
            </p:nvSpPr>
            <p:spPr bwMode="auto">
              <a:xfrm>
                <a:off x="-1290638" y="2111375"/>
                <a:ext cx="436563" cy="244475"/>
              </a:xfrm>
              <a:custGeom>
                <a:avLst/>
                <a:gdLst>
                  <a:gd name="T0" fmla="*/ 0 w 275"/>
                  <a:gd name="T1" fmla="*/ 154 h 154"/>
                  <a:gd name="T2" fmla="*/ 275 w 275"/>
                  <a:gd name="T3" fmla="*/ 0 h 154"/>
                  <a:gd name="T4" fmla="*/ 275 w 275"/>
                  <a:gd name="T5" fmla="*/ 0 h 154"/>
                  <a:gd name="T6" fmla="*/ 0 w 275"/>
                  <a:gd name="T7" fmla="*/ 154 h 154"/>
                </a:gdLst>
                <a:ahLst/>
                <a:cxnLst>
                  <a:cxn ang="0">
                    <a:pos x="T0" y="T1"/>
                  </a:cxn>
                  <a:cxn ang="0">
                    <a:pos x="T2" y="T3"/>
                  </a:cxn>
                  <a:cxn ang="0">
                    <a:pos x="T4" y="T5"/>
                  </a:cxn>
                  <a:cxn ang="0">
                    <a:pos x="T6" y="T7"/>
                  </a:cxn>
                </a:cxnLst>
                <a:rect l="0" t="0" r="r" b="b"/>
                <a:pathLst>
                  <a:path w="275" h="154">
                    <a:moveTo>
                      <a:pt x="0" y="154"/>
                    </a:moveTo>
                    <a:lnTo>
                      <a:pt x="275" y="0"/>
                    </a:lnTo>
                    <a:lnTo>
                      <a:pt x="275" y="0"/>
                    </a:lnTo>
                    <a:lnTo>
                      <a:pt x="0" y="15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5" name="Freeform 488"/>
              <p:cNvSpPr>
                <a:spLocks/>
              </p:cNvSpPr>
              <p:nvPr/>
            </p:nvSpPr>
            <p:spPr bwMode="auto">
              <a:xfrm>
                <a:off x="-4413250" y="2682875"/>
                <a:ext cx="2540000" cy="1554163"/>
              </a:xfrm>
              <a:custGeom>
                <a:avLst/>
                <a:gdLst>
                  <a:gd name="T0" fmla="*/ 1034 w 1600"/>
                  <a:gd name="T1" fmla="*/ 979 h 979"/>
                  <a:gd name="T2" fmla="*/ 0 w 1600"/>
                  <a:gd name="T3" fmla="*/ 271 h 979"/>
                  <a:gd name="T4" fmla="*/ 0 w 1600"/>
                  <a:gd name="T5" fmla="*/ 271 h 979"/>
                  <a:gd name="T6" fmla="*/ 1600 w 1600"/>
                  <a:gd name="T7" fmla="*/ 0 h 979"/>
                  <a:gd name="T8" fmla="*/ 1034 w 1600"/>
                  <a:gd name="T9" fmla="*/ 979 h 979"/>
                </a:gdLst>
                <a:ahLst/>
                <a:cxnLst>
                  <a:cxn ang="0">
                    <a:pos x="T0" y="T1"/>
                  </a:cxn>
                  <a:cxn ang="0">
                    <a:pos x="T2" y="T3"/>
                  </a:cxn>
                  <a:cxn ang="0">
                    <a:pos x="T4" y="T5"/>
                  </a:cxn>
                  <a:cxn ang="0">
                    <a:pos x="T6" y="T7"/>
                  </a:cxn>
                  <a:cxn ang="0">
                    <a:pos x="T8" y="T9"/>
                  </a:cxn>
                </a:cxnLst>
                <a:rect l="0" t="0" r="r" b="b"/>
                <a:pathLst>
                  <a:path w="1600" h="979">
                    <a:moveTo>
                      <a:pt x="1034" y="979"/>
                    </a:moveTo>
                    <a:lnTo>
                      <a:pt x="0" y="271"/>
                    </a:lnTo>
                    <a:lnTo>
                      <a:pt x="0" y="271"/>
                    </a:lnTo>
                    <a:lnTo>
                      <a:pt x="1600" y="0"/>
                    </a:lnTo>
                    <a:lnTo>
                      <a:pt x="1034"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6" name="Freeform 489"/>
              <p:cNvSpPr>
                <a:spLocks noEditPoints="1"/>
              </p:cNvSpPr>
              <p:nvPr/>
            </p:nvSpPr>
            <p:spPr bwMode="auto">
              <a:xfrm>
                <a:off x="-2438400" y="5792787"/>
                <a:ext cx="1517650" cy="1866900"/>
              </a:xfrm>
              <a:custGeom>
                <a:avLst/>
                <a:gdLst>
                  <a:gd name="T0" fmla="*/ 184 w 1992"/>
                  <a:gd name="T1" fmla="*/ 2449 h 2449"/>
                  <a:gd name="T2" fmla="*/ 0 w 1992"/>
                  <a:gd name="T3" fmla="*/ 2449 h 2449"/>
                  <a:gd name="T4" fmla="*/ 742 w 1992"/>
                  <a:gd name="T5" fmla="*/ 0 h 2449"/>
                  <a:gd name="T6" fmla="*/ 1342 w 1992"/>
                  <a:gd name="T7" fmla="*/ 650 h 2449"/>
                  <a:gd name="T8" fmla="*/ 1992 w 1992"/>
                  <a:gd name="T9" fmla="*/ 1354 h 2449"/>
                  <a:gd name="T10" fmla="*/ 184 w 1992"/>
                  <a:gd name="T11" fmla="*/ 2449 h 2449"/>
                  <a:gd name="T12" fmla="*/ 742 w 1992"/>
                  <a:gd name="T13" fmla="*/ 0 h 2449"/>
                  <a:gd name="T14" fmla="*/ 742 w 1992"/>
                  <a:gd name="T15" fmla="*/ 0 h 2449"/>
                  <a:gd name="T16" fmla="*/ 742 w 1992"/>
                  <a:gd name="T17" fmla="*/ 0 h 2449"/>
                  <a:gd name="T18" fmla="*/ 742 w 1992"/>
                  <a:gd name="T19" fmla="*/ 0 h 2449"/>
                  <a:gd name="T20" fmla="*/ 742 w 1992"/>
                  <a:gd name="T21" fmla="*/ 0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2" h="2449">
                    <a:moveTo>
                      <a:pt x="184" y="2449"/>
                    </a:moveTo>
                    <a:lnTo>
                      <a:pt x="0" y="2449"/>
                    </a:lnTo>
                    <a:lnTo>
                      <a:pt x="742" y="0"/>
                    </a:lnTo>
                    <a:lnTo>
                      <a:pt x="1342" y="650"/>
                    </a:lnTo>
                    <a:lnTo>
                      <a:pt x="1992" y="1354"/>
                    </a:lnTo>
                    <a:lnTo>
                      <a:pt x="184" y="2449"/>
                    </a:lnTo>
                    <a:moveTo>
                      <a:pt x="742" y="0"/>
                    </a:moveTo>
                    <a:lnTo>
                      <a:pt x="742" y="0"/>
                    </a:lnTo>
                    <a:moveTo>
                      <a:pt x="742" y="0"/>
                    </a:moveTo>
                    <a:lnTo>
                      <a:pt x="742" y="0"/>
                    </a:lnTo>
                    <a:lnTo>
                      <a:pt x="742"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7" name="Freeform 490"/>
              <p:cNvSpPr>
                <a:spLocks/>
              </p:cNvSpPr>
              <p:nvPr/>
            </p:nvSpPr>
            <p:spPr bwMode="auto">
              <a:xfrm>
                <a:off x="-2771775" y="4237037"/>
                <a:ext cx="898525" cy="1555750"/>
              </a:xfrm>
              <a:custGeom>
                <a:avLst/>
                <a:gdLst>
                  <a:gd name="T0" fmla="*/ 566 w 566"/>
                  <a:gd name="T1" fmla="*/ 980 h 980"/>
                  <a:gd name="T2" fmla="*/ 0 w 566"/>
                  <a:gd name="T3" fmla="*/ 0 h 980"/>
                  <a:gd name="T4" fmla="*/ 452 w 566"/>
                  <a:gd name="T5" fmla="*/ 427 h 980"/>
                  <a:gd name="T6" fmla="*/ 547 w 566"/>
                  <a:gd name="T7" fmla="*/ 885 h 980"/>
                  <a:gd name="T8" fmla="*/ 566 w 566"/>
                  <a:gd name="T9" fmla="*/ 980 h 980"/>
                </a:gdLst>
                <a:ahLst/>
                <a:cxnLst>
                  <a:cxn ang="0">
                    <a:pos x="T0" y="T1"/>
                  </a:cxn>
                  <a:cxn ang="0">
                    <a:pos x="T2" y="T3"/>
                  </a:cxn>
                  <a:cxn ang="0">
                    <a:pos x="T4" y="T5"/>
                  </a:cxn>
                  <a:cxn ang="0">
                    <a:pos x="T6" y="T7"/>
                  </a:cxn>
                  <a:cxn ang="0">
                    <a:pos x="T8" y="T9"/>
                  </a:cxn>
                </a:cxnLst>
                <a:rect l="0" t="0" r="r" b="b"/>
                <a:pathLst>
                  <a:path w="566" h="980">
                    <a:moveTo>
                      <a:pt x="566" y="980"/>
                    </a:moveTo>
                    <a:lnTo>
                      <a:pt x="0" y="0"/>
                    </a:lnTo>
                    <a:lnTo>
                      <a:pt x="452" y="427"/>
                    </a:lnTo>
                    <a:lnTo>
                      <a:pt x="547" y="88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8" name="Freeform 491"/>
              <p:cNvSpPr>
                <a:spLocks/>
              </p:cNvSpPr>
              <p:nvPr/>
            </p:nvSpPr>
            <p:spPr bwMode="auto">
              <a:xfrm>
                <a:off x="-1873250" y="5792787"/>
                <a:ext cx="1019175" cy="1031875"/>
              </a:xfrm>
              <a:custGeom>
                <a:avLst/>
                <a:gdLst>
                  <a:gd name="T0" fmla="*/ 600 w 642"/>
                  <a:gd name="T1" fmla="*/ 650 h 650"/>
                  <a:gd name="T2" fmla="*/ 288 w 642"/>
                  <a:gd name="T3" fmla="*/ 312 h 650"/>
                  <a:gd name="T4" fmla="*/ 0 w 642"/>
                  <a:gd name="T5" fmla="*/ 0 h 650"/>
                  <a:gd name="T6" fmla="*/ 642 w 642"/>
                  <a:gd name="T7" fmla="*/ 0 h 650"/>
                  <a:gd name="T8" fmla="*/ 642 w 642"/>
                  <a:gd name="T9" fmla="*/ 600 h 650"/>
                  <a:gd name="T10" fmla="*/ 600 w 642"/>
                  <a:gd name="T11" fmla="*/ 650 h 650"/>
                </a:gdLst>
                <a:ahLst/>
                <a:cxnLst>
                  <a:cxn ang="0">
                    <a:pos x="T0" y="T1"/>
                  </a:cxn>
                  <a:cxn ang="0">
                    <a:pos x="T2" y="T3"/>
                  </a:cxn>
                  <a:cxn ang="0">
                    <a:pos x="T4" y="T5"/>
                  </a:cxn>
                  <a:cxn ang="0">
                    <a:pos x="T6" y="T7"/>
                  </a:cxn>
                  <a:cxn ang="0">
                    <a:pos x="T8" y="T9"/>
                  </a:cxn>
                  <a:cxn ang="0">
                    <a:pos x="T10" y="T11"/>
                  </a:cxn>
                </a:cxnLst>
                <a:rect l="0" t="0" r="r" b="b"/>
                <a:pathLst>
                  <a:path w="642" h="650">
                    <a:moveTo>
                      <a:pt x="600" y="650"/>
                    </a:moveTo>
                    <a:lnTo>
                      <a:pt x="288" y="312"/>
                    </a:lnTo>
                    <a:lnTo>
                      <a:pt x="0" y="0"/>
                    </a:lnTo>
                    <a:lnTo>
                      <a:pt x="642" y="0"/>
                    </a:lnTo>
                    <a:lnTo>
                      <a:pt x="642" y="600"/>
                    </a:lnTo>
                    <a:lnTo>
                      <a:pt x="600" y="650"/>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9" name="Freeform 492"/>
              <p:cNvSpPr>
                <a:spLocks noEditPoints="1"/>
              </p:cNvSpPr>
              <p:nvPr/>
            </p:nvSpPr>
            <p:spPr bwMode="auto">
              <a:xfrm>
                <a:off x="-4214813" y="4237037"/>
                <a:ext cx="2341563" cy="2058988"/>
              </a:xfrm>
              <a:custGeom>
                <a:avLst/>
                <a:gdLst>
                  <a:gd name="T0" fmla="*/ 0 w 3073"/>
                  <a:gd name="T1" fmla="*/ 2701 h 2701"/>
                  <a:gd name="T2" fmla="*/ 0 w 3073"/>
                  <a:gd name="T3" fmla="*/ 2701 h 2701"/>
                  <a:gd name="T4" fmla="*/ 0 w 3073"/>
                  <a:gd name="T5" fmla="*/ 2701 h 2701"/>
                  <a:gd name="T6" fmla="*/ 0 w 3073"/>
                  <a:gd name="T7" fmla="*/ 2701 h 2701"/>
                  <a:gd name="T8" fmla="*/ 0 w 3073"/>
                  <a:gd name="T9" fmla="*/ 2701 h 2701"/>
                  <a:gd name="T10" fmla="*/ 1894 w 3073"/>
                  <a:gd name="T11" fmla="*/ 0 h 2701"/>
                  <a:gd name="T12" fmla="*/ 3073 w 3073"/>
                  <a:gd name="T13" fmla="*/ 2042 h 2701"/>
                  <a:gd name="T14" fmla="*/ 3073 w 3073"/>
                  <a:gd name="T15" fmla="*/ 2042 h 2701"/>
                  <a:gd name="T16" fmla="*/ 0 w 3073"/>
                  <a:gd name="T17" fmla="*/ 2701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701">
                    <a:moveTo>
                      <a:pt x="0" y="2701"/>
                    </a:moveTo>
                    <a:lnTo>
                      <a:pt x="0" y="2701"/>
                    </a:lnTo>
                    <a:lnTo>
                      <a:pt x="0" y="2701"/>
                    </a:lnTo>
                    <a:lnTo>
                      <a:pt x="0" y="2701"/>
                    </a:lnTo>
                    <a:moveTo>
                      <a:pt x="0" y="2701"/>
                    </a:moveTo>
                    <a:lnTo>
                      <a:pt x="1894" y="0"/>
                    </a:lnTo>
                    <a:lnTo>
                      <a:pt x="3073" y="2042"/>
                    </a:lnTo>
                    <a:lnTo>
                      <a:pt x="3073" y="2042"/>
                    </a:lnTo>
                    <a:lnTo>
                      <a:pt x="0" y="270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0" name="Freeform 493"/>
              <p:cNvSpPr>
                <a:spLocks/>
              </p:cNvSpPr>
              <p:nvPr/>
            </p:nvSpPr>
            <p:spPr bwMode="auto">
              <a:xfrm>
                <a:off x="-2054225" y="4914900"/>
                <a:ext cx="1200150" cy="877888"/>
              </a:xfrm>
              <a:custGeom>
                <a:avLst/>
                <a:gdLst>
                  <a:gd name="T0" fmla="*/ 114 w 756"/>
                  <a:gd name="T1" fmla="*/ 553 h 553"/>
                  <a:gd name="T2" fmla="*/ 114 w 756"/>
                  <a:gd name="T3" fmla="*/ 553 h 553"/>
                  <a:gd name="T4" fmla="*/ 114 w 756"/>
                  <a:gd name="T5" fmla="*/ 553 h 553"/>
                  <a:gd name="T6" fmla="*/ 95 w 756"/>
                  <a:gd name="T7" fmla="*/ 458 h 553"/>
                  <a:gd name="T8" fmla="*/ 0 w 756"/>
                  <a:gd name="T9" fmla="*/ 0 h 553"/>
                  <a:gd name="T10" fmla="*/ 756 w 756"/>
                  <a:gd name="T11" fmla="*/ 336 h 553"/>
                  <a:gd name="T12" fmla="*/ 756 w 756"/>
                  <a:gd name="T13" fmla="*/ 553 h 553"/>
                  <a:gd name="T14" fmla="*/ 114 w 756"/>
                  <a:gd name="T15" fmla="*/ 553 h 5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6" h="553">
                    <a:moveTo>
                      <a:pt x="114" y="553"/>
                    </a:moveTo>
                    <a:lnTo>
                      <a:pt x="114" y="553"/>
                    </a:lnTo>
                    <a:lnTo>
                      <a:pt x="114" y="553"/>
                    </a:lnTo>
                    <a:lnTo>
                      <a:pt x="95" y="458"/>
                    </a:lnTo>
                    <a:lnTo>
                      <a:pt x="0" y="0"/>
                    </a:lnTo>
                    <a:lnTo>
                      <a:pt x="756" y="336"/>
                    </a:lnTo>
                    <a:lnTo>
                      <a:pt x="756" y="553"/>
                    </a:lnTo>
                    <a:lnTo>
                      <a:pt x="114" y="5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1" name="Freeform 494"/>
              <p:cNvSpPr>
                <a:spLocks noEditPoints="1"/>
              </p:cNvSpPr>
              <p:nvPr/>
            </p:nvSpPr>
            <p:spPr bwMode="auto">
              <a:xfrm>
                <a:off x="-4214813" y="5792787"/>
                <a:ext cx="2341563" cy="1866900"/>
              </a:xfrm>
              <a:custGeom>
                <a:avLst/>
                <a:gdLst>
                  <a:gd name="T0" fmla="*/ 2331 w 3073"/>
                  <a:gd name="T1" fmla="*/ 2449 h 2449"/>
                  <a:gd name="T2" fmla="*/ 2127 w 3073"/>
                  <a:gd name="T3" fmla="*/ 2449 h 2449"/>
                  <a:gd name="T4" fmla="*/ 0 w 3073"/>
                  <a:gd name="T5" fmla="*/ 659 h 2449"/>
                  <a:gd name="T6" fmla="*/ 3073 w 3073"/>
                  <a:gd name="T7" fmla="*/ 0 h 2449"/>
                  <a:gd name="T8" fmla="*/ 2331 w 3073"/>
                  <a:gd name="T9" fmla="*/ 2449 h 2449"/>
                  <a:gd name="T10" fmla="*/ 0 w 3073"/>
                  <a:gd name="T11" fmla="*/ 659 h 2449"/>
                  <a:gd name="T12" fmla="*/ 0 w 3073"/>
                  <a:gd name="T13" fmla="*/ 659 h 2449"/>
                  <a:gd name="T14" fmla="*/ 0 w 3073"/>
                  <a:gd name="T15" fmla="*/ 659 h 2449"/>
                  <a:gd name="T16" fmla="*/ 0 w 3073"/>
                  <a:gd name="T17" fmla="*/ 659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449">
                    <a:moveTo>
                      <a:pt x="2331" y="2449"/>
                    </a:moveTo>
                    <a:lnTo>
                      <a:pt x="2127" y="2449"/>
                    </a:lnTo>
                    <a:lnTo>
                      <a:pt x="0" y="659"/>
                    </a:lnTo>
                    <a:lnTo>
                      <a:pt x="3073" y="0"/>
                    </a:lnTo>
                    <a:lnTo>
                      <a:pt x="2331" y="2449"/>
                    </a:lnTo>
                    <a:moveTo>
                      <a:pt x="0" y="659"/>
                    </a:moveTo>
                    <a:lnTo>
                      <a:pt x="0" y="659"/>
                    </a:lnTo>
                    <a:lnTo>
                      <a:pt x="0" y="659"/>
                    </a:lnTo>
                    <a:lnTo>
                      <a:pt x="0" y="659"/>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2" name="Rectangle 495"/>
              <p:cNvSpPr>
                <a:spLocks noChangeArrowheads="1"/>
              </p:cNvSpPr>
              <p:nvPr/>
            </p:nvSpPr>
            <p:spPr bwMode="auto">
              <a:xfrm>
                <a:off x="-4214813" y="6296025"/>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3" name="Freeform 496"/>
              <p:cNvSpPr>
                <a:spLocks/>
              </p:cNvSpPr>
              <p:nvPr/>
            </p:nvSpPr>
            <p:spPr bwMode="auto">
              <a:xfrm>
                <a:off x="-2438400" y="5792787"/>
                <a:ext cx="565150" cy="1866900"/>
              </a:xfrm>
              <a:custGeom>
                <a:avLst/>
                <a:gdLst>
                  <a:gd name="T0" fmla="*/ 0 w 356"/>
                  <a:gd name="T1" fmla="*/ 1176 h 1176"/>
                  <a:gd name="T2" fmla="*/ 0 w 356"/>
                  <a:gd name="T3" fmla="*/ 1176 h 1176"/>
                  <a:gd name="T4" fmla="*/ 356 w 356"/>
                  <a:gd name="T5" fmla="*/ 0 h 1176"/>
                  <a:gd name="T6" fmla="*/ 356 w 356"/>
                  <a:gd name="T7" fmla="*/ 0 h 1176"/>
                  <a:gd name="T8" fmla="*/ 0 w 356"/>
                  <a:gd name="T9" fmla="*/ 1176 h 1176"/>
                </a:gdLst>
                <a:ahLst/>
                <a:cxnLst>
                  <a:cxn ang="0">
                    <a:pos x="T0" y="T1"/>
                  </a:cxn>
                  <a:cxn ang="0">
                    <a:pos x="T2" y="T3"/>
                  </a:cxn>
                  <a:cxn ang="0">
                    <a:pos x="T4" y="T5"/>
                  </a:cxn>
                  <a:cxn ang="0">
                    <a:pos x="T6" y="T7"/>
                  </a:cxn>
                  <a:cxn ang="0">
                    <a:pos x="T8" y="T9"/>
                  </a:cxn>
                </a:cxnLst>
                <a:rect l="0" t="0" r="r" b="b"/>
                <a:pathLst>
                  <a:path w="356" h="1176">
                    <a:moveTo>
                      <a:pt x="0" y="1176"/>
                    </a:moveTo>
                    <a:lnTo>
                      <a:pt x="0" y="1176"/>
                    </a:lnTo>
                    <a:lnTo>
                      <a:pt x="356" y="0"/>
                    </a:lnTo>
                    <a:lnTo>
                      <a:pt x="356" y="0"/>
                    </a:lnTo>
                    <a:lnTo>
                      <a:pt x="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4" name="Freeform 497"/>
              <p:cNvSpPr>
                <a:spLocks/>
              </p:cNvSpPr>
              <p:nvPr/>
            </p:nvSpPr>
            <p:spPr bwMode="auto">
              <a:xfrm>
                <a:off x="-4214813" y="5792787"/>
                <a:ext cx="2341563" cy="503238"/>
              </a:xfrm>
              <a:custGeom>
                <a:avLst/>
                <a:gdLst>
                  <a:gd name="T0" fmla="*/ 0 w 1475"/>
                  <a:gd name="T1" fmla="*/ 317 h 317"/>
                  <a:gd name="T2" fmla="*/ 0 w 1475"/>
                  <a:gd name="T3" fmla="*/ 317 h 317"/>
                  <a:gd name="T4" fmla="*/ 0 w 1475"/>
                  <a:gd name="T5" fmla="*/ 317 h 317"/>
                  <a:gd name="T6" fmla="*/ 1475 w 1475"/>
                  <a:gd name="T7" fmla="*/ 0 h 317"/>
                  <a:gd name="T8" fmla="*/ 1475 w 1475"/>
                  <a:gd name="T9" fmla="*/ 0 h 317"/>
                  <a:gd name="T10" fmla="*/ 0 w 1475"/>
                  <a:gd name="T11" fmla="*/ 317 h 317"/>
                </a:gdLst>
                <a:ahLst/>
                <a:cxnLst>
                  <a:cxn ang="0">
                    <a:pos x="T0" y="T1"/>
                  </a:cxn>
                  <a:cxn ang="0">
                    <a:pos x="T2" y="T3"/>
                  </a:cxn>
                  <a:cxn ang="0">
                    <a:pos x="T4" y="T5"/>
                  </a:cxn>
                  <a:cxn ang="0">
                    <a:pos x="T6" y="T7"/>
                  </a:cxn>
                  <a:cxn ang="0">
                    <a:pos x="T8" y="T9"/>
                  </a:cxn>
                  <a:cxn ang="0">
                    <a:pos x="T10" y="T11"/>
                  </a:cxn>
                </a:cxnLst>
                <a:rect l="0" t="0" r="r" b="b"/>
                <a:pathLst>
                  <a:path w="1475" h="317">
                    <a:moveTo>
                      <a:pt x="0" y="317"/>
                    </a:moveTo>
                    <a:lnTo>
                      <a:pt x="0" y="317"/>
                    </a:lnTo>
                    <a:lnTo>
                      <a:pt x="0" y="317"/>
                    </a:lnTo>
                    <a:lnTo>
                      <a:pt x="1475" y="0"/>
                    </a:lnTo>
                    <a:lnTo>
                      <a:pt x="1475" y="0"/>
                    </a:lnTo>
                    <a:lnTo>
                      <a:pt x="0" y="317"/>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5" name="Freeform 498"/>
              <p:cNvSpPr>
                <a:spLocks/>
              </p:cNvSpPr>
              <p:nvPr/>
            </p:nvSpPr>
            <p:spPr bwMode="auto">
              <a:xfrm>
                <a:off x="-2054225" y="3560762"/>
                <a:ext cx="1200150" cy="1354138"/>
              </a:xfrm>
              <a:custGeom>
                <a:avLst/>
                <a:gdLst>
                  <a:gd name="T0" fmla="*/ 0 w 756"/>
                  <a:gd name="T1" fmla="*/ 853 h 853"/>
                  <a:gd name="T2" fmla="*/ 0 w 756"/>
                  <a:gd name="T3" fmla="*/ 853 h 853"/>
                  <a:gd name="T4" fmla="*/ 756 w 756"/>
                  <a:gd name="T5" fmla="*/ 0 h 853"/>
                  <a:gd name="T6" fmla="*/ 756 w 756"/>
                  <a:gd name="T7" fmla="*/ 675 h 853"/>
                  <a:gd name="T8" fmla="*/ 0 w 756"/>
                  <a:gd name="T9" fmla="*/ 853 h 853"/>
                </a:gdLst>
                <a:ahLst/>
                <a:cxnLst>
                  <a:cxn ang="0">
                    <a:pos x="T0" y="T1"/>
                  </a:cxn>
                  <a:cxn ang="0">
                    <a:pos x="T2" y="T3"/>
                  </a:cxn>
                  <a:cxn ang="0">
                    <a:pos x="T4" y="T5"/>
                  </a:cxn>
                  <a:cxn ang="0">
                    <a:pos x="T6" y="T7"/>
                  </a:cxn>
                  <a:cxn ang="0">
                    <a:pos x="T8" y="T9"/>
                  </a:cxn>
                </a:cxnLst>
                <a:rect l="0" t="0" r="r" b="b"/>
                <a:pathLst>
                  <a:path w="756" h="853">
                    <a:moveTo>
                      <a:pt x="0" y="853"/>
                    </a:moveTo>
                    <a:lnTo>
                      <a:pt x="0" y="853"/>
                    </a:lnTo>
                    <a:lnTo>
                      <a:pt x="756" y="0"/>
                    </a:lnTo>
                    <a:lnTo>
                      <a:pt x="756" y="675"/>
                    </a:lnTo>
                    <a:lnTo>
                      <a:pt x="0" y="853"/>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6" name="Freeform 499"/>
              <p:cNvSpPr>
                <a:spLocks/>
              </p:cNvSpPr>
              <p:nvPr/>
            </p:nvSpPr>
            <p:spPr bwMode="auto">
              <a:xfrm>
                <a:off x="-2054225" y="3560762"/>
                <a:ext cx="1200150" cy="1354138"/>
              </a:xfrm>
              <a:custGeom>
                <a:avLst/>
                <a:gdLst>
                  <a:gd name="T0" fmla="*/ 0 w 756"/>
                  <a:gd name="T1" fmla="*/ 853 h 853"/>
                  <a:gd name="T2" fmla="*/ 756 w 756"/>
                  <a:gd name="T3" fmla="*/ 0 h 853"/>
                  <a:gd name="T4" fmla="*/ 756 w 756"/>
                  <a:gd name="T5" fmla="*/ 0 h 853"/>
                  <a:gd name="T6" fmla="*/ 0 w 756"/>
                  <a:gd name="T7" fmla="*/ 853 h 853"/>
                </a:gdLst>
                <a:ahLst/>
                <a:cxnLst>
                  <a:cxn ang="0">
                    <a:pos x="T0" y="T1"/>
                  </a:cxn>
                  <a:cxn ang="0">
                    <a:pos x="T2" y="T3"/>
                  </a:cxn>
                  <a:cxn ang="0">
                    <a:pos x="T4" y="T5"/>
                  </a:cxn>
                  <a:cxn ang="0">
                    <a:pos x="T6" y="T7"/>
                  </a:cxn>
                </a:cxnLst>
                <a:rect l="0" t="0" r="r" b="b"/>
                <a:pathLst>
                  <a:path w="756" h="853">
                    <a:moveTo>
                      <a:pt x="0" y="853"/>
                    </a:moveTo>
                    <a:lnTo>
                      <a:pt x="756" y="0"/>
                    </a:lnTo>
                    <a:lnTo>
                      <a:pt x="756" y="0"/>
                    </a:lnTo>
                    <a:lnTo>
                      <a:pt x="0" y="853"/>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7" name="Freeform 500"/>
              <p:cNvSpPr>
                <a:spLocks/>
              </p:cNvSpPr>
              <p:nvPr/>
            </p:nvSpPr>
            <p:spPr bwMode="auto">
              <a:xfrm>
                <a:off x="-2054225" y="4632325"/>
                <a:ext cx="1200150" cy="815975"/>
              </a:xfrm>
              <a:custGeom>
                <a:avLst/>
                <a:gdLst>
                  <a:gd name="T0" fmla="*/ 756 w 756"/>
                  <a:gd name="T1" fmla="*/ 514 h 514"/>
                  <a:gd name="T2" fmla="*/ 0 w 756"/>
                  <a:gd name="T3" fmla="*/ 178 h 514"/>
                  <a:gd name="T4" fmla="*/ 756 w 756"/>
                  <a:gd name="T5" fmla="*/ 0 h 514"/>
                  <a:gd name="T6" fmla="*/ 756 w 756"/>
                  <a:gd name="T7" fmla="*/ 514 h 514"/>
                </a:gdLst>
                <a:ahLst/>
                <a:cxnLst>
                  <a:cxn ang="0">
                    <a:pos x="T0" y="T1"/>
                  </a:cxn>
                  <a:cxn ang="0">
                    <a:pos x="T2" y="T3"/>
                  </a:cxn>
                  <a:cxn ang="0">
                    <a:pos x="T4" y="T5"/>
                  </a:cxn>
                  <a:cxn ang="0">
                    <a:pos x="T6" y="T7"/>
                  </a:cxn>
                </a:cxnLst>
                <a:rect l="0" t="0" r="r" b="b"/>
                <a:pathLst>
                  <a:path w="756" h="514">
                    <a:moveTo>
                      <a:pt x="756" y="514"/>
                    </a:moveTo>
                    <a:lnTo>
                      <a:pt x="0" y="178"/>
                    </a:lnTo>
                    <a:lnTo>
                      <a:pt x="756" y="0"/>
                    </a:lnTo>
                    <a:lnTo>
                      <a:pt x="756" y="514"/>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8" name="Freeform 501"/>
              <p:cNvSpPr>
                <a:spLocks/>
              </p:cNvSpPr>
              <p:nvPr/>
            </p:nvSpPr>
            <p:spPr bwMode="auto">
              <a:xfrm>
                <a:off x="-2298700" y="6824662"/>
                <a:ext cx="1377950" cy="835025"/>
              </a:xfrm>
              <a:custGeom>
                <a:avLst/>
                <a:gdLst>
                  <a:gd name="T0" fmla="*/ 661 w 868"/>
                  <a:gd name="T1" fmla="*/ 526 h 526"/>
                  <a:gd name="T2" fmla="*/ 0 w 868"/>
                  <a:gd name="T3" fmla="*/ 526 h 526"/>
                  <a:gd name="T4" fmla="*/ 868 w 868"/>
                  <a:gd name="T5" fmla="*/ 0 h 526"/>
                  <a:gd name="T6" fmla="*/ 661 w 868"/>
                  <a:gd name="T7" fmla="*/ 526 h 526"/>
                </a:gdLst>
                <a:ahLst/>
                <a:cxnLst>
                  <a:cxn ang="0">
                    <a:pos x="T0" y="T1"/>
                  </a:cxn>
                  <a:cxn ang="0">
                    <a:pos x="T2" y="T3"/>
                  </a:cxn>
                  <a:cxn ang="0">
                    <a:pos x="T4" y="T5"/>
                  </a:cxn>
                  <a:cxn ang="0">
                    <a:pos x="T6" y="T7"/>
                  </a:cxn>
                </a:cxnLst>
                <a:rect l="0" t="0" r="r" b="b"/>
                <a:pathLst>
                  <a:path w="868" h="526">
                    <a:moveTo>
                      <a:pt x="661" y="526"/>
                    </a:moveTo>
                    <a:lnTo>
                      <a:pt x="0" y="526"/>
                    </a:lnTo>
                    <a:lnTo>
                      <a:pt x="868" y="0"/>
                    </a:lnTo>
                    <a:lnTo>
                      <a:pt x="661" y="526"/>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9" name="Freeform 502"/>
              <p:cNvSpPr>
                <a:spLocks/>
              </p:cNvSpPr>
              <p:nvPr/>
            </p:nvSpPr>
            <p:spPr bwMode="auto">
              <a:xfrm>
                <a:off x="-1249363" y="6824662"/>
                <a:ext cx="395288" cy="835025"/>
              </a:xfrm>
              <a:custGeom>
                <a:avLst/>
                <a:gdLst>
                  <a:gd name="T0" fmla="*/ 249 w 249"/>
                  <a:gd name="T1" fmla="*/ 526 h 526"/>
                  <a:gd name="T2" fmla="*/ 0 w 249"/>
                  <a:gd name="T3" fmla="*/ 526 h 526"/>
                  <a:gd name="T4" fmla="*/ 207 w 249"/>
                  <a:gd name="T5" fmla="*/ 0 h 526"/>
                  <a:gd name="T6" fmla="*/ 249 w 249"/>
                  <a:gd name="T7" fmla="*/ 166 h 526"/>
                  <a:gd name="T8" fmla="*/ 249 w 249"/>
                  <a:gd name="T9" fmla="*/ 526 h 526"/>
                </a:gdLst>
                <a:ahLst/>
                <a:cxnLst>
                  <a:cxn ang="0">
                    <a:pos x="T0" y="T1"/>
                  </a:cxn>
                  <a:cxn ang="0">
                    <a:pos x="T2" y="T3"/>
                  </a:cxn>
                  <a:cxn ang="0">
                    <a:pos x="T4" y="T5"/>
                  </a:cxn>
                  <a:cxn ang="0">
                    <a:pos x="T6" y="T7"/>
                  </a:cxn>
                  <a:cxn ang="0">
                    <a:pos x="T8" y="T9"/>
                  </a:cxn>
                </a:cxnLst>
                <a:rect l="0" t="0" r="r" b="b"/>
                <a:pathLst>
                  <a:path w="249" h="526">
                    <a:moveTo>
                      <a:pt x="249" y="526"/>
                    </a:moveTo>
                    <a:lnTo>
                      <a:pt x="0" y="526"/>
                    </a:lnTo>
                    <a:lnTo>
                      <a:pt x="207" y="0"/>
                    </a:lnTo>
                    <a:lnTo>
                      <a:pt x="249" y="166"/>
                    </a:lnTo>
                    <a:lnTo>
                      <a:pt x="249" y="52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0" name="Freeform 503"/>
              <p:cNvSpPr>
                <a:spLocks/>
              </p:cNvSpPr>
              <p:nvPr/>
            </p:nvSpPr>
            <p:spPr bwMode="auto">
              <a:xfrm>
                <a:off x="-920750" y="6745287"/>
                <a:ext cx="66675" cy="79375"/>
              </a:xfrm>
              <a:custGeom>
                <a:avLst/>
                <a:gdLst>
                  <a:gd name="T0" fmla="*/ 0 w 42"/>
                  <a:gd name="T1" fmla="*/ 50 h 50"/>
                  <a:gd name="T2" fmla="*/ 0 w 42"/>
                  <a:gd name="T3" fmla="*/ 50 h 50"/>
                  <a:gd name="T4" fmla="*/ 42 w 42"/>
                  <a:gd name="T5" fmla="*/ 0 h 50"/>
                  <a:gd name="T6" fmla="*/ 42 w 42"/>
                  <a:gd name="T7" fmla="*/ 47 h 50"/>
                  <a:gd name="T8" fmla="*/ 0 w 42"/>
                  <a:gd name="T9" fmla="*/ 50 h 50"/>
                </a:gdLst>
                <a:ahLst/>
                <a:cxnLst>
                  <a:cxn ang="0">
                    <a:pos x="T0" y="T1"/>
                  </a:cxn>
                  <a:cxn ang="0">
                    <a:pos x="T2" y="T3"/>
                  </a:cxn>
                  <a:cxn ang="0">
                    <a:pos x="T4" y="T5"/>
                  </a:cxn>
                  <a:cxn ang="0">
                    <a:pos x="T6" y="T7"/>
                  </a:cxn>
                  <a:cxn ang="0">
                    <a:pos x="T8" y="T9"/>
                  </a:cxn>
                </a:cxnLst>
                <a:rect l="0" t="0" r="r" b="b"/>
                <a:pathLst>
                  <a:path w="42" h="50">
                    <a:moveTo>
                      <a:pt x="0" y="50"/>
                    </a:moveTo>
                    <a:lnTo>
                      <a:pt x="0" y="50"/>
                    </a:lnTo>
                    <a:lnTo>
                      <a:pt x="42" y="0"/>
                    </a:lnTo>
                    <a:lnTo>
                      <a:pt x="42" y="47"/>
                    </a:lnTo>
                    <a:lnTo>
                      <a:pt x="0" y="5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1" name="Freeform 504"/>
              <p:cNvSpPr>
                <a:spLocks/>
              </p:cNvSpPr>
              <p:nvPr/>
            </p:nvSpPr>
            <p:spPr bwMode="auto">
              <a:xfrm>
                <a:off x="-920750" y="6819900"/>
                <a:ext cx="66675" cy="268288"/>
              </a:xfrm>
              <a:custGeom>
                <a:avLst/>
                <a:gdLst>
                  <a:gd name="T0" fmla="*/ 42 w 42"/>
                  <a:gd name="T1" fmla="*/ 169 h 169"/>
                  <a:gd name="T2" fmla="*/ 0 w 42"/>
                  <a:gd name="T3" fmla="*/ 3 h 169"/>
                  <a:gd name="T4" fmla="*/ 42 w 42"/>
                  <a:gd name="T5" fmla="*/ 0 h 169"/>
                  <a:gd name="T6" fmla="*/ 42 w 42"/>
                  <a:gd name="T7" fmla="*/ 169 h 169"/>
                </a:gdLst>
                <a:ahLst/>
                <a:cxnLst>
                  <a:cxn ang="0">
                    <a:pos x="T0" y="T1"/>
                  </a:cxn>
                  <a:cxn ang="0">
                    <a:pos x="T2" y="T3"/>
                  </a:cxn>
                  <a:cxn ang="0">
                    <a:pos x="T4" y="T5"/>
                  </a:cxn>
                  <a:cxn ang="0">
                    <a:pos x="T6" y="T7"/>
                  </a:cxn>
                </a:cxnLst>
                <a:rect l="0" t="0" r="r" b="b"/>
                <a:pathLst>
                  <a:path w="42" h="169">
                    <a:moveTo>
                      <a:pt x="42" y="169"/>
                    </a:moveTo>
                    <a:lnTo>
                      <a:pt x="0" y="3"/>
                    </a:lnTo>
                    <a:lnTo>
                      <a:pt x="42" y="0"/>
                    </a:lnTo>
                    <a:lnTo>
                      <a:pt x="42" y="16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grpSp>
        <p:sp>
          <p:nvSpPr>
            <p:cNvPr id="58" name="AutoShape 303"/>
            <p:cNvSpPr>
              <a:spLocks noChangeArrowheads="1" noTextEdit="1"/>
            </p:cNvSpPr>
            <p:nvPr/>
          </p:nvSpPr>
          <p:spPr bwMode="auto">
            <a:xfrm>
              <a:off x="749301" y="-1"/>
              <a:ext cx="8961438" cy="6721475"/>
            </a:xfrm>
            <a:prstGeom prst="rect">
              <a:avLst/>
            </a:prstGeom>
            <a:solidFill>
              <a:schemeClr val="accent4">
                <a:alpha val="83000"/>
              </a:schemeClr>
            </a:solidFill>
            <a:ln>
              <a:noFill/>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grpSp>
      <p:sp>
        <p:nvSpPr>
          <p:cNvPr id="2" name="Title 1"/>
          <p:cNvSpPr>
            <a:spLocks noGrp="1"/>
          </p:cNvSpPr>
          <p:nvPr>
            <p:ph type="title"/>
          </p:nvPr>
        </p:nvSpPr>
        <p:spPr>
          <a:xfrm>
            <a:off x="119062" y="230188"/>
            <a:ext cx="8723312"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zh-CN" dirty="0">
                <a:solidFill>
                  <a:schemeClr val="bg1"/>
                </a:solidFill>
                <a:latin typeface="+mn-lt"/>
                <a:ea typeface="楷体" panose="02010609060101010101" pitchFamily="49" charset="-122"/>
                <a:cs typeface="SimSun"/>
              </a:rPr>
              <a:t>深度学习下一步如何发展？</a:t>
            </a:r>
          </a:p>
        </p:txBody>
      </p:sp>
      <p:sp>
        <p:nvSpPr>
          <p:cNvPr id="5" name="AutoShape 250"/>
          <p:cNvSpPr>
            <a:spLocks noChangeArrowheads="1"/>
          </p:cNvSpPr>
          <p:nvPr/>
        </p:nvSpPr>
        <p:spPr bwMode="auto">
          <a:xfrm>
            <a:off x="2537009" y="706236"/>
            <a:ext cx="6305365" cy="230832"/>
          </a:xfrm>
          <a:prstGeom prst="leftRightArrow">
            <a:avLst>
              <a:gd name="adj1" fmla="val 100000"/>
              <a:gd name="adj2" fmla="val 0"/>
            </a:avLst>
          </a:prstGeom>
        </p:spPr>
        <p:txBody>
          <a:bodyPr vert="horz" wrap="square" lIns="0" tIns="0" rIns="0" bIns="0" rtlCol="0" anchor="ctr" anchorCtr="0">
            <a:spAutoFit/>
          </a:bodyPr>
          <a:lstStyle/>
          <a:p>
            <a:pPr defTabSz="895350">
              <a:buClr>
                <a:srgbClr val="002960"/>
              </a:buClr>
              <a:buSzPct val="100000"/>
            </a:pPr>
            <a:r>
              <a:rPr lang="zh-CN" sz="1500" dirty="0">
                <a:solidFill>
                  <a:srgbClr val="FFCA21"/>
                </a:solidFill>
                <a:latin typeface="+mn-lt"/>
                <a:ea typeface="楷体" panose="02010609060101010101" pitchFamily="49" charset="-122"/>
                <a:cs typeface="SimSun"/>
              </a:rPr>
              <a:t>描述</a:t>
            </a:r>
          </a:p>
        </p:txBody>
      </p:sp>
      <p:sp>
        <p:nvSpPr>
          <p:cNvPr id="50"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zh-CN" sz="800" dirty="0">
                <a:solidFill>
                  <a:schemeClr val="bg1"/>
                </a:solidFill>
                <a:latin typeface="+mn-lt"/>
                <a:ea typeface="楷体" panose="02010609060101010101" pitchFamily="49" charset="-122"/>
                <a:cs typeface="SimSun"/>
              </a:rPr>
              <a:t>资料来源：PD# 842342</a:t>
            </a:r>
          </a:p>
        </p:txBody>
      </p:sp>
      <p:cxnSp>
        <p:nvCxnSpPr>
          <p:cNvPr id="75" name="Straight Connector 74"/>
          <p:cNvCxnSpPr>
            <a:cxnSpLocks/>
          </p:cNvCxnSpPr>
          <p:nvPr/>
        </p:nvCxnSpPr>
        <p:spPr bwMode="auto">
          <a:xfrm>
            <a:off x="119063" y="2104141"/>
            <a:ext cx="8723312" cy="0"/>
          </a:xfrm>
          <a:prstGeom prst="line">
            <a:avLst/>
          </a:prstGeom>
          <a:ln w="9525">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cxnSpLocks/>
          </p:cNvCxnSpPr>
          <p:nvPr/>
        </p:nvCxnSpPr>
        <p:spPr bwMode="auto">
          <a:xfrm>
            <a:off x="119063" y="3258385"/>
            <a:ext cx="8723312" cy="0"/>
          </a:xfrm>
          <a:prstGeom prst="line">
            <a:avLst/>
          </a:prstGeom>
          <a:ln w="9525">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cxnSpLocks/>
          </p:cNvCxnSpPr>
          <p:nvPr/>
        </p:nvCxnSpPr>
        <p:spPr bwMode="auto">
          <a:xfrm>
            <a:off x="119063" y="4412629"/>
            <a:ext cx="8723312" cy="0"/>
          </a:xfrm>
          <a:prstGeom prst="line">
            <a:avLst/>
          </a:prstGeom>
          <a:ln w="9525">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288" name="Slide Number"/>
          <p:cNvSpPr txBox="1">
            <a:spLocks/>
          </p:cNvSpPr>
          <p:nvPr/>
        </p:nvSpPr>
        <p:spPr bwMode="auto">
          <a:xfrm>
            <a:off x="8564563" y="6508272"/>
            <a:ext cx="115416"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r>
              <a:rPr lang="zh-CN" sz="800" baseline="0" dirty="0">
                <a:solidFill>
                  <a:schemeClr val="bg1"/>
                </a:solidFill>
                <a:ea typeface="楷体" panose="02010609060101010101" pitchFamily="49" charset="-122"/>
                <a:cs typeface="SimSun"/>
              </a:rPr>
              <a:t>48</a:t>
            </a:r>
          </a:p>
        </p:txBody>
      </p:sp>
      <p:sp>
        <p:nvSpPr>
          <p:cNvPr id="289" name="SlideLogoText"/>
          <p:cNvSpPr>
            <a:spLocks noChangeArrowheads="1"/>
          </p:cNvSpPr>
          <p:nvPr>
            <p:custDataLst>
              <p:tags r:id="rId1"/>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zh-CN" sz="800" baseline="0" dirty="0">
                <a:solidFill>
                  <a:schemeClr val="bg1"/>
                </a:solidFill>
                <a:latin typeface="+mn-lt"/>
                <a:ea typeface="楷体" panose="02010609060101010101" pitchFamily="49" charset="-122"/>
                <a:cs typeface="SimSun"/>
              </a:rPr>
              <a:t>McKinsey &amp; Company</a:t>
            </a:r>
          </a:p>
        </p:txBody>
      </p:sp>
      <p:sp>
        <p:nvSpPr>
          <p:cNvPr id="45" name="TextBox 44"/>
          <p:cNvSpPr txBox="1">
            <a:spLocks/>
          </p:cNvSpPr>
          <p:nvPr/>
        </p:nvSpPr>
        <p:spPr>
          <a:xfrm>
            <a:off x="2537009" y="1296187"/>
            <a:ext cx="6305365" cy="230832"/>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5000"/>
              </a:spcBef>
              <a:buClr>
                <a:schemeClr val="bg1"/>
              </a:buClr>
            </a:pPr>
            <a:r>
              <a:rPr lang="zh-CN" altLang="en-US" sz="1500" dirty="0">
                <a:solidFill>
                  <a:schemeClr val="bg1"/>
                </a:solidFill>
                <a:ea typeface="楷体" panose="02010609060101010101" pitchFamily="49" charset="-122"/>
                <a:cs typeface="SimSun"/>
              </a:rPr>
              <a:t>除了</a:t>
            </a:r>
            <a:r>
              <a:rPr lang="zh-CN" sz="1500" dirty="0">
                <a:solidFill>
                  <a:schemeClr val="bg1"/>
                </a:solidFill>
                <a:ea typeface="楷体" panose="02010609060101010101" pitchFamily="49" charset="-122"/>
                <a:cs typeface="SimSun"/>
              </a:rPr>
              <a:t>预测结果</a:t>
            </a:r>
            <a:r>
              <a:rPr lang="zh-CN" altLang="en-US" sz="1500" dirty="0">
                <a:solidFill>
                  <a:schemeClr val="bg1"/>
                </a:solidFill>
                <a:ea typeface="楷体" panose="02010609060101010101" pitchFamily="49" charset="-122"/>
                <a:cs typeface="SimSun"/>
              </a:rPr>
              <a:t>之外还能</a:t>
            </a:r>
            <a:r>
              <a:rPr lang="zh-CN" sz="1500" dirty="0">
                <a:solidFill>
                  <a:schemeClr val="bg1"/>
                </a:solidFill>
                <a:ea typeface="楷体" panose="02010609060101010101" pitchFamily="49" charset="-122"/>
                <a:cs typeface="SimSun"/>
              </a:rPr>
              <a:t>解释其怎样得出该结果的神经网络</a:t>
            </a:r>
          </a:p>
        </p:txBody>
      </p:sp>
      <p:sp>
        <p:nvSpPr>
          <p:cNvPr id="22" name="TextBox 21"/>
          <p:cNvSpPr txBox="1">
            <a:spLocks/>
          </p:cNvSpPr>
          <p:nvPr/>
        </p:nvSpPr>
        <p:spPr>
          <a:xfrm>
            <a:off x="689546" y="1411603"/>
            <a:ext cx="1551508" cy="230832"/>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zh-CN" sz="1500" dirty="0">
                <a:solidFill>
                  <a:srgbClr val="FFCA21"/>
                </a:solidFill>
                <a:ea typeface="楷体" panose="02010609060101010101" pitchFamily="49" charset="-122"/>
                <a:cs typeface="SimSun"/>
              </a:rPr>
              <a:t>可解释的人工智能</a:t>
            </a:r>
          </a:p>
        </p:txBody>
      </p:sp>
      <p:cxnSp>
        <p:nvCxnSpPr>
          <p:cNvPr id="29" name="Straight Connector 28"/>
          <p:cNvCxnSpPr>
            <a:cxnSpLocks/>
          </p:cNvCxnSpPr>
          <p:nvPr/>
        </p:nvCxnSpPr>
        <p:spPr>
          <a:xfrm>
            <a:off x="2389032" y="1065354"/>
            <a:ext cx="0" cy="923330"/>
          </a:xfrm>
          <a:prstGeom prst="line">
            <a:avLst/>
          </a:prstGeom>
          <a:ln w="3175">
            <a:solidFill>
              <a:srgbClr val="FFCA21"/>
            </a:solidFill>
          </a:ln>
        </p:spPr>
        <p:style>
          <a:lnRef idx="1">
            <a:schemeClr val="accent1"/>
          </a:lnRef>
          <a:fillRef idx="0">
            <a:schemeClr val="accent1"/>
          </a:fillRef>
          <a:effectRef idx="0">
            <a:schemeClr val="accent1"/>
          </a:effectRef>
          <a:fontRef idx="minor">
            <a:schemeClr val="tx1"/>
          </a:fontRef>
        </p:style>
      </p:cxnSp>
      <p:sp>
        <p:nvSpPr>
          <p:cNvPr id="282" name="Freeform 144"/>
          <p:cNvSpPr>
            <a:spLocks noEditPoints="1"/>
          </p:cNvSpPr>
          <p:nvPr/>
        </p:nvSpPr>
        <p:spPr bwMode="auto">
          <a:xfrm>
            <a:off x="146332" y="1290838"/>
            <a:ext cx="414637" cy="472362"/>
          </a:xfrm>
          <a:custGeom>
            <a:avLst/>
            <a:gdLst>
              <a:gd name="T0" fmla="*/ 3906 w 9159"/>
              <a:gd name="T1" fmla="*/ 9376 h 10432"/>
              <a:gd name="T2" fmla="*/ 3767 w 9159"/>
              <a:gd name="T3" fmla="*/ 6836 h 10432"/>
              <a:gd name="T4" fmla="*/ 3449 w 9159"/>
              <a:gd name="T5" fmla="*/ 5529 h 10432"/>
              <a:gd name="T6" fmla="*/ 2309 w 9159"/>
              <a:gd name="T7" fmla="*/ 4351 h 10432"/>
              <a:gd name="T8" fmla="*/ 3120 w 9159"/>
              <a:gd name="T9" fmla="*/ 4635 h 10432"/>
              <a:gd name="T10" fmla="*/ 4029 w 9159"/>
              <a:gd name="T11" fmla="*/ 4096 h 10432"/>
              <a:gd name="T12" fmla="*/ 4395 w 9159"/>
              <a:gd name="T13" fmla="*/ 4981 h 10432"/>
              <a:gd name="T14" fmla="*/ 4537 w 9159"/>
              <a:gd name="T15" fmla="*/ 4295 h 10432"/>
              <a:gd name="T16" fmla="*/ 4667 w 9159"/>
              <a:gd name="T17" fmla="*/ 4188 h 10432"/>
              <a:gd name="T18" fmla="*/ 4633 w 9159"/>
              <a:gd name="T19" fmla="*/ 4590 h 10432"/>
              <a:gd name="T20" fmla="*/ 4917 w 9159"/>
              <a:gd name="T21" fmla="*/ 4046 h 10432"/>
              <a:gd name="T22" fmla="*/ 5774 w 9159"/>
              <a:gd name="T23" fmla="*/ 4916 h 10432"/>
              <a:gd name="T24" fmla="*/ 6747 w 9159"/>
              <a:gd name="T25" fmla="*/ 4170 h 10432"/>
              <a:gd name="T26" fmla="*/ 5934 w 9159"/>
              <a:gd name="T27" fmla="*/ 5479 h 10432"/>
              <a:gd name="T28" fmla="*/ 5414 w 9159"/>
              <a:gd name="T29" fmla="*/ 6356 h 10432"/>
              <a:gd name="T30" fmla="*/ 5293 w 9159"/>
              <a:gd name="T31" fmla="*/ 9787 h 10432"/>
              <a:gd name="T32" fmla="*/ 4847 w 9159"/>
              <a:gd name="T33" fmla="*/ 9700 h 10432"/>
              <a:gd name="T34" fmla="*/ 4536 w 9159"/>
              <a:gd name="T35" fmla="*/ 7619 h 10432"/>
              <a:gd name="T36" fmla="*/ 4447 w 9159"/>
              <a:gd name="T37" fmla="*/ 8743 h 10432"/>
              <a:gd name="T38" fmla="*/ 4249 w 9159"/>
              <a:gd name="T39" fmla="*/ 10393 h 10432"/>
              <a:gd name="T40" fmla="*/ 7280 w 9159"/>
              <a:gd name="T41" fmla="*/ 4085 h 10432"/>
              <a:gd name="T42" fmla="*/ 7209 w 9159"/>
              <a:gd name="T43" fmla="*/ 3548 h 10432"/>
              <a:gd name="T44" fmla="*/ 8185 w 9159"/>
              <a:gd name="T45" fmla="*/ 2979 h 10432"/>
              <a:gd name="T46" fmla="*/ 9153 w 9159"/>
              <a:gd name="T47" fmla="*/ 4345 h 10432"/>
              <a:gd name="T48" fmla="*/ 7425 w 9159"/>
              <a:gd name="T49" fmla="*/ 4478 h 10432"/>
              <a:gd name="T50" fmla="*/ 25 w 9159"/>
              <a:gd name="T51" fmla="*/ 2646 h 10432"/>
              <a:gd name="T52" fmla="*/ 1984 w 9159"/>
              <a:gd name="T53" fmla="*/ 2607 h 10432"/>
              <a:gd name="T54" fmla="*/ 2251 w 9159"/>
              <a:gd name="T55" fmla="*/ 3472 h 10432"/>
              <a:gd name="T56" fmla="*/ 2027 w 9159"/>
              <a:gd name="T57" fmla="*/ 3813 h 10432"/>
              <a:gd name="T58" fmla="*/ 147 w 9159"/>
              <a:gd name="T59" fmla="*/ 4075 h 10432"/>
              <a:gd name="T60" fmla="*/ 4002 w 9159"/>
              <a:gd name="T61" fmla="*/ 3304 h 10432"/>
              <a:gd name="T62" fmla="*/ 4604 w 9159"/>
              <a:gd name="T63" fmla="*/ 2310 h 10432"/>
              <a:gd name="T64" fmla="*/ 5107 w 9159"/>
              <a:gd name="T65" fmla="*/ 3347 h 10432"/>
              <a:gd name="T66" fmla="*/ 4930 w 9159"/>
              <a:gd name="T67" fmla="*/ 3016 h 10432"/>
              <a:gd name="T68" fmla="*/ 4140 w 9159"/>
              <a:gd name="T69" fmla="*/ 3005 h 10432"/>
              <a:gd name="T70" fmla="*/ 4600 w 9159"/>
              <a:gd name="T71" fmla="*/ 3065 h 10432"/>
              <a:gd name="T72" fmla="*/ 5769 w 9159"/>
              <a:gd name="T73" fmla="*/ 2551 h 10432"/>
              <a:gd name="T74" fmla="*/ 5965 w 9159"/>
              <a:gd name="T75" fmla="*/ 904 h 10432"/>
              <a:gd name="T76" fmla="*/ 7661 w 9159"/>
              <a:gd name="T77" fmla="*/ 899 h 10432"/>
              <a:gd name="T78" fmla="*/ 7762 w 9159"/>
              <a:gd name="T79" fmla="*/ 2530 h 10432"/>
              <a:gd name="T80" fmla="*/ 5797 w 9159"/>
              <a:gd name="T81" fmla="*/ 2729 h 10432"/>
              <a:gd name="T82" fmla="*/ 2270 w 9159"/>
              <a:gd name="T83" fmla="*/ 2096 h 10432"/>
              <a:gd name="T84" fmla="*/ 1496 w 9159"/>
              <a:gd name="T85" fmla="*/ 830 h 10432"/>
              <a:gd name="T86" fmla="*/ 3000 w 9159"/>
              <a:gd name="T87" fmla="*/ 753 h 10432"/>
              <a:gd name="T88" fmla="*/ 3172 w 9159"/>
              <a:gd name="T89" fmla="*/ 2150 h 10432"/>
              <a:gd name="T90" fmla="*/ 4507 w 9159"/>
              <a:gd name="T91" fmla="*/ 1738 h 10432"/>
              <a:gd name="T92" fmla="*/ 4120 w 9159"/>
              <a:gd name="T93" fmla="*/ 1450 h 10432"/>
              <a:gd name="T94" fmla="*/ 3660 w 9159"/>
              <a:gd name="T95" fmla="*/ 154 h 10432"/>
              <a:gd name="T96" fmla="*/ 5462 w 9159"/>
              <a:gd name="T97" fmla="*/ 153 h 10432"/>
              <a:gd name="T98" fmla="*/ 4950 w 9159"/>
              <a:gd name="T99" fmla="*/ 1450 h 10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159" h="10432">
                <a:moveTo>
                  <a:pt x="4094" y="10415"/>
                </a:moveTo>
                <a:cubicBezTo>
                  <a:pt x="4047" y="10396"/>
                  <a:pt x="4014" y="10364"/>
                  <a:pt x="3986" y="10308"/>
                </a:cubicBezTo>
                <a:cubicBezTo>
                  <a:pt x="3957" y="10251"/>
                  <a:pt x="3952" y="10209"/>
                  <a:pt x="3933" y="9863"/>
                </a:cubicBezTo>
                <a:cubicBezTo>
                  <a:pt x="3925" y="9716"/>
                  <a:pt x="3913" y="9497"/>
                  <a:pt x="3906" y="9376"/>
                </a:cubicBezTo>
                <a:cubicBezTo>
                  <a:pt x="3899" y="9255"/>
                  <a:pt x="3887" y="9042"/>
                  <a:pt x="3880" y="8903"/>
                </a:cubicBezTo>
                <a:cubicBezTo>
                  <a:pt x="3872" y="8764"/>
                  <a:pt x="3857" y="8488"/>
                  <a:pt x="3847" y="8290"/>
                </a:cubicBezTo>
                <a:cubicBezTo>
                  <a:pt x="3836" y="8092"/>
                  <a:pt x="3818" y="7768"/>
                  <a:pt x="3807" y="7570"/>
                </a:cubicBezTo>
                <a:cubicBezTo>
                  <a:pt x="3796" y="7372"/>
                  <a:pt x="3778" y="7042"/>
                  <a:pt x="3767" y="6836"/>
                </a:cubicBezTo>
                <a:cubicBezTo>
                  <a:pt x="3736" y="6287"/>
                  <a:pt x="3723" y="6042"/>
                  <a:pt x="3707" y="5730"/>
                </a:cubicBezTo>
                <a:cubicBezTo>
                  <a:pt x="3687" y="5341"/>
                  <a:pt x="3679" y="5254"/>
                  <a:pt x="3666" y="5259"/>
                </a:cubicBezTo>
                <a:cubicBezTo>
                  <a:pt x="3660" y="5261"/>
                  <a:pt x="3617" y="5316"/>
                  <a:pt x="3571" y="5382"/>
                </a:cubicBezTo>
                <a:cubicBezTo>
                  <a:pt x="3525" y="5447"/>
                  <a:pt x="3470" y="5513"/>
                  <a:pt x="3449" y="5529"/>
                </a:cubicBezTo>
                <a:cubicBezTo>
                  <a:pt x="3400" y="5565"/>
                  <a:pt x="3277" y="5566"/>
                  <a:pt x="3224" y="5531"/>
                </a:cubicBezTo>
                <a:cubicBezTo>
                  <a:pt x="3203" y="5518"/>
                  <a:pt x="3060" y="5329"/>
                  <a:pt x="2905" y="5112"/>
                </a:cubicBezTo>
                <a:cubicBezTo>
                  <a:pt x="2708" y="4835"/>
                  <a:pt x="2578" y="4668"/>
                  <a:pt x="2473" y="4556"/>
                </a:cubicBezTo>
                <a:cubicBezTo>
                  <a:pt x="2389" y="4466"/>
                  <a:pt x="2318" y="4377"/>
                  <a:pt x="2309" y="4351"/>
                </a:cubicBezTo>
                <a:cubicBezTo>
                  <a:pt x="2278" y="4259"/>
                  <a:pt x="2347" y="4143"/>
                  <a:pt x="2442" y="4128"/>
                </a:cubicBezTo>
                <a:cubicBezTo>
                  <a:pt x="2482" y="4121"/>
                  <a:pt x="2518" y="4135"/>
                  <a:pt x="2688" y="4223"/>
                </a:cubicBezTo>
                <a:cubicBezTo>
                  <a:pt x="2797" y="4279"/>
                  <a:pt x="2896" y="4333"/>
                  <a:pt x="2907" y="4343"/>
                </a:cubicBezTo>
                <a:cubicBezTo>
                  <a:pt x="2918" y="4353"/>
                  <a:pt x="3014" y="4484"/>
                  <a:pt x="3120" y="4635"/>
                </a:cubicBezTo>
                <a:cubicBezTo>
                  <a:pt x="3226" y="4785"/>
                  <a:pt x="3323" y="4908"/>
                  <a:pt x="3334" y="4909"/>
                </a:cubicBezTo>
                <a:cubicBezTo>
                  <a:pt x="3345" y="4909"/>
                  <a:pt x="3364" y="4893"/>
                  <a:pt x="3376" y="4873"/>
                </a:cubicBezTo>
                <a:cubicBezTo>
                  <a:pt x="3388" y="4853"/>
                  <a:pt x="3471" y="4731"/>
                  <a:pt x="3560" y="4603"/>
                </a:cubicBezTo>
                <a:cubicBezTo>
                  <a:pt x="3745" y="4337"/>
                  <a:pt x="3863" y="4209"/>
                  <a:pt x="4029" y="4096"/>
                </a:cubicBezTo>
                <a:cubicBezTo>
                  <a:pt x="4139" y="4020"/>
                  <a:pt x="4173" y="4004"/>
                  <a:pt x="4174" y="4026"/>
                </a:cubicBezTo>
                <a:cubicBezTo>
                  <a:pt x="4174" y="4032"/>
                  <a:pt x="4189" y="4099"/>
                  <a:pt x="4207" y="4176"/>
                </a:cubicBezTo>
                <a:cubicBezTo>
                  <a:pt x="4225" y="4253"/>
                  <a:pt x="4273" y="4460"/>
                  <a:pt x="4314" y="4636"/>
                </a:cubicBezTo>
                <a:cubicBezTo>
                  <a:pt x="4355" y="4812"/>
                  <a:pt x="4391" y="4967"/>
                  <a:pt x="4395" y="4981"/>
                </a:cubicBezTo>
                <a:cubicBezTo>
                  <a:pt x="4408" y="5024"/>
                  <a:pt x="4423" y="4987"/>
                  <a:pt x="4439" y="4876"/>
                </a:cubicBezTo>
                <a:cubicBezTo>
                  <a:pt x="4447" y="4818"/>
                  <a:pt x="4462" y="4725"/>
                  <a:pt x="4472" y="4670"/>
                </a:cubicBezTo>
                <a:cubicBezTo>
                  <a:pt x="4481" y="4615"/>
                  <a:pt x="4500" y="4508"/>
                  <a:pt x="4513" y="4432"/>
                </a:cubicBezTo>
                <a:lnTo>
                  <a:pt x="4537" y="4295"/>
                </a:lnTo>
                <a:lnTo>
                  <a:pt x="4493" y="4249"/>
                </a:lnTo>
                <a:cubicBezTo>
                  <a:pt x="4451" y="4206"/>
                  <a:pt x="4450" y="4202"/>
                  <a:pt x="4465" y="4153"/>
                </a:cubicBezTo>
                <a:cubicBezTo>
                  <a:pt x="4484" y="4090"/>
                  <a:pt x="4541" y="4025"/>
                  <a:pt x="4567" y="4035"/>
                </a:cubicBezTo>
                <a:cubicBezTo>
                  <a:pt x="4591" y="4044"/>
                  <a:pt x="4667" y="4161"/>
                  <a:pt x="4667" y="4188"/>
                </a:cubicBezTo>
                <a:cubicBezTo>
                  <a:pt x="4667" y="4199"/>
                  <a:pt x="4648" y="4228"/>
                  <a:pt x="4624" y="4252"/>
                </a:cubicBezTo>
                <a:lnTo>
                  <a:pt x="4582" y="4296"/>
                </a:lnTo>
                <a:lnTo>
                  <a:pt x="4598" y="4393"/>
                </a:lnTo>
                <a:cubicBezTo>
                  <a:pt x="4607" y="4446"/>
                  <a:pt x="4622" y="4535"/>
                  <a:pt x="4633" y="4590"/>
                </a:cubicBezTo>
                <a:cubicBezTo>
                  <a:pt x="4643" y="4645"/>
                  <a:pt x="4664" y="4758"/>
                  <a:pt x="4679" y="4841"/>
                </a:cubicBezTo>
                <a:cubicBezTo>
                  <a:pt x="4704" y="4982"/>
                  <a:pt x="4713" y="5016"/>
                  <a:pt x="4724" y="5002"/>
                </a:cubicBezTo>
                <a:cubicBezTo>
                  <a:pt x="4727" y="4999"/>
                  <a:pt x="4770" y="4789"/>
                  <a:pt x="4820" y="4536"/>
                </a:cubicBezTo>
                <a:cubicBezTo>
                  <a:pt x="4870" y="4283"/>
                  <a:pt x="4914" y="4063"/>
                  <a:pt x="4917" y="4046"/>
                </a:cubicBezTo>
                <a:cubicBezTo>
                  <a:pt x="4920" y="4030"/>
                  <a:pt x="4927" y="4016"/>
                  <a:pt x="4932" y="4016"/>
                </a:cubicBezTo>
                <a:cubicBezTo>
                  <a:pt x="4952" y="4016"/>
                  <a:pt x="5172" y="4171"/>
                  <a:pt x="5251" y="4240"/>
                </a:cubicBezTo>
                <a:cubicBezTo>
                  <a:pt x="5345" y="4322"/>
                  <a:pt x="5365" y="4347"/>
                  <a:pt x="5600" y="4686"/>
                </a:cubicBezTo>
                <a:cubicBezTo>
                  <a:pt x="5690" y="4816"/>
                  <a:pt x="5768" y="4920"/>
                  <a:pt x="5774" y="4916"/>
                </a:cubicBezTo>
                <a:cubicBezTo>
                  <a:pt x="5779" y="4913"/>
                  <a:pt x="5871" y="4788"/>
                  <a:pt x="5977" y="4640"/>
                </a:cubicBezTo>
                <a:cubicBezTo>
                  <a:pt x="6083" y="4491"/>
                  <a:pt x="6184" y="4357"/>
                  <a:pt x="6202" y="4342"/>
                </a:cubicBezTo>
                <a:cubicBezTo>
                  <a:pt x="6219" y="4326"/>
                  <a:pt x="6312" y="4271"/>
                  <a:pt x="6408" y="4218"/>
                </a:cubicBezTo>
                <a:cubicBezTo>
                  <a:pt x="6623" y="4101"/>
                  <a:pt x="6674" y="4094"/>
                  <a:pt x="6747" y="4170"/>
                </a:cubicBezTo>
                <a:cubicBezTo>
                  <a:pt x="6790" y="4214"/>
                  <a:pt x="6793" y="4224"/>
                  <a:pt x="6793" y="4303"/>
                </a:cubicBezTo>
                <a:cubicBezTo>
                  <a:pt x="6793" y="4403"/>
                  <a:pt x="6776" y="4426"/>
                  <a:pt x="6625" y="4532"/>
                </a:cubicBezTo>
                <a:cubicBezTo>
                  <a:pt x="6537" y="4594"/>
                  <a:pt x="6521" y="4615"/>
                  <a:pt x="6245" y="5023"/>
                </a:cubicBezTo>
                <a:cubicBezTo>
                  <a:pt x="6086" y="5258"/>
                  <a:pt x="5946" y="5463"/>
                  <a:pt x="5934" y="5479"/>
                </a:cubicBezTo>
                <a:cubicBezTo>
                  <a:pt x="5907" y="5518"/>
                  <a:pt x="5816" y="5563"/>
                  <a:pt x="5767" y="5563"/>
                </a:cubicBezTo>
                <a:cubicBezTo>
                  <a:pt x="5689" y="5563"/>
                  <a:pt x="5624" y="5516"/>
                  <a:pt x="5547" y="5404"/>
                </a:cubicBezTo>
                <a:cubicBezTo>
                  <a:pt x="5479" y="5306"/>
                  <a:pt x="5454" y="5280"/>
                  <a:pt x="5453" y="5306"/>
                </a:cubicBezTo>
                <a:cubicBezTo>
                  <a:pt x="5446" y="5473"/>
                  <a:pt x="5424" y="6054"/>
                  <a:pt x="5414" y="6356"/>
                </a:cubicBezTo>
                <a:cubicBezTo>
                  <a:pt x="5407" y="6576"/>
                  <a:pt x="5394" y="6915"/>
                  <a:pt x="5387" y="7110"/>
                </a:cubicBezTo>
                <a:cubicBezTo>
                  <a:pt x="5379" y="7304"/>
                  <a:pt x="5364" y="7733"/>
                  <a:pt x="5353" y="8063"/>
                </a:cubicBezTo>
                <a:cubicBezTo>
                  <a:pt x="5343" y="8393"/>
                  <a:pt x="5327" y="8825"/>
                  <a:pt x="5320" y="9023"/>
                </a:cubicBezTo>
                <a:cubicBezTo>
                  <a:pt x="5312" y="9221"/>
                  <a:pt x="5300" y="9565"/>
                  <a:pt x="5293" y="9787"/>
                </a:cubicBezTo>
                <a:cubicBezTo>
                  <a:pt x="5275" y="10305"/>
                  <a:pt x="5263" y="10367"/>
                  <a:pt x="5176" y="10401"/>
                </a:cubicBezTo>
                <a:cubicBezTo>
                  <a:pt x="5100" y="10431"/>
                  <a:pt x="5069" y="10432"/>
                  <a:pt x="5010" y="10406"/>
                </a:cubicBezTo>
                <a:cubicBezTo>
                  <a:pt x="4964" y="10385"/>
                  <a:pt x="4944" y="10366"/>
                  <a:pt x="4922" y="10320"/>
                </a:cubicBezTo>
                <a:cubicBezTo>
                  <a:pt x="4891" y="10256"/>
                  <a:pt x="4882" y="10188"/>
                  <a:pt x="4847" y="9700"/>
                </a:cubicBezTo>
                <a:cubicBezTo>
                  <a:pt x="4795" y="8995"/>
                  <a:pt x="4785" y="8865"/>
                  <a:pt x="4767" y="8613"/>
                </a:cubicBezTo>
                <a:cubicBezTo>
                  <a:pt x="4756" y="8465"/>
                  <a:pt x="4741" y="8256"/>
                  <a:pt x="4734" y="8150"/>
                </a:cubicBezTo>
                <a:cubicBezTo>
                  <a:pt x="4708" y="7789"/>
                  <a:pt x="4693" y="7627"/>
                  <a:pt x="4686" y="7615"/>
                </a:cubicBezTo>
                <a:cubicBezTo>
                  <a:pt x="4675" y="7597"/>
                  <a:pt x="4555" y="7600"/>
                  <a:pt x="4536" y="7619"/>
                </a:cubicBezTo>
                <a:cubicBezTo>
                  <a:pt x="4527" y="7628"/>
                  <a:pt x="4520" y="7668"/>
                  <a:pt x="4520" y="7709"/>
                </a:cubicBezTo>
                <a:cubicBezTo>
                  <a:pt x="4520" y="7750"/>
                  <a:pt x="4514" y="7849"/>
                  <a:pt x="4507" y="7930"/>
                </a:cubicBezTo>
                <a:cubicBezTo>
                  <a:pt x="4499" y="8010"/>
                  <a:pt x="4487" y="8163"/>
                  <a:pt x="4480" y="8270"/>
                </a:cubicBezTo>
                <a:cubicBezTo>
                  <a:pt x="4473" y="8376"/>
                  <a:pt x="4458" y="8589"/>
                  <a:pt x="4447" y="8743"/>
                </a:cubicBezTo>
                <a:cubicBezTo>
                  <a:pt x="4435" y="8897"/>
                  <a:pt x="4421" y="9107"/>
                  <a:pt x="4414" y="9210"/>
                </a:cubicBezTo>
                <a:cubicBezTo>
                  <a:pt x="4407" y="9312"/>
                  <a:pt x="4395" y="9477"/>
                  <a:pt x="4387" y="9576"/>
                </a:cubicBezTo>
                <a:cubicBezTo>
                  <a:pt x="4379" y="9675"/>
                  <a:pt x="4364" y="9872"/>
                  <a:pt x="4353" y="10013"/>
                </a:cubicBezTo>
                <a:cubicBezTo>
                  <a:pt x="4333" y="10288"/>
                  <a:pt x="4316" y="10350"/>
                  <a:pt x="4249" y="10393"/>
                </a:cubicBezTo>
                <a:cubicBezTo>
                  <a:pt x="4206" y="10422"/>
                  <a:pt x="4134" y="10432"/>
                  <a:pt x="4094" y="10415"/>
                </a:cubicBezTo>
                <a:close/>
                <a:moveTo>
                  <a:pt x="7425" y="4478"/>
                </a:moveTo>
                <a:cubicBezTo>
                  <a:pt x="7377" y="4457"/>
                  <a:pt x="7335" y="4418"/>
                  <a:pt x="7309" y="4370"/>
                </a:cubicBezTo>
                <a:cubicBezTo>
                  <a:pt x="7292" y="4338"/>
                  <a:pt x="7285" y="4277"/>
                  <a:pt x="7280" y="4085"/>
                </a:cubicBezTo>
                <a:cubicBezTo>
                  <a:pt x="7273" y="3842"/>
                  <a:pt x="7273" y="3841"/>
                  <a:pt x="7240" y="3822"/>
                </a:cubicBezTo>
                <a:cubicBezTo>
                  <a:pt x="7222" y="3811"/>
                  <a:pt x="7123" y="3763"/>
                  <a:pt x="7021" y="3714"/>
                </a:cubicBezTo>
                <a:cubicBezTo>
                  <a:pt x="6811" y="3614"/>
                  <a:pt x="6811" y="3619"/>
                  <a:pt x="7013" y="3584"/>
                </a:cubicBezTo>
                <a:cubicBezTo>
                  <a:pt x="7083" y="3572"/>
                  <a:pt x="7171" y="3556"/>
                  <a:pt x="7209" y="3548"/>
                </a:cubicBezTo>
                <a:lnTo>
                  <a:pt x="7278" y="3535"/>
                </a:lnTo>
                <a:lnTo>
                  <a:pt x="7282" y="3331"/>
                </a:lnTo>
                <a:cubicBezTo>
                  <a:pt x="7287" y="3132"/>
                  <a:pt x="7287" y="3127"/>
                  <a:pt x="7324" y="3079"/>
                </a:cubicBezTo>
                <a:cubicBezTo>
                  <a:pt x="7400" y="2979"/>
                  <a:pt x="7361" y="2983"/>
                  <a:pt x="8185" y="2979"/>
                </a:cubicBezTo>
                <a:cubicBezTo>
                  <a:pt x="9016" y="2975"/>
                  <a:pt x="9029" y="2976"/>
                  <a:pt x="9105" y="3063"/>
                </a:cubicBezTo>
                <a:cubicBezTo>
                  <a:pt x="9127" y="3088"/>
                  <a:pt x="9149" y="3129"/>
                  <a:pt x="9153" y="3153"/>
                </a:cubicBezTo>
                <a:cubicBezTo>
                  <a:pt x="9158" y="3177"/>
                  <a:pt x="9159" y="3455"/>
                  <a:pt x="9157" y="3771"/>
                </a:cubicBezTo>
                <a:lnTo>
                  <a:pt x="9153" y="4345"/>
                </a:lnTo>
                <a:lnTo>
                  <a:pt x="9116" y="4394"/>
                </a:lnTo>
                <a:cubicBezTo>
                  <a:pt x="9095" y="4421"/>
                  <a:pt x="9055" y="4455"/>
                  <a:pt x="9026" y="4470"/>
                </a:cubicBezTo>
                <a:cubicBezTo>
                  <a:pt x="8976" y="4495"/>
                  <a:pt x="8948" y="4496"/>
                  <a:pt x="8217" y="4495"/>
                </a:cubicBezTo>
                <a:cubicBezTo>
                  <a:pt x="7666" y="4494"/>
                  <a:pt x="7450" y="4490"/>
                  <a:pt x="7425" y="4478"/>
                </a:cubicBezTo>
                <a:close/>
                <a:moveTo>
                  <a:pt x="147" y="4075"/>
                </a:moveTo>
                <a:cubicBezTo>
                  <a:pt x="86" y="4049"/>
                  <a:pt x="56" y="4020"/>
                  <a:pt x="25" y="3960"/>
                </a:cubicBezTo>
                <a:cubicBezTo>
                  <a:pt x="2" y="3914"/>
                  <a:pt x="0" y="3873"/>
                  <a:pt x="0" y="3303"/>
                </a:cubicBezTo>
                <a:cubicBezTo>
                  <a:pt x="0" y="2732"/>
                  <a:pt x="2" y="2692"/>
                  <a:pt x="25" y="2646"/>
                </a:cubicBezTo>
                <a:cubicBezTo>
                  <a:pt x="57" y="2583"/>
                  <a:pt x="100" y="2543"/>
                  <a:pt x="163" y="2517"/>
                </a:cubicBezTo>
                <a:cubicBezTo>
                  <a:pt x="206" y="2499"/>
                  <a:pt x="321" y="2496"/>
                  <a:pt x="1022" y="2496"/>
                </a:cubicBezTo>
                <a:cubicBezTo>
                  <a:pt x="1820" y="2496"/>
                  <a:pt x="1832" y="2497"/>
                  <a:pt x="1890" y="2525"/>
                </a:cubicBezTo>
                <a:cubicBezTo>
                  <a:pt x="1925" y="2542"/>
                  <a:pt x="1963" y="2574"/>
                  <a:pt x="1984" y="2607"/>
                </a:cubicBezTo>
                <a:lnTo>
                  <a:pt x="2020" y="2661"/>
                </a:lnTo>
                <a:lnTo>
                  <a:pt x="2027" y="3024"/>
                </a:lnTo>
                <a:cubicBezTo>
                  <a:pt x="2030" y="3224"/>
                  <a:pt x="2037" y="3391"/>
                  <a:pt x="2041" y="3395"/>
                </a:cubicBezTo>
                <a:cubicBezTo>
                  <a:pt x="2045" y="3399"/>
                  <a:pt x="2139" y="3434"/>
                  <a:pt x="2251" y="3472"/>
                </a:cubicBezTo>
                <a:cubicBezTo>
                  <a:pt x="2362" y="3511"/>
                  <a:pt x="2455" y="3548"/>
                  <a:pt x="2457" y="3555"/>
                </a:cubicBezTo>
                <a:cubicBezTo>
                  <a:pt x="2459" y="3561"/>
                  <a:pt x="2367" y="3594"/>
                  <a:pt x="2253" y="3628"/>
                </a:cubicBezTo>
                <a:cubicBezTo>
                  <a:pt x="2140" y="3661"/>
                  <a:pt x="2042" y="3695"/>
                  <a:pt x="2037" y="3703"/>
                </a:cubicBezTo>
                <a:cubicBezTo>
                  <a:pt x="2031" y="3710"/>
                  <a:pt x="2027" y="3760"/>
                  <a:pt x="2027" y="3813"/>
                </a:cubicBezTo>
                <a:cubicBezTo>
                  <a:pt x="2027" y="3867"/>
                  <a:pt x="2018" y="3930"/>
                  <a:pt x="2008" y="3953"/>
                </a:cubicBezTo>
                <a:cubicBezTo>
                  <a:pt x="1986" y="4005"/>
                  <a:pt x="1927" y="4063"/>
                  <a:pt x="1876" y="4082"/>
                </a:cubicBezTo>
                <a:cubicBezTo>
                  <a:pt x="1851" y="4092"/>
                  <a:pt x="1566" y="4096"/>
                  <a:pt x="1016" y="4096"/>
                </a:cubicBezTo>
                <a:cubicBezTo>
                  <a:pt x="314" y="4095"/>
                  <a:pt x="187" y="4092"/>
                  <a:pt x="147" y="4075"/>
                </a:cubicBezTo>
                <a:close/>
                <a:moveTo>
                  <a:pt x="4492" y="3865"/>
                </a:moveTo>
                <a:cubicBezTo>
                  <a:pt x="4411" y="3843"/>
                  <a:pt x="4327" y="3792"/>
                  <a:pt x="4250" y="3717"/>
                </a:cubicBezTo>
                <a:cubicBezTo>
                  <a:pt x="4148" y="3619"/>
                  <a:pt x="4027" y="3413"/>
                  <a:pt x="4027" y="3337"/>
                </a:cubicBezTo>
                <a:cubicBezTo>
                  <a:pt x="4027" y="3323"/>
                  <a:pt x="4016" y="3308"/>
                  <a:pt x="4002" y="3304"/>
                </a:cubicBezTo>
                <a:cubicBezTo>
                  <a:pt x="3895" y="3270"/>
                  <a:pt x="3876" y="3074"/>
                  <a:pt x="3974" y="3013"/>
                </a:cubicBezTo>
                <a:cubicBezTo>
                  <a:pt x="3996" y="2999"/>
                  <a:pt x="4000" y="2981"/>
                  <a:pt x="4000" y="2883"/>
                </a:cubicBezTo>
                <a:cubicBezTo>
                  <a:pt x="4000" y="2691"/>
                  <a:pt x="4049" y="2566"/>
                  <a:pt x="4164" y="2460"/>
                </a:cubicBezTo>
                <a:cubicBezTo>
                  <a:pt x="4278" y="2355"/>
                  <a:pt x="4411" y="2310"/>
                  <a:pt x="4604" y="2310"/>
                </a:cubicBezTo>
                <a:cubicBezTo>
                  <a:pt x="4976" y="2310"/>
                  <a:pt x="5179" y="2520"/>
                  <a:pt x="5155" y="2882"/>
                </a:cubicBezTo>
                <a:cubicBezTo>
                  <a:pt x="5147" y="3006"/>
                  <a:pt x="5147" y="3007"/>
                  <a:pt x="5187" y="3052"/>
                </a:cubicBezTo>
                <a:cubicBezTo>
                  <a:pt x="5250" y="3124"/>
                  <a:pt x="5232" y="3231"/>
                  <a:pt x="5146" y="3295"/>
                </a:cubicBezTo>
                <a:cubicBezTo>
                  <a:pt x="5124" y="3311"/>
                  <a:pt x="5107" y="3334"/>
                  <a:pt x="5107" y="3347"/>
                </a:cubicBezTo>
                <a:cubicBezTo>
                  <a:pt x="5107" y="3384"/>
                  <a:pt x="5030" y="3535"/>
                  <a:pt x="4965" y="3626"/>
                </a:cubicBezTo>
                <a:cubicBezTo>
                  <a:pt x="4830" y="3815"/>
                  <a:pt x="4648" y="3907"/>
                  <a:pt x="4492" y="3865"/>
                </a:cubicBezTo>
                <a:close/>
                <a:moveTo>
                  <a:pt x="4893" y="3063"/>
                </a:moveTo>
                <a:cubicBezTo>
                  <a:pt x="5079" y="3036"/>
                  <a:pt x="5095" y="3016"/>
                  <a:pt x="4930" y="3016"/>
                </a:cubicBezTo>
                <a:cubicBezTo>
                  <a:pt x="4662" y="3016"/>
                  <a:pt x="4483" y="2941"/>
                  <a:pt x="4361" y="2774"/>
                </a:cubicBezTo>
                <a:cubicBezTo>
                  <a:pt x="4341" y="2747"/>
                  <a:pt x="4318" y="2729"/>
                  <a:pt x="4311" y="2734"/>
                </a:cubicBezTo>
                <a:cubicBezTo>
                  <a:pt x="4303" y="2739"/>
                  <a:pt x="4284" y="2779"/>
                  <a:pt x="4268" y="2823"/>
                </a:cubicBezTo>
                <a:cubicBezTo>
                  <a:pt x="4225" y="2939"/>
                  <a:pt x="4191" y="2986"/>
                  <a:pt x="4140" y="3005"/>
                </a:cubicBezTo>
                <a:cubicBezTo>
                  <a:pt x="4082" y="3026"/>
                  <a:pt x="4093" y="3043"/>
                  <a:pt x="4166" y="3043"/>
                </a:cubicBezTo>
                <a:cubicBezTo>
                  <a:pt x="4234" y="3043"/>
                  <a:pt x="4281" y="3006"/>
                  <a:pt x="4308" y="2932"/>
                </a:cubicBezTo>
                <a:cubicBezTo>
                  <a:pt x="4329" y="2874"/>
                  <a:pt x="4336" y="2872"/>
                  <a:pt x="4365" y="2916"/>
                </a:cubicBezTo>
                <a:cubicBezTo>
                  <a:pt x="4417" y="2994"/>
                  <a:pt x="4488" y="3040"/>
                  <a:pt x="4600" y="3065"/>
                </a:cubicBezTo>
                <a:cubicBezTo>
                  <a:pt x="4698" y="3086"/>
                  <a:pt x="4729" y="3086"/>
                  <a:pt x="4893" y="3063"/>
                </a:cubicBezTo>
                <a:close/>
                <a:moveTo>
                  <a:pt x="5627" y="2792"/>
                </a:moveTo>
                <a:cubicBezTo>
                  <a:pt x="5627" y="2787"/>
                  <a:pt x="5640" y="2762"/>
                  <a:pt x="5656" y="2736"/>
                </a:cubicBezTo>
                <a:cubicBezTo>
                  <a:pt x="5671" y="2711"/>
                  <a:pt x="5722" y="2627"/>
                  <a:pt x="5769" y="2551"/>
                </a:cubicBezTo>
                <a:lnTo>
                  <a:pt x="5853" y="2412"/>
                </a:lnTo>
                <a:lnTo>
                  <a:pt x="5854" y="1737"/>
                </a:lnTo>
                <a:cubicBezTo>
                  <a:pt x="5854" y="1064"/>
                  <a:pt x="5854" y="1063"/>
                  <a:pt x="5884" y="1004"/>
                </a:cubicBezTo>
                <a:cubicBezTo>
                  <a:pt x="5901" y="972"/>
                  <a:pt x="5937" y="927"/>
                  <a:pt x="5965" y="904"/>
                </a:cubicBezTo>
                <a:lnTo>
                  <a:pt x="6016" y="863"/>
                </a:lnTo>
                <a:lnTo>
                  <a:pt x="6806" y="859"/>
                </a:lnTo>
                <a:lnTo>
                  <a:pt x="7596" y="856"/>
                </a:lnTo>
                <a:lnTo>
                  <a:pt x="7661" y="899"/>
                </a:lnTo>
                <a:cubicBezTo>
                  <a:pt x="7700" y="926"/>
                  <a:pt x="7737" y="966"/>
                  <a:pt x="7756" y="1002"/>
                </a:cubicBezTo>
                <a:lnTo>
                  <a:pt x="7787" y="1061"/>
                </a:lnTo>
                <a:lnTo>
                  <a:pt x="7786" y="1768"/>
                </a:lnTo>
                <a:cubicBezTo>
                  <a:pt x="7786" y="2427"/>
                  <a:pt x="7784" y="2480"/>
                  <a:pt x="7762" y="2530"/>
                </a:cubicBezTo>
                <a:cubicBezTo>
                  <a:pt x="7732" y="2596"/>
                  <a:pt x="7641" y="2677"/>
                  <a:pt x="7584" y="2688"/>
                </a:cubicBezTo>
                <a:cubicBezTo>
                  <a:pt x="7562" y="2693"/>
                  <a:pt x="7211" y="2696"/>
                  <a:pt x="6805" y="2696"/>
                </a:cubicBezTo>
                <a:cubicBezTo>
                  <a:pt x="6178" y="2696"/>
                  <a:pt x="6060" y="2693"/>
                  <a:pt x="6017" y="2676"/>
                </a:cubicBezTo>
                <a:cubicBezTo>
                  <a:pt x="5967" y="2656"/>
                  <a:pt x="5965" y="2657"/>
                  <a:pt x="5797" y="2729"/>
                </a:cubicBezTo>
                <a:cubicBezTo>
                  <a:pt x="5703" y="2768"/>
                  <a:pt x="5627" y="2797"/>
                  <a:pt x="5627" y="2792"/>
                </a:cubicBezTo>
                <a:close/>
                <a:moveTo>
                  <a:pt x="3051" y="2216"/>
                </a:moveTo>
                <a:lnTo>
                  <a:pt x="2895" y="2096"/>
                </a:lnTo>
                <a:lnTo>
                  <a:pt x="2270" y="2096"/>
                </a:lnTo>
                <a:cubicBezTo>
                  <a:pt x="1649" y="2096"/>
                  <a:pt x="1645" y="2096"/>
                  <a:pt x="1587" y="2066"/>
                </a:cubicBezTo>
                <a:cubicBezTo>
                  <a:pt x="1469" y="2006"/>
                  <a:pt x="1474" y="2034"/>
                  <a:pt x="1470" y="1418"/>
                </a:cubicBezTo>
                <a:lnTo>
                  <a:pt x="1466" y="875"/>
                </a:lnTo>
                <a:lnTo>
                  <a:pt x="1496" y="830"/>
                </a:lnTo>
                <a:cubicBezTo>
                  <a:pt x="1513" y="806"/>
                  <a:pt x="1544" y="773"/>
                  <a:pt x="1564" y="758"/>
                </a:cubicBezTo>
                <a:cubicBezTo>
                  <a:pt x="1601" y="730"/>
                  <a:pt x="1616" y="730"/>
                  <a:pt x="2271" y="726"/>
                </a:cubicBezTo>
                <a:lnTo>
                  <a:pt x="2940" y="722"/>
                </a:lnTo>
                <a:lnTo>
                  <a:pt x="3000" y="753"/>
                </a:lnTo>
                <a:cubicBezTo>
                  <a:pt x="3080" y="793"/>
                  <a:pt x="3115" y="849"/>
                  <a:pt x="3126" y="954"/>
                </a:cubicBezTo>
                <a:cubicBezTo>
                  <a:pt x="3131" y="1001"/>
                  <a:pt x="3134" y="1258"/>
                  <a:pt x="3133" y="1525"/>
                </a:cubicBezTo>
                <a:lnTo>
                  <a:pt x="3130" y="2010"/>
                </a:lnTo>
                <a:lnTo>
                  <a:pt x="3172" y="2150"/>
                </a:lnTo>
                <a:cubicBezTo>
                  <a:pt x="3195" y="2227"/>
                  <a:pt x="3217" y="2300"/>
                  <a:pt x="3221" y="2313"/>
                </a:cubicBezTo>
                <a:cubicBezTo>
                  <a:pt x="3225" y="2326"/>
                  <a:pt x="3224" y="2336"/>
                  <a:pt x="3218" y="2336"/>
                </a:cubicBezTo>
                <a:cubicBezTo>
                  <a:pt x="3212" y="2336"/>
                  <a:pt x="3137" y="2282"/>
                  <a:pt x="3051" y="2216"/>
                </a:cubicBezTo>
                <a:close/>
                <a:moveTo>
                  <a:pt x="4507" y="1738"/>
                </a:moveTo>
                <a:cubicBezTo>
                  <a:pt x="4507" y="1723"/>
                  <a:pt x="4501" y="1697"/>
                  <a:pt x="4494" y="1680"/>
                </a:cubicBezTo>
                <a:cubicBezTo>
                  <a:pt x="4487" y="1663"/>
                  <a:pt x="4469" y="1606"/>
                  <a:pt x="4453" y="1553"/>
                </a:cubicBezTo>
                <a:cubicBezTo>
                  <a:pt x="4437" y="1500"/>
                  <a:pt x="4420" y="1455"/>
                  <a:pt x="4416" y="1454"/>
                </a:cubicBezTo>
                <a:cubicBezTo>
                  <a:pt x="4411" y="1453"/>
                  <a:pt x="4278" y="1451"/>
                  <a:pt x="4120" y="1450"/>
                </a:cubicBezTo>
                <a:cubicBezTo>
                  <a:pt x="3796" y="1447"/>
                  <a:pt x="3762" y="1439"/>
                  <a:pt x="3698" y="1355"/>
                </a:cubicBezTo>
                <a:lnTo>
                  <a:pt x="3660" y="1305"/>
                </a:lnTo>
                <a:lnTo>
                  <a:pt x="3660" y="730"/>
                </a:lnTo>
                <a:lnTo>
                  <a:pt x="3660" y="154"/>
                </a:lnTo>
                <a:lnTo>
                  <a:pt x="3695" y="101"/>
                </a:lnTo>
                <a:cubicBezTo>
                  <a:pt x="3762" y="0"/>
                  <a:pt x="3733" y="3"/>
                  <a:pt x="4564" y="3"/>
                </a:cubicBezTo>
                <a:cubicBezTo>
                  <a:pt x="4978" y="3"/>
                  <a:pt x="5319" y="8"/>
                  <a:pt x="5337" y="15"/>
                </a:cubicBezTo>
                <a:cubicBezTo>
                  <a:pt x="5381" y="32"/>
                  <a:pt x="5443" y="101"/>
                  <a:pt x="5462" y="153"/>
                </a:cubicBezTo>
                <a:cubicBezTo>
                  <a:pt x="5473" y="183"/>
                  <a:pt x="5478" y="355"/>
                  <a:pt x="5479" y="730"/>
                </a:cubicBezTo>
                <a:cubicBezTo>
                  <a:pt x="5479" y="1221"/>
                  <a:pt x="5477" y="1267"/>
                  <a:pt x="5455" y="1317"/>
                </a:cubicBezTo>
                <a:cubicBezTo>
                  <a:pt x="5423" y="1387"/>
                  <a:pt x="5375" y="1425"/>
                  <a:pt x="5296" y="1440"/>
                </a:cubicBezTo>
                <a:cubicBezTo>
                  <a:pt x="5262" y="1446"/>
                  <a:pt x="5106" y="1451"/>
                  <a:pt x="4950" y="1450"/>
                </a:cubicBezTo>
                <a:cubicBezTo>
                  <a:pt x="4794" y="1449"/>
                  <a:pt x="4660" y="1452"/>
                  <a:pt x="4653" y="1457"/>
                </a:cubicBezTo>
                <a:cubicBezTo>
                  <a:pt x="4645" y="1462"/>
                  <a:pt x="4616" y="1531"/>
                  <a:pt x="4588" y="1610"/>
                </a:cubicBezTo>
                <a:cubicBezTo>
                  <a:pt x="4540" y="1747"/>
                  <a:pt x="4507" y="1799"/>
                  <a:pt x="4507" y="1738"/>
                </a:cubicBezTo>
                <a:close/>
              </a:path>
            </a:pathLst>
          </a:custGeom>
          <a:solidFill>
            <a:srgbClr val="FFCA2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n-lt"/>
              <a:ea typeface="楷体" panose="02010609060101010101" pitchFamily="49" charset="-122"/>
            </a:endParaRPr>
          </a:p>
        </p:txBody>
      </p:sp>
      <p:sp>
        <p:nvSpPr>
          <p:cNvPr id="34" name="TextBox 33"/>
          <p:cNvSpPr txBox="1">
            <a:spLocks/>
          </p:cNvSpPr>
          <p:nvPr/>
        </p:nvSpPr>
        <p:spPr>
          <a:xfrm>
            <a:off x="689546" y="2565847"/>
            <a:ext cx="1551508" cy="230832"/>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zh-CN" sz="1500" dirty="0">
                <a:solidFill>
                  <a:srgbClr val="FFCA21"/>
                </a:solidFill>
                <a:ea typeface="楷体" panose="02010609060101010101" pitchFamily="49" charset="-122"/>
                <a:cs typeface="SimSun"/>
              </a:rPr>
              <a:t>自我配置</a:t>
            </a:r>
          </a:p>
        </p:txBody>
      </p:sp>
      <p:cxnSp>
        <p:nvCxnSpPr>
          <p:cNvPr id="283" name="Straight Connector 282"/>
          <p:cNvCxnSpPr>
            <a:cxnSpLocks/>
          </p:cNvCxnSpPr>
          <p:nvPr/>
        </p:nvCxnSpPr>
        <p:spPr>
          <a:xfrm>
            <a:off x="2389032" y="2219598"/>
            <a:ext cx="0" cy="923330"/>
          </a:xfrm>
          <a:prstGeom prst="line">
            <a:avLst/>
          </a:prstGeom>
          <a:ln w="3175">
            <a:solidFill>
              <a:srgbClr val="FFCA21"/>
            </a:solidFill>
          </a:ln>
        </p:spPr>
        <p:style>
          <a:lnRef idx="1">
            <a:schemeClr val="accent1"/>
          </a:lnRef>
          <a:fillRef idx="0">
            <a:schemeClr val="accent1"/>
          </a:fillRef>
          <a:effectRef idx="0">
            <a:schemeClr val="accent1"/>
          </a:effectRef>
          <a:fontRef idx="minor">
            <a:schemeClr val="tx1"/>
          </a:fontRef>
        </p:style>
      </p:cxnSp>
      <p:sp>
        <p:nvSpPr>
          <p:cNvPr id="11" name="TextBox 10"/>
          <p:cNvSpPr txBox="1">
            <a:spLocks/>
          </p:cNvSpPr>
          <p:nvPr/>
        </p:nvSpPr>
        <p:spPr>
          <a:xfrm>
            <a:off x="2537009" y="2450431"/>
            <a:ext cx="6305365" cy="230832"/>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5000"/>
              </a:spcBef>
              <a:buClr>
                <a:schemeClr val="bg1"/>
              </a:buClr>
            </a:pPr>
            <a:r>
              <a:rPr lang="zh-CN" altLang="en-US" sz="1500" dirty="0">
                <a:solidFill>
                  <a:schemeClr val="bg1"/>
                </a:solidFill>
                <a:ea typeface="楷体" panose="02010609060101010101" pitchFamily="49" charset="-122"/>
                <a:cs typeface="SimSun"/>
              </a:rPr>
              <a:t>随着</a:t>
            </a:r>
            <a:r>
              <a:rPr lang="zh-CN" sz="1500" dirty="0">
                <a:solidFill>
                  <a:schemeClr val="bg1"/>
                </a:solidFill>
                <a:ea typeface="楷体" panose="02010609060101010101" pitchFamily="49" charset="-122"/>
                <a:cs typeface="SimSun"/>
              </a:rPr>
              <a:t>可自我配置的神经网络</a:t>
            </a:r>
            <a:r>
              <a:rPr lang="zh-CN" altLang="en-US" sz="1500" dirty="0">
                <a:solidFill>
                  <a:schemeClr val="bg1"/>
                </a:solidFill>
                <a:ea typeface="楷体" panose="02010609060101010101" pitchFamily="49" charset="-122"/>
                <a:cs typeface="SimSun"/>
              </a:rPr>
              <a:t>出现</a:t>
            </a:r>
            <a:r>
              <a:rPr lang="zh-CN" sz="1500" dirty="0">
                <a:solidFill>
                  <a:schemeClr val="bg1"/>
                </a:solidFill>
                <a:ea typeface="楷体" panose="02010609060101010101" pitchFamily="49" charset="-122"/>
                <a:cs typeface="SimSun"/>
              </a:rPr>
              <a:t>，神经网络的开发周期将会显著缩短</a:t>
            </a:r>
          </a:p>
        </p:txBody>
      </p:sp>
      <p:sp>
        <p:nvSpPr>
          <p:cNvPr id="290" name="Freeform 151"/>
          <p:cNvSpPr>
            <a:spLocks noEditPoints="1"/>
          </p:cNvSpPr>
          <p:nvPr/>
        </p:nvSpPr>
        <p:spPr bwMode="auto">
          <a:xfrm>
            <a:off x="186451" y="2513999"/>
            <a:ext cx="334398" cy="334529"/>
          </a:xfrm>
          <a:custGeom>
            <a:avLst/>
            <a:gdLst>
              <a:gd name="T0" fmla="*/ 3835 w 10671"/>
              <a:gd name="T1" fmla="*/ 10471 h 10674"/>
              <a:gd name="T2" fmla="*/ 3414 w 10671"/>
              <a:gd name="T3" fmla="*/ 10140 h 10674"/>
              <a:gd name="T4" fmla="*/ 2546 w 10671"/>
              <a:gd name="T5" fmla="*/ 9030 h 10674"/>
              <a:gd name="T6" fmla="*/ 1552 w 10671"/>
              <a:gd name="T7" fmla="*/ 9118 h 10674"/>
              <a:gd name="T8" fmla="*/ 1658 w 10671"/>
              <a:gd name="T9" fmla="*/ 8151 h 10674"/>
              <a:gd name="T10" fmla="*/ 1045 w 10671"/>
              <a:gd name="T11" fmla="*/ 7122 h 10674"/>
              <a:gd name="T12" fmla="*/ 235 w 10671"/>
              <a:gd name="T13" fmla="*/ 6968 h 10674"/>
              <a:gd name="T14" fmla="*/ 14 w 10671"/>
              <a:gd name="T15" fmla="*/ 6160 h 10674"/>
              <a:gd name="T16" fmla="*/ 727 w 10671"/>
              <a:gd name="T17" fmla="*/ 5742 h 10674"/>
              <a:gd name="T18" fmla="*/ 634 w 10671"/>
              <a:gd name="T19" fmla="*/ 4709 h 10674"/>
              <a:gd name="T20" fmla="*/ 89 w 10671"/>
              <a:gd name="T21" fmla="*/ 4248 h 10674"/>
              <a:gd name="T22" fmla="*/ 332 w 10671"/>
              <a:gd name="T23" fmla="*/ 3362 h 10674"/>
              <a:gd name="T24" fmla="*/ 1082 w 10671"/>
              <a:gd name="T25" fmla="*/ 3505 h 10674"/>
              <a:gd name="T26" fmla="*/ 1390 w 10671"/>
              <a:gd name="T27" fmla="*/ 2250 h 10674"/>
              <a:gd name="T28" fmla="*/ 1982 w 10671"/>
              <a:gd name="T29" fmla="*/ 1122 h 10674"/>
              <a:gd name="T30" fmla="*/ 2664 w 10671"/>
              <a:gd name="T31" fmla="*/ 1557 h 10674"/>
              <a:gd name="T32" fmla="*/ 3497 w 10671"/>
              <a:gd name="T33" fmla="*/ 838 h 10674"/>
              <a:gd name="T34" fmla="*/ 3742 w 10671"/>
              <a:gd name="T35" fmla="*/ 224 h 10674"/>
              <a:gd name="T36" fmla="*/ 4596 w 10671"/>
              <a:gd name="T37" fmla="*/ 208 h 10674"/>
              <a:gd name="T38" fmla="*/ 5742 w 10671"/>
              <a:gd name="T39" fmla="*/ 727 h 10674"/>
              <a:gd name="T40" fmla="*/ 6160 w 10671"/>
              <a:gd name="T41" fmla="*/ 14 h 10674"/>
              <a:gd name="T42" fmla="*/ 6968 w 10671"/>
              <a:gd name="T43" fmla="*/ 235 h 10674"/>
              <a:gd name="T44" fmla="*/ 7122 w 10671"/>
              <a:gd name="T45" fmla="*/ 1045 h 10674"/>
              <a:gd name="T46" fmla="*/ 8151 w 10671"/>
              <a:gd name="T47" fmla="*/ 1658 h 10674"/>
              <a:gd name="T48" fmla="*/ 9118 w 10671"/>
              <a:gd name="T49" fmla="*/ 1552 h 10674"/>
              <a:gd name="T50" fmla="*/ 9013 w 10671"/>
              <a:gd name="T51" fmla="*/ 2519 h 10674"/>
              <a:gd name="T52" fmla="*/ 9625 w 10671"/>
              <a:gd name="T53" fmla="*/ 3548 h 10674"/>
              <a:gd name="T54" fmla="*/ 10469 w 10671"/>
              <a:gd name="T55" fmla="*/ 3825 h 10674"/>
              <a:gd name="T56" fmla="*/ 10435 w 10671"/>
              <a:gd name="T57" fmla="*/ 4602 h 10674"/>
              <a:gd name="T58" fmla="*/ 9961 w 10671"/>
              <a:gd name="T59" fmla="*/ 5308 h 10674"/>
              <a:gd name="T60" fmla="*/ 8995 w 10671"/>
              <a:gd name="T61" fmla="*/ 6172 h 10674"/>
              <a:gd name="T62" fmla="*/ 8753 w 10671"/>
              <a:gd name="T63" fmla="*/ 4555 h 10674"/>
              <a:gd name="T64" fmla="*/ 2338 w 10671"/>
              <a:gd name="T65" fmla="*/ 3515 h 10674"/>
              <a:gd name="T66" fmla="*/ 3422 w 10671"/>
              <a:gd name="T67" fmla="*/ 8272 h 10674"/>
              <a:gd name="T68" fmla="*/ 6310 w 10671"/>
              <a:gd name="T69" fmla="*/ 9279 h 10674"/>
              <a:gd name="T70" fmla="*/ 5322 w 10671"/>
              <a:gd name="T71" fmla="*/ 9961 h 10674"/>
              <a:gd name="T72" fmla="*/ 4581 w 10671"/>
              <a:gd name="T73" fmla="*/ 10515 h 10674"/>
              <a:gd name="T74" fmla="*/ 8226 w 10671"/>
              <a:gd name="T75" fmla="*/ 9640 h 10674"/>
              <a:gd name="T76" fmla="*/ 5940 w 10671"/>
              <a:gd name="T77" fmla="*/ 7459 h 10674"/>
              <a:gd name="T78" fmla="*/ 5235 w 10671"/>
              <a:gd name="T79" fmla="*/ 7570 h 10674"/>
              <a:gd name="T80" fmla="*/ 3350 w 10671"/>
              <a:gd name="T81" fmla="*/ 6397 h 10674"/>
              <a:gd name="T82" fmla="*/ 3168 w 10671"/>
              <a:gd name="T83" fmla="*/ 4710 h 10674"/>
              <a:gd name="T84" fmla="*/ 4488 w 10671"/>
              <a:gd name="T85" fmla="*/ 5893 h 10674"/>
              <a:gd name="T86" fmla="*/ 6078 w 10671"/>
              <a:gd name="T87" fmla="*/ 5439 h 10674"/>
              <a:gd name="T88" fmla="*/ 5028 w 10671"/>
              <a:gd name="T89" fmla="*/ 3092 h 10674"/>
              <a:gd name="T90" fmla="*/ 5468 w 10671"/>
              <a:gd name="T91" fmla="*/ 3035 h 10674"/>
              <a:gd name="T92" fmla="*/ 6750 w 10671"/>
              <a:gd name="T93" fmla="*/ 3417 h 10674"/>
              <a:gd name="T94" fmla="*/ 7574 w 10671"/>
              <a:gd name="T95" fmla="*/ 5813 h 10674"/>
              <a:gd name="T96" fmla="*/ 9608 w 10671"/>
              <a:gd name="T97" fmla="*/ 8182 h 10674"/>
              <a:gd name="T98" fmla="*/ 9764 w 10671"/>
              <a:gd name="T99" fmla="*/ 9068 h 10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671" h="10674">
                <a:moveTo>
                  <a:pt x="4518" y="10660"/>
                </a:moveTo>
                <a:cubicBezTo>
                  <a:pt x="4513" y="10655"/>
                  <a:pt x="4459" y="10638"/>
                  <a:pt x="4398" y="10621"/>
                </a:cubicBezTo>
                <a:cubicBezTo>
                  <a:pt x="4294" y="10594"/>
                  <a:pt x="4175" y="10562"/>
                  <a:pt x="3835" y="10471"/>
                </a:cubicBezTo>
                <a:cubicBezTo>
                  <a:pt x="3754" y="10449"/>
                  <a:pt x="3616" y="10413"/>
                  <a:pt x="3529" y="10389"/>
                </a:cubicBezTo>
                <a:cubicBezTo>
                  <a:pt x="3441" y="10366"/>
                  <a:pt x="3367" y="10345"/>
                  <a:pt x="3364" y="10342"/>
                </a:cubicBezTo>
                <a:cubicBezTo>
                  <a:pt x="3362" y="10340"/>
                  <a:pt x="3384" y="10249"/>
                  <a:pt x="3414" y="10140"/>
                </a:cubicBezTo>
                <a:cubicBezTo>
                  <a:pt x="3525" y="9733"/>
                  <a:pt x="3548" y="9642"/>
                  <a:pt x="3548" y="9625"/>
                </a:cubicBezTo>
                <a:cubicBezTo>
                  <a:pt x="3548" y="9616"/>
                  <a:pt x="3441" y="9556"/>
                  <a:pt x="3311" y="9493"/>
                </a:cubicBezTo>
                <a:cubicBezTo>
                  <a:pt x="3030" y="9355"/>
                  <a:pt x="2801" y="9217"/>
                  <a:pt x="2546" y="9030"/>
                </a:cubicBezTo>
                <a:cubicBezTo>
                  <a:pt x="2522" y="9012"/>
                  <a:pt x="2500" y="9031"/>
                  <a:pt x="2251" y="9280"/>
                </a:cubicBezTo>
                <a:lnTo>
                  <a:pt x="1981" y="9548"/>
                </a:lnTo>
                <a:lnTo>
                  <a:pt x="1552" y="9118"/>
                </a:lnTo>
                <a:lnTo>
                  <a:pt x="1122" y="8688"/>
                </a:lnTo>
                <a:lnTo>
                  <a:pt x="1390" y="8420"/>
                </a:lnTo>
                <a:lnTo>
                  <a:pt x="1658" y="8151"/>
                </a:lnTo>
                <a:lnTo>
                  <a:pt x="1557" y="8006"/>
                </a:lnTo>
                <a:cubicBezTo>
                  <a:pt x="1401" y="7784"/>
                  <a:pt x="1303" y="7617"/>
                  <a:pt x="1177" y="7359"/>
                </a:cubicBezTo>
                <a:cubicBezTo>
                  <a:pt x="1114" y="7229"/>
                  <a:pt x="1054" y="7122"/>
                  <a:pt x="1045" y="7122"/>
                </a:cubicBezTo>
                <a:cubicBezTo>
                  <a:pt x="1036" y="7122"/>
                  <a:pt x="943" y="7145"/>
                  <a:pt x="838" y="7173"/>
                </a:cubicBezTo>
                <a:cubicBezTo>
                  <a:pt x="404" y="7291"/>
                  <a:pt x="332" y="7310"/>
                  <a:pt x="330" y="7306"/>
                </a:cubicBezTo>
                <a:cubicBezTo>
                  <a:pt x="324" y="7298"/>
                  <a:pt x="297" y="7199"/>
                  <a:pt x="235" y="6968"/>
                </a:cubicBezTo>
                <a:cubicBezTo>
                  <a:pt x="202" y="6844"/>
                  <a:pt x="169" y="6721"/>
                  <a:pt x="162" y="6695"/>
                </a:cubicBezTo>
                <a:cubicBezTo>
                  <a:pt x="155" y="6669"/>
                  <a:pt x="121" y="6543"/>
                  <a:pt x="87" y="6415"/>
                </a:cubicBezTo>
                <a:cubicBezTo>
                  <a:pt x="54" y="6287"/>
                  <a:pt x="21" y="6172"/>
                  <a:pt x="14" y="6160"/>
                </a:cubicBezTo>
                <a:cubicBezTo>
                  <a:pt x="0" y="6132"/>
                  <a:pt x="21" y="6123"/>
                  <a:pt x="235" y="6068"/>
                </a:cubicBezTo>
                <a:cubicBezTo>
                  <a:pt x="543" y="5988"/>
                  <a:pt x="727" y="5935"/>
                  <a:pt x="736" y="5925"/>
                </a:cubicBezTo>
                <a:cubicBezTo>
                  <a:pt x="741" y="5920"/>
                  <a:pt x="737" y="5837"/>
                  <a:pt x="727" y="5742"/>
                </a:cubicBezTo>
                <a:cubicBezTo>
                  <a:pt x="705" y="5519"/>
                  <a:pt x="705" y="5134"/>
                  <a:pt x="727" y="4922"/>
                </a:cubicBezTo>
                <a:cubicBezTo>
                  <a:pt x="737" y="4830"/>
                  <a:pt x="740" y="4750"/>
                  <a:pt x="736" y="4745"/>
                </a:cubicBezTo>
                <a:cubicBezTo>
                  <a:pt x="731" y="4739"/>
                  <a:pt x="685" y="4723"/>
                  <a:pt x="634" y="4709"/>
                </a:cubicBezTo>
                <a:cubicBezTo>
                  <a:pt x="512" y="4676"/>
                  <a:pt x="300" y="4619"/>
                  <a:pt x="175" y="4587"/>
                </a:cubicBezTo>
                <a:cubicBezTo>
                  <a:pt x="25" y="4548"/>
                  <a:pt x="1" y="4536"/>
                  <a:pt x="14" y="4510"/>
                </a:cubicBezTo>
                <a:cubicBezTo>
                  <a:pt x="21" y="4498"/>
                  <a:pt x="54" y="4380"/>
                  <a:pt x="89" y="4248"/>
                </a:cubicBezTo>
                <a:cubicBezTo>
                  <a:pt x="124" y="4116"/>
                  <a:pt x="184" y="3888"/>
                  <a:pt x="224" y="3742"/>
                </a:cubicBezTo>
                <a:cubicBezTo>
                  <a:pt x="263" y="3595"/>
                  <a:pt x="302" y="3450"/>
                  <a:pt x="310" y="3418"/>
                </a:cubicBezTo>
                <a:cubicBezTo>
                  <a:pt x="319" y="3387"/>
                  <a:pt x="328" y="3362"/>
                  <a:pt x="332" y="3362"/>
                </a:cubicBezTo>
                <a:cubicBezTo>
                  <a:pt x="339" y="3362"/>
                  <a:pt x="463" y="3395"/>
                  <a:pt x="838" y="3497"/>
                </a:cubicBezTo>
                <a:cubicBezTo>
                  <a:pt x="943" y="3525"/>
                  <a:pt x="1037" y="3548"/>
                  <a:pt x="1047" y="3548"/>
                </a:cubicBezTo>
                <a:cubicBezTo>
                  <a:pt x="1057" y="3548"/>
                  <a:pt x="1073" y="3529"/>
                  <a:pt x="1082" y="3505"/>
                </a:cubicBezTo>
                <a:cubicBezTo>
                  <a:pt x="1164" y="3299"/>
                  <a:pt x="1379" y="2917"/>
                  <a:pt x="1557" y="2664"/>
                </a:cubicBezTo>
                <a:lnTo>
                  <a:pt x="1658" y="2519"/>
                </a:lnTo>
                <a:lnTo>
                  <a:pt x="1390" y="2250"/>
                </a:lnTo>
                <a:lnTo>
                  <a:pt x="1122" y="1981"/>
                </a:lnTo>
                <a:lnTo>
                  <a:pt x="1552" y="1552"/>
                </a:lnTo>
                <a:lnTo>
                  <a:pt x="1982" y="1122"/>
                </a:lnTo>
                <a:lnTo>
                  <a:pt x="2250" y="1390"/>
                </a:lnTo>
                <a:lnTo>
                  <a:pt x="2519" y="1658"/>
                </a:lnTo>
                <a:lnTo>
                  <a:pt x="2664" y="1557"/>
                </a:lnTo>
                <a:cubicBezTo>
                  <a:pt x="2886" y="1401"/>
                  <a:pt x="3053" y="1303"/>
                  <a:pt x="3311" y="1177"/>
                </a:cubicBezTo>
                <a:cubicBezTo>
                  <a:pt x="3441" y="1114"/>
                  <a:pt x="3548" y="1054"/>
                  <a:pt x="3548" y="1045"/>
                </a:cubicBezTo>
                <a:cubicBezTo>
                  <a:pt x="3548" y="1036"/>
                  <a:pt x="3525" y="943"/>
                  <a:pt x="3497" y="838"/>
                </a:cubicBezTo>
                <a:cubicBezTo>
                  <a:pt x="3395" y="463"/>
                  <a:pt x="3362" y="339"/>
                  <a:pt x="3362" y="332"/>
                </a:cubicBezTo>
                <a:cubicBezTo>
                  <a:pt x="3362" y="328"/>
                  <a:pt x="3387" y="319"/>
                  <a:pt x="3418" y="310"/>
                </a:cubicBezTo>
                <a:cubicBezTo>
                  <a:pt x="3450" y="302"/>
                  <a:pt x="3595" y="263"/>
                  <a:pt x="3742" y="224"/>
                </a:cubicBezTo>
                <a:cubicBezTo>
                  <a:pt x="3888" y="185"/>
                  <a:pt x="4116" y="124"/>
                  <a:pt x="4248" y="89"/>
                </a:cubicBezTo>
                <a:cubicBezTo>
                  <a:pt x="4380" y="54"/>
                  <a:pt x="4498" y="21"/>
                  <a:pt x="4510" y="15"/>
                </a:cubicBezTo>
                <a:cubicBezTo>
                  <a:pt x="4537" y="1"/>
                  <a:pt x="4547" y="22"/>
                  <a:pt x="4596" y="208"/>
                </a:cubicBezTo>
                <a:cubicBezTo>
                  <a:pt x="4716" y="666"/>
                  <a:pt x="4733" y="725"/>
                  <a:pt x="4745" y="736"/>
                </a:cubicBezTo>
                <a:cubicBezTo>
                  <a:pt x="4750" y="741"/>
                  <a:pt x="4830" y="737"/>
                  <a:pt x="4922" y="727"/>
                </a:cubicBezTo>
                <a:cubicBezTo>
                  <a:pt x="5135" y="705"/>
                  <a:pt x="5519" y="705"/>
                  <a:pt x="5742" y="727"/>
                </a:cubicBezTo>
                <a:cubicBezTo>
                  <a:pt x="5837" y="737"/>
                  <a:pt x="5920" y="741"/>
                  <a:pt x="5925" y="736"/>
                </a:cubicBezTo>
                <a:cubicBezTo>
                  <a:pt x="5935" y="727"/>
                  <a:pt x="5988" y="543"/>
                  <a:pt x="6068" y="235"/>
                </a:cubicBezTo>
                <a:cubicBezTo>
                  <a:pt x="6123" y="21"/>
                  <a:pt x="6132" y="0"/>
                  <a:pt x="6160" y="14"/>
                </a:cubicBezTo>
                <a:cubicBezTo>
                  <a:pt x="6172" y="21"/>
                  <a:pt x="6287" y="54"/>
                  <a:pt x="6415" y="87"/>
                </a:cubicBezTo>
                <a:cubicBezTo>
                  <a:pt x="6543" y="121"/>
                  <a:pt x="6669" y="155"/>
                  <a:pt x="6695" y="162"/>
                </a:cubicBezTo>
                <a:cubicBezTo>
                  <a:pt x="6721" y="169"/>
                  <a:pt x="6844" y="202"/>
                  <a:pt x="6968" y="235"/>
                </a:cubicBezTo>
                <a:cubicBezTo>
                  <a:pt x="7199" y="297"/>
                  <a:pt x="7298" y="324"/>
                  <a:pt x="7306" y="330"/>
                </a:cubicBezTo>
                <a:cubicBezTo>
                  <a:pt x="7310" y="332"/>
                  <a:pt x="7291" y="404"/>
                  <a:pt x="7173" y="838"/>
                </a:cubicBezTo>
                <a:cubicBezTo>
                  <a:pt x="7145" y="943"/>
                  <a:pt x="7122" y="1036"/>
                  <a:pt x="7122" y="1045"/>
                </a:cubicBezTo>
                <a:cubicBezTo>
                  <a:pt x="7122" y="1054"/>
                  <a:pt x="7229" y="1114"/>
                  <a:pt x="7359" y="1177"/>
                </a:cubicBezTo>
                <a:cubicBezTo>
                  <a:pt x="7617" y="1303"/>
                  <a:pt x="7784" y="1401"/>
                  <a:pt x="8006" y="1557"/>
                </a:cubicBezTo>
                <a:lnTo>
                  <a:pt x="8151" y="1658"/>
                </a:lnTo>
                <a:lnTo>
                  <a:pt x="8420" y="1390"/>
                </a:lnTo>
                <a:lnTo>
                  <a:pt x="8688" y="1122"/>
                </a:lnTo>
                <a:lnTo>
                  <a:pt x="9118" y="1552"/>
                </a:lnTo>
                <a:lnTo>
                  <a:pt x="9548" y="1981"/>
                </a:lnTo>
                <a:lnTo>
                  <a:pt x="9280" y="2250"/>
                </a:lnTo>
                <a:lnTo>
                  <a:pt x="9013" y="2519"/>
                </a:lnTo>
                <a:lnTo>
                  <a:pt x="9101" y="2644"/>
                </a:lnTo>
                <a:cubicBezTo>
                  <a:pt x="9257" y="2866"/>
                  <a:pt x="9362" y="3044"/>
                  <a:pt x="9486" y="3298"/>
                </a:cubicBezTo>
                <a:cubicBezTo>
                  <a:pt x="9553" y="3435"/>
                  <a:pt x="9616" y="3548"/>
                  <a:pt x="9625" y="3548"/>
                </a:cubicBezTo>
                <a:cubicBezTo>
                  <a:pt x="9640" y="3548"/>
                  <a:pt x="9814" y="3504"/>
                  <a:pt x="9988" y="3455"/>
                </a:cubicBezTo>
                <a:cubicBezTo>
                  <a:pt x="10191" y="3398"/>
                  <a:pt x="10338" y="3360"/>
                  <a:pt x="10342" y="3364"/>
                </a:cubicBezTo>
                <a:cubicBezTo>
                  <a:pt x="10347" y="3369"/>
                  <a:pt x="10370" y="3455"/>
                  <a:pt x="10469" y="3825"/>
                </a:cubicBezTo>
                <a:cubicBezTo>
                  <a:pt x="10505" y="3961"/>
                  <a:pt x="10530" y="4056"/>
                  <a:pt x="10621" y="4395"/>
                </a:cubicBezTo>
                <a:cubicBezTo>
                  <a:pt x="10636" y="4454"/>
                  <a:pt x="10653" y="4509"/>
                  <a:pt x="10659" y="4517"/>
                </a:cubicBezTo>
                <a:cubicBezTo>
                  <a:pt x="10671" y="4536"/>
                  <a:pt x="10633" y="4551"/>
                  <a:pt x="10435" y="4602"/>
                </a:cubicBezTo>
                <a:cubicBezTo>
                  <a:pt x="10127" y="4682"/>
                  <a:pt x="9943" y="4735"/>
                  <a:pt x="9934" y="4745"/>
                </a:cubicBezTo>
                <a:cubicBezTo>
                  <a:pt x="9929" y="4750"/>
                  <a:pt x="9933" y="4830"/>
                  <a:pt x="9943" y="4922"/>
                </a:cubicBezTo>
                <a:cubicBezTo>
                  <a:pt x="9952" y="5013"/>
                  <a:pt x="9960" y="5187"/>
                  <a:pt x="9961" y="5308"/>
                </a:cubicBezTo>
                <a:cubicBezTo>
                  <a:pt x="9962" y="5543"/>
                  <a:pt x="9936" y="5908"/>
                  <a:pt x="9919" y="5908"/>
                </a:cubicBezTo>
                <a:cubicBezTo>
                  <a:pt x="9913" y="5908"/>
                  <a:pt x="9891" y="5946"/>
                  <a:pt x="9869" y="5992"/>
                </a:cubicBezTo>
                <a:cubicBezTo>
                  <a:pt x="9705" y="6338"/>
                  <a:pt x="9276" y="6426"/>
                  <a:pt x="8995" y="6172"/>
                </a:cubicBezTo>
                <a:cubicBezTo>
                  <a:pt x="8913" y="6098"/>
                  <a:pt x="8865" y="6013"/>
                  <a:pt x="8834" y="5889"/>
                </a:cubicBezTo>
                <a:cubicBezTo>
                  <a:pt x="8813" y="5807"/>
                  <a:pt x="8812" y="5779"/>
                  <a:pt x="8826" y="5655"/>
                </a:cubicBezTo>
                <a:cubicBezTo>
                  <a:pt x="8862" y="5329"/>
                  <a:pt x="8835" y="4921"/>
                  <a:pt x="8753" y="4555"/>
                </a:cubicBezTo>
                <a:cubicBezTo>
                  <a:pt x="8525" y="3539"/>
                  <a:pt x="7838" y="2667"/>
                  <a:pt x="6897" y="2196"/>
                </a:cubicBezTo>
                <a:cubicBezTo>
                  <a:pt x="5821" y="1659"/>
                  <a:pt x="4529" y="1715"/>
                  <a:pt x="3503" y="2345"/>
                </a:cubicBezTo>
                <a:cubicBezTo>
                  <a:pt x="3048" y="2625"/>
                  <a:pt x="2619" y="3056"/>
                  <a:pt x="2338" y="3515"/>
                </a:cubicBezTo>
                <a:cubicBezTo>
                  <a:pt x="1945" y="4159"/>
                  <a:pt x="1768" y="4949"/>
                  <a:pt x="1849" y="5697"/>
                </a:cubicBezTo>
                <a:cubicBezTo>
                  <a:pt x="1937" y="6502"/>
                  <a:pt x="2265" y="7202"/>
                  <a:pt x="2821" y="7773"/>
                </a:cubicBezTo>
                <a:cubicBezTo>
                  <a:pt x="3022" y="7979"/>
                  <a:pt x="3196" y="8124"/>
                  <a:pt x="3422" y="8272"/>
                </a:cubicBezTo>
                <a:cubicBezTo>
                  <a:pt x="4076" y="8700"/>
                  <a:pt x="4884" y="8901"/>
                  <a:pt x="5649" y="8826"/>
                </a:cubicBezTo>
                <a:cubicBezTo>
                  <a:pt x="5794" y="8812"/>
                  <a:pt x="5819" y="8813"/>
                  <a:pt x="5896" y="8834"/>
                </a:cubicBezTo>
                <a:cubicBezTo>
                  <a:pt x="6127" y="8898"/>
                  <a:pt x="6273" y="9055"/>
                  <a:pt x="6310" y="9279"/>
                </a:cubicBezTo>
                <a:cubicBezTo>
                  <a:pt x="6350" y="9520"/>
                  <a:pt x="6228" y="9760"/>
                  <a:pt x="6011" y="9868"/>
                </a:cubicBezTo>
                <a:cubicBezTo>
                  <a:pt x="5967" y="9890"/>
                  <a:pt x="5925" y="9913"/>
                  <a:pt x="5917" y="9919"/>
                </a:cubicBezTo>
                <a:cubicBezTo>
                  <a:pt x="5892" y="9938"/>
                  <a:pt x="5544" y="9962"/>
                  <a:pt x="5322" y="9961"/>
                </a:cubicBezTo>
                <a:cubicBezTo>
                  <a:pt x="5208" y="9961"/>
                  <a:pt x="5034" y="9953"/>
                  <a:pt x="4935" y="9943"/>
                </a:cubicBezTo>
                <a:cubicBezTo>
                  <a:pt x="4836" y="9933"/>
                  <a:pt x="4750" y="9929"/>
                  <a:pt x="4745" y="9934"/>
                </a:cubicBezTo>
                <a:cubicBezTo>
                  <a:pt x="4736" y="9942"/>
                  <a:pt x="4649" y="10252"/>
                  <a:pt x="4581" y="10515"/>
                </a:cubicBezTo>
                <a:cubicBezTo>
                  <a:pt x="4554" y="10622"/>
                  <a:pt x="4531" y="10674"/>
                  <a:pt x="4518" y="10660"/>
                </a:cubicBezTo>
                <a:close/>
                <a:moveTo>
                  <a:pt x="8591" y="9787"/>
                </a:moveTo>
                <a:cubicBezTo>
                  <a:pt x="8492" y="9770"/>
                  <a:pt x="8326" y="9703"/>
                  <a:pt x="8226" y="9640"/>
                </a:cubicBezTo>
                <a:cubicBezTo>
                  <a:pt x="8166" y="9601"/>
                  <a:pt x="7836" y="9281"/>
                  <a:pt x="7073" y="8519"/>
                </a:cubicBezTo>
                <a:lnTo>
                  <a:pt x="6004" y="7451"/>
                </a:lnTo>
                <a:lnTo>
                  <a:pt x="5940" y="7459"/>
                </a:lnTo>
                <a:cubicBezTo>
                  <a:pt x="5904" y="7464"/>
                  <a:pt x="5818" y="7477"/>
                  <a:pt x="5748" y="7488"/>
                </a:cubicBezTo>
                <a:cubicBezTo>
                  <a:pt x="5679" y="7499"/>
                  <a:pt x="5562" y="7518"/>
                  <a:pt x="5488" y="7529"/>
                </a:cubicBezTo>
                <a:cubicBezTo>
                  <a:pt x="5415" y="7541"/>
                  <a:pt x="5301" y="7559"/>
                  <a:pt x="5235" y="7570"/>
                </a:cubicBezTo>
                <a:cubicBezTo>
                  <a:pt x="5036" y="7604"/>
                  <a:pt x="4822" y="7608"/>
                  <a:pt x="4694" y="7582"/>
                </a:cubicBezTo>
                <a:cubicBezTo>
                  <a:pt x="4496" y="7542"/>
                  <a:pt x="4341" y="7481"/>
                  <a:pt x="4182" y="7378"/>
                </a:cubicBezTo>
                <a:cubicBezTo>
                  <a:pt x="3981" y="7250"/>
                  <a:pt x="3970" y="7237"/>
                  <a:pt x="3350" y="6397"/>
                </a:cubicBezTo>
                <a:cubicBezTo>
                  <a:pt x="3170" y="6153"/>
                  <a:pt x="3102" y="6033"/>
                  <a:pt x="3057" y="5881"/>
                </a:cubicBezTo>
                <a:cubicBezTo>
                  <a:pt x="3001" y="5695"/>
                  <a:pt x="2995" y="5650"/>
                  <a:pt x="2995" y="5415"/>
                </a:cubicBezTo>
                <a:cubicBezTo>
                  <a:pt x="2995" y="5125"/>
                  <a:pt x="3003" y="5093"/>
                  <a:pt x="3168" y="4710"/>
                </a:cubicBezTo>
                <a:cubicBezTo>
                  <a:pt x="3324" y="4348"/>
                  <a:pt x="3324" y="4348"/>
                  <a:pt x="3336" y="4348"/>
                </a:cubicBezTo>
                <a:cubicBezTo>
                  <a:pt x="3341" y="4348"/>
                  <a:pt x="3522" y="4587"/>
                  <a:pt x="3737" y="4878"/>
                </a:cubicBezTo>
                <a:cubicBezTo>
                  <a:pt x="4326" y="5677"/>
                  <a:pt x="4331" y="5683"/>
                  <a:pt x="4488" y="5893"/>
                </a:cubicBezTo>
                <a:cubicBezTo>
                  <a:pt x="4719" y="6200"/>
                  <a:pt x="4718" y="6200"/>
                  <a:pt x="5256" y="6040"/>
                </a:cubicBezTo>
                <a:cubicBezTo>
                  <a:pt x="5457" y="5981"/>
                  <a:pt x="5648" y="5918"/>
                  <a:pt x="5682" y="5902"/>
                </a:cubicBezTo>
                <a:cubicBezTo>
                  <a:pt x="5799" y="5841"/>
                  <a:pt x="5854" y="5777"/>
                  <a:pt x="6078" y="5439"/>
                </a:cubicBezTo>
                <a:cubicBezTo>
                  <a:pt x="6313" y="5083"/>
                  <a:pt x="6335" y="5042"/>
                  <a:pt x="6334" y="4965"/>
                </a:cubicBezTo>
                <a:cubicBezTo>
                  <a:pt x="6333" y="4860"/>
                  <a:pt x="6386" y="4937"/>
                  <a:pt x="5255" y="3409"/>
                </a:cubicBezTo>
                <a:cubicBezTo>
                  <a:pt x="5130" y="3240"/>
                  <a:pt x="5028" y="3098"/>
                  <a:pt x="5028" y="3092"/>
                </a:cubicBezTo>
                <a:cubicBezTo>
                  <a:pt x="5028" y="3086"/>
                  <a:pt x="5036" y="3082"/>
                  <a:pt x="5045" y="3082"/>
                </a:cubicBezTo>
                <a:cubicBezTo>
                  <a:pt x="5054" y="3082"/>
                  <a:pt x="5113" y="3075"/>
                  <a:pt x="5175" y="3068"/>
                </a:cubicBezTo>
                <a:cubicBezTo>
                  <a:pt x="5237" y="3061"/>
                  <a:pt x="5369" y="3046"/>
                  <a:pt x="5468" y="3035"/>
                </a:cubicBezTo>
                <a:cubicBezTo>
                  <a:pt x="5567" y="3024"/>
                  <a:pt x="5679" y="3012"/>
                  <a:pt x="5716" y="3007"/>
                </a:cubicBezTo>
                <a:cubicBezTo>
                  <a:pt x="5802" y="2996"/>
                  <a:pt x="6039" y="3033"/>
                  <a:pt x="6173" y="3078"/>
                </a:cubicBezTo>
                <a:cubicBezTo>
                  <a:pt x="6404" y="3155"/>
                  <a:pt x="6607" y="3274"/>
                  <a:pt x="6750" y="3417"/>
                </a:cubicBezTo>
                <a:cubicBezTo>
                  <a:pt x="6878" y="3545"/>
                  <a:pt x="7529" y="4434"/>
                  <a:pt x="7602" y="4581"/>
                </a:cubicBezTo>
                <a:cubicBezTo>
                  <a:pt x="7701" y="4781"/>
                  <a:pt x="7743" y="5002"/>
                  <a:pt x="7730" y="5255"/>
                </a:cubicBezTo>
                <a:cubicBezTo>
                  <a:pt x="7720" y="5460"/>
                  <a:pt x="7686" y="5583"/>
                  <a:pt x="7574" y="5813"/>
                </a:cubicBezTo>
                <a:cubicBezTo>
                  <a:pt x="7523" y="5918"/>
                  <a:pt x="7482" y="6011"/>
                  <a:pt x="7482" y="6020"/>
                </a:cubicBezTo>
                <a:cubicBezTo>
                  <a:pt x="7482" y="6028"/>
                  <a:pt x="7947" y="6500"/>
                  <a:pt x="8516" y="7068"/>
                </a:cubicBezTo>
                <a:cubicBezTo>
                  <a:pt x="9085" y="7637"/>
                  <a:pt x="9576" y="8138"/>
                  <a:pt x="9608" y="8182"/>
                </a:cubicBezTo>
                <a:cubicBezTo>
                  <a:pt x="9682" y="8285"/>
                  <a:pt x="9725" y="8371"/>
                  <a:pt x="9764" y="8495"/>
                </a:cubicBezTo>
                <a:cubicBezTo>
                  <a:pt x="9790" y="8580"/>
                  <a:pt x="9795" y="8623"/>
                  <a:pt x="9795" y="8782"/>
                </a:cubicBezTo>
                <a:cubicBezTo>
                  <a:pt x="9795" y="8940"/>
                  <a:pt x="9790" y="8983"/>
                  <a:pt x="9764" y="9068"/>
                </a:cubicBezTo>
                <a:cubicBezTo>
                  <a:pt x="9664" y="9386"/>
                  <a:pt x="9450" y="9618"/>
                  <a:pt x="9149" y="9734"/>
                </a:cubicBezTo>
                <a:cubicBezTo>
                  <a:pt x="8982" y="9798"/>
                  <a:pt x="8777" y="9818"/>
                  <a:pt x="8591" y="9787"/>
                </a:cubicBezTo>
                <a:close/>
              </a:path>
            </a:pathLst>
          </a:custGeom>
          <a:solidFill>
            <a:srgbClr val="FFCA2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n-lt"/>
              <a:ea typeface="楷体" panose="02010609060101010101" pitchFamily="49" charset="-122"/>
            </a:endParaRPr>
          </a:p>
        </p:txBody>
      </p:sp>
      <p:sp>
        <p:nvSpPr>
          <p:cNvPr id="36" name="TextBox 35"/>
          <p:cNvSpPr txBox="1">
            <a:spLocks/>
          </p:cNvSpPr>
          <p:nvPr/>
        </p:nvSpPr>
        <p:spPr>
          <a:xfrm>
            <a:off x="689546" y="3720091"/>
            <a:ext cx="1551508" cy="230832"/>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zh-CN" sz="1500" dirty="0">
                <a:solidFill>
                  <a:srgbClr val="FFCA21"/>
                </a:solidFill>
                <a:ea typeface="楷体" panose="02010609060101010101" pitchFamily="49" charset="-122"/>
                <a:cs typeface="SimSun"/>
              </a:rPr>
              <a:t>多任务学习</a:t>
            </a:r>
          </a:p>
        </p:txBody>
      </p:sp>
      <p:cxnSp>
        <p:nvCxnSpPr>
          <p:cNvPr id="284" name="Straight Connector 283"/>
          <p:cNvCxnSpPr>
            <a:cxnSpLocks/>
          </p:cNvCxnSpPr>
          <p:nvPr/>
        </p:nvCxnSpPr>
        <p:spPr>
          <a:xfrm>
            <a:off x="2389032" y="3373842"/>
            <a:ext cx="0" cy="923330"/>
          </a:xfrm>
          <a:prstGeom prst="line">
            <a:avLst/>
          </a:prstGeom>
          <a:ln w="3175">
            <a:solidFill>
              <a:srgbClr val="FFCA21"/>
            </a:solidFill>
          </a:ln>
        </p:spPr>
        <p:style>
          <a:lnRef idx="1">
            <a:schemeClr val="accent1"/>
          </a:lnRef>
          <a:fillRef idx="0">
            <a:schemeClr val="accent1"/>
          </a:fillRef>
          <a:effectRef idx="0">
            <a:schemeClr val="accent1"/>
          </a:effectRef>
          <a:fontRef idx="minor">
            <a:schemeClr val="tx1"/>
          </a:fontRef>
        </p:style>
      </p:cxnSp>
      <p:sp>
        <p:nvSpPr>
          <p:cNvPr id="9" name="TextBox 8"/>
          <p:cNvSpPr txBox="1">
            <a:spLocks/>
          </p:cNvSpPr>
          <p:nvPr/>
        </p:nvSpPr>
        <p:spPr>
          <a:xfrm>
            <a:off x="2537009" y="3373842"/>
            <a:ext cx="6305365" cy="69249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5000"/>
              </a:spcBef>
              <a:buClr>
                <a:schemeClr val="bg1"/>
              </a:buClr>
            </a:pPr>
            <a:r>
              <a:rPr lang="zh-CN" sz="1500" dirty="0">
                <a:solidFill>
                  <a:schemeClr val="bg1"/>
                </a:solidFill>
                <a:ea typeface="楷体" panose="02010609060101010101" pitchFamily="49" charset="-122"/>
                <a:cs typeface="SimSun"/>
              </a:rPr>
              <a:t>未来神经网络将能借用从不同任务</a:t>
            </a:r>
            <a:r>
              <a:rPr lang="zh-CN" altLang="en-US" sz="1500" dirty="0">
                <a:solidFill>
                  <a:schemeClr val="bg1"/>
                </a:solidFill>
                <a:ea typeface="楷体" panose="02010609060101010101" pitchFamily="49" charset="-122"/>
                <a:cs typeface="SimSun"/>
              </a:rPr>
              <a:t>中</a:t>
            </a:r>
            <a:r>
              <a:rPr lang="zh-CN" sz="1500" dirty="0">
                <a:solidFill>
                  <a:schemeClr val="bg1"/>
                </a:solidFill>
                <a:ea typeface="楷体" panose="02010609060101010101" pitchFamily="49" charset="-122"/>
                <a:cs typeface="SimSun"/>
              </a:rPr>
              <a:t>学</a:t>
            </a:r>
            <a:r>
              <a:rPr lang="zh-CN" altLang="en-US" sz="1500" dirty="0">
                <a:solidFill>
                  <a:schemeClr val="bg1"/>
                </a:solidFill>
                <a:ea typeface="楷体" panose="02010609060101010101" pitchFamily="49" charset="-122"/>
                <a:cs typeface="SimSun"/>
              </a:rPr>
              <a:t>来</a:t>
            </a:r>
            <a:r>
              <a:rPr lang="zh-CN" sz="1500" dirty="0">
                <a:solidFill>
                  <a:schemeClr val="bg1"/>
                </a:solidFill>
                <a:ea typeface="楷体" panose="02010609060101010101" pitchFamily="49" charset="-122"/>
                <a:cs typeface="SimSun"/>
              </a:rPr>
              <a:t>的知识，</a:t>
            </a:r>
            <a:r>
              <a:rPr lang="zh-CN" altLang="en-US" sz="1500" dirty="0">
                <a:solidFill>
                  <a:schemeClr val="bg1"/>
                </a:solidFill>
                <a:ea typeface="楷体" panose="02010609060101010101" pitchFamily="49" charset="-122"/>
                <a:cs typeface="SimSun"/>
              </a:rPr>
              <a:t>从而</a:t>
            </a:r>
            <a:r>
              <a:rPr lang="zh-CN" sz="1500" dirty="0">
                <a:solidFill>
                  <a:schemeClr val="bg1"/>
                </a:solidFill>
                <a:ea typeface="楷体" panose="02010609060101010101" pitchFamily="49" charset="-122"/>
                <a:cs typeface="SimSun"/>
              </a:rPr>
              <a:t>降低</a:t>
            </a:r>
            <a:r>
              <a:rPr lang="zh-CN" altLang="en-US" sz="1500" dirty="0">
                <a:solidFill>
                  <a:schemeClr val="bg1"/>
                </a:solidFill>
                <a:ea typeface="楷体" panose="02010609060101010101" pitchFamily="49" charset="-122"/>
                <a:cs typeface="SimSun"/>
              </a:rPr>
              <a:t>对</a:t>
            </a:r>
            <a:r>
              <a:rPr lang="zh-CN" sz="1500" dirty="0">
                <a:solidFill>
                  <a:schemeClr val="bg1"/>
                </a:solidFill>
                <a:ea typeface="楷体" panose="02010609060101010101" pitchFamily="49" charset="-122"/>
                <a:cs typeface="SimSun"/>
              </a:rPr>
              <a:t>大型数据集的要求。例如，如果一个机器人已经学会驾驶小轿车，那么教它驾驶卡车将会</a:t>
            </a:r>
            <a:r>
              <a:rPr lang="zh-CN" altLang="en-US" sz="1500" dirty="0">
                <a:solidFill>
                  <a:schemeClr val="bg1"/>
                </a:solidFill>
                <a:ea typeface="楷体" panose="02010609060101010101" pitchFamily="49" charset="-122"/>
                <a:cs typeface="SimSun"/>
              </a:rPr>
              <a:t>变得</a:t>
            </a:r>
            <a:r>
              <a:rPr lang="zh-CN" sz="1500" dirty="0">
                <a:solidFill>
                  <a:schemeClr val="bg1"/>
                </a:solidFill>
                <a:ea typeface="楷体" panose="02010609060101010101" pitchFamily="49" charset="-122"/>
                <a:cs typeface="SimSun"/>
              </a:rPr>
              <a:t>更容易 </a:t>
            </a:r>
          </a:p>
        </p:txBody>
      </p:sp>
      <p:sp>
        <p:nvSpPr>
          <p:cNvPr id="291" name="Freeform 156"/>
          <p:cNvSpPr>
            <a:spLocks noEditPoints="1"/>
          </p:cNvSpPr>
          <p:nvPr/>
        </p:nvSpPr>
        <p:spPr bwMode="auto">
          <a:xfrm>
            <a:off x="172757" y="3612399"/>
            <a:ext cx="361786" cy="446216"/>
          </a:xfrm>
          <a:custGeom>
            <a:avLst/>
            <a:gdLst>
              <a:gd name="T0" fmla="*/ 1474 w 3761"/>
              <a:gd name="T1" fmla="*/ 4012 h 4635"/>
              <a:gd name="T2" fmla="*/ 549 w 3761"/>
              <a:gd name="T3" fmla="*/ 3664 h 4635"/>
              <a:gd name="T4" fmla="*/ 498 w 3761"/>
              <a:gd name="T5" fmla="*/ 3303 h 4635"/>
              <a:gd name="T6" fmla="*/ 43 w 3761"/>
              <a:gd name="T7" fmla="*/ 2900 h 4635"/>
              <a:gd name="T8" fmla="*/ 389 w 3761"/>
              <a:gd name="T9" fmla="*/ 1401 h 4635"/>
              <a:gd name="T10" fmla="*/ 3727 w 3761"/>
              <a:gd name="T11" fmla="*/ 1319 h 4635"/>
              <a:gd name="T12" fmla="*/ 3030 w 3761"/>
              <a:gd name="T13" fmla="*/ 3392 h 4635"/>
              <a:gd name="T14" fmla="*/ 3287 w 3761"/>
              <a:gd name="T15" fmla="*/ 4255 h 4635"/>
              <a:gd name="T16" fmla="*/ 1732 w 3761"/>
              <a:gd name="T17" fmla="*/ 2419 h 4635"/>
              <a:gd name="T18" fmla="*/ 1895 w 3761"/>
              <a:gd name="T19" fmla="*/ 2272 h 4635"/>
              <a:gd name="T20" fmla="*/ 2154 w 3761"/>
              <a:gd name="T21" fmla="*/ 2387 h 4635"/>
              <a:gd name="T22" fmla="*/ 2159 w 3761"/>
              <a:gd name="T23" fmla="*/ 2104 h 4635"/>
              <a:gd name="T24" fmla="*/ 2476 w 3761"/>
              <a:gd name="T25" fmla="*/ 2030 h 4635"/>
              <a:gd name="T26" fmla="*/ 2437 w 3761"/>
              <a:gd name="T27" fmla="*/ 1750 h 4635"/>
              <a:gd name="T28" fmla="*/ 2331 w 3761"/>
              <a:gd name="T29" fmla="*/ 1561 h 4635"/>
              <a:gd name="T30" fmla="*/ 2512 w 3761"/>
              <a:gd name="T31" fmla="*/ 1403 h 4635"/>
              <a:gd name="T32" fmla="*/ 2209 w 3761"/>
              <a:gd name="T33" fmla="*/ 1278 h 4635"/>
              <a:gd name="T34" fmla="*/ 2144 w 3761"/>
              <a:gd name="T35" fmla="*/ 1066 h 4635"/>
              <a:gd name="T36" fmla="*/ 1966 w 3761"/>
              <a:gd name="T37" fmla="*/ 848 h 4635"/>
              <a:gd name="T38" fmla="*/ 1724 w 3761"/>
              <a:gd name="T39" fmla="*/ 1021 h 4635"/>
              <a:gd name="T40" fmla="*/ 1406 w 3761"/>
              <a:gd name="T41" fmla="*/ 840 h 4635"/>
              <a:gd name="T42" fmla="*/ 1387 w 3761"/>
              <a:gd name="T43" fmla="*/ 1094 h 4635"/>
              <a:gd name="T44" fmla="*/ 1169 w 3761"/>
              <a:gd name="T45" fmla="*/ 1102 h 4635"/>
              <a:gd name="T46" fmla="*/ 946 w 3761"/>
              <a:gd name="T47" fmla="*/ 1200 h 4635"/>
              <a:gd name="T48" fmla="*/ 1087 w 3761"/>
              <a:gd name="T49" fmla="*/ 1414 h 4635"/>
              <a:gd name="T50" fmla="*/ 857 w 3761"/>
              <a:gd name="T51" fmla="*/ 1580 h 4635"/>
              <a:gd name="T52" fmla="*/ 835 w 3761"/>
              <a:gd name="T53" fmla="*/ 1823 h 4635"/>
              <a:gd name="T54" fmla="*/ 1094 w 3761"/>
              <a:gd name="T55" fmla="*/ 1917 h 4635"/>
              <a:gd name="T56" fmla="*/ 972 w 3761"/>
              <a:gd name="T57" fmla="*/ 2159 h 4635"/>
              <a:gd name="T58" fmla="*/ 1138 w 3761"/>
              <a:gd name="T59" fmla="*/ 2340 h 4635"/>
              <a:gd name="T60" fmla="*/ 1391 w 3761"/>
              <a:gd name="T61" fmla="*/ 2236 h 4635"/>
              <a:gd name="T62" fmla="*/ 1481 w 3761"/>
              <a:gd name="T63" fmla="*/ 2507 h 4635"/>
              <a:gd name="T64" fmla="*/ 1732 w 3761"/>
              <a:gd name="T65" fmla="*/ 2419 h 4635"/>
              <a:gd name="T66" fmla="*/ 1519 w 3761"/>
              <a:gd name="T67" fmla="*/ 1281 h 4635"/>
              <a:gd name="T68" fmla="*/ 1772 w 3761"/>
              <a:gd name="T69" fmla="*/ 2073 h 4635"/>
              <a:gd name="T70" fmla="*/ 2988 w 3761"/>
              <a:gd name="T71" fmla="*/ 1270 h 4635"/>
              <a:gd name="T72" fmla="*/ 3164 w 3761"/>
              <a:gd name="T73" fmla="*/ 1301 h 4635"/>
              <a:gd name="T74" fmla="*/ 3165 w 3761"/>
              <a:gd name="T75" fmla="*/ 1109 h 4635"/>
              <a:gd name="T76" fmla="*/ 3325 w 3761"/>
              <a:gd name="T77" fmla="*/ 984 h 4635"/>
              <a:gd name="T78" fmla="*/ 3233 w 3761"/>
              <a:gd name="T79" fmla="*/ 788 h 4635"/>
              <a:gd name="T80" fmla="*/ 3140 w 3761"/>
              <a:gd name="T81" fmla="*/ 656 h 4635"/>
              <a:gd name="T82" fmla="*/ 3017 w 3761"/>
              <a:gd name="T83" fmla="*/ 487 h 4635"/>
              <a:gd name="T84" fmla="*/ 2830 w 3761"/>
              <a:gd name="T85" fmla="*/ 573 h 4635"/>
              <a:gd name="T86" fmla="*/ 2603 w 3761"/>
              <a:gd name="T87" fmla="*/ 545 h 4635"/>
              <a:gd name="T88" fmla="*/ 2443 w 3761"/>
              <a:gd name="T89" fmla="*/ 651 h 4635"/>
              <a:gd name="T90" fmla="*/ 2437 w 3761"/>
              <a:gd name="T91" fmla="*/ 803 h 4635"/>
              <a:gd name="T92" fmla="*/ 2374 w 3761"/>
              <a:gd name="T93" fmla="*/ 1034 h 4635"/>
              <a:gd name="T94" fmla="*/ 2542 w 3761"/>
              <a:gd name="T95" fmla="*/ 1122 h 4635"/>
              <a:gd name="T96" fmla="*/ 2545 w 3761"/>
              <a:gd name="T97" fmla="*/ 1312 h 4635"/>
              <a:gd name="T98" fmla="*/ 2779 w 3761"/>
              <a:gd name="T99" fmla="*/ 1356 h 4635"/>
              <a:gd name="T100" fmla="*/ 2926 w 3761"/>
              <a:gd name="T101" fmla="*/ 1421 h 4635"/>
              <a:gd name="T102" fmla="*/ 2842 w 3761"/>
              <a:gd name="T103" fmla="*/ 741 h 4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61" h="4635">
                <a:moveTo>
                  <a:pt x="1619" y="4611"/>
                </a:moveTo>
                <a:cubicBezTo>
                  <a:pt x="1615" y="4598"/>
                  <a:pt x="1593" y="4486"/>
                  <a:pt x="1570" y="4361"/>
                </a:cubicBezTo>
                <a:cubicBezTo>
                  <a:pt x="1522" y="4095"/>
                  <a:pt x="1510" y="4051"/>
                  <a:pt x="1474" y="4012"/>
                </a:cubicBezTo>
                <a:cubicBezTo>
                  <a:pt x="1434" y="3967"/>
                  <a:pt x="1361" y="3963"/>
                  <a:pt x="1011" y="3981"/>
                </a:cubicBezTo>
                <a:cubicBezTo>
                  <a:pt x="717" y="3996"/>
                  <a:pt x="690" y="3996"/>
                  <a:pt x="645" y="3974"/>
                </a:cubicBezTo>
                <a:cubicBezTo>
                  <a:pt x="555" y="3931"/>
                  <a:pt x="508" y="3778"/>
                  <a:pt x="549" y="3664"/>
                </a:cubicBezTo>
                <a:cubicBezTo>
                  <a:pt x="569" y="3609"/>
                  <a:pt x="568" y="3603"/>
                  <a:pt x="537" y="3518"/>
                </a:cubicBezTo>
                <a:cubicBezTo>
                  <a:pt x="514" y="3458"/>
                  <a:pt x="506" y="3416"/>
                  <a:pt x="512" y="3387"/>
                </a:cubicBezTo>
                <a:cubicBezTo>
                  <a:pt x="517" y="3360"/>
                  <a:pt x="512" y="3329"/>
                  <a:pt x="498" y="3303"/>
                </a:cubicBezTo>
                <a:cubicBezTo>
                  <a:pt x="485" y="3278"/>
                  <a:pt x="477" y="3225"/>
                  <a:pt x="476" y="3165"/>
                </a:cubicBezTo>
                <a:cubicBezTo>
                  <a:pt x="473" y="2977"/>
                  <a:pt x="457" y="2962"/>
                  <a:pt x="226" y="2935"/>
                </a:cubicBezTo>
                <a:cubicBezTo>
                  <a:pt x="135" y="2924"/>
                  <a:pt x="53" y="2908"/>
                  <a:pt x="43" y="2900"/>
                </a:cubicBezTo>
                <a:cubicBezTo>
                  <a:pt x="0" y="2865"/>
                  <a:pt x="23" y="2799"/>
                  <a:pt x="188" y="2472"/>
                </a:cubicBezTo>
                <a:cubicBezTo>
                  <a:pt x="387" y="2076"/>
                  <a:pt x="402" y="2033"/>
                  <a:pt x="380" y="1937"/>
                </a:cubicBezTo>
                <a:cubicBezTo>
                  <a:pt x="355" y="1831"/>
                  <a:pt x="361" y="1528"/>
                  <a:pt x="389" y="1401"/>
                </a:cubicBezTo>
                <a:cubicBezTo>
                  <a:pt x="469" y="1048"/>
                  <a:pt x="756" y="624"/>
                  <a:pt x="1073" y="392"/>
                </a:cubicBezTo>
                <a:cubicBezTo>
                  <a:pt x="1406" y="147"/>
                  <a:pt x="1998" y="0"/>
                  <a:pt x="2379" y="66"/>
                </a:cubicBezTo>
                <a:cubicBezTo>
                  <a:pt x="3059" y="184"/>
                  <a:pt x="3566" y="656"/>
                  <a:pt x="3727" y="1319"/>
                </a:cubicBezTo>
                <a:cubicBezTo>
                  <a:pt x="3761" y="1457"/>
                  <a:pt x="3760" y="1850"/>
                  <a:pt x="3726" y="2008"/>
                </a:cubicBezTo>
                <a:cubicBezTo>
                  <a:pt x="3646" y="2375"/>
                  <a:pt x="3483" y="2711"/>
                  <a:pt x="3171" y="3155"/>
                </a:cubicBezTo>
                <a:cubicBezTo>
                  <a:pt x="3103" y="3251"/>
                  <a:pt x="3043" y="3352"/>
                  <a:pt x="3030" y="3392"/>
                </a:cubicBezTo>
                <a:cubicBezTo>
                  <a:pt x="3009" y="3457"/>
                  <a:pt x="3009" y="3469"/>
                  <a:pt x="3028" y="3548"/>
                </a:cubicBezTo>
                <a:cubicBezTo>
                  <a:pt x="3040" y="3594"/>
                  <a:pt x="3103" y="3772"/>
                  <a:pt x="3169" y="3943"/>
                </a:cubicBezTo>
                <a:cubicBezTo>
                  <a:pt x="3235" y="4114"/>
                  <a:pt x="3288" y="4254"/>
                  <a:pt x="3287" y="4255"/>
                </a:cubicBezTo>
                <a:cubicBezTo>
                  <a:pt x="3283" y="4259"/>
                  <a:pt x="1645" y="4635"/>
                  <a:pt x="1635" y="4634"/>
                </a:cubicBezTo>
                <a:cubicBezTo>
                  <a:pt x="1630" y="4634"/>
                  <a:pt x="1623" y="4624"/>
                  <a:pt x="1619" y="4611"/>
                </a:cubicBezTo>
                <a:close/>
                <a:moveTo>
                  <a:pt x="1732" y="2419"/>
                </a:moveTo>
                <a:lnTo>
                  <a:pt x="1764" y="2310"/>
                </a:lnTo>
                <a:lnTo>
                  <a:pt x="1830" y="2291"/>
                </a:lnTo>
                <a:lnTo>
                  <a:pt x="1895" y="2272"/>
                </a:lnTo>
                <a:lnTo>
                  <a:pt x="1976" y="2361"/>
                </a:lnTo>
                <a:lnTo>
                  <a:pt x="2057" y="2450"/>
                </a:lnTo>
                <a:lnTo>
                  <a:pt x="2154" y="2387"/>
                </a:lnTo>
                <a:cubicBezTo>
                  <a:pt x="2207" y="2353"/>
                  <a:pt x="2251" y="2317"/>
                  <a:pt x="2251" y="2306"/>
                </a:cubicBezTo>
                <a:cubicBezTo>
                  <a:pt x="2251" y="2296"/>
                  <a:pt x="2230" y="2246"/>
                  <a:pt x="2205" y="2196"/>
                </a:cubicBezTo>
                <a:lnTo>
                  <a:pt x="2159" y="2104"/>
                </a:lnTo>
                <a:lnTo>
                  <a:pt x="2199" y="2049"/>
                </a:lnTo>
                <a:cubicBezTo>
                  <a:pt x="2244" y="1989"/>
                  <a:pt x="2244" y="1989"/>
                  <a:pt x="2380" y="2013"/>
                </a:cubicBezTo>
                <a:lnTo>
                  <a:pt x="2476" y="2030"/>
                </a:lnTo>
                <a:lnTo>
                  <a:pt x="2510" y="1929"/>
                </a:lnTo>
                <a:cubicBezTo>
                  <a:pt x="2529" y="1873"/>
                  <a:pt x="2544" y="1821"/>
                  <a:pt x="2544" y="1813"/>
                </a:cubicBezTo>
                <a:cubicBezTo>
                  <a:pt x="2544" y="1805"/>
                  <a:pt x="2496" y="1777"/>
                  <a:pt x="2437" y="1750"/>
                </a:cubicBezTo>
                <a:lnTo>
                  <a:pt x="2331" y="1702"/>
                </a:lnTo>
                <a:lnTo>
                  <a:pt x="2331" y="1632"/>
                </a:lnTo>
                <a:lnTo>
                  <a:pt x="2331" y="1561"/>
                </a:lnTo>
                <a:lnTo>
                  <a:pt x="2431" y="1503"/>
                </a:lnTo>
                <a:lnTo>
                  <a:pt x="2530" y="1446"/>
                </a:lnTo>
                <a:lnTo>
                  <a:pt x="2512" y="1403"/>
                </a:lnTo>
                <a:cubicBezTo>
                  <a:pt x="2456" y="1269"/>
                  <a:pt x="2433" y="1221"/>
                  <a:pt x="2427" y="1221"/>
                </a:cubicBezTo>
                <a:cubicBezTo>
                  <a:pt x="2422" y="1221"/>
                  <a:pt x="2372" y="1234"/>
                  <a:pt x="2314" y="1249"/>
                </a:cubicBezTo>
                <a:lnTo>
                  <a:pt x="2209" y="1278"/>
                </a:lnTo>
                <a:lnTo>
                  <a:pt x="2158" y="1228"/>
                </a:lnTo>
                <a:lnTo>
                  <a:pt x="2107" y="1178"/>
                </a:lnTo>
                <a:lnTo>
                  <a:pt x="2144" y="1066"/>
                </a:lnTo>
                <a:lnTo>
                  <a:pt x="2182" y="954"/>
                </a:lnTo>
                <a:lnTo>
                  <a:pt x="2077" y="901"/>
                </a:lnTo>
                <a:cubicBezTo>
                  <a:pt x="2019" y="872"/>
                  <a:pt x="1969" y="848"/>
                  <a:pt x="1966" y="848"/>
                </a:cubicBezTo>
                <a:cubicBezTo>
                  <a:pt x="1964" y="848"/>
                  <a:pt x="1932" y="890"/>
                  <a:pt x="1897" y="942"/>
                </a:cubicBezTo>
                <a:cubicBezTo>
                  <a:pt x="1836" y="1030"/>
                  <a:pt x="1829" y="1036"/>
                  <a:pt x="1793" y="1029"/>
                </a:cubicBezTo>
                <a:cubicBezTo>
                  <a:pt x="1771" y="1025"/>
                  <a:pt x="1741" y="1021"/>
                  <a:pt x="1724" y="1021"/>
                </a:cubicBezTo>
                <a:cubicBezTo>
                  <a:pt x="1699" y="1021"/>
                  <a:pt x="1687" y="1003"/>
                  <a:pt x="1651" y="908"/>
                </a:cubicBezTo>
                <a:cubicBezTo>
                  <a:pt x="1602" y="783"/>
                  <a:pt x="1619" y="792"/>
                  <a:pt x="1491" y="821"/>
                </a:cubicBezTo>
                <a:cubicBezTo>
                  <a:pt x="1465" y="827"/>
                  <a:pt x="1427" y="835"/>
                  <a:pt x="1406" y="840"/>
                </a:cubicBezTo>
                <a:lnTo>
                  <a:pt x="1369" y="849"/>
                </a:lnTo>
                <a:lnTo>
                  <a:pt x="1378" y="971"/>
                </a:lnTo>
                <a:lnTo>
                  <a:pt x="1387" y="1094"/>
                </a:lnTo>
                <a:lnTo>
                  <a:pt x="1329" y="1126"/>
                </a:lnTo>
                <a:lnTo>
                  <a:pt x="1271" y="1157"/>
                </a:lnTo>
                <a:lnTo>
                  <a:pt x="1169" y="1102"/>
                </a:lnTo>
                <a:lnTo>
                  <a:pt x="1066" y="1047"/>
                </a:lnTo>
                <a:lnTo>
                  <a:pt x="1021" y="1104"/>
                </a:lnTo>
                <a:cubicBezTo>
                  <a:pt x="996" y="1135"/>
                  <a:pt x="962" y="1179"/>
                  <a:pt x="946" y="1200"/>
                </a:cubicBezTo>
                <a:lnTo>
                  <a:pt x="916" y="1239"/>
                </a:lnTo>
                <a:lnTo>
                  <a:pt x="1001" y="1327"/>
                </a:lnTo>
                <a:lnTo>
                  <a:pt x="1087" y="1414"/>
                </a:lnTo>
                <a:lnTo>
                  <a:pt x="1068" y="1477"/>
                </a:lnTo>
                <a:cubicBezTo>
                  <a:pt x="1050" y="1539"/>
                  <a:pt x="1049" y="1539"/>
                  <a:pt x="973" y="1555"/>
                </a:cubicBezTo>
                <a:cubicBezTo>
                  <a:pt x="932" y="1563"/>
                  <a:pt x="879" y="1574"/>
                  <a:pt x="857" y="1580"/>
                </a:cubicBezTo>
                <a:lnTo>
                  <a:pt x="817" y="1590"/>
                </a:lnTo>
                <a:lnTo>
                  <a:pt x="822" y="1702"/>
                </a:lnTo>
                <a:cubicBezTo>
                  <a:pt x="824" y="1764"/>
                  <a:pt x="830" y="1818"/>
                  <a:pt x="835" y="1823"/>
                </a:cubicBezTo>
                <a:cubicBezTo>
                  <a:pt x="840" y="1828"/>
                  <a:pt x="894" y="1837"/>
                  <a:pt x="956" y="1843"/>
                </a:cubicBezTo>
                <a:lnTo>
                  <a:pt x="1069" y="1854"/>
                </a:lnTo>
                <a:lnTo>
                  <a:pt x="1094" y="1917"/>
                </a:lnTo>
                <a:lnTo>
                  <a:pt x="1120" y="1980"/>
                </a:lnTo>
                <a:lnTo>
                  <a:pt x="1046" y="2069"/>
                </a:lnTo>
                <a:lnTo>
                  <a:pt x="972" y="2159"/>
                </a:lnTo>
                <a:lnTo>
                  <a:pt x="1010" y="2207"/>
                </a:lnTo>
                <a:cubicBezTo>
                  <a:pt x="1031" y="2233"/>
                  <a:pt x="1068" y="2274"/>
                  <a:pt x="1093" y="2297"/>
                </a:cubicBezTo>
                <a:lnTo>
                  <a:pt x="1138" y="2340"/>
                </a:lnTo>
                <a:lnTo>
                  <a:pt x="1235" y="2272"/>
                </a:lnTo>
                <a:lnTo>
                  <a:pt x="1332" y="2205"/>
                </a:lnTo>
                <a:lnTo>
                  <a:pt x="1391" y="2236"/>
                </a:lnTo>
                <a:lnTo>
                  <a:pt x="1451" y="2268"/>
                </a:lnTo>
                <a:lnTo>
                  <a:pt x="1451" y="2384"/>
                </a:lnTo>
                <a:cubicBezTo>
                  <a:pt x="1451" y="2494"/>
                  <a:pt x="1452" y="2501"/>
                  <a:pt x="1481" y="2507"/>
                </a:cubicBezTo>
                <a:cubicBezTo>
                  <a:pt x="1525" y="2517"/>
                  <a:pt x="1583" y="2523"/>
                  <a:pt x="1645" y="2526"/>
                </a:cubicBezTo>
                <a:lnTo>
                  <a:pt x="1699" y="2528"/>
                </a:lnTo>
                <a:lnTo>
                  <a:pt x="1732" y="2419"/>
                </a:lnTo>
                <a:close/>
                <a:moveTo>
                  <a:pt x="1583" y="2069"/>
                </a:moveTo>
                <a:cubicBezTo>
                  <a:pt x="1337" y="2003"/>
                  <a:pt x="1205" y="1753"/>
                  <a:pt x="1293" y="1519"/>
                </a:cubicBezTo>
                <a:cubicBezTo>
                  <a:pt x="1331" y="1417"/>
                  <a:pt x="1416" y="1328"/>
                  <a:pt x="1519" y="1281"/>
                </a:cubicBezTo>
                <a:cubicBezTo>
                  <a:pt x="1589" y="1250"/>
                  <a:pt x="1613" y="1246"/>
                  <a:pt x="1702" y="1250"/>
                </a:cubicBezTo>
                <a:cubicBezTo>
                  <a:pt x="1826" y="1256"/>
                  <a:pt x="1907" y="1293"/>
                  <a:pt x="1989" y="1381"/>
                </a:cubicBezTo>
                <a:cubicBezTo>
                  <a:pt x="2210" y="1617"/>
                  <a:pt x="2089" y="2005"/>
                  <a:pt x="1772" y="2073"/>
                </a:cubicBezTo>
                <a:cubicBezTo>
                  <a:pt x="1687" y="2091"/>
                  <a:pt x="1661" y="2091"/>
                  <a:pt x="1583" y="2069"/>
                </a:cubicBezTo>
                <a:close/>
                <a:moveTo>
                  <a:pt x="2938" y="1352"/>
                </a:moveTo>
                <a:cubicBezTo>
                  <a:pt x="2949" y="1293"/>
                  <a:pt x="2956" y="1281"/>
                  <a:pt x="2988" y="1270"/>
                </a:cubicBezTo>
                <a:cubicBezTo>
                  <a:pt x="3022" y="1260"/>
                  <a:pt x="3032" y="1264"/>
                  <a:pt x="3072" y="1302"/>
                </a:cubicBezTo>
                <a:lnTo>
                  <a:pt x="3117" y="1346"/>
                </a:lnTo>
                <a:lnTo>
                  <a:pt x="3164" y="1301"/>
                </a:lnTo>
                <a:cubicBezTo>
                  <a:pt x="3190" y="1276"/>
                  <a:pt x="3211" y="1251"/>
                  <a:pt x="3211" y="1244"/>
                </a:cubicBezTo>
                <a:cubicBezTo>
                  <a:pt x="3211" y="1238"/>
                  <a:pt x="3195" y="1212"/>
                  <a:pt x="3176" y="1188"/>
                </a:cubicBezTo>
                <a:cubicBezTo>
                  <a:pt x="3143" y="1145"/>
                  <a:pt x="3143" y="1142"/>
                  <a:pt x="3165" y="1109"/>
                </a:cubicBezTo>
                <a:cubicBezTo>
                  <a:pt x="3184" y="1080"/>
                  <a:pt x="3197" y="1074"/>
                  <a:pt x="3252" y="1074"/>
                </a:cubicBezTo>
                <a:cubicBezTo>
                  <a:pt x="3307" y="1074"/>
                  <a:pt x="3317" y="1070"/>
                  <a:pt x="3317" y="1049"/>
                </a:cubicBezTo>
                <a:cubicBezTo>
                  <a:pt x="3317" y="1036"/>
                  <a:pt x="3321" y="1006"/>
                  <a:pt x="3325" y="984"/>
                </a:cubicBezTo>
                <a:cubicBezTo>
                  <a:pt x="3333" y="945"/>
                  <a:pt x="3331" y="943"/>
                  <a:pt x="3270" y="925"/>
                </a:cubicBezTo>
                <a:cubicBezTo>
                  <a:pt x="3217" y="910"/>
                  <a:pt x="3204" y="901"/>
                  <a:pt x="3195" y="868"/>
                </a:cubicBezTo>
                <a:cubicBezTo>
                  <a:pt x="3186" y="834"/>
                  <a:pt x="3191" y="824"/>
                  <a:pt x="3233" y="788"/>
                </a:cubicBezTo>
                <a:lnTo>
                  <a:pt x="3282" y="746"/>
                </a:lnTo>
                <a:lnTo>
                  <a:pt x="3250" y="690"/>
                </a:lnTo>
                <a:cubicBezTo>
                  <a:pt x="3216" y="628"/>
                  <a:pt x="3205" y="625"/>
                  <a:pt x="3140" y="656"/>
                </a:cubicBezTo>
                <a:cubicBezTo>
                  <a:pt x="3098" y="676"/>
                  <a:pt x="3092" y="676"/>
                  <a:pt x="3061" y="655"/>
                </a:cubicBezTo>
                <a:cubicBezTo>
                  <a:pt x="3030" y="636"/>
                  <a:pt x="3028" y="628"/>
                  <a:pt x="3038" y="584"/>
                </a:cubicBezTo>
                <a:cubicBezTo>
                  <a:pt x="3056" y="510"/>
                  <a:pt x="3054" y="502"/>
                  <a:pt x="3017" y="487"/>
                </a:cubicBezTo>
                <a:cubicBezTo>
                  <a:pt x="2928" y="454"/>
                  <a:pt x="2920" y="455"/>
                  <a:pt x="2895" y="510"/>
                </a:cubicBezTo>
                <a:cubicBezTo>
                  <a:pt x="2882" y="538"/>
                  <a:pt x="2871" y="562"/>
                  <a:pt x="2871" y="563"/>
                </a:cubicBezTo>
                <a:cubicBezTo>
                  <a:pt x="2871" y="564"/>
                  <a:pt x="2852" y="568"/>
                  <a:pt x="2830" y="573"/>
                </a:cubicBezTo>
                <a:cubicBezTo>
                  <a:pt x="2793" y="581"/>
                  <a:pt x="2787" y="577"/>
                  <a:pt x="2759" y="528"/>
                </a:cubicBezTo>
                <a:cubicBezTo>
                  <a:pt x="2725" y="468"/>
                  <a:pt x="2715" y="465"/>
                  <a:pt x="2644" y="495"/>
                </a:cubicBezTo>
                <a:cubicBezTo>
                  <a:pt x="2603" y="512"/>
                  <a:pt x="2596" y="521"/>
                  <a:pt x="2603" y="545"/>
                </a:cubicBezTo>
                <a:cubicBezTo>
                  <a:pt x="2629" y="632"/>
                  <a:pt x="2627" y="655"/>
                  <a:pt x="2595" y="672"/>
                </a:cubicBezTo>
                <a:cubicBezTo>
                  <a:pt x="2569" y="686"/>
                  <a:pt x="2553" y="685"/>
                  <a:pt x="2505" y="668"/>
                </a:cubicBezTo>
                <a:cubicBezTo>
                  <a:pt x="2473" y="657"/>
                  <a:pt x="2445" y="649"/>
                  <a:pt x="2443" y="651"/>
                </a:cubicBezTo>
                <a:cubicBezTo>
                  <a:pt x="2442" y="653"/>
                  <a:pt x="2428" y="680"/>
                  <a:pt x="2412" y="711"/>
                </a:cubicBezTo>
                <a:lnTo>
                  <a:pt x="2384" y="767"/>
                </a:lnTo>
                <a:lnTo>
                  <a:pt x="2437" y="803"/>
                </a:lnTo>
                <a:cubicBezTo>
                  <a:pt x="2479" y="830"/>
                  <a:pt x="2491" y="846"/>
                  <a:pt x="2491" y="877"/>
                </a:cubicBezTo>
                <a:cubicBezTo>
                  <a:pt x="2491" y="916"/>
                  <a:pt x="2479" y="924"/>
                  <a:pt x="2382" y="958"/>
                </a:cubicBezTo>
                <a:cubicBezTo>
                  <a:pt x="2364" y="964"/>
                  <a:pt x="2363" y="975"/>
                  <a:pt x="2374" y="1034"/>
                </a:cubicBezTo>
                <a:lnTo>
                  <a:pt x="2388" y="1102"/>
                </a:lnTo>
                <a:lnTo>
                  <a:pt x="2456" y="1094"/>
                </a:lnTo>
                <a:cubicBezTo>
                  <a:pt x="2522" y="1086"/>
                  <a:pt x="2526" y="1087"/>
                  <a:pt x="2542" y="1122"/>
                </a:cubicBezTo>
                <a:cubicBezTo>
                  <a:pt x="2556" y="1154"/>
                  <a:pt x="2555" y="1166"/>
                  <a:pt x="2529" y="1215"/>
                </a:cubicBezTo>
                <a:lnTo>
                  <a:pt x="2499" y="1271"/>
                </a:lnTo>
                <a:lnTo>
                  <a:pt x="2545" y="1312"/>
                </a:lnTo>
                <a:cubicBezTo>
                  <a:pt x="2570" y="1335"/>
                  <a:pt x="2594" y="1354"/>
                  <a:pt x="2598" y="1354"/>
                </a:cubicBezTo>
                <a:cubicBezTo>
                  <a:pt x="2602" y="1354"/>
                  <a:pt x="2623" y="1336"/>
                  <a:pt x="2644" y="1314"/>
                </a:cubicBezTo>
                <a:cubicBezTo>
                  <a:pt x="2710" y="1245"/>
                  <a:pt x="2766" y="1262"/>
                  <a:pt x="2779" y="1356"/>
                </a:cubicBezTo>
                <a:lnTo>
                  <a:pt x="2787" y="1421"/>
                </a:lnTo>
                <a:lnTo>
                  <a:pt x="2857" y="1421"/>
                </a:lnTo>
                <a:lnTo>
                  <a:pt x="2926" y="1421"/>
                </a:lnTo>
                <a:lnTo>
                  <a:pt x="2938" y="1352"/>
                </a:lnTo>
                <a:close/>
                <a:moveTo>
                  <a:pt x="2729" y="1111"/>
                </a:moveTo>
                <a:cubicBezTo>
                  <a:pt x="2560" y="998"/>
                  <a:pt x="2638" y="741"/>
                  <a:pt x="2842" y="741"/>
                </a:cubicBezTo>
                <a:cubicBezTo>
                  <a:pt x="2964" y="741"/>
                  <a:pt x="3042" y="820"/>
                  <a:pt x="3042" y="944"/>
                </a:cubicBezTo>
                <a:cubicBezTo>
                  <a:pt x="3043" y="1098"/>
                  <a:pt x="2857" y="1196"/>
                  <a:pt x="2729" y="1111"/>
                </a:cubicBezTo>
                <a:close/>
              </a:path>
            </a:pathLst>
          </a:custGeom>
          <a:solidFill>
            <a:srgbClr val="FFCA2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n-lt"/>
              <a:ea typeface="楷体" panose="02010609060101010101" pitchFamily="49" charset="-122"/>
            </a:endParaRPr>
          </a:p>
        </p:txBody>
      </p:sp>
      <p:sp>
        <p:nvSpPr>
          <p:cNvPr id="40" name="TextBox 39"/>
          <p:cNvSpPr txBox="1">
            <a:spLocks/>
          </p:cNvSpPr>
          <p:nvPr/>
        </p:nvSpPr>
        <p:spPr>
          <a:xfrm>
            <a:off x="689546" y="4874332"/>
            <a:ext cx="1551508" cy="230832"/>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zh-CN" sz="1500" dirty="0">
                <a:solidFill>
                  <a:srgbClr val="FFCA21"/>
                </a:solidFill>
                <a:ea typeface="楷体" panose="02010609060101010101" pitchFamily="49" charset="-122"/>
                <a:cs typeface="SimSun"/>
              </a:rPr>
              <a:t>绩效提升</a:t>
            </a:r>
          </a:p>
        </p:txBody>
      </p:sp>
      <p:cxnSp>
        <p:nvCxnSpPr>
          <p:cNvPr id="285" name="Straight Connector 284"/>
          <p:cNvCxnSpPr>
            <a:cxnSpLocks/>
          </p:cNvCxnSpPr>
          <p:nvPr/>
        </p:nvCxnSpPr>
        <p:spPr>
          <a:xfrm>
            <a:off x="2389032" y="4528083"/>
            <a:ext cx="0" cy="923330"/>
          </a:xfrm>
          <a:prstGeom prst="line">
            <a:avLst/>
          </a:prstGeom>
          <a:ln w="3175">
            <a:solidFill>
              <a:srgbClr val="FFCA21"/>
            </a:solidFill>
          </a:ln>
        </p:spPr>
        <p:style>
          <a:lnRef idx="1">
            <a:schemeClr val="accent1"/>
          </a:lnRef>
          <a:fillRef idx="0">
            <a:schemeClr val="accent1"/>
          </a:fillRef>
          <a:effectRef idx="0">
            <a:schemeClr val="accent1"/>
          </a:effectRef>
          <a:fontRef idx="minor">
            <a:schemeClr val="tx1"/>
          </a:fontRef>
        </p:style>
      </p:cxnSp>
      <p:sp>
        <p:nvSpPr>
          <p:cNvPr id="4" name="TextBox 3"/>
          <p:cNvSpPr txBox="1">
            <a:spLocks/>
          </p:cNvSpPr>
          <p:nvPr/>
        </p:nvSpPr>
        <p:spPr>
          <a:xfrm>
            <a:off x="2537009" y="4758916"/>
            <a:ext cx="6305365" cy="230832"/>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5000"/>
              </a:spcBef>
              <a:buClr>
                <a:schemeClr val="bg1"/>
              </a:buClr>
            </a:pPr>
            <a:r>
              <a:rPr lang="zh-CN" sz="1500" dirty="0">
                <a:solidFill>
                  <a:schemeClr val="bg1"/>
                </a:solidFill>
                <a:ea typeface="楷体" panose="02010609060101010101" pitchFamily="49" charset="-122"/>
                <a:cs typeface="SimSun"/>
              </a:rPr>
              <a:t>更好的训练算法和配置，将能提高准确率、降低错误率</a:t>
            </a:r>
          </a:p>
        </p:txBody>
      </p:sp>
      <p:sp>
        <p:nvSpPr>
          <p:cNvPr id="292" name="Freeform 160"/>
          <p:cNvSpPr>
            <a:spLocks noEditPoints="1"/>
          </p:cNvSpPr>
          <p:nvPr/>
        </p:nvSpPr>
        <p:spPr bwMode="auto">
          <a:xfrm>
            <a:off x="119063" y="4765093"/>
            <a:ext cx="469174" cy="449311"/>
          </a:xfrm>
          <a:custGeom>
            <a:avLst/>
            <a:gdLst>
              <a:gd name="T0" fmla="*/ 139 w 3248"/>
              <a:gd name="T1" fmla="*/ 2789 h 3108"/>
              <a:gd name="T2" fmla="*/ 0 w 3248"/>
              <a:gd name="T3" fmla="*/ 2230 h 3108"/>
              <a:gd name="T4" fmla="*/ 243 w 3248"/>
              <a:gd name="T5" fmla="*/ 2160 h 3108"/>
              <a:gd name="T6" fmla="*/ 493 w 3248"/>
              <a:gd name="T7" fmla="*/ 2220 h 3108"/>
              <a:gd name="T8" fmla="*/ 662 w 3248"/>
              <a:gd name="T9" fmla="*/ 2814 h 3108"/>
              <a:gd name="T10" fmla="*/ 453 w 3248"/>
              <a:gd name="T11" fmla="*/ 3042 h 3108"/>
              <a:gd name="T12" fmla="*/ 335 w 3248"/>
              <a:gd name="T13" fmla="*/ 2289 h 3108"/>
              <a:gd name="T14" fmla="*/ 302 w 3248"/>
              <a:gd name="T15" fmla="*/ 2208 h 3108"/>
              <a:gd name="T16" fmla="*/ 302 w 3248"/>
              <a:gd name="T17" fmla="*/ 2308 h 3108"/>
              <a:gd name="T18" fmla="*/ 1769 w 3248"/>
              <a:gd name="T19" fmla="*/ 2889 h 3108"/>
              <a:gd name="T20" fmla="*/ 979 w 3248"/>
              <a:gd name="T21" fmla="*/ 2701 h 3108"/>
              <a:gd name="T22" fmla="*/ 707 w 3248"/>
              <a:gd name="T23" fmla="*/ 2815 h 3108"/>
              <a:gd name="T24" fmla="*/ 549 w 3248"/>
              <a:gd name="T25" fmla="*/ 2221 h 3108"/>
              <a:gd name="T26" fmla="*/ 1239 w 3248"/>
              <a:gd name="T27" fmla="*/ 1976 h 3108"/>
              <a:gd name="T28" fmla="*/ 1835 w 3248"/>
              <a:gd name="T29" fmla="*/ 2195 h 3108"/>
              <a:gd name="T30" fmla="*/ 2536 w 3248"/>
              <a:gd name="T31" fmla="*/ 2225 h 3108"/>
              <a:gd name="T32" fmla="*/ 2509 w 3248"/>
              <a:gd name="T33" fmla="*/ 2474 h 3108"/>
              <a:gd name="T34" fmla="*/ 2089 w 3248"/>
              <a:gd name="T35" fmla="*/ 2548 h 3108"/>
              <a:gd name="T36" fmla="*/ 1646 w 3248"/>
              <a:gd name="T37" fmla="*/ 2637 h 3108"/>
              <a:gd name="T38" fmla="*/ 2018 w 3248"/>
              <a:gd name="T39" fmla="*/ 2588 h 3108"/>
              <a:gd name="T40" fmla="*/ 2525 w 3248"/>
              <a:gd name="T41" fmla="*/ 2515 h 3108"/>
              <a:gd name="T42" fmla="*/ 2665 w 3248"/>
              <a:gd name="T43" fmla="*/ 2262 h 3108"/>
              <a:gd name="T44" fmla="*/ 2528 w 3248"/>
              <a:gd name="T45" fmla="*/ 2114 h 3108"/>
              <a:gd name="T46" fmla="*/ 2840 w 3248"/>
              <a:gd name="T47" fmla="*/ 2069 h 3108"/>
              <a:gd name="T48" fmla="*/ 3102 w 3248"/>
              <a:gd name="T49" fmla="*/ 2066 h 3108"/>
              <a:gd name="T50" fmla="*/ 3245 w 3248"/>
              <a:gd name="T51" fmla="*/ 2204 h 3108"/>
              <a:gd name="T52" fmla="*/ 2562 w 3248"/>
              <a:gd name="T53" fmla="*/ 2727 h 3108"/>
              <a:gd name="T54" fmla="*/ 1769 w 3248"/>
              <a:gd name="T55" fmla="*/ 2889 h 3108"/>
              <a:gd name="T56" fmla="*/ 1795 w 3248"/>
              <a:gd name="T57" fmla="*/ 2114 h 3108"/>
              <a:gd name="T58" fmla="*/ 1795 w 3248"/>
              <a:gd name="T59" fmla="*/ 1502 h 3108"/>
              <a:gd name="T60" fmla="*/ 2135 w 3248"/>
              <a:gd name="T61" fmla="*/ 1494 h 3108"/>
              <a:gd name="T62" fmla="*/ 2135 w 3248"/>
              <a:gd name="T63" fmla="*/ 2148 h 3108"/>
              <a:gd name="T64" fmla="*/ 1849 w 3248"/>
              <a:gd name="T65" fmla="*/ 2130 h 3108"/>
              <a:gd name="T66" fmla="*/ 2295 w 3248"/>
              <a:gd name="T67" fmla="*/ 1242 h 3108"/>
              <a:gd name="T68" fmla="*/ 2642 w 3248"/>
              <a:gd name="T69" fmla="*/ 1242 h 3108"/>
              <a:gd name="T70" fmla="*/ 2642 w 3248"/>
              <a:gd name="T71" fmla="*/ 2024 h 3108"/>
              <a:gd name="T72" fmla="*/ 2466 w 3248"/>
              <a:gd name="T73" fmla="*/ 2090 h 3108"/>
              <a:gd name="T74" fmla="*/ 2295 w 3248"/>
              <a:gd name="T75" fmla="*/ 2122 h 3108"/>
              <a:gd name="T76" fmla="*/ 1452 w 3248"/>
              <a:gd name="T77" fmla="*/ 1971 h 3108"/>
              <a:gd name="T78" fmla="*/ 1295 w 3248"/>
              <a:gd name="T79" fmla="*/ 1773 h 3108"/>
              <a:gd name="T80" fmla="*/ 1462 w 3248"/>
              <a:gd name="T81" fmla="*/ 1628 h 3108"/>
              <a:gd name="T82" fmla="*/ 1629 w 3248"/>
              <a:gd name="T83" fmla="*/ 1828 h 3108"/>
              <a:gd name="T84" fmla="*/ 1452 w 3248"/>
              <a:gd name="T85" fmla="*/ 1971 h 3108"/>
              <a:gd name="T86" fmla="*/ 1142 w 3248"/>
              <a:gd name="T87" fmla="*/ 1461 h 3108"/>
              <a:gd name="T88" fmla="*/ 2054 w 3248"/>
              <a:gd name="T89" fmla="*/ 1088 h 3108"/>
              <a:gd name="T90" fmla="*/ 2329 w 3248"/>
              <a:gd name="T91" fmla="*/ 482 h 3108"/>
              <a:gd name="T92" fmla="*/ 2567 w 3248"/>
              <a:gd name="T93" fmla="*/ 0 h 3108"/>
              <a:gd name="T94" fmla="*/ 2695 w 3248"/>
              <a:gd name="T95" fmla="*/ 446 h 3108"/>
              <a:gd name="T96" fmla="*/ 2650 w 3248"/>
              <a:gd name="T97" fmla="*/ 529 h 3108"/>
              <a:gd name="T98" fmla="*/ 2563 w 3248"/>
              <a:gd name="T99" fmla="*/ 578 h 3108"/>
              <a:gd name="T100" fmla="*/ 1222 w 3248"/>
              <a:gd name="T101" fmla="*/ 1469 h 3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48" h="3108">
                <a:moveTo>
                  <a:pt x="290" y="3067"/>
                </a:moveTo>
                <a:cubicBezTo>
                  <a:pt x="251" y="3036"/>
                  <a:pt x="190" y="2924"/>
                  <a:pt x="139" y="2789"/>
                </a:cubicBezTo>
                <a:cubicBezTo>
                  <a:pt x="108" y="2705"/>
                  <a:pt x="27" y="2394"/>
                  <a:pt x="9" y="2286"/>
                </a:cubicBezTo>
                <a:lnTo>
                  <a:pt x="0" y="2230"/>
                </a:lnTo>
                <a:lnTo>
                  <a:pt x="64" y="2221"/>
                </a:lnTo>
                <a:cubicBezTo>
                  <a:pt x="100" y="2216"/>
                  <a:pt x="180" y="2189"/>
                  <a:pt x="243" y="2160"/>
                </a:cubicBezTo>
                <a:cubicBezTo>
                  <a:pt x="373" y="2102"/>
                  <a:pt x="451" y="2093"/>
                  <a:pt x="487" y="2133"/>
                </a:cubicBezTo>
                <a:cubicBezTo>
                  <a:pt x="507" y="2155"/>
                  <a:pt x="508" y="2166"/>
                  <a:pt x="493" y="2220"/>
                </a:cubicBezTo>
                <a:cubicBezTo>
                  <a:pt x="479" y="2274"/>
                  <a:pt x="480" y="2296"/>
                  <a:pt x="505" y="2398"/>
                </a:cubicBezTo>
                <a:cubicBezTo>
                  <a:pt x="546" y="2566"/>
                  <a:pt x="609" y="2733"/>
                  <a:pt x="662" y="2814"/>
                </a:cubicBezTo>
                <a:cubicBezTo>
                  <a:pt x="732" y="2920"/>
                  <a:pt x="723" y="2962"/>
                  <a:pt x="628" y="2962"/>
                </a:cubicBezTo>
                <a:cubicBezTo>
                  <a:pt x="571" y="2962"/>
                  <a:pt x="522" y="2984"/>
                  <a:pt x="453" y="3042"/>
                </a:cubicBezTo>
                <a:cubicBezTo>
                  <a:pt x="382" y="3102"/>
                  <a:pt x="342" y="3108"/>
                  <a:pt x="290" y="3067"/>
                </a:cubicBezTo>
                <a:close/>
                <a:moveTo>
                  <a:pt x="335" y="2289"/>
                </a:moveTo>
                <a:cubicBezTo>
                  <a:pt x="344" y="2278"/>
                  <a:pt x="349" y="2256"/>
                  <a:pt x="346" y="2239"/>
                </a:cubicBezTo>
                <a:cubicBezTo>
                  <a:pt x="343" y="2215"/>
                  <a:pt x="334" y="2208"/>
                  <a:pt x="302" y="2208"/>
                </a:cubicBezTo>
                <a:cubicBezTo>
                  <a:pt x="270" y="2208"/>
                  <a:pt x="261" y="2215"/>
                  <a:pt x="258" y="2239"/>
                </a:cubicBezTo>
                <a:cubicBezTo>
                  <a:pt x="253" y="2273"/>
                  <a:pt x="276" y="2308"/>
                  <a:pt x="302" y="2308"/>
                </a:cubicBezTo>
                <a:cubicBezTo>
                  <a:pt x="311" y="2308"/>
                  <a:pt x="326" y="2300"/>
                  <a:pt x="335" y="2289"/>
                </a:cubicBezTo>
                <a:close/>
                <a:moveTo>
                  <a:pt x="1769" y="2889"/>
                </a:moveTo>
                <a:cubicBezTo>
                  <a:pt x="1583" y="2847"/>
                  <a:pt x="1493" y="2821"/>
                  <a:pt x="1362" y="2768"/>
                </a:cubicBezTo>
                <a:cubicBezTo>
                  <a:pt x="1227" y="2714"/>
                  <a:pt x="1080" y="2689"/>
                  <a:pt x="979" y="2701"/>
                </a:cubicBezTo>
                <a:cubicBezTo>
                  <a:pt x="933" y="2707"/>
                  <a:pt x="868" y="2730"/>
                  <a:pt x="806" y="2763"/>
                </a:cubicBezTo>
                <a:lnTo>
                  <a:pt x="707" y="2815"/>
                </a:lnTo>
                <a:lnTo>
                  <a:pt x="663" y="2718"/>
                </a:lnTo>
                <a:cubicBezTo>
                  <a:pt x="557" y="2486"/>
                  <a:pt x="512" y="2290"/>
                  <a:pt x="549" y="2221"/>
                </a:cubicBezTo>
                <a:cubicBezTo>
                  <a:pt x="575" y="2172"/>
                  <a:pt x="646" y="2129"/>
                  <a:pt x="823" y="2056"/>
                </a:cubicBezTo>
                <a:cubicBezTo>
                  <a:pt x="1014" y="1977"/>
                  <a:pt x="1121" y="1956"/>
                  <a:pt x="1239" y="1976"/>
                </a:cubicBezTo>
                <a:cubicBezTo>
                  <a:pt x="1366" y="1996"/>
                  <a:pt x="1526" y="2049"/>
                  <a:pt x="1689" y="2126"/>
                </a:cubicBezTo>
                <a:lnTo>
                  <a:pt x="1835" y="2195"/>
                </a:lnTo>
                <a:lnTo>
                  <a:pt x="2149" y="2195"/>
                </a:lnTo>
                <a:cubicBezTo>
                  <a:pt x="2443" y="2195"/>
                  <a:pt x="2467" y="2197"/>
                  <a:pt x="2536" y="2225"/>
                </a:cubicBezTo>
                <a:cubicBezTo>
                  <a:pt x="2654" y="2273"/>
                  <a:pt x="2695" y="2332"/>
                  <a:pt x="2663" y="2409"/>
                </a:cubicBezTo>
                <a:cubicBezTo>
                  <a:pt x="2643" y="2457"/>
                  <a:pt x="2632" y="2461"/>
                  <a:pt x="2509" y="2474"/>
                </a:cubicBezTo>
                <a:cubicBezTo>
                  <a:pt x="2468" y="2478"/>
                  <a:pt x="2375" y="2497"/>
                  <a:pt x="2302" y="2515"/>
                </a:cubicBezTo>
                <a:cubicBezTo>
                  <a:pt x="2229" y="2533"/>
                  <a:pt x="2133" y="2548"/>
                  <a:pt x="2089" y="2548"/>
                </a:cubicBezTo>
                <a:cubicBezTo>
                  <a:pt x="1956" y="2549"/>
                  <a:pt x="1800" y="2571"/>
                  <a:pt x="1718" y="2603"/>
                </a:cubicBezTo>
                <a:cubicBezTo>
                  <a:pt x="1676" y="2619"/>
                  <a:pt x="1643" y="2634"/>
                  <a:pt x="1646" y="2637"/>
                </a:cubicBezTo>
                <a:cubicBezTo>
                  <a:pt x="1648" y="2639"/>
                  <a:pt x="1692" y="2629"/>
                  <a:pt x="1743" y="2615"/>
                </a:cubicBezTo>
                <a:cubicBezTo>
                  <a:pt x="1815" y="2594"/>
                  <a:pt x="1876" y="2588"/>
                  <a:pt x="2018" y="2588"/>
                </a:cubicBezTo>
                <a:cubicBezTo>
                  <a:pt x="2170" y="2588"/>
                  <a:pt x="2224" y="2583"/>
                  <a:pt x="2328" y="2555"/>
                </a:cubicBezTo>
                <a:cubicBezTo>
                  <a:pt x="2397" y="2537"/>
                  <a:pt x="2486" y="2519"/>
                  <a:pt x="2525" y="2515"/>
                </a:cubicBezTo>
                <a:cubicBezTo>
                  <a:pt x="2679" y="2497"/>
                  <a:pt x="2709" y="2474"/>
                  <a:pt x="2709" y="2371"/>
                </a:cubicBezTo>
                <a:cubicBezTo>
                  <a:pt x="2709" y="2315"/>
                  <a:pt x="2703" y="2299"/>
                  <a:pt x="2665" y="2262"/>
                </a:cubicBezTo>
                <a:cubicBezTo>
                  <a:pt x="2621" y="2218"/>
                  <a:pt x="2512" y="2175"/>
                  <a:pt x="2444" y="2175"/>
                </a:cubicBezTo>
                <a:cubicBezTo>
                  <a:pt x="2392" y="2175"/>
                  <a:pt x="2425" y="2151"/>
                  <a:pt x="2528" y="2114"/>
                </a:cubicBezTo>
                <a:cubicBezTo>
                  <a:pt x="2621" y="2080"/>
                  <a:pt x="2720" y="2072"/>
                  <a:pt x="2744" y="2096"/>
                </a:cubicBezTo>
                <a:cubicBezTo>
                  <a:pt x="2755" y="2106"/>
                  <a:pt x="2782" y="2099"/>
                  <a:pt x="2840" y="2069"/>
                </a:cubicBezTo>
                <a:cubicBezTo>
                  <a:pt x="2934" y="2022"/>
                  <a:pt x="2982" y="2018"/>
                  <a:pt x="3021" y="2054"/>
                </a:cubicBezTo>
                <a:cubicBezTo>
                  <a:pt x="3045" y="2076"/>
                  <a:pt x="3056" y="2078"/>
                  <a:pt x="3102" y="2066"/>
                </a:cubicBezTo>
                <a:cubicBezTo>
                  <a:pt x="3168" y="2049"/>
                  <a:pt x="3224" y="2068"/>
                  <a:pt x="3240" y="2111"/>
                </a:cubicBezTo>
                <a:cubicBezTo>
                  <a:pt x="3246" y="2128"/>
                  <a:pt x="3248" y="2170"/>
                  <a:pt x="3245" y="2204"/>
                </a:cubicBezTo>
                <a:cubicBezTo>
                  <a:pt x="3240" y="2263"/>
                  <a:pt x="3232" y="2274"/>
                  <a:pt x="3140" y="2362"/>
                </a:cubicBezTo>
                <a:cubicBezTo>
                  <a:pt x="2989" y="2506"/>
                  <a:pt x="2761" y="2650"/>
                  <a:pt x="2562" y="2727"/>
                </a:cubicBezTo>
                <a:cubicBezTo>
                  <a:pt x="2242" y="2852"/>
                  <a:pt x="2025" y="2922"/>
                  <a:pt x="1962" y="2920"/>
                </a:cubicBezTo>
                <a:cubicBezTo>
                  <a:pt x="1929" y="2920"/>
                  <a:pt x="1842" y="2905"/>
                  <a:pt x="1769" y="2889"/>
                </a:cubicBezTo>
                <a:close/>
                <a:moveTo>
                  <a:pt x="1849" y="2130"/>
                </a:moveTo>
                <a:lnTo>
                  <a:pt x="1795" y="2114"/>
                </a:lnTo>
                <a:lnTo>
                  <a:pt x="1795" y="1808"/>
                </a:lnTo>
                <a:lnTo>
                  <a:pt x="1795" y="1502"/>
                </a:lnTo>
                <a:lnTo>
                  <a:pt x="1965" y="1498"/>
                </a:lnTo>
                <a:lnTo>
                  <a:pt x="2135" y="1494"/>
                </a:lnTo>
                <a:lnTo>
                  <a:pt x="2135" y="1821"/>
                </a:lnTo>
                <a:lnTo>
                  <a:pt x="2135" y="2148"/>
                </a:lnTo>
                <a:lnTo>
                  <a:pt x="2019" y="2147"/>
                </a:lnTo>
                <a:cubicBezTo>
                  <a:pt x="1955" y="2147"/>
                  <a:pt x="1878" y="2139"/>
                  <a:pt x="1849" y="2130"/>
                </a:cubicBezTo>
                <a:close/>
                <a:moveTo>
                  <a:pt x="2295" y="1682"/>
                </a:moveTo>
                <a:lnTo>
                  <a:pt x="2295" y="1242"/>
                </a:lnTo>
                <a:lnTo>
                  <a:pt x="2469" y="1242"/>
                </a:lnTo>
                <a:lnTo>
                  <a:pt x="2642" y="1242"/>
                </a:lnTo>
                <a:lnTo>
                  <a:pt x="2642" y="1633"/>
                </a:lnTo>
                <a:lnTo>
                  <a:pt x="2642" y="2024"/>
                </a:lnTo>
                <a:lnTo>
                  <a:pt x="2585" y="2041"/>
                </a:lnTo>
                <a:cubicBezTo>
                  <a:pt x="2554" y="2050"/>
                  <a:pt x="2500" y="2072"/>
                  <a:pt x="2466" y="2090"/>
                </a:cubicBezTo>
                <a:cubicBezTo>
                  <a:pt x="2430" y="2108"/>
                  <a:pt x="2379" y="2122"/>
                  <a:pt x="2349" y="2122"/>
                </a:cubicBezTo>
                <a:lnTo>
                  <a:pt x="2295" y="2122"/>
                </a:lnTo>
                <a:lnTo>
                  <a:pt x="2295" y="1682"/>
                </a:lnTo>
                <a:close/>
                <a:moveTo>
                  <a:pt x="1452" y="1971"/>
                </a:moveTo>
                <a:lnTo>
                  <a:pt x="1295" y="1918"/>
                </a:lnTo>
                <a:lnTo>
                  <a:pt x="1295" y="1773"/>
                </a:lnTo>
                <a:lnTo>
                  <a:pt x="1295" y="1628"/>
                </a:lnTo>
                <a:lnTo>
                  <a:pt x="1462" y="1628"/>
                </a:lnTo>
                <a:lnTo>
                  <a:pt x="1629" y="1628"/>
                </a:lnTo>
                <a:lnTo>
                  <a:pt x="1629" y="1828"/>
                </a:lnTo>
                <a:cubicBezTo>
                  <a:pt x="1629" y="1938"/>
                  <a:pt x="1624" y="2027"/>
                  <a:pt x="1619" y="2026"/>
                </a:cubicBezTo>
                <a:cubicBezTo>
                  <a:pt x="1613" y="2025"/>
                  <a:pt x="1538" y="2000"/>
                  <a:pt x="1452" y="1971"/>
                </a:cubicBezTo>
                <a:close/>
                <a:moveTo>
                  <a:pt x="1222" y="1469"/>
                </a:moveTo>
                <a:lnTo>
                  <a:pt x="1142" y="1461"/>
                </a:lnTo>
                <a:lnTo>
                  <a:pt x="1235" y="1450"/>
                </a:lnTo>
                <a:cubicBezTo>
                  <a:pt x="1590" y="1411"/>
                  <a:pt x="1822" y="1308"/>
                  <a:pt x="2054" y="1088"/>
                </a:cubicBezTo>
                <a:cubicBezTo>
                  <a:pt x="2177" y="972"/>
                  <a:pt x="2253" y="866"/>
                  <a:pt x="2328" y="706"/>
                </a:cubicBezTo>
                <a:cubicBezTo>
                  <a:pt x="2421" y="509"/>
                  <a:pt x="2421" y="483"/>
                  <a:pt x="2329" y="482"/>
                </a:cubicBezTo>
                <a:cubicBezTo>
                  <a:pt x="2243" y="481"/>
                  <a:pt x="2247" y="470"/>
                  <a:pt x="2411" y="230"/>
                </a:cubicBezTo>
                <a:lnTo>
                  <a:pt x="2567" y="0"/>
                </a:lnTo>
                <a:lnTo>
                  <a:pt x="2618" y="177"/>
                </a:lnTo>
                <a:cubicBezTo>
                  <a:pt x="2646" y="275"/>
                  <a:pt x="2680" y="396"/>
                  <a:pt x="2695" y="446"/>
                </a:cubicBezTo>
                <a:lnTo>
                  <a:pt x="2721" y="538"/>
                </a:lnTo>
                <a:lnTo>
                  <a:pt x="2650" y="529"/>
                </a:lnTo>
                <a:lnTo>
                  <a:pt x="2580" y="520"/>
                </a:lnTo>
                <a:lnTo>
                  <a:pt x="2563" y="578"/>
                </a:lnTo>
                <a:cubicBezTo>
                  <a:pt x="2483" y="848"/>
                  <a:pt x="2266" y="1125"/>
                  <a:pt x="2012" y="1281"/>
                </a:cubicBezTo>
                <a:cubicBezTo>
                  <a:pt x="1784" y="1422"/>
                  <a:pt x="1475" y="1495"/>
                  <a:pt x="1222" y="1469"/>
                </a:cubicBezTo>
                <a:close/>
              </a:path>
            </a:pathLst>
          </a:custGeom>
          <a:solidFill>
            <a:srgbClr val="FFCA2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n-lt"/>
              <a:ea typeface="楷体" panose="02010609060101010101" pitchFamily="49" charset="-122"/>
            </a:endParaRPr>
          </a:p>
        </p:txBody>
      </p:sp>
    </p:spTree>
    <p:extLst>
      <p:ext uri="{BB962C8B-B14F-4D97-AF65-F5344CB8AC3E}">
        <p14:creationId xmlns:p14="http://schemas.microsoft.com/office/powerpoint/2010/main" val="17377777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86" name="think-cell 幻灯片" r:id="rId15" imgW="493" imgH="493" progId="TCLayout.ActiveDocument.1">
                  <p:embed/>
                </p:oleObj>
              </mc:Choice>
              <mc:Fallback>
                <p:oleObj name="think-cell 幻灯片" r:id="rId15" imgW="493" imgH="493" progId="TCLayout.ActiveDocument.1">
                  <p:embed/>
                  <p:pic>
                    <p:nvPicPr>
                      <p:cNvPr id="4" name="Object 3" hidden="1"/>
                      <p:cNvPicPr/>
                      <p:nvPr/>
                    </p:nvPicPr>
                    <p:blipFill>
                      <a:blip r:embed="rId16"/>
                      <a:stretch>
                        <a:fillRect/>
                      </a:stretch>
                    </p:blipFill>
                    <p:spPr>
                      <a:xfrm>
                        <a:off x="1588" y="1588"/>
                        <a:ext cx="1587" cy="1587"/>
                      </a:xfrm>
                      <a:prstGeom prst="rect">
                        <a:avLst/>
                      </a:prstGeom>
                    </p:spPr>
                  </p:pic>
                </p:oleObj>
              </mc:Fallback>
            </mc:AlternateContent>
          </a:graphicData>
        </a:graphic>
      </p:graphicFrame>
      <p:grpSp>
        <p:nvGrpSpPr>
          <p:cNvPr id="52" name="Group 51"/>
          <p:cNvGrpSpPr/>
          <p:nvPr/>
        </p:nvGrpSpPr>
        <p:grpSpPr>
          <a:xfrm>
            <a:off x="5566521" y="64390"/>
            <a:ext cx="3347548" cy="2148011"/>
            <a:chOff x="3098705" y="-3123589"/>
            <a:chExt cx="4572000" cy="2933701"/>
          </a:xfrm>
        </p:grpSpPr>
        <p:pic>
          <p:nvPicPr>
            <p:cNvPr id="64" name="Picture 243" descr="http://media.tumblr.com/35591bfd325775359f4cada436963010/tumblr_inline_n6pfos9Fii1r3sqgj.jpg"/>
            <p:cNvPicPr>
              <a:picLocks noChangeArrowheads="1"/>
            </p:cNvPicPr>
            <p:nvPr/>
          </p:nvPicPr>
          <p:blipFill>
            <a:blip r:embed="rId17"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098705" y="-3123589"/>
              <a:ext cx="4572000" cy="2933701"/>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60"/>
            <p:cNvSpPr>
              <a:spLocks/>
            </p:cNvSpPr>
            <p:nvPr/>
          </p:nvSpPr>
          <p:spPr>
            <a:xfrm>
              <a:off x="3098705" y="-3123589"/>
              <a:ext cx="1557177" cy="2933701"/>
            </a:xfrm>
            <a:prstGeom prst="rect">
              <a:avLst/>
            </a:prstGeom>
            <a:gradFill flip="none" rotWithShape="1">
              <a:gsLst>
                <a:gs pos="100000">
                  <a:schemeClr val="bg2"/>
                </a:gs>
                <a:gs pos="0">
                  <a:schemeClr val="bg1">
                    <a:alpha val="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1"/>
                </a:solidFill>
              </a:endParaRPr>
            </a:p>
          </p:txBody>
        </p:sp>
        <p:sp>
          <p:nvSpPr>
            <p:cNvPr id="62" name="Rectangle 61"/>
            <p:cNvSpPr>
              <a:spLocks/>
            </p:cNvSpPr>
            <p:nvPr/>
          </p:nvSpPr>
          <p:spPr>
            <a:xfrm>
              <a:off x="3098705" y="-1246093"/>
              <a:ext cx="4572000" cy="1056205"/>
            </a:xfrm>
            <a:prstGeom prst="rect">
              <a:avLst/>
            </a:prstGeom>
            <a:gradFill flip="none" rotWithShape="1">
              <a:gsLst>
                <a:gs pos="100000">
                  <a:schemeClr val="bg2"/>
                </a:gs>
                <a:gs pos="0">
                  <a:schemeClr val="bg1">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3" name="Rectangle 62"/>
            <p:cNvSpPr>
              <a:spLocks/>
            </p:cNvSpPr>
            <p:nvPr/>
          </p:nvSpPr>
          <p:spPr>
            <a:xfrm>
              <a:off x="3098705" y="-3123589"/>
              <a:ext cx="4572000" cy="2933701"/>
            </a:xfrm>
            <a:prstGeom prst="rect">
              <a:avLst/>
            </a:prstGeom>
            <a:solidFill>
              <a:schemeClr val="bg1">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1"/>
                </a:solidFill>
              </a:endParaRPr>
            </a:p>
          </p:txBody>
        </p:sp>
      </p:grpSp>
      <p:sp>
        <p:nvSpPr>
          <p:cNvPr id="2" name="Title 1"/>
          <p:cNvSpPr>
            <a:spLocks noGrp="1"/>
          </p:cNvSpPr>
          <p:nvPr>
            <p:ph type="title"/>
          </p:nvPr>
        </p:nvSpPr>
        <p:spPr>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zh-CN" dirty="0">
                <a:latin typeface="KaiTi"/>
                <a:cs typeface="KaiTi"/>
              </a:rPr>
              <a:t>机器学习采用的技术已存在数十年，但</a:t>
            </a:r>
            <a:r>
              <a:rPr lang="zh-CN" altLang="en-US" dirty="0">
                <a:latin typeface="KaiTi"/>
                <a:cs typeface="KaiTi"/>
              </a:rPr>
              <a:t>其能力和作用已经经历了巨大的升级</a:t>
            </a:r>
            <a:endParaRPr lang="zh-CN" dirty="0">
              <a:latin typeface="KaiTi"/>
              <a:cs typeface="KaiTi"/>
            </a:endParaRPr>
          </a:p>
        </p:txBody>
      </p:sp>
      <p:sp>
        <p:nvSpPr>
          <p:cNvPr id="98" name="4. Footnote"/>
          <p:cNvSpPr txBox="1">
            <a:spLocks noChangeArrowheads="1"/>
          </p:cNvSpPr>
          <p:nvPr/>
        </p:nvSpPr>
        <p:spPr bwMode="auto">
          <a:xfrm>
            <a:off x="119063" y="6306660"/>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defPPr>
              <a:defRPr lang="en-US"/>
            </a:defPPr>
            <a:lvl1pPr marL="104775" indent="-104775" defTabSz="895350">
              <a:defRPr sz="800" baseline="0">
                <a:solidFill>
                  <a:srgbClr val="808080"/>
                </a:solidFill>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zh-CN">
                <a:latin typeface="KaiTi"/>
                <a:cs typeface="KaiTi"/>
              </a:rPr>
              <a:t>1 例如，预训练单ANN（人工神经网络）层、LASSO回归法、平台回避（plateau avoidance）</a:t>
            </a:r>
          </a:p>
        </p:txBody>
      </p:sp>
      <p:cxnSp>
        <p:nvCxnSpPr>
          <p:cNvPr id="7" name="Straight Arrow Connector 6"/>
          <p:cNvCxnSpPr/>
          <p:nvPr/>
        </p:nvCxnSpPr>
        <p:spPr>
          <a:xfrm>
            <a:off x="1735589" y="2613720"/>
            <a:ext cx="5783189" cy="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pic>
        <p:nvPicPr>
          <p:cNvPr id="18437" name="Picture 5" descr="http://www.websoftwareqa.com/wp-content/uploads/2010/07/Computer-Code.jpg"/>
          <p:cNvPicPr>
            <a:picLocks noChangeArrowheads="1"/>
          </p:cNvPicPr>
          <p:nvPr/>
        </p:nvPicPr>
        <p:blipFill rotWithShape="1">
          <a:blip r:embed="rId18" cstate="email">
            <a:extLst>
              <a:ext uri="{28A0092B-C50C-407E-A947-70E740481C1C}">
                <a14:useLocalDpi xmlns:a14="http://schemas.microsoft.com/office/drawing/2010/main"/>
              </a:ext>
            </a:extLst>
          </a:blip>
          <a:srcRect/>
          <a:stretch/>
        </p:blipFill>
        <p:spPr bwMode="auto">
          <a:xfrm>
            <a:off x="240854" y="2701172"/>
            <a:ext cx="1268509" cy="3058729"/>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a:outerShdw blurRad="50800" dist="38100" dir="2700000" algn="tl" rotWithShape="0">
              <a:prstClr val="black">
                <a:alpha val="40000"/>
              </a:prstClr>
            </a:outerShdw>
          </a:effectLst>
        </p:spPr>
      </p:pic>
      <p:sp>
        <p:nvSpPr>
          <p:cNvPr id="44" name="TextBox 9"/>
          <p:cNvSpPr txBox="1">
            <a:spLocks/>
          </p:cNvSpPr>
          <p:nvPr>
            <p:custDataLst>
              <p:tags r:id="rId3"/>
            </p:custDataLst>
          </p:nvPr>
        </p:nvSpPr>
        <p:spPr>
          <a:xfrm>
            <a:off x="240854" y="2701172"/>
            <a:ext cx="1246738" cy="338554"/>
          </a:xfrm>
          <a:prstGeom prst="rect">
            <a:avLst/>
          </a:prstGeom>
          <a:solidFill>
            <a:schemeClr val="bg1">
              <a:alpha val="80000"/>
            </a:schemeClr>
          </a:solidFill>
          <a:ln>
            <a:noFill/>
          </a:ln>
          <a:effectLst/>
        </p:spPr>
        <p:txBody>
          <a:bodyPr vert="horz" wrap="square" lIns="76200" tIns="76200" rIns="76200" bIns="76200"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b="1" dirty="0">
                <a:solidFill>
                  <a:schemeClr val="tx2"/>
                </a:solidFill>
                <a:latin typeface="+mn-ea"/>
                <a:cs typeface="KaiTi"/>
              </a:rPr>
              <a:t>算法</a:t>
            </a:r>
            <a:endParaRPr lang="zh-CN" sz="1200" b="1" dirty="0">
              <a:solidFill>
                <a:schemeClr val="tx2"/>
              </a:solidFill>
              <a:latin typeface="+mn-ea"/>
            </a:endParaRPr>
          </a:p>
        </p:txBody>
      </p:sp>
      <p:sp>
        <p:nvSpPr>
          <p:cNvPr id="9" name="Rectangle 10"/>
          <p:cNvSpPr txBox="1"/>
          <p:nvPr/>
        </p:nvSpPr>
        <p:spPr>
          <a:xfrm>
            <a:off x="1744966" y="4266035"/>
            <a:ext cx="968828"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dirty="0">
                <a:latin typeface="+mn-ea"/>
                <a:cs typeface="KaiTi"/>
              </a:rPr>
              <a:t>人造神经网络</a:t>
            </a:r>
            <a:endParaRPr lang="zh-CN" sz="1200" dirty="0">
              <a:latin typeface="+mn-ea"/>
            </a:endParaRPr>
          </a:p>
        </p:txBody>
      </p:sp>
      <p:sp>
        <p:nvSpPr>
          <p:cNvPr id="55" name="Rectangle 10"/>
          <p:cNvSpPr txBox="1"/>
          <p:nvPr/>
        </p:nvSpPr>
        <p:spPr>
          <a:xfrm>
            <a:off x="2102055" y="3878491"/>
            <a:ext cx="968828"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dirty="0">
                <a:latin typeface="+mn-ea"/>
                <a:cs typeface="KaiTi"/>
              </a:rPr>
              <a:t>逻辑回归</a:t>
            </a:r>
            <a:endParaRPr lang="zh-CN" sz="1200" dirty="0">
              <a:latin typeface="+mn-ea"/>
            </a:endParaRPr>
          </a:p>
        </p:txBody>
      </p:sp>
      <p:sp>
        <p:nvSpPr>
          <p:cNvPr id="56" name="Rectangle 10"/>
          <p:cNvSpPr txBox="1"/>
          <p:nvPr/>
        </p:nvSpPr>
        <p:spPr>
          <a:xfrm>
            <a:off x="2542136" y="3315047"/>
            <a:ext cx="1010687"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dirty="0">
                <a:latin typeface="+mn-ea"/>
                <a:cs typeface="KaiTi"/>
              </a:rPr>
              <a:t>支持向量机</a:t>
            </a:r>
            <a:endParaRPr lang="zh-CN" sz="1200" dirty="0">
              <a:latin typeface="+mn-ea"/>
            </a:endParaRPr>
          </a:p>
        </p:txBody>
      </p:sp>
      <p:sp>
        <p:nvSpPr>
          <p:cNvPr id="57" name="Rectangle 10"/>
          <p:cNvSpPr txBox="1"/>
          <p:nvPr/>
        </p:nvSpPr>
        <p:spPr>
          <a:xfrm>
            <a:off x="3135947" y="3848215"/>
            <a:ext cx="1010687"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dirty="0">
                <a:latin typeface="+mn-ea"/>
                <a:cs typeface="KaiTi"/>
              </a:rPr>
              <a:t>贝叶斯网络</a:t>
            </a:r>
            <a:endParaRPr lang="zh-CN" sz="1200" dirty="0">
              <a:latin typeface="+mn-ea"/>
            </a:endParaRPr>
          </a:p>
        </p:txBody>
      </p:sp>
      <p:sp>
        <p:nvSpPr>
          <p:cNvPr id="58" name="Rectangle 10"/>
          <p:cNvSpPr txBox="1"/>
          <p:nvPr/>
        </p:nvSpPr>
        <p:spPr>
          <a:xfrm>
            <a:off x="3306538" y="4417351"/>
            <a:ext cx="1010687"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dirty="0">
                <a:latin typeface="+mn-ea"/>
                <a:cs typeface="KaiTi"/>
              </a:rPr>
              <a:t>决策树归纳</a:t>
            </a:r>
            <a:endParaRPr lang="zh-CN" sz="1200" dirty="0">
              <a:latin typeface="+mn-ea"/>
            </a:endParaRPr>
          </a:p>
        </p:txBody>
      </p:sp>
      <p:sp>
        <p:nvSpPr>
          <p:cNvPr id="19" name="Rectangle 19"/>
          <p:cNvSpPr txBox="1">
            <a:spLocks/>
          </p:cNvSpPr>
          <p:nvPr/>
        </p:nvSpPr>
        <p:spPr>
          <a:xfrm>
            <a:off x="1759254" y="5095641"/>
            <a:ext cx="2361910" cy="369332"/>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None/>
            </a:pPr>
            <a:r>
              <a:rPr lang="zh-CN" sz="1200" dirty="0">
                <a:latin typeface="+mn-ea"/>
                <a:cs typeface="KaiTi"/>
              </a:rPr>
              <a:t>学术界在统计AI上已经有了很大的进步，</a:t>
            </a:r>
            <a:r>
              <a:rPr lang="zh-CN" sz="1200" b="1" dirty="0">
                <a:solidFill>
                  <a:schemeClr val="tx2"/>
                </a:solidFill>
                <a:latin typeface="+mn-ea"/>
                <a:cs typeface="KaiTi"/>
              </a:rPr>
              <a:t>已经存在核心算法</a:t>
            </a:r>
          </a:p>
        </p:txBody>
      </p:sp>
      <p:cxnSp>
        <p:nvCxnSpPr>
          <p:cNvPr id="27" name="Straight Connector 26"/>
          <p:cNvCxnSpPr/>
          <p:nvPr/>
        </p:nvCxnSpPr>
        <p:spPr>
          <a:xfrm flipV="1">
            <a:off x="1802985" y="2694710"/>
            <a:ext cx="0" cy="157757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V="1">
            <a:off x="2332650" y="2694710"/>
            <a:ext cx="0" cy="110826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2891450" y="2694710"/>
            <a:ext cx="0" cy="554134"/>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V="1">
            <a:off x="3800793" y="2694710"/>
            <a:ext cx="0" cy="110826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3979981" y="2694710"/>
            <a:ext cx="0" cy="172264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0" name="Rectangle 18431"/>
          <p:cNvSpPr txBox="1"/>
          <p:nvPr/>
        </p:nvSpPr>
        <p:spPr>
          <a:xfrm>
            <a:off x="1826455" y="2683242"/>
            <a:ext cx="346755"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dirty="0">
                <a:latin typeface="+mn-ea"/>
                <a:cs typeface="KaiTi"/>
              </a:rPr>
              <a:t>1954</a:t>
            </a:r>
            <a:endParaRPr lang="zh-CN" sz="1200" dirty="0">
              <a:latin typeface="+mn-ea"/>
            </a:endParaRPr>
          </a:p>
        </p:txBody>
      </p:sp>
      <p:sp>
        <p:nvSpPr>
          <p:cNvPr id="82" name="Rectangle 18431"/>
          <p:cNvSpPr txBox="1"/>
          <p:nvPr/>
        </p:nvSpPr>
        <p:spPr>
          <a:xfrm>
            <a:off x="2346550" y="2683242"/>
            <a:ext cx="346755"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dirty="0">
                <a:latin typeface="+mn-ea"/>
                <a:cs typeface="KaiTi"/>
              </a:rPr>
              <a:t>1958</a:t>
            </a:r>
            <a:endParaRPr lang="zh-CN" sz="1200" dirty="0">
              <a:latin typeface="+mn-ea"/>
            </a:endParaRPr>
          </a:p>
        </p:txBody>
      </p:sp>
      <p:sp>
        <p:nvSpPr>
          <p:cNvPr id="83" name="Rectangle 18431"/>
          <p:cNvSpPr txBox="1"/>
          <p:nvPr/>
        </p:nvSpPr>
        <p:spPr>
          <a:xfrm>
            <a:off x="2905349" y="2683242"/>
            <a:ext cx="346755"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dirty="0">
                <a:latin typeface="+mn-ea"/>
                <a:cs typeface="KaiTi"/>
              </a:rPr>
              <a:t>1963</a:t>
            </a:r>
            <a:endParaRPr lang="zh-CN" sz="1200" dirty="0">
              <a:latin typeface="+mn-ea"/>
            </a:endParaRPr>
          </a:p>
        </p:txBody>
      </p:sp>
      <p:sp>
        <p:nvSpPr>
          <p:cNvPr id="84" name="Rectangle 18431"/>
          <p:cNvSpPr txBox="1"/>
          <p:nvPr/>
        </p:nvSpPr>
        <p:spPr>
          <a:xfrm>
            <a:off x="3414699" y="2683242"/>
            <a:ext cx="346755"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dirty="0">
                <a:latin typeface="+mn-ea"/>
                <a:cs typeface="KaiTi"/>
              </a:rPr>
              <a:t>1985</a:t>
            </a:r>
            <a:endParaRPr lang="zh-CN" sz="1200" dirty="0">
              <a:latin typeface="+mn-ea"/>
            </a:endParaRPr>
          </a:p>
        </p:txBody>
      </p:sp>
      <p:sp>
        <p:nvSpPr>
          <p:cNvPr id="85" name="Rectangle 18431"/>
          <p:cNvSpPr txBox="1"/>
          <p:nvPr/>
        </p:nvSpPr>
        <p:spPr>
          <a:xfrm>
            <a:off x="3985471" y="2683242"/>
            <a:ext cx="346755"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dirty="0">
                <a:latin typeface="+mn-ea"/>
                <a:cs typeface="KaiTi"/>
              </a:rPr>
              <a:t>1986</a:t>
            </a:r>
            <a:endParaRPr lang="zh-CN" sz="1200" dirty="0">
              <a:latin typeface="+mn-ea"/>
            </a:endParaRPr>
          </a:p>
        </p:txBody>
      </p:sp>
      <p:sp>
        <p:nvSpPr>
          <p:cNvPr id="86" name="Rectangle 18431"/>
          <p:cNvSpPr txBox="1"/>
          <p:nvPr/>
        </p:nvSpPr>
        <p:spPr>
          <a:xfrm>
            <a:off x="7081528" y="2683242"/>
            <a:ext cx="346755"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dirty="0">
                <a:latin typeface="+mn-ea"/>
                <a:cs typeface="KaiTi"/>
              </a:rPr>
              <a:t>现在</a:t>
            </a:r>
            <a:endParaRPr lang="zh-CN" sz="1200" dirty="0">
              <a:latin typeface="+mn-ea"/>
            </a:endParaRPr>
          </a:p>
        </p:txBody>
      </p:sp>
      <p:sp>
        <p:nvSpPr>
          <p:cNvPr id="18439" name="TextBox 18440"/>
          <p:cNvSpPr txBox="1">
            <a:spLocks/>
          </p:cNvSpPr>
          <p:nvPr>
            <p:custDataLst>
              <p:tags r:id="rId4"/>
            </p:custDataLst>
          </p:nvPr>
        </p:nvSpPr>
        <p:spPr>
          <a:xfrm>
            <a:off x="4317225" y="2717400"/>
            <a:ext cx="1793869" cy="1115459"/>
          </a:xfrm>
          <a:prstGeom prst="rightArrow">
            <a:avLst>
              <a:gd name="adj1" fmla="val 54000"/>
              <a:gd name="adj2" fmla="val 37676"/>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oAutofit/>
          </a:bodyPr>
          <a:lstStyle>
            <a:defPPr>
              <a:defRPr lang="en-US"/>
            </a:defPPr>
            <a:lvl1pPr>
              <a:defRPr sz="1100" b="0">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zh-CN" sz="1200">
                <a:latin typeface="+mn-ea"/>
                <a:cs typeface="KaiTi"/>
              </a:rPr>
              <a:t>有更多可用</a:t>
            </a:r>
            <a:r>
              <a:rPr lang="zh-CN" sz="1200" b="1" dirty="0">
                <a:latin typeface="+mn-ea"/>
                <a:cs typeface="KaiTi"/>
              </a:rPr>
              <a:t>数据</a:t>
            </a:r>
            <a:endParaRPr lang="zh-CN" sz="1200" dirty="0">
              <a:latin typeface="+mn-ea"/>
            </a:endParaRPr>
          </a:p>
        </p:txBody>
      </p:sp>
      <p:sp>
        <p:nvSpPr>
          <p:cNvPr id="97" name="TextBox 18440"/>
          <p:cNvSpPr txBox="1">
            <a:spLocks/>
          </p:cNvSpPr>
          <p:nvPr>
            <p:custDataLst>
              <p:tags r:id="rId5"/>
            </p:custDataLst>
          </p:nvPr>
        </p:nvSpPr>
        <p:spPr>
          <a:xfrm>
            <a:off x="4317225" y="3973301"/>
            <a:ext cx="1793869" cy="1399514"/>
          </a:xfrm>
          <a:prstGeom prst="rightArrow">
            <a:avLst>
              <a:gd name="adj1" fmla="val 54000"/>
              <a:gd name="adj2" fmla="val 37676"/>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oAutofit/>
          </a:bodyPr>
          <a:lstStyle>
            <a:defPPr>
              <a:defRPr lang="en-US"/>
            </a:defPPr>
            <a:lvl1pPr>
              <a:defRPr sz="1400" b="1">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zh-CN" sz="1200" dirty="0">
                <a:latin typeface="+mn-ea"/>
                <a:cs typeface="KaiTi"/>
              </a:rPr>
              <a:t>算法效率和可扩展性</a:t>
            </a:r>
            <a:r>
              <a:rPr lang="zh-CN" sz="1200" b="0" baseline="30000" dirty="0">
                <a:latin typeface="+mn-ea"/>
                <a:cs typeface="KaiTi"/>
              </a:rPr>
              <a:t>1</a:t>
            </a:r>
            <a:r>
              <a:rPr lang="zh-CN" sz="1200" dirty="0">
                <a:latin typeface="+mn-ea"/>
                <a:cs typeface="KaiTi"/>
              </a:rPr>
              <a:t> </a:t>
            </a:r>
          </a:p>
        </p:txBody>
      </p:sp>
      <p:sp>
        <p:nvSpPr>
          <p:cNvPr id="51" name="Bracket"/>
          <p:cNvSpPr>
            <a:spLocks/>
          </p:cNvSpPr>
          <p:nvPr>
            <p:custDataLst>
              <p:tags r:id="rId6"/>
            </p:custDataLst>
          </p:nvPr>
        </p:nvSpPr>
        <p:spPr bwMode="auto">
          <a:xfrm rot="5400000" flipV="1">
            <a:off x="2837145" y="3790032"/>
            <a:ext cx="180684" cy="2336465"/>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2035"/>
              <a:gd name="connsiteY0" fmla="*/ 1098 h 1152"/>
              <a:gd name="connsiteX1" fmla="*/ 1985 w 2035"/>
              <a:gd name="connsiteY1" fmla="*/ 0 h 1152"/>
              <a:gd name="connsiteX2" fmla="*/ 1985 w 2035"/>
              <a:gd name="connsiteY2" fmla="*/ 528 h 1152"/>
              <a:gd name="connsiteX3" fmla="*/ 2035 w 2035"/>
              <a:gd name="connsiteY3" fmla="*/ 576 h 1152"/>
              <a:gd name="connsiteX4" fmla="*/ 1985 w 2035"/>
              <a:gd name="connsiteY4" fmla="*/ 624 h 1152"/>
              <a:gd name="connsiteX5" fmla="*/ 1985 w 2035"/>
              <a:gd name="connsiteY5" fmla="*/ 1152 h 1152"/>
              <a:gd name="connsiteX6" fmla="*/ 1920 w 2035"/>
              <a:gd name="connsiteY6" fmla="*/ 1152 h 1152"/>
              <a:gd name="connsiteX0" fmla="*/ 0 w 2035"/>
              <a:gd name="connsiteY0" fmla="*/ 570 h 624"/>
              <a:gd name="connsiteX1" fmla="*/ 89 w 2035"/>
              <a:gd name="connsiteY1" fmla="*/ 570 h 624"/>
              <a:gd name="connsiteX2" fmla="*/ 1985 w 2035"/>
              <a:gd name="connsiteY2" fmla="*/ 0 h 624"/>
              <a:gd name="connsiteX3" fmla="*/ 2035 w 2035"/>
              <a:gd name="connsiteY3" fmla="*/ 48 h 624"/>
              <a:gd name="connsiteX4" fmla="*/ 1985 w 2035"/>
              <a:gd name="connsiteY4" fmla="*/ 96 h 624"/>
              <a:gd name="connsiteX5" fmla="*/ 1985 w 2035"/>
              <a:gd name="connsiteY5" fmla="*/ 624 h 624"/>
              <a:gd name="connsiteX6" fmla="*/ 1920 w 2035"/>
              <a:gd name="connsiteY6" fmla="*/ 624 h 624"/>
              <a:gd name="connsiteX0" fmla="*/ 0 w 2035"/>
              <a:gd name="connsiteY0" fmla="*/ 522 h 935"/>
              <a:gd name="connsiteX1" fmla="*/ 89 w 2035"/>
              <a:gd name="connsiteY1" fmla="*/ 522 h 935"/>
              <a:gd name="connsiteX2" fmla="*/ 89 w 2035"/>
              <a:gd name="connsiteY2" fmla="*/ 935 h 935"/>
              <a:gd name="connsiteX3" fmla="*/ 2035 w 2035"/>
              <a:gd name="connsiteY3" fmla="*/ 0 h 935"/>
              <a:gd name="connsiteX4" fmla="*/ 1985 w 2035"/>
              <a:gd name="connsiteY4" fmla="*/ 48 h 935"/>
              <a:gd name="connsiteX5" fmla="*/ 1985 w 2035"/>
              <a:gd name="connsiteY5" fmla="*/ 576 h 935"/>
              <a:gd name="connsiteX6" fmla="*/ 1920 w 2035"/>
              <a:gd name="connsiteY6" fmla="*/ 576 h 935"/>
              <a:gd name="connsiteX0" fmla="*/ 0 w 1985"/>
              <a:gd name="connsiteY0" fmla="*/ 474 h 925"/>
              <a:gd name="connsiteX1" fmla="*/ 89 w 1985"/>
              <a:gd name="connsiteY1" fmla="*/ 474 h 925"/>
              <a:gd name="connsiteX2" fmla="*/ 89 w 1985"/>
              <a:gd name="connsiteY2" fmla="*/ 887 h 925"/>
              <a:gd name="connsiteX3" fmla="*/ 157 w 1985"/>
              <a:gd name="connsiteY3" fmla="*/ 925 h 925"/>
              <a:gd name="connsiteX4" fmla="*/ 1985 w 1985"/>
              <a:gd name="connsiteY4" fmla="*/ 0 h 925"/>
              <a:gd name="connsiteX5" fmla="*/ 1985 w 1985"/>
              <a:gd name="connsiteY5" fmla="*/ 528 h 925"/>
              <a:gd name="connsiteX6" fmla="*/ 1920 w 1985"/>
              <a:gd name="connsiteY6" fmla="*/ 528 h 925"/>
              <a:gd name="connsiteX0" fmla="*/ 0 w 1985"/>
              <a:gd name="connsiteY0" fmla="*/ 0 h 488"/>
              <a:gd name="connsiteX1" fmla="*/ 89 w 1985"/>
              <a:gd name="connsiteY1" fmla="*/ 0 h 488"/>
              <a:gd name="connsiteX2" fmla="*/ 89 w 1985"/>
              <a:gd name="connsiteY2" fmla="*/ 413 h 488"/>
              <a:gd name="connsiteX3" fmla="*/ 157 w 1985"/>
              <a:gd name="connsiteY3" fmla="*/ 451 h 488"/>
              <a:gd name="connsiteX4" fmla="*/ 89 w 1985"/>
              <a:gd name="connsiteY4" fmla="*/ 488 h 488"/>
              <a:gd name="connsiteX5" fmla="*/ 1985 w 1985"/>
              <a:gd name="connsiteY5" fmla="*/ 54 h 488"/>
              <a:gd name="connsiteX6" fmla="*/ 1920 w 1985"/>
              <a:gd name="connsiteY6" fmla="*/ 54 h 488"/>
              <a:gd name="connsiteX0" fmla="*/ 0 w 1920"/>
              <a:gd name="connsiteY0" fmla="*/ 0 h 902"/>
              <a:gd name="connsiteX1" fmla="*/ 89 w 1920"/>
              <a:gd name="connsiteY1" fmla="*/ 0 h 902"/>
              <a:gd name="connsiteX2" fmla="*/ 89 w 1920"/>
              <a:gd name="connsiteY2" fmla="*/ 413 h 902"/>
              <a:gd name="connsiteX3" fmla="*/ 157 w 1920"/>
              <a:gd name="connsiteY3" fmla="*/ 451 h 902"/>
              <a:gd name="connsiteX4" fmla="*/ 89 w 1920"/>
              <a:gd name="connsiteY4" fmla="*/ 488 h 902"/>
              <a:gd name="connsiteX5" fmla="*/ 89 w 1920"/>
              <a:gd name="connsiteY5" fmla="*/ 902 h 902"/>
              <a:gd name="connsiteX6" fmla="*/ 1920 w 1920"/>
              <a:gd name="connsiteY6" fmla="*/ 54 h 902"/>
              <a:gd name="connsiteX0" fmla="*/ 0 w 157"/>
              <a:gd name="connsiteY0" fmla="*/ 0 h 902"/>
              <a:gd name="connsiteX1" fmla="*/ 89 w 157"/>
              <a:gd name="connsiteY1" fmla="*/ 0 h 902"/>
              <a:gd name="connsiteX2" fmla="*/ 89 w 157"/>
              <a:gd name="connsiteY2" fmla="*/ 413 h 902"/>
              <a:gd name="connsiteX3" fmla="*/ 157 w 157"/>
              <a:gd name="connsiteY3" fmla="*/ 451 h 902"/>
              <a:gd name="connsiteX4" fmla="*/ 89 w 157"/>
              <a:gd name="connsiteY4" fmla="*/ 488 h 902"/>
              <a:gd name="connsiteX5" fmla="*/ 89 w 157"/>
              <a:gd name="connsiteY5" fmla="*/ 902 h 902"/>
              <a:gd name="connsiteX6" fmla="*/ 0 w 157"/>
              <a:gd name="connsiteY6" fmla="*/ 902 h 902"/>
              <a:gd name="connsiteX0" fmla="*/ 0 w 157"/>
              <a:gd name="connsiteY0" fmla="*/ 0 h 902"/>
              <a:gd name="connsiteX1" fmla="*/ 89 w 157"/>
              <a:gd name="connsiteY1" fmla="*/ 0 h 902"/>
              <a:gd name="connsiteX2" fmla="*/ 89 w 157"/>
              <a:gd name="connsiteY2" fmla="*/ 413 h 902"/>
              <a:gd name="connsiteX3" fmla="*/ 157 w 157"/>
              <a:gd name="connsiteY3" fmla="*/ 451 h 902"/>
              <a:gd name="connsiteX4" fmla="*/ 89 w 157"/>
              <a:gd name="connsiteY4" fmla="*/ 488 h 902"/>
              <a:gd name="connsiteX5" fmla="*/ 89 w 157"/>
              <a:gd name="connsiteY5" fmla="*/ 902 h 902"/>
              <a:gd name="connsiteX6" fmla="*/ 0 w 157"/>
              <a:gd name="connsiteY6" fmla="*/ 902 h 902"/>
              <a:gd name="connsiteX0" fmla="*/ 0 w 157"/>
              <a:gd name="connsiteY0" fmla="*/ 0 h 902"/>
              <a:gd name="connsiteX1" fmla="*/ 69 w 157"/>
              <a:gd name="connsiteY1" fmla="*/ 0 h 902"/>
              <a:gd name="connsiteX2" fmla="*/ 89 w 157"/>
              <a:gd name="connsiteY2" fmla="*/ 413 h 902"/>
              <a:gd name="connsiteX3" fmla="*/ 157 w 157"/>
              <a:gd name="connsiteY3" fmla="*/ 451 h 902"/>
              <a:gd name="connsiteX4" fmla="*/ 89 w 157"/>
              <a:gd name="connsiteY4" fmla="*/ 488 h 902"/>
              <a:gd name="connsiteX5" fmla="*/ 89 w 157"/>
              <a:gd name="connsiteY5" fmla="*/ 902 h 902"/>
              <a:gd name="connsiteX6" fmla="*/ 0 w 157"/>
              <a:gd name="connsiteY6" fmla="*/ 902 h 902"/>
              <a:gd name="connsiteX0" fmla="*/ 0 w 157"/>
              <a:gd name="connsiteY0" fmla="*/ 0 h 902"/>
              <a:gd name="connsiteX1" fmla="*/ 69 w 157"/>
              <a:gd name="connsiteY1" fmla="*/ 0 h 902"/>
              <a:gd name="connsiteX2" fmla="*/ 69 w 157"/>
              <a:gd name="connsiteY2" fmla="*/ 423 h 902"/>
              <a:gd name="connsiteX3" fmla="*/ 157 w 157"/>
              <a:gd name="connsiteY3" fmla="*/ 451 h 902"/>
              <a:gd name="connsiteX4" fmla="*/ 89 w 157"/>
              <a:gd name="connsiteY4" fmla="*/ 488 h 902"/>
              <a:gd name="connsiteX5" fmla="*/ 89 w 157"/>
              <a:gd name="connsiteY5" fmla="*/ 902 h 902"/>
              <a:gd name="connsiteX6" fmla="*/ 0 w 157"/>
              <a:gd name="connsiteY6" fmla="*/ 902 h 902"/>
              <a:gd name="connsiteX0" fmla="*/ 0 w 122"/>
              <a:gd name="connsiteY0" fmla="*/ 0 h 902"/>
              <a:gd name="connsiteX1" fmla="*/ 69 w 122"/>
              <a:gd name="connsiteY1" fmla="*/ 0 h 902"/>
              <a:gd name="connsiteX2" fmla="*/ 69 w 122"/>
              <a:gd name="connsiteY2" fmla="*/ 423 h 902"/>
              <a:gd name="connsiteX3" fmla="*/ 122 w 122"/>
              <a:gd name="connsiteY3" fmla="*/ 451 h 902"/>
              <a:gd name="connsiteX4" fmla="*/ 89 w 122"/>
              <a:gd name="connsiteY4" fmla="*/ 488 h 902"/>
              <a:gd name="connsiteX5" fmla="*/ 89 w 122"/>
              <a:gd name="connsiteY5" fmla="*/ 902 h 902"/>
              <a:gd name="connsiteX6" fmla="*/ 0 w 122"/>
              <a:gd name="connsiteY6" fmla="*/ 902 h 902"/>
              <a:gd name="connsiteX0" fmla="*/ 0 w 122"/>
              <a:gd name="connsiteY0" fmla="*/ 0 h 902"/>
              <a:gd name="connsiteX1" fmla="*/ 69 w 122"/>
              <a:gd name="connsiteY1" fmla="*/ 0 h 902"/>
              <a:gd name="connsiteX2" fmla="*/ 69 w 122"/>
              <a:gd name="connsiteY2" fmla="*/ 423 h 902"/>
              <a:gd name="connsiteX3" fmla="*/ 122 w 122"/>
              <a:gd name="connsiteY3" fmla="*/ 451 h 902"/>
              <a:gd name="connsiteX4" fmla="*/ 69 w 122"/>
              <a:gd name="connsiteY4" fmla="*/ 479 h 902"/>
              <a:gd name="connsiteX5" fmla="*/ 89 w 122"/>
              <a:gd name="connsiteY5" fmla="*/ 902 h 902"/>
              <a:gd name="connsiteX6" fmla="*/ 0 w 122"/>
              <a:gd name="connsiteY6" fmla="*/ 902 h 902"/>
              <a:gd name="connsiteX0" fmla="*/ 0 w 122"/>
              <a:gd name="connsiteY0" fmla="*/ 0 h 902"/>
              <a:gd name="connsiteX1" fmla="*/ 69 w 122"/>
              <a:gd name="connsiteY1" fmla="*/ 0 h 902"/>
              <a:gd name="connsiteX2" fmla="*/ 69 w 122"/>
              <a:gd name="connsiteY2" fmla="*/ 423 h 902"/>
              <a:gd name="connsiteX3" fmla="*/ 122 w 122"/>
              <a:gd name="connsiteY3" fmla="*/ 451 h 902"/>
              <a:gd name="connsiteX4" fmla="*/ 69 w 122"/>
              <a:gd name="connsiteY4" fmla="*/ 479 h 902"/>
              <a:gd name="connsiteX5" fmla="*/ 69 w 122"/>
              <a:gd name="connsiteY5" fmla="*/ 902 h 902"/>
              <a:gd name="connsiteX6" fmla="*/ 0 w 122"/>
              <a:gd name="connsiteY6" fmla="*/ 902 h 902"/>
              <a:gd name="connsiteX0" fmla="*/ 0 w 122"/>
              <a:gd name="connsiteY0" fmla="*/ 0 h 902"/>
              <a:gd name="connsiteX1" fmla="*/ 69 w 122"/>
              <a:gd name="connsiteY1" fmla="*/ 0 h 902"/>
              <a:gd name="connsiteX2" fmla="*/ 69 w 122"/>
              <a:gd name="connsiteY2" fmla="*/ 423 h 902"/>
              <a:gd name="connsiteX3" fmla="*/ 122 w 122"/>
              <a:gd name="connsiteY3" fmla="*/ 451 h 902"/>
              <a:gd name="connsiteX4" fmla="*/ 69 w 122"/>
              <a:gd name="connsiteY4" fmla="*/ 479 h 902"/>
              <a:gd name="connsiteX5" fmla="*/ 69 w 122"/>
              <a:gd name="connsiteY5" fmla="*/ 902 h 902"/>
              <a:gd name="connsiteX6" fmla="*/ 0 w 122"/>
              <a:gd name="connsiteY6" fmla="*/ 902 h 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 h="902">
                <a:moveTo>
                  <a:pt x="0" y="0"/>
                </a:moveTo>
                <a:lnTo>
                  <a:pt x="69" y="0"/>
                </a:lnTo>
                <a:lnTo>
                  <a:pt x="69" y="423"/>
                </a:lnTo>
                <a:lnTo>
                  <a:pt x="122" y="451"/>
                </a:lnTo>
                <a:lnTo>
                  <a:pt x="69" y="479"/>
                </a:lnTo>
                <a:lnTo>
                  <a:pt x="69" y="902"/>
                </a:lnTo>
                <a:lnTo>
                  <a:pt x="0" y="902"/>
                </a:lnTo>
              </a:path>
            </a:pathLst>
          </a:custGeom>
          <a:noFill/>
          <a:ln w="9525">
            <a:solidFill>
              <a:schemeClr val="accent6"/>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ea"/>
            </a:endParaRPr>
          </a:p>
        </p:txBody>
      </p:sp>
      <p:sp>
        <p:nvSpPr>
          <p:cNvPr id="15" name="TextBox 16"/>
          <p:cNvSpPr txBox="1"/>
          <p:nvPr>
            <p:custDataLst>
              <p:tags r:id="rId7"/>
            </p:custDataLst>
          </p:nvPr>
        </p:nvSpPr>
        <p:spPr>
          <a:xfrm>
            <a:off x="7627466" y="2317760"/>
            <a:ext cx="1066158" cy="644749"/>
          </a:xfrm>
          <a:prstGeom prst="roundRect">
            <a:avLst/>
          </a:prstGeom>
          <a:solidFill>
            <a:schemeClr val="accent3"/>
          </a:solidFill>
          <a:ln w="9525">
            <a:noFill/>
            <a:miter lim="800000"/>
            <a:headEnd/>
            <a:tailEnd/>
          </a:ln>
          <a:effectLst/>
        </p:spPr>
        <p:txBody>
          <a:bodyPr vert="horz" wrap="square" lIns="73152" tIns="0" rIns="0" bIns="0" numCol="1" anchor="ctr" anchorCtr="0" compatLnSpc="1">
            <a:prstTxWarp prst="textNoShape">
              <a:avLst/>
            </a:prstTxWarp>
            <a:noAutofit/>
          </a:bodyPr>
          <a:lstStyle>
            <a:defPPr>
              <a:defRPr lang="en-US"/>
            </a:defPPr>
            <a:lvl1pPr defTabSz="895350">
              <a:buClr>
                <a:schemeClr val="tx2"/>
              </a:buClr>
              <a:defRPr sz="1400" b="1">
                <a:solidFill>
                  <a:schemeClr val="bg1"/>
                </a:solidFill>
                <a:latin typeface="+mn-lt"/>
              </a:defRPr>
            </a:lvl1pPr>
          </a:lstStyle>
          <a:p>
            <a:r>
              <a:rPr lang="zh-CN" sz="1200" dirty="0">
                <a:latin typeface="+mn-ea"/>
                <a:cs typeface="KaiTi"/>
              </a:rPr>
              <a:t>未解决的前沿问题</a:t>
            </a:r>
          </a:p>
        </p:txBody>
      </p:sp>
      <p:sp>
        <p:nvSpPr>
          <p:cNvPr id="12" name="TextBox 9"/>
          <p:cNvSpPr txBox="1">
            <a:spLocks/>
          </p:cNvSpPr>
          <p:nvPr>
            <p:custDataLst>
              <p:tags r:id="rId8"/>
            </p:custDataLst>
          </p:nvPr>
        </p:nvSpPr>
        <p:spPr>
          <a:xfrm>
            <a:off x="259545" y="1060784"/>
            <a:ext cx="1228045" cy="1483415"/>
          </a:xfrm>
          <a:prstGeom prst="rect">
            <a:avLst/>
          </a:prstGeom>
          <a:solidFill>
            <a:schemeClr val="accent6">
              <a:lumMod val="20000"/>
              <a:lumOff val="80000"/>
            </a:schemeClr>
          </a:solidFill>
          <a:ln>
            <a:noFill/>
          </a:ln>
          <a:effectLst>
            <a:outerShdw blurRad="50800" sx="101000" sy="101000" algn="ctr" rotWithShape="0">
              <a:prstClr val="black">
                <a:alpha val="35000"/>
              </a:prstClr>
            </a:outerShdw>
          </a:effectLst>
        </p:spPr>
        <p:txBody>
          <a:bodyPr vert="horz" wrap="none" lIns="76200" tIns="76200" rIns="76200" bIns="76200" rtlCol="0" anchor="t" anchorCtr="0">
            <a:noAutofit/>
          </a:bodyPr>
          <a:lstStyle>
            <a:defPPr>
              <a:defRPr lang="en-US"/>
            </a:defPPr>
            <a:lvl1pPr marL="0" lvl="0" indent="0" defTabSz="895350" eaLnBrk="1" hangingPunct="1">
              <a:buClr>
                <a:schemeClr val="tx2"/>
              </a:buClr>
              <a:defRPr sz="1200"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dirty="0">
              <a:latin typeface="+mn-ea"/>
            </a:endParaRPr>
          </a:p>
        </p:txBody>
      </p:sp>
      <p:pic>
        <p:nvPicPr>
          <p:cNvPr id="87075" name="Picture 35" descr="http://www.yenka.com/activities/The_Transistor/attachments/The%20Transistor%20-%20intro_image.gif"/>
          <p:cNvPicPr>
            <a:picLocks noChangeArrowheads="1"/>
          </p:cNvPicPr>
          <p:nvPr/>
        </p:nvPicPr>
        <p:blipFill rotWithShape="1">
          <a:blip r:embed="rId19" cstate="email">
            <a:extLst>
              <a:ext uri="{28A0092B-C50C-407E-A947-70E740481C1C}">
                <a14:useLocalDpi xmlns:a14="http://schemas.microsoft.com/office/drawing/2010/main"/>
              </a:ext>
            </a:extLst>
          </a:blip>
          <a:srcRect l="14645" t="-3131" r="38105" b="3131"/>
          <a:stretch/>
        </p:blipFill>
        <p:spPr bwMode="auto">
          <a:xfrm>
            <a:off x="240853" y="1060783"/>
            <a:ext cx="1246737" cy="1483415"/>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a:outerShdw blurRad="50800" dist="38100" dir="2700000" algn="tl" rotWithShape="0">
              <a:prstClr val="black">
                <a:alpha val="40000"/>
              </a:prstClr>
            </a:outerShdw>
          </a:effectLst>
        </p:spPr>
      </p:pic>
      <p:sp>
        <p:nvSpPr>
          <p:cNvPr id="42" name="TextBox 9"/>
          <p:cNvSpPr txBox="1">
            <a:spLocks/>
          </p:cNvSpPr>
          <p:nvPr>
            <p:custDataLst>
              <p:tags r:id="rId9"/>
            </p:custDataLst>
          </p:nvPr>
        </p:nvSpPr>
        <p:spPr>
          <a:xfrm>
            <a:off x="240853" y="1060783"/>
            <a:ext cx="1246737" cy="338554"/>
          </a:xfrm>
          <a:prstGeom prst="rect">
            <a:avLst/>
          </a:prstGeom>
          <a:solidFill>
            <a:schemeClr val="bg1">
              <a:alpha val="80000"/>
            </a:schemeClr>
          </a:solidFill>
          <a:ln>
            <a:noFill/>
          </a:ln>
          <a:effectLst/>
        </p:spPr>
        <p:txBody>
          <a:bodyPr vert="horz" wrap="square" lIns="76200" tIns="76200" rIns="76200" bIns="76200" rtlCol="0" anchor="t" anchorCtr="0">
            <a:spAutoFit/>
          </a:bodyPr>
          <a:lstStyle>
            <a:defPPr>
              <a:defRPr lang="en-US"/>
            </a:defPPr>
            <a:lvl1pPr marL="0" lvl="0" indent="0" defTabSz="895350" eaLnBrk="1" hangingPunct="1">
              <a:buClr>
                <a:schemeClr val="tx2"/>
              </a:buClr>
              <a:defRPr sz="1100"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dirty="0">
                <a:latin typeface="+mn-ea"/>
                <a:cs typeface="KaiTi"/>
              </a:rPr>
              <a:t>硬件</a:t>
            </a:r>
            <a:endParaRPr lang="zh-CN" sz="1200" dirty="0">
              <a:latin typeface="+mn-ea"/>
            </a:endParaRPr>
          </a:p>
        </p:txBody>
      </p:sp>
      <p:sp>
        <p:nvSpPr>
          <p:cNvPr id="111" name="TextBox 18440"/>
          <p:cNvSpPr txBox="1"/>
          <p:nvPr>
            <p:custDataLst>
              <p:tags r:id="rId10"/>
            </p:custDataLst>
          </p:nvPr>
        </p:nvSpPr>
        <p:spPr>
          <a:xfrm>
            <a:off x="1817522" y="1060783"/>
            <a:ext cx="5881816" cy="505355"/>
          </a:xfrm>
          <a:prstGeom prst="rightArrow">
            <a:avLst>
              <a:gd name="adj1" fmla="val 54000"/>
              <a:gd name="adj2" fmla="val 37676"/>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oAutofit/>
          </a:bodyPr>
          <a:lstStyle>
            <a:defPPr>
              <a:defRPr lang="en-US"/>
            </a:defPPr>
            <a:lvl1pPr>
              <a:defRPr sz="1100" b="0">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zh-CN" sz="1200" b="1" dirty="0">
                <a:solidFill>
                  <a:schemeClr val="accent4"/>
                </a:solidFill>
                <a:latin typeface="+mn-ea"/>
                <a:cs typeface="KaiTi"/>
              </a:rPr>
              <a:t>处理能力呈指数级增长（基本上每两年翻一番）</a:t>
            </a:r>
          </a:p>
        </p:txBody>
      </p:sp>
      <p:sp>
        <p:nvSpPr>
          <p:cNvPr id="30" name="Rectangle 3"/>
          <p:cNvSpPr txBox="1">
            <a:spLocks/>
          </p:cNvSpPr>
          <p:nvPr/>
        </p:nvSpPr>
        <p:spPr>
          <a:xfrm>
            <a:off x="4517738" y="1552695"/>
            <a:ext cx="1800022" cy="369332"/>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None/>
            </a:pPr>
            <a:r>
              <a:rPr lang="zh-CN" sz="1200" dirty="0">
                <a:latin typeface="+mn-ea"/>
                <a:cs typeface="KaiTi"/>
              </a:rPr>
              <a:t>英特尔80486微处理器拥有1,180,235个晶体管</a:t>
            </a:r>
            <a:endParaRPr lang="zh-CN" sz="1200" dirty="0">
              <a:latin typeface="+mn-ea"/>
            </a:endParaRPr>
          </a:p>
        </p:txBody>
      </p:sp>
      <p:sp>
        <p:nvSpPr>
          <p:cNvPr id="32" name="Rectangle 3"/>
          <p:cNvSpPr txBox="1">
            <a:spLocks/>
          </p:cNvSpPr>
          <p:nvPr/>
        </p:nvSpPr>
        <p:spPr>
          <a:xfrm>
            <a:off x="6317760" y="1540314"/>
            <a:ext cx="1778820" cy="553998"/>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None/>
            </a:pPr>
            <a:r>
              <a:rPr lang="zh-CN" sz="1200" dirty="0">
                <a:latin typeface="+mn-ea"/>
                <a:cs typeface="KaiTi"/>
              </a:rPr>
              <a:t>18核Xeon Haswell-E5微处理器拥有5,560,000,000个晶体管</a:t>
            </a:r>
            <a:endParaRPr lang="zh-CN" sz="1200" dirty="0">
              <a:latin typeface="+mn-ea"/>
            </a:endParaRPr>
          </a:p>
        </p:txBody>
      </p:sp>
      <p:cxnSp>
        <p:nvCxnSpPr>
          <p:cNvPr id="18447" name="Straight Connector 18446"/>
          <p:cNvCxnSpPr/>
          <p:nvPr/>
        </p:nvCxnSpPr>
        <p:spPr>
          <a:xfrm flipV="1">
            <a:off x="7254903" y="2208913"/>
            <a:ext cx="0" cy="31417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05" name="Rectangle 18431"/>
          <p:cNvSpPr txBox="1"/>
          <p:nvPr/>
        </p:nvSpPr>
        <p:spPr>
          <a:xfrm>
            <a:off x="5177619" y="2408692"/>
            <a:ext cx="346755"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dirty="0">
                <a:latin typeface="+mn-ea"/>
                <a:cs typeface="KaiTi"/>
              </a:rPr>
              <a:t>1991</a:t>
            </a:r>
            <a:endParaRPr lang="zh-CN" sz="1200" dirty="0">
              <a:latin typeface="+mn-ea"/>
            </a:endParaRPr>
          </a:p>
        </p:txBody>
      </p:sp>
      <p:sp>
        <p:nvSpPr>
          <p:cNvPr id="109" name="Rectangle 3"/>
          <p:cNvSpPr txBox="1">
            <a:spLocks/>
          </p:cNvSpPr>
          <p:nvPr/>
        </p:nvSpPr>
        <p:spPr>
          <a:xfrm>
            <a:off x="2317940" y="1552695"/>
            <a:ext cx="1639195" cy="369332"/>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None/>
            </a:pPr>
            <a:r>
              <a:rPr lang="zh-CN" sz="1200">
                <a:latin typeface="+mn-ea"/>
                <a:cs typeface="KaiTi"/>
              </a:rPr>
              <a:t>英特尔4004微处理器拥有2,300个晶体管</a:t>
            </a:r>
            <a:endParaRPr lang="zh-CN" sz="1200" dirty="0">
              <a:latin typeface="+mn-ea"/>
            </a:endParaRPr>
          </a:p>
        </p:txBody>
      </p:sp>
      <p:sp>
        <p:nvSpPr>
          <p:cNvPr id="110" name="Rectangle 18431"/>
          <p:cNvSpPr txBox="1"/>
          <p:nvPr/>
        </p:nvSpPr>
        <p:spPr>
          <a:xfrm>
            <a:off x="3133158" y="2408692"/>
            <a:ext cx="346755"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dirty="0">
                <a:latin typeface="+mn-ea"/>
                <a:cs typeface="KaiTi"/>
              </a:rPr>
              <a:t>1971</a:t>
            </a:r>
            <a:endParaRPr lang="zh-CN" sz="1200" dirty="0">
              <a:latin typeface="+mn-ea"/>
            </a:endParaRPr>
          </a:p>
        </p:txBody>
      </p:sp>
      <p:cxnSp>
        <p:nvCxnSpPr>
          <p:cNvPr id="53" name="Straight Connector 52"/>
          <p:cNvCxnSpPr/>
          <p:nvPr/>
        </p:nvCxnSpPr>
        <p:spPr>
          <a:xfrm flipV="1">
            <a:off x="5417749" y="2094312"/>
            <a:ext cx="0" cy="31417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V="1">
            <a:off x="3166150" y="2094312"/>
            <a:ext cx="0" cy="31417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5" name="Rectangle 146547"/>
          <p:cNvSpPr txBox="1">
            <a:spLocks/>
          </p:cNvSpPr>
          <p:nvPr/>
        </p:nvSpPr>
        <p:spPr>
          <a:xfrm>
            <a:off x="6272436" y="3236973"/>
            <a:ext cx="1995026"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zh-CN" sz="1200" b="1" i="1" dirty="0">
                <a:solidFill>
                  <a:schemeClr val="tx2"/>
                </a:solidFill>
                <a:latin typeface="+mn-ea"/>
                <a:cs typeface="KaiTi"/>
              </a:rPr>
              <a:t>现代机器学习</a:t>
            </a:r>
            <a:endParaRPr lang="zh-CN" sz="1200" i="1" dirty="0">
              <a:solidFill>
                <a:schemeClr val="tx2"/>
              </a:solidFill>
              <a:latin typeface="+mn-ea"/>
            </a:endParaRPr>
          </a:p>
        </p:txBody>
      </p:sp>
      <p:sp>
        <p:nvSpPr>
          <p:cNvPr id="89" name="Rectangle 3"/>
          <p:cNvSpPr txBox="1">
            <a:spLocks/>
          </p:cNvSpPr>
          <p:nvPr/>
        </p:nvSpPr>
        <p:spPr>
          <a:xfrm>
            <a:off x="6272436" y="3476335"/>
            <a:ext cx="1995026" cy="2400657"/>
          </a:xfrm>
          <a:prstGeom prst="rect">
            <a:avLst/>
          </a:prstGeom>
        </p:spPr>
        <p:txBody>
          <a:bodyPr vert="horz" wrap="square" lIns="0" tIns="0" rIns="0" bIns="0"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0000"/>
              </a:spcBef>
            </a:pPr>
            <a:r>
              <a:rPr lang="zh-CN" sz="1200" dirty="0">
                <a:latin typeface="+mn-ea"/>
                <a:cs typeface="KaiTi"/>
              </a:rPr>
              <a:t>渐变提升（GBM）</a:t>
            </a:r>
          </a:p>
          <a:p>
            <a:pPr lvl="1">
              <a:spcBef>
                <a:spcPct val="20000"/>
              </a:spcBef>
            </a:pPr>
            <a:r>
              <a:rPr lang="zh-CN" sz="1200" dirty="0">
                <a:latin typeface="+mn-ea"/>
                <a:cs typeface="KaiTi"/>
              </a:rPr>
              <a:t>波尔兹曼机器</a:t>
            </a:r>
          </a:p>
          <a:p>
            <a:pPr lvl="1">
              <a:spcBef>
                <a:spcPct val="20000"/>
              </a:spcBef>
            </a:pPr>
            <a:r>
              <a:rPr lang="zh-CN" sz="1200" dirty="0">
                <a:latin typeface="+mn-ea"/>
                <a:cs typeface="KaiTi"/>
              </a:rPr>
              <a:t>学习向量量化（LVQ）</a:t>
            </a:r>
          </a:p>
          <a:p>
            <a:pPr lvl="1">
              <a:spcBef>
                <a:spcPct val="20000"/>
              </a:spcBef>
            </a:pPr>
            <a:r>
              <a:rPr lang="zh-CN" sz="1200" dirty="0">
                <a:latin typeface="+mn-ea"/>
                <a:cs typeface="KaiTi"/>
              </a:rPr>
              <a:t>随机森林</a:t>
            </a:r>
          </a:p>
          <a:p>
            <a:pPr lvl="1">
              <a:spcBef>
                <a:spcPct val="20000"/>
              </a:spcBef>
            </a:pPr>
            <a:r>
              <a:rPr lang="zh-CN" sz="1200" dirty="0">
                <a:latin typeface="+mn-ea"/>
                <a:cs typeface="KaiTi"/>
              </a:rPr>
              <a:t>FP-增长</a:t>
            </a:r>
          </a:p>
          <a:p>
            <a:pPr lvl="1">
              <a:spcBef>
                <a:spcPct val="20000"/>
              </a:spcBef>
            </a:pPr>
            <a:r>
              <a:rPr lang="zh-CN" sz="1200" dirty="0">
                <a:latin typeface="+mn-ea"/>
                <a:cs typeface="KaiTi"/>
              </a:rPr>
              <a:t>AprioriDP</a:t>
            </a:r>
          </a:p>
          <a:p>
            <a:pPr lvl="1">
              <a:spcBef>
                <a:spcPct val="20000"/>
              </a:spcBef>
            </a:pPr>
            <a:r>
              <a:rPr lang="zh-CN" sz="1200" dirty="0">
                <a:latin typeface="+mn-ea"/>
                <a:cs typeface="KaiTi"/>
              </a:rPr>
              <a:t>OPUS</a:t>
            </a:r>
          </a:p>
          <a:p>
            <a:pPr lvl="1">
              <a:spcBef>
                <a:spcPct val="20000"/>
              </a:spcBef>
            </a:pPr>
            <a:r>
              <a:rPr lang="zh-CN" sz="1200" dirty="0">
                <a:latin typeface="+mn-ea"/>
                <a:cs typeface="KaiTi"/>
              </a:rPr>
              <a:t>CBPNARM</a:t>
            </a:r>
          </a:p>
          <a:p>
            <a:pPr lvl="1">
              <a:spcBef>
                <a:spcPct val="20000"/>
              </a:spcBef>
            </a:pPr>
            <a:r>
              <a:rPr lang="zh-CN" sz="1200" dirty="0">
                <a:latin typeface="+mn-ea"/>
                <a:cs typeface="KaiTi"/>
              </a:rPr>
              <a:t>Snipers</a:t>
            </a:r>
          </a:p>
          <a:p>
            <a:pPr lvl="1">
              <a:spcBef>
                <a:spcPct val="20000"/>
              </a:spcBef>
            </a:pPr>
            <a:r>
              <a:rPr lang="zh-CN" sz="1200" dirty="0">
                <a:latin typeface="+mn-ea"/>
                <a:cs typeface="KaiTi"/>
              </a:rPr>
              <a:t>多臂赌博机</a:t>
            </a:r>
          </a:p>
          <a:p>
            <a:pPr lvl="1">
              <a:spcBef>
                <a:spcPct val="20000"/>
              </a:spcBef>
            </a:pPr>
            <a:r>
              <a:rPr lang="zh-CN" sz="1200" dirty="0">
                <a:latin typeface="+mn-ea"/>
                <a:cs typeface="KaiTi"/>
              </a:rPr>
              <a:t>…</a:t>
            </a:r>
          </a:p>
        </p:txBody>
      </p:sp>
      <p:sp>
        <p:nvSpPr>
          <p:cNvPr id="90" name="Bracket"/>
          <p:cNvSpPr>
            <a:spLocks/>
          </p:cNvSpPr>
          <p:nvPr>
            <p:custDataLst>
              <p:tags r:id="rId11"/>
            </p:custDataLst>
          </p:nvPr>
        </p:nvSpPr>
        <p:spPr bwMode="auto">
          <a:xfrm rot="5400000" flipV="1">
            <a:off x="6665286" y="2417679"/>
            <a:ext cx="180989" cy="1283371"/>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2035"/>
              <a:gd name="connsiteY0" fmla="*/ 1098 h 1152"/>
              <a:gd name="connsiteX1" fmla="*/ 1985 w 2035"/>
              <a:gd name="connsiteY1" fmla="*/ 0 h 1152"/>
              <a:gd name="connsiteX2" fmla="*/ 1985 w 2035"/>
              <a:gd name="connsiteY2" fmla="*/ 528 h 1152"/>
              <a:gd name="connsiteX3" fmla="*/ 2035 w 2035"/>
              <a:gd name="connsiteY3" fmla="*/ 576 h 1152"/>
              <a:gd name="connsiteX4" fmla="*/ 1985 w 2035"/>
              <a:gd name="connsiteY4" fmla="*/ 624 h 1152"/>
              <a:gd name="connsiteX5" fmla="*/ 1985 w 2035"/>
              <a:gd name="connsiteY5" fmla="*/ 1152 h 1152"/>
              <a:gd name="connsiteX6" fmla="*/ 1920 w 2035"/>
              <a:gd name="connsiteY6" fmla="*/ 1152 h 1152"/>
              <a:gd name="connsiteX0" fmla="*/ 0 w 2035"/>
              <a:gd name="connsiteY0" fmla="*/ 570 h 624"/>
              <a:gd name="connsiteX1" fmla="*/ 89 w 2035"/>
              <a:gd name="connsiteY1" fmla="*/ 570 h 624"/>
              <a:gd name="connsiteX2" fmla="*/ 1985 w 2035"/>
              <a:gd name="connsiteY2" fmla="*/ 0 h 624"/>
              <a:gd name="connsiteX3" fmla="*/ 2035 w 2035"/>
              <a:gd name="connsiteY3" fmla="*/ 48 h 624"/>
              <a:gd name="connsiteX4" fmla="*/ 1985 w 2035"/>
              <a:gd name="connsiteY4" fmla="*/ 96 h 624"/>
              <a:gd name="connsiteX5" fmla="*/ 1985 w 2035"/>
              <a:gd name="connsiteY5" fmla="*/ 624 h 624"/>
              <a:gd name="connsiteX6" fmla="*/ 1920 w 2035"/>
              <a:gd name="connsiteY6" fmla="*/ 624 h 624"/>
              <a:gd name="connsiteX0" fmla="*/ 0 w 2035"/>
              <a:gd name="connsiteY0" fmla="*/ 522 h 935"/>
              <a:gd name="connsiteX1" fmla="*/ 89 w 2035"/>
              <a:gd name="connsiteY1" fmla="*/ 522 h 935"/>
              <a:gd name="connsiteX2" fmla="*/ 89 w 2035"/>
              <a:gd name="connsiteY2" fmla="*/ 935 h 935"/>
              <a:gd name="connsiteX3" fmla="*/ 2035 w 2035"/>
              <a:gd name="connsiteY3" fmla="*/ 0 h 935"/>
              <a:gd name="connsiteX4" fmla="*/ 1985 w 2035"/>
              <a:gd name="connsiteY4" fmla="*/ 48 h 935"/>
              <a:gd name="connsiteX5" fmla="*/ 1985 w 2035"/>
              <a:gd name="connsiteY5" fmla="*/ 576 h 935"/>
              <a:gd name="connsiteX6" fmla="*/ 1920 w 2035"/>
              <a:gd name="connsiteY6" fmla="*/ 576 h 935"/>
              <a:gd name="connsiteX0" fmla="*/ 0 w 1985"/>
              <a:gd name="connsiteY0" fmla="*/ 474 h 925"/>
              <a:gd name="connsiteX1" fmla="*/ 89 w 1985"/>
              <a:gd name="connsiteY1" fmla="*/ 474 h 925"/>
              <a:gd name="connsiteX2" fmla="*/ 89 w 1985"/>
              <a:gd name="connsiteY2" fmla="*/ 887 h 925"/>
              <a:gd name="connsiteX3" fmla="*/ 157 w 1985"/>
              <a:gd name="connsiteY3" fmla="*/ 925 h 925"/>
              <a:gd name="connsiteX4" fmla="*/ 1985 w 1985"/>
              <a:gd name="connsiteY4" fmla="*/ 0 h 925"/>
              <a:gd name="connsiteX5" fmla="*/ 1985 w 1985"/>
              <a:gd name="connsiteY5" fmla="*/ 528 h 925"/>
              <a:gd name="connsiteX6" fmla="*/ 1920 w 1985"/>
              <a:gd name="connsiteY6" fmla="*/ 528 h 925"/>
              <a:gd name="connsiteX0" fmla="*/ 0 w 1985"/>
              <a:gd name="connsiteY0" fmla="*/ 0 h 488"/>
              <a:gd name="connsiteX1" fmla="*/ 89 w 1985"/>
              <a:gd name="connsiteY1" fmla="*/ 0 h 488"/>
              <a:gd name="connsiteX2" fmla="*/ 89 w 1985"/>
              <a:gd name="connsiteY2" fmla="*/ 413 h 488"/>
              <a:gd name="connsiteX3" fmla="*/ 157 w 1985"/>
              <a:gd name="connsiteY3" fmla="*/ 451 h 488"/>
              <a:gd name="connsiteX4" fmla="*/ 89 w 1985"/>
              <a:gd name="connsiteY4" fmla="*/ 488 h 488"/>
              <a:gd name="connsiteX5" fmla="*/ 1985 w 1985"/>
              <a:gd name="connsiteY5" fmla="*/ 54 h 488"/>
              <a:gd name="connsiteX6" fmla="*/ 1920 w 1985"/>
              <a:gd name="connsiteY6" fmla="*/ 54 h 488"/>
              <a:gd name="connsiteX0" fmla="*/ 0 w 1920"/>
              <a:gd name="connsiteY0" fmla="*/ 0 h 902"/>
              <a:gd name="connsiteX1" fmla="*/ 89 w 1920"/>
              <a:gd name="connsiteY1" fmla="*/ 0 h 902"/>
              <a:gd name="connsiteX2" fmla="*/ 89 w 1920"/>
              <a:gd name="connsiteY2" fmla="*/ 413 h 902"/>
              <a:gd name="connsiteX3" fmla="*/ 157 w 1920"/>
              <a:gd name="connsiteY3" fmla="*/ 451 h 902"/>
              <a:gd name="connsiteX4" fmla="*/ 89 w 1920"/>
              <a:gd name="connsiteY4" fmla="*/ 488 h 902"/>
              <a:gd name="connsiteX5" fmla="*/ 89 w 1920"/>
              <a:gd name="connsiteY5" fmla="*/ 902 h 902"/>
              <a:gd name="connsiteX6" fmla="*/ 1920 w 1920"/>
              <a:gd name="connsiteY6" fmla="*/ 54 h 902"/>
              <a:gd name="connsiteX0" fmla="*/ 0 w 157"/>
              <a:gd name="connsiteY0" fmla="*/ 0 h 902"/>
              <a:gd name="connsiteX1" fmla="*/ 89 w 157"/>
              <a:gd name="connsiteY1" fmla="*/ 0 h 902"/>
              <a:gd name="connsiteX2" fmla="*/ 89 w 157"/>
              <a:gd name="connsiteY2" fmla="*/ 413 h 902"/>
              <a:gd name="connsiteX3" fmla="*/ 157 w 157"/>
              <a:gd name="connsiteY3" fmla="*/ 451 h 902"/>
              <a:gd name="connsiteX4" fmla="*/ 89 w 157"/>
              <a:gd name="connsiteY4" fmla="*/ 488 h 902"/>
              <a:gd name="connsiteX5" fmla="*/ 89 w 157"/>
              <a:gd name="connsiteY5" fmla="*/ 902 h 902"/>
              <a:gd name="connsiteX6" fmla="*/ 0 w 157"/>
              <a:gd name="connsiteY6" fmla="*/ 902 h 902"/>
              <a:gd name="connsiteX0" fmla="*/ 0 w 157"/>
              <a:gd name="connsiteY0" fmla="*/ 0 h 902"/>
              <a:gd name="connsiteX1" fmla="*/ 89 w 157"/>
              <a:gd name="connsiteY1" fmla="*/ 0 h 902"/>
              <a:gd name="connsiteX2" fmla="*/ 89 w 157"/>
              <a:gd name="connsiteY2" fmla="*/ 413 h 902"/>
              <a:gd name="connsiteX3" fmla="*/ 157 w 157"/>
              <a:gd name="connsiteY3" fmla="*/ 451 h 902"/>
              <a:gd name="connsiteX4" fmla="*/ 89 w 157"/>
              <a:gd name="connsiteY4" fmla="*/ 488 h 902"/>
              <a:gd name="connsiteX5" fmla="*/ 89 w 157"/>
              <a:gd name="connsiteY5" fmla="*/ 902 h 902"/>
              <a:gd name="connsiteX6" fmla="*/ 0 w 157"/>
              <a:gd name="connsiteY6" fmla="*/ 902 h 902"/>
              <a:gd name="connsiteX0" fmla="*/ 0 w 157"/>
              <a:gd name="connsiteY0" fmla="*/ 0 h 902"/>
              <a:gd name="connsiteX1" fmla="*/ 69 w 157"/>
              <a:gd name="connsiteY1" fmla="*/ 0 h 902"/>
              <a:gd name="connsiteX2" fmla="*/ 89 w 157"/>
              <a:gd name="connsiteY2" fmla="*/ 413 h 902"/>
              <a:gd name="connsiteX3" fmla="*/ 157 w 157"/>
              <a:gd name="connsiteY3" fmla="*/ 451 h 902"/>
              <a:gd name="connsiteX4" fmla="*/ 89 w 157"/>
              <a:gd name="connsiteY4" fmla="*/ 488 h 902"/>
              <a:gd name="connsiteX5" fmla="*/ 89 w 157"/>
              <a:gd name="connsiteY5" fmla="*/ 902 h 902"/>
              <a:gd name="connsiteX6" fmla="*/ 0 w 157"/>
              <a:gd name="connsiteY6" fmla="*/ 902 h 902"/>
              <a:gd name="connsiteX0" fmla="*/ 0 w 157"/>
              <a:gd name="connsiteY0" fmla="*/ 0 h 902"/>
              <a:gd name="connsiteX1" fmla="*/ 69 w 157"/>
              <a:gd name="connsiteY1" fmla="*/ 0 h 902"/>
              <a:gd name="connsiteX2" fmla="*/ 69 w 157"/>
              <a:gd name="connsiteY2" fmla="*/ 423 h 902"/>
              <a:gd name="connsiteX3" fmla="*/ 157 w 157"/>
              <a:gd name="connsiteY3" fmla="*/ 451 h 902"/>
              <a:gd name="connsiteX4" fmla="*/ 89 w 157"/>
              <a:gd name="connsiteY4" fmla="*/ 488 h 902"/>
              <a:gd name="connsiteX5" fmla="*/ 89 w 157"/>
              <a:gd name="connsiteY5" fmla="*/ 902 h 902"/>
              <a:gd name="connsiteX6" fmla="*/ 0 w 157"/>
              <a:gd name="connsiteY6" fmla="*/ 902 h 902"/>
              <a:gd name="connsiteX0" fmla="*/ 0 w 122"/>
              <a:gd name="connsiteY0" fmla="*/ 0 h 902"/>
              <a:gd name="connsiteX1" fmla="*/ 69 w 122"/>
              <a:gd name="connsiteY1" fmla="*/ 0 h 902"/>
              <a:gd name="connsiteX2" fmla="*/ 69 w 122"/>
              <a:gd name="connsiteY2" fmla="*/ 423 h 902"/>
              <a:gd name="connsiteX3" fmla="*/ 122 w 122"/>
              <a:gd name="connsiteY3" fmla="*/ 451 h 902"/>
              <a:gd name="connsiteX4" fmla="*/ 89 w 122"/>
              <a:gd name="connsiteY4" fmla="*/ 488 h 902"/>
              <a:gd name="connsiteX5" fmla="*/ 89 w 122"/>
              <a:gd name="connsiteY5" fmla="*/ 902 h 902"/>
              <a:gd name="connsiteX6" fmla="*/ 0 w 122"/>
              <a:gd name="connsiteY6" fmla="*/ 902 h 902"/>
              <a:gd name="connsiteX0" fmla="*/ 0 w 122"/>
              <a:gd name="connsiteY0" fmla="*/ 0 h 902"/>
              <a:gd name="connsiteX1" fmla="*/ 69 w 122"/>
              <a:gd name="connsiteY1" fmla="*/ 0 h 902"/>
              <a:gd name="connsiteX2" fmla="*/ 69 w 122"/>
              <a:gd name="connsiteY2" fmla="*/ 423 h 902"/>
              <a:gd name="connsiteX3" fmla="*/ 122 w 122"/>
              <a:gd name="connsiteY3" fmla="*/ 451 h 902"/>
              <a:gd name="connsiteX4" fmla="*/ 69 w 122"/>
              <a:gd name="connsiteY4" fmla="*/ 479 h 902"/>
              <a:gd name="connsiteX5" fmla="*/ 89 w 122"/>
              <a:gd name="connsiteY5" fmla="*/ 902 h 902"/>
              <a:gd name="connsiteX6" fmla="*/ 0 w 122"/>
              <a:gd name="connsiteY6" fmla="*/ 902 h 902"/>
              <a:gd name="connsiteX0" fmla="*/ 0 w 122"/>
              <a:gd name="connsiteY0" fmla="*/ 0 h 902"/>
              <a:gd name="connsiteX1" fmla="*/ 69 w 122"/>
              <a:gd name="connsiteY1" fmla="*/ 0 h 902"/>
              <a:gd name="connsiteX2" fmla="*/ 69 w 122"/>
              <a:gd name="connsiteY2" fmla="*/ 423 h 902"/>
              <a:gd name="connsiteX3" fmla="*/ 122 w 122"/>
              <a:gd name="connsiteY3" fmla="*/ 451 h 902"/>
              <a:gd name="connsiteX4" fmla="*/ 69 w 122"/>
              <a:gd name="connsiteY4" fmla="*/ 479 h 902"/>
              <a:gd name="connsiteX5" fmla="*/ 69 w 122"/>
              <a:gd name="connsiteY5" fmla="*/ 902 h 902"/>
              <a:gd name="connsiteX6" fmla="*/ 0 w 122"/>
              <a:gd name="connsiteY6" fmla="*/ 902 h 902"/>
              <a:gd name="connsiteX0" fmla="*/ 0 w 122"/>
              <a:gd name="connsiteY0" fmla="*/ 0 h 902"/>
              <a:gd name="connsiteX1" fmla="*/ 69 w 122"/>
              <a:gd name="connsiteY1" fmla="*/ 0 h 902"/>
              <a:gd name="connsiteX2" fmla="*/ 69 w 122"/>
              <a:gd name="connsiteY2" fmla="*/ 423 h 902"/>
              <a:gd name="connsiteX3" fmla="*/ 122 w 122"/>
              <a:gd name="connsiteY3" fmla="*/ 451 h 902"/>
              <a:gd name="connsiteX4" fmla="*/ 69 w 122"/>
              <a:gd name="connsiteY4" fmla="*/ 479 h 902"/>
              <a:gd name="connsiteX5" fmla="*/ 69 w 122"/>
              <a:gd name="connsiteY5" fmla="*/ 902 h 902"/>
              <a:gd name="connsiteX6" fmla="*/ 0 w 122"/>
              <a:gd name="connsiteY6" fmla="*/ 902 h 902"/>
              <a:gd name="connsiteX0" fmla="*/ 0 w 122"/>
              <a:gd name="connsiteY0" fmla="*/ 0 h 902"/>
              <a:gd name="connsiteX1" fmla="*/ 69 w 122"/>
              <a:gd name="connsiteY1" fmla="*/ 0 h 902"/>
              <a:gd name="connsiteX2" fmla="*/ 69 w 122"/>
              <a:gd name="connsiteY2" fmla="*/ 423 h 902"/>
              <a:gd name="connsiteX3" fmla="*/ 122 w 122"/>
              <a:gd name="connsiteY3" fmla="*/ 451 h 902"/>
              <a:gd name="connsiteX4" fmla="*/ 69 w 122"/>
              <a:gd name="connsiteY4" fmla="*/ 479 h 902"/>
              <a:gd name="connsiteX5" fmla="*/ 69 w 122"/>
              <a:gd name="connsiteY5" fmla="*/ 902 h 902"/>
              <a:gd name="connsiteX0" fmla="*/ 0 w 122"/>
              <a:gd name="connsiteY0" fmla="*/ 0 h 479"/>
              <a:gd name="connsiteX1" fmla="*/ 69 w 122"/>
              <a:gd name="connsiteY1" fmla="*/ 0 h 479"/>
              <a:gd name="connsiteX2" fmla="*/ 69 w 122"/>
              <a:gd name="connsiteY2" fmla="*/ 423 h 479"/>
              <a:gd name="connsiteX3" fmla="*/ 122 w 122"/>
              <a:gd name="connsiteY3" fmla="*/ 451 h 479"/>
              <a:gd name="connsiteX4" fmla="*/ 69 w 122"/>
              <a:gd name="connsiteY4" fmla="*/ 479 h 479"/>
              <a:gd name="connsiteX0" fmla="*/ 0 w 122"/>
              <a:gd name="connsiteY0" fmla="*/ 0 h 451"/>
              <a:gd name="connsiteX1" fmla="*/ 69 w 122"/>
              <a:gd name="connsiteY1" fmla="*/ 0 h 451"/>
              <a:gd name="connsiteX2" fmla="*/ 69 w 122"/>
              <a:gd name="connsiteY2" fmla="*/ 423 h 451"/>
              <a:gd name="connsiteX3" fmla="*/ 122 w 122"/>
              <a:gd name="connsiteY3" fmla="*/ 451 h 451"/>
              <a:gd name="connsiteX0" fmla="*/ 0 w 69"/>
              <a:gd name="connsiteY0" fmla="*/ 0 h 423"/>
              <a:gd name="connsiteX1" fmla="*/ 69 w 69"/>
              <a:gd name="connsiteY1" fmla="*/ 0 h 423"/>
              <a:gd name="connsiteX2" fmla="*/ 69 w 69"/>
              <a:gd name="connsiteY2" fmla="*/ 423 h 423"/>
              <a:gd name="connsiteX0" fmla="*/ 0 w 69"/>
              <a:gd name="connsiteY0" fmla="*/ 0 h 0"/>
              <a:gd name="connsiteX1" fmla="*/ 69 w 69"/>
              <a:gd name="connsiteY1" fmla="*/ 0 h 0"/>
              <a:gd name="connsiteX0" fmla="*/ 0 w 3781"/>
              <a:gd name="connsiteY0" fmla="*/ 4231678 h 4231678"/>
              <a:gd name="connsiteX1" fmla="*/ 3781 w 3781"/>
              <a:gd name="connsiteY1" fmla="*/ 0 h 4231678"/>
              <a:gd name="connsiteX0" fmla="*/ 0 w 3781"/>
              <a:gd name="connsiteY0" fmla="*/ 4231678 h 4231678"/>
              <a:gd name="connsiteX1" fmla="*/ 3781 w 3781"/>
              <a:gd name="connsiteY1" fmla="*/ 0 h 4231678"/>
              <a:gd name="connsiteX2" fmla="*/ 91 w 3781"/>
              <a:gd name="connsiteY2" fmla="*/ 4231678 h 4231678"/>
              <a:gd name="connsiteX0" fmla="*/ 0 w 3781"/>
              <a:gd name="connsiteY0" fmla="*/ 4231678 h 5069878"/>
              <a:gd name="connsiteX1" fmla="*/ 3781 w 3781"/>
              <a:gd name="connsiteY1" fmla="*/ 0 h 5069878"/>
              <a:gd name="connsiteX2" fmla="*/ 91 w 3781"/>
              <a:gd name="connsiteY2" fmla="*/ 4231678 h 5069878"/>
              <a:gd name="connsiteX3" fmla="*/ 91 w 3781"/>
              <a:gd name="connsiteY3" fmla="*/ 5069878 h 5069878"/>
              <a:gd name="connsiteX0" fmla="*/ 0 w 3781"/>
              <a:gd name="connsiteY0" fmla="*/ 4231678 h 5146078"/>
              <a:gd name="connsiteX1" fmla="*/ 3781 w 3781"/>
              <a:gd name="connsiteY1" fmla="*/ 0 h 5146078"/>
              <a:gd name="connsiteX2" fmla="*/ 91 w 3781"/>
              <a:gd name="connsiteY2" fmla="*/ 4231678 h 5146078"/>
              <a:gd name="connsiteX3" fmla="*/ 91 w 3781"/>
              <a:gd name="connsiteY3" fmla="*/ 5069878 h 5146078"/>
              <a:gd name="connsiteX4" fmla="*/ 160 w 3781"/>
              <a:gd name="connsiteY4" fmla="*/ 5146078 h 5146078"/>
              <a:gd name="connsiteX0" fmla="*/ 0 w 3781"/>
              <a:gd name="connsiteY0" fmla="*/ 4231678 h 5222278"/>
              <a:gd name="connsiteX1" fmla="*/ 3781 w 3781"/>
              <a:gd name="connsiteY1" fmla="*/ 0 h 5222278"/>
              <a:gd name="connsiteX2" fmla="*/ 91 w 3781"/>
              <a:gd name="connsiteY2" fmla="*/ 4231678 h 5222278"/>
              <a:gd name="connsiteX3" fmla="*/ 91 w 3781"/>
              <a:gd name="connsiteY3" fmla="*/ 5069878 h 5222278"/>
              <a:gd name="connsiteX4" fmla="*/ 160 w 3781"/>
              <a:gd name="connsiteY4" fmla="*/ 5146078 h 5222278"/>
              <a:gd name="connsiteX5" fmla="*/ 91 w 3781"/>
              <a:gd name="connsiteY5" fmla="*/ 5222278 h 5222278"/>
              <a:gd name="connsiteX0" fmla="*/ 0 w 3781"/>
              <a:gd name="connsiteY0" fmla="*/ 4231678 h 6060478"/>
              <a:gd name="connsiteX1" fmla="*/ 3781 w 3781"/>
              <a:gd name="connsiteY1" fmla="*/ 0 h 6060478"/>
              <a:gd name="connsiteX2" fmla="*/ 91 w 3781"/>
              <a:gd name="connsiteY2" fmla="*/ 4231678 h 6060478"/>
              <a:gd name="connsiteX3" fmla="*/ 91 w 3781"/>
              <a:gd name="connsiteY3" fmla="*/ 5069878 h 6060478"/>
              <a:gd name="connsiteX4" fmla="*/ 160 w 3781"/>
              <a:gd name="connsiteY4" fmla="*/ 5146078 h 6060478"/>
              <a:gd name="connsiteX5" fmla="*/ 91 w 3781"/>
              <a:gd name="connsiteY5" fmla="*/ 5222278 h 6060478"/>
              <a:gd name="connsiteX6" fmla="*/ 91 w 3781"/>
              <a:gd name="connsiteY6" fmla="*/ 6060478 h 6060478"/>
              <a:gd name="connsiteX0" fmla="*/ 0 w 3781"/>
              <a:gd name="connsiteY0" fmla="*/ 4231678 h 6060478"/>
              <a:gd name="connsiteX1" fmla="*/ 3781 w 3781"/>
              <a:gd name="connsiteY1" fmla="*/ 0 h 6060478"/>
              <a:gd name="connsiteX2" fmla="*/ 91 w 3781"/>
              <a:gd name="connsiteY2" fmla="*/ 4231678 h 6060478"/>
              <a:gd name="connsiteX3" fmla="*/ 91 w 3781"/>
              <a:gd name="connsiteY3" fmla="*/ 5069878 h 6060478"/>
              <a:gd name="connsiteX4" fmla="*/ 160 w 3781"/>
              <a:gd name="connsiteY4" fmla="*/ 5146078 h 6060478"/>
              <a:gd name="connsiteX5" fmla="*/ 91 w 3781"/>
              <a:gd name="connsiteY5" fmla="*/ 5222278 h 6060478"/>
              <a:gd name="connsiteX6" fmla="*/ 91 w 3781"/>
              <a:gd name="connsiteY6" fmla="*/ 6060478 h 6060478"/>
              <a:gd name="connsiteX7" fmla="*/ 0 w 3781"/>
              <a:gd name="connsiteY7" fmla="*/ 6060478 h 6060478"/>
              <a:gd name="connsiteX0" fmla="*/ 0 w 3781"/>
              <a:gd name="connsiteY0" fmla="*/ 4231678 h 6060478"/>
              <a:gd name="connsiteX1" fmla="*/ 3781 w 3781"/>
              <a:gd name="connsiteY1" fmla="*/ 0 h 6060478"/>
              <a:gd name="connsiteX2" fmla="*/ 91 w 3781"/>
              <a:gd name="connsiteY2" fmla="*/ 4231678 h 6060478"/>
              <a:gd name="connsiteX3" fmla="*/ 91 w 3781"/>
              <a:gd name="connsiteY3" fmla="*/ 5069878 h 6060478"/>
              <a:gd name="connsiteX4" fmla="*/ 160 w 3781"/>
              <a:gd name="connsiteY4" fmla="*/ 5146078 h 6060478"/>
              <a:gd name="connsiteX5" fmla="*/ 91 w 3781"/>
              <a:gd name="connsiteY5" fmla="*/ 5222278 h 6060478"/>
              <a:gd name="connsiteX6" fmla="*/ 91 w 3781"/>
              <a:gd name="connsiteY6" fmla="*/ 6060478 h 6060478"/>
              <a:gd name="connsiteX7" fmla="*/ 0 w 3781"/>
              <a:gd name="connsiteY7" fmla="*/ 6060478 h 6060478"/>
              <a:gd name="connsiteX0" fmla="*/ 0 w 160"/>
              <a:gd name="connsiteY0" fmla="*/ 0 h 1828800"/>
              <a:gd name="connsiteX1" fmla="*/ 91 w 160"/>
              <a:gd name="connsiteY1" fmla="*/ 0 h 1828800"/>
              <a:gd name="connsiteX2" fmla="*/ 91 w 160"/>
              <a:gd name="connsiteY2" fmla="*/ 0 h 1828800"/>
              <a:gd name="connsiteX3" fmla="*/ 91 w 160"/>
              <a:gd name="connsiteY3" fmla="*/ 838200 h 1828800"/>
              <a:gd name="connsiteX4" fmla="*/ 160 w 160"/>
              <a:gd name="connsiteY4" fmla="*/ 914400 h 1828800"/>
              <a:gd name="connsiteX5" fmla="*/ 91 w 160"/>
              <a:gd name="connsiteY5" fmla="*/ 990600 h 1828800"/>
              <a:gd name="connsiteX6" fmla="*/ 91 w 160"/>
              <a:gd name="connsiteY6" fmla="*/ 1828800 h 1828800"/>
              <a:gd name="connsiteX7" fmla="*/ 0 w 160"/>
              <a:gd name="connsiteY7" fmla="*/ 1828800 h 1828800"/>
              <a:gd name="connsiteX0" fmla="*/ 0 w 160"/>
              <a:gd name="connsiteY0" fmla="*/ 0 h 1828800"/>
              <a:gd name="connsiteX1" fmla="*/ 91 w 160"/>
              <a:gd name="connsiteY1" fmla="*/ 0 h 1828800"/>
              <a:gd name="connsiteX2" fmla="*/ 91 w 160"/>
              <a:gd name="connsiteY2" fmla="*/ 838200 h 1828800"/>
              <a:gd name="connsiteX3" fmla="*/ 91 w 160"/>
              <a:gd name="connsiteY3" fmla="*/ 838200 h 1828800"/>
              <a:gd name="connsiteX4" fmla="*/ 160 w 160"/>
              <a:gd name="connsiteY4" fmla="*/ 914400 h 1828800"/>
              <a:gd name="connsiteX5" fmla="*/ 91 w 160"/>
              <a:gd name="connsiteY5" fmla="*/ 990600 h 1828800"/>
              <a:gd name="connsiteX6" fmla="*/ 91 w 160"/>
              <a:gd name="connsiteY6" fmla="*/ 1828800 h 1828800"/>
              <a:gd name="connsiteX7" fmla="*/ 0 w 160"/>
              <a:gd name="connsiteY7" fmla="*/ 1828800 h 1828800"/>
              <a:gd name="connsiteX0" fmla="*/ 0 w 160"/>
              <a:gd name="connsiteY0" fmla="*/ 0 h 1828800"/>
              <a:gd name="connsiteX1" fmla="*/ 91 w 160"/>
              <a:gd name="connsiteY1" fmla="*/ 0 h 1828800"/>
              <a:gd name="connsiteX2" fmla="*/ 91 w 160"/>
              <a:gd name="connsiteY2" fmla="*/ 838200 h 1828800"/>
              <a:gd name="connsiteX3" fmla="*/ 160 w 160"/>
              <a:gd name="connsiteY3" fmla="*/ 914400 h 1828800"/>
              <a:gd name="connsiteX4" fmla="*/ 160 w 160"/>
              <a:gd name="connsiteY4" fmla="*/ 914400 h 1828800"/>
              <a:gd name="connsiteX5" fmla="*/ 91 w 160"/>
              <a:gd name="connsiteY5" fmla="*/ 990600 h 1828800"/>
              <a:gd name="connsiteX6" fmla="*/ 91 w 160"/>
              <a:gd name="connsiteY6" fmla="*/ 1828800 h 1828800"/>
              <a:gd name="connsiteX7" fmla="*/ 0 w 160"/>
              <a:gd name="connsiteY7" fmla="*/ 1828800 h 1828800"/>
              <a:gd name="connsiteX0" fmla="*/ 0 w 160"/>
              <a:gd name="connsiteY0" fmla="*/ 0 h 1828800"/>
              <a:gd name="connsiteX1" fmla="*/ 91 w 160"/>
              <a:gd name="connsiteY1" fmla="*/ 0 h 1828800"/>
              <a:gd name="connsiteX2" fmla="*/ 91 w 160"/>
              <a:gd name="connsiteY2" fmla="*/ 838200 h 1828800"/>
              <a:gd name="connsiteX3" fmla="*/ 160 w 160"/>
              <a:gd name="connsiteY3" fmla="*/ 914400 h 1828800"/>
              <a:gd name="connsiteX4" fmla="*/ 91 w 160"/>
              <a:gd name="connsiteY4" fmla="*/ 990600 h 1828800"/>
              <a:gd name="connsiteX5" fmla="*/ 91 w 160"/>
              <a:gd name="connsiteY5" fmla="*/ 990600 h 1828800"/>
              <a:gd name="connsiteX6" fmla="*/ 91 w 160"/>
              <a:gd name="connsiteY6" fmla="*/ 1828800 h 1828800"/>
              <a:gd name="connsiteX7" fmla="*/ 0 w 160"/>
              <a:gd name="connsiteY7" fmla="*/ 1828800 h 1828800"/>
              <a:gd name="connsiteX0" fmla="*/ 0 w 160"/>
              <a:gd name="connsiteY0" fmla="*/ 0 h 1828800"/>
              <a:gd name="connsiteX1" fmla="*/ 91 w 160"/>
              <a:gd name="connsiteY1" fmla="*/ 0 h 1828800"/>
              <a:gd name="connsiteX2" fmla="*/ 91 w 160"/>
              <a:gd name="connsiteY2" fmla="*/ 838200 h 1828800"/>
              <a:gd name="connsiteX3" fmla="*/ 160 w 160"/>
              <a:gd name="connsiteY3" fmla="*/ 914400 h 1828800"/>
              <a:gd name="connsiteX4" fmla="*/ 91 w 160"/>
              <a:gd name="connsiteY4" fmla="*/ 990600 h 1828800"/>
              <a:gd name="connsiteX5" fmla="*/ 91 w 160"/>
              <a:gd name="connsiteY5" fmla="*/ 1828800 h 1828800"/>
              <a:gd name="connsiteX6" fmla="*/ 91 w 160"/>
              <a:gd name="connsiteY6" fmla="*/ 1828800 h 1828800"/>
              <a:gd name="connsiteX7" fmla="*/ 0 w 160"/>
              <a:gd name="connsiteY7" fmla="*/ 1828800 h 1828800"/>
              <a:gd name="connsiteX0" fmla="*/ 0 w 160"/>
              <a:gd name="connsiteY0" fmla="*/ 0 h 1828800"/>
              <a:gd name="connsiteX1" fmla="*/ 91 w 160"/>
              <a:gd name="connsiteY1" fmla="*/ 0 h 1828800"/>
              <a:gd name="connsiteX2" fmla="*/ 91 w 160"/>
              <a:gd name="connsiteY2" fmla="*/ 838200 h 1828800"/>
              <a:gd name="connsiteX3" fmla="*/ 160 w 160"/>
              <a:gd name="connsiteY3" fmla="*/ 914400 h 1828800"/>
              <a:gd name="connsiteX4" fmla="*/ 91 w 160"/>
              <a:gd name="connsiteY4" fmla="*/ 990600 h 1828800"/>
              <a:gd name="connsiteX5" fmla="*/ 91 w 160"/>
              <a:gd name="connsiteY5" fmla="*/ 1828800 h 1828800"/>
              <a:gd name="connsiteX6" fmla="*/ 0 w 160"/>
              <a:gd name="connsiteY6" fmla="*/ 1828800 h 1828800"/>
              <a:gd name="connsiteX7" fmla="*/ 0 w 160"/>
              <a:gd name="connsiteY7" fmla="*/ 1828800 h 1828800"/>
              <a:gd name="connsiteX0" fmla="*/ 0 w 160"/>
              <a:gd name="connsiteY0" fmla="*/ 0 h 1828800"/>
              <a:gd name="connsiteX1" fmla="*/ 91 w 160"/>
              <a:gd name="connsiteY1" fmla="*/ 0 h 1828800"/>
              <a:gd name="connsiteX2" fmla="*/ 91 w 160"/>
              <a:gd name="connsiteY2" fmla="*/ 838200 h 1828800"/>
              <a:gd name="connsiteX3" fmla="*/ 160 w 160"/>
              <a:gd name="connsiteY3" fmla="*/ 914400 h 1828800"/>
              <a:gd name="connsiteX4" fmla="*/ 91 w 160"/>
              <a:gd name="connsiteY4" fmla="*/ 990600 h 1828800"/>
              <a:gd name="connsiteX5" fmla="*/ 91 w 160"/>
              <a:gd name="connsiteY5" fmla="*/ 1828800 h 1828800"/>
              <a:gd name="connsiteX6" fmla="*/ 0 w 160"/>
              <a:gd name="connsiteY6" fmla="*/ 1828800 h 1828800"/>
              <a:gd name="connsiteX7" fmla="*/ 0 w 160"/>
              <a:gd name="connsiteY7" fmla="*/ 1828800 h 1828800"/>
              <a:gd name="connsiteX0" fmla="*/ 0 w 160"/>
              <a:gd name="connsiteY0" fmla="*/ 0 h 1828800"/>
              <a:gd name="connsiteX1" fmla="*/ 151 w 160"/>
              <a:gd name="connsiteY1" fmla="*/ 0 h 1828800"/>
              <a:gd name="connsiteX2" fmla="*/ 91 w 160"/>
              <a:gd name="connsiteY2" fmla="*/ 838200 h 1828800"/>
              <a:gd name="connsiteX3" fmla="*/ 160 w 160"/>
              <a:gd name="connsiteY3" fmla="*/ 914400 h 1828800"/>
              <a:gd name="connsiteX4" fmla="*/ 91 w 160"/>
              <a:gd name="connsiteY4" fmla="*/ 990600 h 1828800"/>
              <a:gd name="connsiteX5" fmla="*/ 91 w 160"/>
              <a:gd name="connsiteY5" fmla="*/ 1828800 h 1828800"/>
              <a:gd name="connsiteX6" fmla="*/ 0 w 160"/>
              <a:gd name="connsiteY6" fmla="*/ 1828800 h 1828800"/>
              <a:gd name="connsiteX7" fmla="*/ 0 w 160"/>
              <a:gd name="connsiteY7" fmla="*/ 1828800 h 1828800"/>
              <a:gd name="connsiteX0" fmla="*/ 0 w 160"/>
              <a:gd name="connsiteY0" fmla="*/ 0 h 1828800"/>
              <a:gd name="connsiteX1" fmla="*/ 151 w 160"/>
              <a:gd name="connsiteY1" fmla="*/ 0 h 1828800"/>
              <a:gd name="connsiteX2" fmla="*/ 151 w 160"/>
              <a:gd name="connsiteY2" fmla="*/ 791770 h 1828800"/>
              <a:gd name="connsiteX3" fmla="*/ 160 w 160"/>
              <a:gd name="connsiteY3" fmla="*/ 914400 h 1828800"/>
              <a:gd name="connsiteX4" fmla="*/ 91 w 160"/>
              <a:gd name="connsiteY4" fmla="*/ 990600 h 1828800"/>
              <a:gd name="connsiteX5" fmla="*/ 91 w 160"/>
              <a:gd name="connsiteY5" fmla="*/ 1828800 h 1828800"/>
              <a:gd name="connsiteX6" fmla="*/ 0 w 160"/>
              <a:gd name="connsiteY6" fmla="*/ 1828800 h 1828800"/>
              <a:gd name="connsiteX7" fmla="*/ 0 w 160"/>
              <a:gd name="connsiteY7" fmla="*/ 1828800 h 1828800"/>
              <a:gd name="connsiteX0" fmla="*/ 0 w 267"/>
              <a:gd name="connsiteY0" fmla="*/ 0 h 1828800"/>
              <a:gd name="connsiteX1" fmla="*/ 151 w 267"/>
              <a:gd name="connsiteY1" fmla="*/ 0 h 1828800"/>
              <a:gd name="connsiteX2" fmla="*/ 151 w 267"/>
              <a:gd name="connsiteY2" fmla="*/ 791770 h 1828800"/>
              <a:gd name="connsiteX3" fmla="*/ 267 w 267"/>
              <a:gd name="connsiteY3" fmla="*/ 914399 h 1828800"/>
              <a:gd name="connsiteX4" fmla="*/ 91 w 267"/>
              <a:gd name="connsiteY4" fmla="*/ 990600 h 1828800"/>
              <a:gd name="connsiteX5" fmla="*/ 91 w 267"/>
              <a:gd name="connsiteY5" fmla="*/ 1828800 h 1828800"/>
              <a:gd name="connsiteX6" fmla="*/ 0 w 267"/>
              <a:gd name="connsiteY6" fmla="*/ 1828800 h 1828800"/>
              <a:gd name="connsiteX7" fmla="*/ 0 w 267"/>
              <a:gd name="connsiteY7" fmla="*/ 1828800 h 1828800"/>
              <a:gd name="connsiteX0" fmla="*/ 0 w 267"/>
              <a:gd name="connsiteY0" fmla="*/ 0 h 1828800"/>
              <a:gd name="connsiteX1" fmla="*/ 151 w 267"/>
              <a:gd name="connsiteY1" fmla="*/ 0 h 1828800"/>
              <a:gd name="connsiteX2" fmla="*/ 151 w 267"/>
              <a:gd name="connsiteY2" fmla="*/ 791770 h 1828800"/>
              <a:gd name="connsiteX3" fmla="*/ 267 w 267"/>
              <a:gd name="connsiteY3" fmla="*/ 914399 h 1828800"/>
              <a:gd name="connsiteX4" fmla="*/ 151 w 267"/>
              <a:gd name="connsiteY4" fmla="*/ 1037030 h 1828800"/>
              <a:gd name="connsiteX5" fmla="*/ 91 w 267"/>
              <a:gd name="connsiteY5" fmla="*/ 1828800 h 1828800"/>
              <a:gd name="connsiteX6" fmla="*/ 0 w 267"/>
              <a:gd name="connsiteY6" fmla="*/ 1828800 h 1828800"/>
              <a:gd name="connsiteX7" fmla="*/ 0 w 267"/>
              <a:gd name="connsiteY7" fmla="*/ 1828800 h 1828800"/>
              <a:gd name="connsiteX0" fmla="*/ 0 w 267"/>
              <a:gd name="connsiteY0" fmla="*/ 0 h 1828800"/>
              <a:gd name="connsiteX1" fmla="*/ 151 w 267"/>
              <a:gd name="connsiteY1" fmla="*/ 0 h 1828800"/>
              <a:gd name="connsiteX2" fmla="*/ 151 w 267"/>
              <a:gd name="connsiteY2" fmla="*/ 791770 h 1828800"/>
              <a:gd name="connsiteX3" fmla="*/ 267 w 267"/>
              <a:gd name="connsiteY3" fmla="*/ 914399 h 1828800"/>
              <a:gd name="connsiteX4" fmla="*/ 151 w 267"/>
              <a:gd name="connsiteY4" fmla="*/ 1037030 h 1828800"/>
              <a:gd name="connsiteX5" fmla="*/ 151 w 267"/>
              <a:gd name="connsiteY5" fmla="*/ 1828800 h 1828800"/>
              <a:gd name="connsiteX6" fmla="*/ 0 w 267"/>
              <a:gd name="connsiteY6" fmla="*/ 1828800 h 1828800"/>
              <a:gd name="connsiteX7" fmla="*/ 0 w 267"/>
              <a:gd name="connsiteY7" fmla="*/ 1828800 h 1828800"/>
              <a:gd name="connsiteX0" fmla="*/ 0 w 267"/>
              <a:gd name="connsiteY0" fmla="*/ 0 h 1828800"/>
              <a:gd name="connsiteX1" fmla="*/ 151 w 267"/>
              <a:gd name="connsiteY1" fmla="*/ 0 h 1828800"/>
              <a:gd name="connsiteX2" fmla="*/ 151 w 267"/>
              <a:gd name="connsiteY2" fmla="*/ 791770 h 1828800"/>
              <a:gd name="connsiteX3" fmla="*/ 267 w 267"/>
              <a:gd name="connsiteY3" fmla="*/ 914399 h 1828800"/>
              <a:gd name="connsiteX4" fmla="*/ 151 w 267"/>
              <a:gd name="connsiteY4" fmla="*/ 1037030 h 1828800"/>
              <a:gd name="connsiteX5" fmla="*/ 151 w 267"/>
              <a:gd name="connsiteY5" fmla="*/ 1828800 h 1828800"/>
              <a:gd name="connsiteX6" fmla="*/ 0 w 267"/>
              <a:gd name="connsiteY6" fmla="*/ 1828800 h 1828800"/>
              <a:gd name="connsiteX7" fmla="*/ 0 w 267"/>
              <a:gd name="connsiteY7" fmla="*/ 1828800 h 1828800"/>
              <a:gd name="connsiteX0" fmla="*/ 0 w 267"/>
              <a:gd name="connsiteY0" fmla="*/ 0 h 1828800"/>
              <a:gd name="connsiteX1" fmla="*/ 151 w 267"/>
              <a:gd name="connsiteY1" fmla="*/ 0 h 1828800"/>
              <a:gd name="connsiteX2" fmla="*/ 151 w 267"/>
              <a:gd name="connsiteY2" fmla="*/ 791770 h 1828800"/>
              <a:gd name="connsiteX3" fmla="*/ 267 w 267"/>
              <a:gd name="connsiteY3" fmla="*/ 914399 h 1828800"/>
              <a:gd name="connsiteX4" fmla="*/ 151 w 267"/>
              <a:gd name="connsiteY4" fmla="*/ 1037030 h 1828800"/>
              <a:gd name="connsiteX5" fmla="*/ 151 w 267"/>
              <a:gd name="connsiteY5" fmla="*/ 1828800 h 1828800"/>
              <a:gd name="connsiteX6" fmla="*/ 0 w 267"/>
              <a:gd name="connsiteY6" fmla="*/ 1828800 h 1828800"/>
              <a:gd name="connsiteX0" fmla="*/ 0 w 267"/>
              <a:gd name="connsiteY0" fmla="*/ 0 h 1828800"/>
              <a:gd name="connsiteX1" fmla="*/ 151 w 267"/>
              <a:gd name="connsiteY1" fmla="*/ 0 h 1828800"/>
              <a:gd name="connsiteX2" fmla="*/ 151 w 267"/>
              <a:gd name="connsiteY2" fmla="*/ 791770 h 1828800"/>
              <a:gd name="connsiteX3" fmla="*/ 267 w 267"/>
              <a:gd name="connsiteY3" fmla="*/ 914399 h 1828800"/>
              <a:gd name="connsiteX4" fmla="*/ 151 w 267"/>
              <a:gd name="connsiteY4" fmla="*/ 1037030 h 1828800"/>
              <a:gd name="connsiteX5" fmla="*/ 0 w 267"/>
              <a:gd name="connsiteY5" fmla="*/ 1828800 h 1828800"/>
              <a:gd name="connsiteX0" fmla="*/ 0 w 267"/>
              <a:gd name="connsiteY0" fmla="*/ 0 h 1828800"/>
              <a:gd name="connsiteX1" fmla="*/ 151 w 267"/>
              <a:gd name="connsiteY1" fmla="*/ 0 h 1828800"/>
              <a:gd name="connsiteX2" fmla="*/ 151 w 267"/>
              <a:gd name="connsiteY2" fmla="*/ 791770 h 1828800"/>
              <a:gd name="connsiteX3" fmla="*/ 267 w 267"/>
              <a:gd name="connsiteY3" fmla="*/ 914399 h 1828800"/>
              <a:gd name="connsiteX4" fmla="*/ 0 w 267"/>
              <a:gd name="connsiteY4" fmla="*/ 1828800 h 1828800"/>
              <a:gd name="connsiteX0" fmla="*/ 0 w 151"/>
              <a:gd name="connsiteY0" fmla="*/ 0 h 1828800"/>
              <a:gd name="connsiteX1" fmla="*/ 151 w 151"/>
              <a:gd name="connsiteY1" fmla="*/ 0 h 1828800"/>
              <a:gd name="connsiteX2" fmla="*/ 151 w 151"/>
              <a:gd name="connsiteY2" fmla="*/ 791770 h 1828800"/>
              <a:gd name="connsiteX3" fmla="*/ 0 w 151"/>
              <a:gd name="connsiteY3" fmla="*/ 1828800 h 1828800"/>
              <a:gd name="connsiteX0" fmla="*/ 0 w 151"/>
              <a:gd name="connsiteY0" fmla="*/ 0 h 1828800"/>
              <a:gd name="connsiteX1" fmla="*/ 151 w 151"/>
              <a:gd name="connsiteY1" fmla="*/ 0 h 1828800"/>
              <a:gd name="connsiteX2" fmla="*/ 0 w 151"/>
              <a:gd name="connsiteY2" fmla="*/ 1828800 h 1828800"/>
              <a:gd name="connsiteX0" fmla="*/ 0 w 0"/>
              <a:gd name="connsiteY0" fmla="*/ 0 h 1828800"/>
              <a:gd name="connsiteX1" fmla="*/ 0 w 0"/>
              <a:gd name="connsiteY1" fmla="*/ 1828800 h 1828800"/>
              <a:gd name="connsiteX0" fmla="*/ 0 w 4231677"/>
              <a:gd name="connsiteY0" fmla="*/ 5277354 h 5277354"/>
              <a:gd name="connsiteX1" fmla="*/ 4231677 w 4231677"/>
              <a:gd name="connsiteY1" fmla="*/ 0 h 5277354"/>
              <a:gd name="connsiteX0" fmla="*/ 0 w 4231677"/>
              <a:gd name="connsiteY0" fmla="*/ 5277354 h 5277354"/>
              <a:gd name="connsiteX1" fmla="*/ 4231677 w 4231677"/>
              <a:gd name="connsiteY1" fmla="*/ 0 h 5277354"/>
              <a:gd name="connsiteX2" fmla="*/ 103189 w 4231677"/>
              <a:gd name="connsiteY2" fmla="*/ 5277352 h 5277354"/>
              <a:gd name="connsiteX0" fmla="*/ 0 w 4231677"/>
              <a:gd name="connsiteY0" fmla="*/ 5277354 h 6684921"/>
              <a:gd name="connsiteX1" fmla="*/ 4231677 w 4231677"/>
              <a:gd name="connsiteY1" fmla="*/ 0 h 6684921"/>
              <a:gd name="connsiteX2" fmla="*/ 103189 w 4231677"/>
              <a:gd name="connsiteY2" fmla="*/ 5277352 h 6684921"/>
              <a:gd name="connsiteX3" fmla="*/ 103189 w 4231677"/>
              <a:gd name="connsiteY3" fmla="*/ 6684921 h 6684921"/>
              <a:gd name="connsiteX0" fmla="*/ 0 w 4231677"/>
              <a:gd name="connsiteY0" fmla="*/ 5277354 h 6812880"/>
              <a:gd name="connsiteX1" fmla="*/ 4231677 w 4231677"/>
              <a:gd name="connsiteY1" fmla="*/ 0 h 6812880"/>
              <a:gd name="connsiteX2" fmla="*/ 103189 w 4231677"/>
              <a:gd name="connsiteY2" fmla="*/ 5277352 h 6812880"/>
              <a:gd name="connsiteX3" fmla="*/ 103189 w 4231677"/>
              <a:gd name="connsiteY3" fmla="*/ 6684921 h 6812880"/>
              <a:gd name="connsiteX4" fmla="*/ 182564 w 4231677"/>
              <a:gd name="connsiteY4" fmla="*/ 6812880 h 6812880"/>
              <a:gd name="connsiteX0" fmla="*/ 0 w 4231677"/>
              <a:gd name="connsiteY0" fmla="*/ 5277354 h 6940841"/>
              <a:gd name="connsiteX1" fmla="*/ 4231677 w 4231677"/>
              <a:gd name="connsiteY1" fmla="*/ 0 h 6940841"/>
              <a:gd name="connsiteX2" fmla="*/ 103189 w 4231677"/>
              <a:gd name="connsiteY2" fmla="*/ 5277352 h 6940841"/>
              <a:gd name="connsiteX3" fmla="*/ 103189 w 4231677"/>
              <a:gd name="connsiteY3" fmla="*/ 6684921 h 6940841"/>
              <a:gd name="connsiteX4" fmla="*/ 182564 w 4231677"/>
              <a:gd name="connsiteY4" fmla="*/ 6812880 h 6940841"/>
              <a:gd name="connsiteX5" fmla="*/ 103189 w 4231677"/>
              <a:gd name="connsiteY5" fmla="*/ 6940841 h 6940841"/>
              <a:gd name="connsiteX0" fmla="*/ 0 w 4231677"/>
              <a:gd name="connsiteY0" fmla="*/ 5277354 h 8348410"/>
              <a:gd name="connsiteX1" fmla="*/ 4231677 w 4231677"/>
              <a:gd name="connsiteY1" fmla="*/ 0 h 8348410"/>
              <a:gd name="connsiteX2" fmla="*/ 103189 w 4231677"/>
              <a:gd name="connsiteY2" fmla="*/ 5277352 h 8348410"/>
              <a:gd name="connsiteX3" fmla="*/ 103189 w 4231677"/>
              <a:gd name="connsiteY3" fmla="*/ 6684921 h 8348410"/>
              <a:gd name="connsiteX4" fmla="*/ 182564 w 4231677"/>
              <a:gd name="connsiteY4" fmla="*/ 6812880 h 8348410"/>
              <a:gd name="connsiteX5" fmla="*/ 103189 w 4231677"/>
              <a:gd name="connsiteY5" fmla="*/ 6940841 h 8348410"/>
              <a:gd name="connsiteX6" fmla="*/ 103189 w 4231677"/>
              <a:gd name="connsiteY6" fmla="*/ 8348410 h 8348410"/>
              <a:gd name="connsiteX0" fmla="*/ 0 w 4231677"/>
              <a:gd name="connsiteY0" fmla="*/ 5277354 h 8348410"/>
              <a:gd name="connsiteX1" fmla="*/ 4231677 w 4231677"/>
              <a:gd name="connsiteY1" fmla="*/ 0 h 8348410"/>
              <a:gd name="connsiteX2" fmla="*/ 103189 w 4231677"/>
              <a:gd name="connsiteY2" fmla="*/ 5277352 h 8348410"/>
              <a:gd name="connsiteX3" fmla="*/ 103189 w 4231677"/>
              <a:gd name="connsiteY3" fmla="*/ 6684921 h 8348410"/>
              <a:gd name="connsiteX4" fmla="*/ 182564 w 4231677"/>
              <a:gd name="connsiteY4" fmla="*/ 6812880 h 8348410"/>
              <a:gd name="connsiteX5" fmla="*/ 103189 w 4231677"/>
              <a:gd name="connsiteY5" fmla="*/ 6940841 h 8348410"/>
              <a:gd name="connsiteX6" fmla="*/ 103189 w 4231677"/>
              <a:gd name="connsiteY6" fmla="*/ 8348410 h 8348410"/>
              <a:gd name="connsiteX7" fmla="*/ 1 w 4231677"/>
              <a:gd name="connsiteY7" fmla="*/ 8348410 h 8348410"/>
              <a:gd name="connsiteX0" fmla="*/ 0 w 4231676"/>
              <a:gd name="connsiteY0" fmla="*/ 5277351 h 8348410"/>
              <a:gd name="connsiteX1" fmla="*/ 4231676 w 4231676"/>
              <a:gd name="connsiteY1" fmla="*/ 0 h 8348410"/>
              <a:gd name="connsiteX2" fmla="*/ 103188 w 4231676"/>
              <a:gd name="connsiteY2" fmla="*/ 5277352 h 8348410"/>
              <a:gd name="connsiteX3" fmla="*/ 103188 w 4231676"/>
              <a:gd name="connsiteY3" fmla="*/ 6684921 h 8348410"/>
              <a:gd name="connsiteX4" fmla="*/ 182563 w 4231676"/>
              <a:gd name="connsiteY4" fmla="*/ 6812880 h 8348410"/>
              <a:gd name="connsiteX5" fmla="*/ 103188 w 4231676"/>
              <a:gd name="connsiteY5" fmla="*/ 6940841 h 8348410"/>
              <a:gd name="connsiteX6" fmla="*/ 103188 w 4231676"/>
              <a:gd name="connsiteY6" fmla="*/ 8348410 h 8348410"/>
              <a:gd name="connsiteX7" fmla="*/ 0 w 4231676"/>
              <a:gd name="connsiteY7" fmla="*/ 8348410 h 8348410"/>
              <a:gd name="connsiteX0" fmla="*/ 0 w 182563"/>
              <a:gd name="connsiteY0" fmla="*/ 0 h 3071059"/>
              <a:gd name="connsiteX1" fmla="*/ 103187 w 182563"/>
              <a:gd name="connsiteY1" fmla="*/ 0 h 3071059"/>
              <a:gd name="connsiteX2" fmla="*/ 103188 w 182563"/>
              <a:gd name="connsiteY2" fmla="*/ 1 h 3071059"/>
              <a:gd name="connsiteX3" fmla="*/ 103188 w 182563"/>
              <a:gd name="connsiteY3" fmla="*/ 1407570 h 3071059"/>
              <a:gd name="connsiteX4" fmla="*/ 182563 w 182563"/>
              <a:gd name="connsiteY4" fmla="*/ 1535529 h 3071059"/>
              <a:gd name="connsiteX5" fmla="*/ 103188 w 182563"/>
              <a:gd name="connsiteY5" fmla="*/ 1663490 h 3071059"/>
              <a:gd name="connsiteX6" fmla="*/ 103188 w 182563"/>
              <a:gd name="connsiteY6" fmla="*/ 3071059 h 3071059"/>
              <a:gd name="connsiteX7" fmla="*/ 0 w 182563"/>
              <a:gd name="connsiteY7" fmla="*/ 3071059 h 3071059"/>
              <a:gd name="connsiteX0" fmla="*/ 0 w 182563"/>
              <a:gd name="connsiteY0" fmla="*/ 0 h 3071059"/>
              <a:gd name="connsiteX1" fmla="*/ 103187 w 182563"/>
              <a:gd name="connsiteY1" fmla="*/ 0 h 3071059"/>
              <a:gd name="connsiteX2" fmla="*/ 103188 w 182563"/>
              <a:gd name="connsiteY2" fmla="*/ 1407567 h 3071059"/>
              <a:gd name="connsiteX3" fmla="*/ 103188 w 182563"/>
              <a:gd name="connsiteY3" fmla="*/ 1407570 h 3071059"/>
              <a:gd name="connsiteX4" fmla="*/ 182563 w 182563"/>
              <a:gd name="connsiteY4" fmla="*/ 1535529 h 3071059"/>
              <a:gd name="connsiteX5" fmla="*/ 103188 w 182563"/>
              <a:gd name="connsiteY5" fmla="*/ 1663490 h 3071059"/>
              <a:gd name="connsiteX6" fmla="*/ 103188 w 182563"/>
              <a:gd name="connsiteY6" fmla="*/ 3071059 h 3071059"/>
              <a:gd name="connsiteX7" fmla="*/ 0 w 182563"/>
              <a:gd name="connsiteY7" fmla="*/ 3071059 h 3071059"/>
              <a:gd name="connsiteX0" fmla="*/ 0 w 182563"/>
              <a:gd name="connsiteY0" fmla="*/ 0 h 3071059"/>
              <a:gd name="connsiteX1" fmla="*/ 103187 w 182563"/>
              <a:gd name="connsiteY1" fmla="*/ 0 h 3071059"/>
              <a:gd name="connsiteX2" fmla="*/ 103188 w 182563"/>
              <a:gd name="connsiteY2" fmla="*/ 1407567 h 3071059"/>
              <a:gd name="connsiteX3" fmla="*/ 182563 w 182563"/>
              <a:gd name="connsiteY3" fmla="*/ 1535528 h 3071059"/>
              <a:gd name="connsiteX4" fmla="*/ 182563 w 182563"/>
              <a:gd name="connsiteY4" fmla="*/ 1535529 h 3071059"/>
              <a:gd name="connsiteX5" fmla="*/ 103188 w 182563"/>
              <a:gd name="connsiteY5" fmla="*/ 1663490 h 3071059"/>
              <a:gd name="connsiteX6" fmla="*/ 103188 w 182563"/>
              <a:gd name="connsiteY6" fmla="*/ 3071059 h 3071059"/>
              <a:gd name="connsiteX7" fmla="*/ 0 w 182563"/>
              <a:gd name="connsiteY7" fmla="*/ 3071059 h 3071059"/>
              <a:gd name="connsiteX0" fmla="*/ 0 w 182563"/>
              <a:gd name="connsiteY0" fmla="*/ 0 h 3071059"/>
              <a:gd name="connsiteX1" fmla="*/ 103187 w 182563"/>
              <a:gd name="connsiteY1" fmla="*/ 0 h 3071059"/>
              <a:gd name="connsiteX2" fmla="*/ 103188 w 182563"/>
              <a:gd name="connsiteY2" fmla="*/ 1407567 h 3071059"/>
              <a:gd name="connsiteX3" fmla="*/ 182563 w 182563"/>
              <a:gd name="connsiteY3" fmla="*/ 1535528 h 3071059"/>
              <a:gd name="connsiteX4" fmla="*/ 103188 w 182563"/>
              <a:gd name="connsiteY4" fmla="*/ 1663489 h 3071059"/>
              <a:gd name="connsiteX5" fmla="*/ 103188 w 182563"/>
              <a:gd name="connsiteY5" fmla="*/ 1663490 h 3071059"/>
              <a:gd name="connsiteX6" fmla="*/ 103188 w 182563"/>
              <a:gd name="connsiteY6" fmla="*/ 3071059 h 3071059"/>
              <a:gd name="connsiteX7" fmla="*/ 0 w 182563"/>
              <a:gd name="connsiteY7" fmla="*/ 3071059 h 3071059"/>
              <a:gd name="connsiteX0" fmla="*/ 0 w 182563"/>
              <a:gd name="connsiteY0" fmla="*/ 0 h 3071059"/>
              <a:gd name="connsiteX1" fmla="*/ 103187 w 182563"/>
              <a:gd name="connsiteY1" fmla="*/ 0 h 3071059"/>
              <a:gd name="connsiteX2" fmla="*/ 103188 w 182563"/>
              <a:gd name="connsiteY2" fmla="*/ 1407567 h 3071059"/>
              <a:gd name="connsiteX3" fmla="*/ 182563 w 182563"/>
              <a:gd name="connsiteY3" fmla="*/ 1535528 h 3071059"/>
              <a:gd name="connsiteX4" fmla="*/ 103188 w 182563"/>
              <a:gd name="connsiteY4" fmla="*/ 1663489 h 3071059"/>
              <a:gd name="connsiteX5" fmla="*/ 103188 w 182563"/>
              <a:gd name="connsiteY5" fmla="*/ 3071057 h 3071059"/>
              <a:gd name="connsiteX6" fmla="*/ 103188 w 182563"/>
              <a:gd name="connsiteY6" fmla="*/ 3071059 h 3071059"/>
              <a:gd name="connsiteX7" fmla="*/ 0 w 182563"/>
              <a:gd name="connsiteY7" fmla="*/ 3071059 h 3071059"/>
              <a:gd name="connsiteX0" fmla="*/ 0 w 182563"/>
              <a:gd name="connsiteY0" fmla="*/ 0 h 3071059"/>
              <a:gd name="connsiteX1" fmla="*/ 103187 w 182563"/>
              <a:gd name="connsiteY1" fmla="*/ 0 h 3071059"/>
              <a:gd name="connsiteX2" fmla="*/ 103188 w 182563"/>
              <a:gd name="connsiteY2" fmla="*/ 1407567 h 3071059"/>
              <a:gd name="connsiteX3" fmla="*/ 182563 w 182563"/>
              <a:gd name="connsiteY3" fmla="*/ 1535528 h 3071059"/>
              <a:gd name="connsiteX4" fmla="*/ 103188 w 182563"/>
              <a:gd name="connsiteY4" fmla="*/ 1663489 h 3071059"/>
              <a:gd name="connsiteX5" fmla="*/ 103188 w 182563"/>
              <a:gd name="connsiteY5" fmla="*/ 3071057 h 3071059"/>
              <a:gd name="connsiteX6" fmla="*/ 0 w 182563"/>
              <a:gd name="connsiteY6" fmla="*/ 3071057 h 3071059"/>
              <a:gd name="connsiteX7" fmla="*/ 0 w 182563"/>
              <a:gd name="connsiteY7" fmla="*/ 3071059 h 3071059"/>
              <a:gd name="connsiteX0" fmla="*/ 0 w 182563"/>
              <a:gd name="connsiteY0" fmla="*/ 0 h 3071059"/>
              <a:gd name="connsiteX1" fmla="*/ 103187 w 182563"/>
              <a:gd name="connsiteY1" fmla="*/ 0 h 3071059"/>
              <a:gd name="connsiteX2" fmla="*/ 103188 w 182563"/>
              <a:gd name="connsiteY2" fmla="*/ 1407567 h 3071059"/>
              <a:gd name="connsiteX3" fmla="*/ 182563 w 182563"/>
              <a:gd name="connsiteY3" fmla="*/ 1535528 h 3071059"/>
              <a:gd name="connsiteX4" fmla="*/ 103188 w 182563"/>
              <a:gd name="connsiteY4" fmla="*/ 1663489 h 3071059"/>
              <a:gd name="connsiteX5" fmla="*/ 103188 w 182563"/>
              <a:gd name="connsiteY5" fmla="*/ 3071057 h 3071059"/>
              <a:gd name="connsiteX6" fmla="*/ 0 w 182563"/>
              <a:gd name="connsiteY6" fmla="*/ 3071057 h 3071059"/>
              <a:gd name="connsiteX7" fmla="*/ 0 w 182563"/>
              <a:gd name="connsiteY7" fmla="*/ 3071059 h 3071059"/>
              <a:gd name="connsiteX0" fmla="*/ 0 w 182563"/>
              <a:gd name="connsiteY0" fmla="*/ 0 h 3071059"/>
              <a:gd name="connsiteX1" fmla="*/ 171789 w 182563"/>
              <a:gd name="connsiteY1" fmla="*/ 0 h 3071059"/>
              <a:gd name="connsiteX2" fmla="*/ 103188 w 182563"/>
              <a:gd name="connsiteY2" fmla="*/ 1407567 h 3071059"/>
              <a:gd name="connsiteX3" fmla="*/ 182563 w 182563"/>
              <a:gd name="connsiteY3" fmla="*/ 1535528 h 3071059"/>
              <a:gd name="connsiteX4" fmla="*/ 103188 w 182563"/>
              <a:gd name="connsiteY4" fmla="*/ 1663489 h 3071059"/>
              <a:gd name="connsiteX5" fmla="*/ 103188 w 182563"/>
              <a:gd name="connsiteY5" fmla="*/ 3071057 h 3071059"/>
              <a:gd name="connsiteX6" fmla="*/ 0 w 182563"/>
              <a:gd name="connsiteY6" fmla="*/ 3071057 h 3071059"/>
              <a:gd name="connsiteX7" fmla="*/ 0 w 182563"/>
              <a:gd name="connsiteY7" fmla="*/ 3071059 h 3071059"/>
              <a:gd name="connsiteX0" fmla="*/ 0 w 182563"/>
              <a:gd name="connsiteY0" fmla="*/ 0 h 3071059"/>
              <a:gd name="connsiteX1" fmla="*/ 171789 w 182563"/>
              <a:gd name="connsiteY1" fmla="*/ 0 h 3071059"/>
              <a:gd name="connsiteX2" fmla="*/ 171789 w 182563"/>
              <a:gd name="connsiteY2" fmla="*/ 1329600 h 3071059"/>
              <a:gd name="connsiteX3" fmla="*/ 182563 w 182563"/>
              <a:gd name="connsiteY3" fmla="*/ 1535528 h 3071059"/>
              <a:gd name="connsiteX4" fmla="*/ 103188 w 182563"/>
              <a:gd name="connsiteY4" fmla="*/ 1663489 h 3071059"/>
              <a:gd name="connsiteX5" fmla="*/ 103188 w 182563"/>
              <a:gd name="connsiteY5" fmla="*/ 3071057 h 3071059"/>
              <a:gd name="connsiteX6" fmla="*/ 0 w 182563"/>
              <a:gd name="connsiteY6" fmla="*/ 3071057 h 3071059"/>
              <a:gd name="connsiteX7" fmla="*/ 0 w 182563"/>
              <a:gd name="connsiteY7" fmla="*/ 3071059 h 3071059"/>
              <a:gd name="connsiteX0" fmla="*/ 0 w 303931"/>
              <a:gd name="connsiteY0" fmla="*/ 0 h 3071059"/>
              <a:gd name="connsiteX1" fmla="*/ 171789 w 303931"/>
              <a:gd name="connsiteY1" fmla="*/ 0 h 3071059"/>
              <a:gd name="connsiteX2" fmla="*/ 171789 w 303931"/>
              <a:gd name="connsiteY2" fmla="*/ 1329600 h 3071059"/>
              <a:gd name="connsiteX3" fmla="*/ 303931 w 303931"/>
              <a:gd name="connsiteY3" fmla="*/ 1535528 h 3071059"/>
              <a:gd name="connsiteX4" fmla="*/ 103188 w 303931"/>
              <a:gd name="connsiteY4" fmla="*/ 1663489 h 3071059"/>
              <a:gd name="connsiteX5" fmla="*/ 103188 w 303931"/>
              <a:gd name="connsiteY5" fmla="*/ 3071057 h 3071059"/>
              <a:gd name="connsiteX6" fmla="*/ 0 w 303931"/>
              <a:gd name="connsiteY6" fmla="*/ 3071057 h 3071059"/>
              <a:gd name="connsiteX7" fmla="*/ 0 w 303931"/>
              <a:gd name="connsiteY7" fmla="*/ 3071059 h 3071059"/>
              <a:gd name="connsiteX0" fmla="*/ 0 w 303931"/>
              <a:gd name="connsiteY0" fmla="*/ 0 h 3071059"/>
              <a:gd name="connsiteX1" fmla="*/ 171789 w 303931"/>
              <a:gd name="connsiteY1" fmla="*/ 0 h 3071059"/>
              <a:gd name="connsiteX2" fmla="*/ 171789 w 303931"/>
              <a:gd name="connsiteY2" fmla="*/ 1329600 h 3071059"/>
              <a:gd name="connsiteX3" fmla="*/ 303931 w 303931"/>
              <a:gd name="connsiteY3" fmla="*/ 1535528 h 3071059"/>
              <a:gd name="connsiteX4" fmla="*/ 171789 w 303931"/>
              <a:gd name="connsiteY4" fmla="*/ 1741459 h 3071059"/>
              <a:gd name="connsiteX5" fmla="*/ 103188 w 303931"/>
              <a:gd name="connsiteY5" fmla="*/ 3071057 h 3071059"/>
              <a:gd name="connsiteX6" fmla="*/ 0 w 303931"/>
              <a:gd name="connsiteY6" fmla="*/ 3071057 h 3071059"/>
              <a:gd name="connsiteX7" fmla="*/ 0 w 303931"/>
              <a:gd name="connsiteY7" fmla="*/ 3071059 h 3071059"/>
              <a:gd name="connsiteX0" fmla="*/ 0 w 303931"/>
              <a:gd name="connsiteY0" fmla="*/ 0 h 3071059"/>
              <a:gd name="connsiteX1" fmla="*/ 171789 w 303931"/>
              <a:gd name="connsiteY1" fmla="*/ 0 h 3071059"/>
              <a:gd name="connsiteX2" fmla="*/ 171789 w 303931"/>
              <a:gd name="connsiteY2" fmla="*/ 1329600 h 3071059"/>
              <a:gd name="connsiteX3" fmla="*/ 303931 w 303931"/>
              <a:gd name="connsiteY3" fmla="*/ 1535528 h 3071059"/>
              <a:gd name="connsiteX4" fmla="*/ 171789 w 303931"/>
              <a:gd name="connsiteY4" fmla="*/ 1741459 h 3071059"/>
              <a:gd name="connsiteX5" fmla="*/ 171789 w 303931"/>
              <a:gd name="connsiteY5" fmla="*/ 3071059 h 3071059"/>
              <a:gd name="connsiteX6" fmla="*/ 0 w 303931"/>
              <a:gd name="connsiteY6" fmla="*/ 3071057 h 3071059"/>
              <a:gd name="connsiteX7" fmla="*/ 0 w 303931"/>
              <a:gd name="connsiteY7" fmla="*/ 3071059 h 3071059"/>
              <a:gd name="connsiteX0" fmla="*/ 0 w 303931"/>
              <a:gd name="connsiteY0" fmla="*/ 0 h 3071059"/>
              <a:gd name="connsiteX1" fmla="*/ 171789 w 303931"/>
              <a:gd name="connsiteY1" fmla="*/ 0 h 3071059"/>
              <a:gd name="connsiteX2" fmla="*/ 171789 w 303931"/>
              <a:gd name="connsiteY2" fmla="*/ 1329600 h 3071059"/>
              <a:gd name="connsiteX3" fmla="*/ 303931 w 303931"/>
              <a:gd name="connsiteY3" fmla="*/ 1535528 h 3071059"/>
              <a:gd name="connsiteX4" fmla="*/ 171789 w 303931"/>
              <a:gd name="connsiteY4" fmla="*/ 1741459 h 3071059"/>
              <a:gd name="connsiteX5" fmla="*/ 171789 w 303931"/>
              <a:gd name="connsiteY5" fmla="*/ 3071059 h 3071059"/>
              <a:gd name="connsiteX6" fmla="*/ 0 w 303931"/>
              <a:gd name="connsiteY6" fmla="*/ 3071059 h 3071059"/>
              <a:gd name="connsiteX7" fmla="*/ 0 w 303931"/>
              <a:gd name="connsiteY7" fmla="*/ 3071059 h 3071059"/>
              <a:gd name="connsiteX0" fmla="*/ 0 w 303931"/>
              <a:gd name="connsiteY0" fmla="*/ 0 h 3071059"/>
              <a:gd name="connsiteX1" fmla="*/ 171789 w 303931"/>
              <a:gd name="connsiteY1" fmla="*/ 0 h 3071059"/>
              <a:gd name="connsiteX2" fmla="*/ 171789 w 303931"/>
              <a:gd name="connsiteY2" fmla="*/ 1329600 h 3071059"/>
              <a:gd name="connsiteX3" fmla="*/ 303931 w 303931"/>
              <a:gd name="connsiteY3" fmla="*/ 1535528 h 3071059"/>
              <a:gd name="connsiteX4" fmla="*/ 171789 w 303931"/>
              <a:gd name="connsiteY4" fmla="*/ 1741459 h 3071059"/>
              <a:gd name="connsiteX5" fmla="*/ 171789 w 303931"/>
              <a:gd name="connsiteY5" fmla="*/ 3071059 h 3071059"/>
              <a:gd name="connsiteX6" fmla="*/ 0 w 303931"/>
              <a:gd name="connsiteY6" fmla="*/ 3071059 h 3071059"/>
              <a:gd name="connsiteX0" fmla="*/ 0 w 303931"/>
              <a:gd name="connsiteY0" fmla="*/ 0 h 3071059"/>
              <a:gd name="connsiteX1" fmla="*/ 171789 w 303931"/>
              <a:gd name="connsiteY1" fmla="*/ 0 h 3071059"/>
              <a:gd name="connsiteX2" fmla="*/ 171789 w 303931"/>
              <a:gd name="connsiteY2" fmla="*/ 1329600 h 3071059"/>
              <a:gd name="connsiteX3" fmla="*/ 303931 w 303931"/>
              <a:gd name="connsiteY3" fmla="*/ 1535528 h 3071059"/>
              <a:gd name="connsiteX4" fmla="*/ 171789 w 303931"/>
              <a:gd name="connsiteY4" fmla="*/ 1741459 h 3071059"/>
              <a:gd name="connsiteX5" fmla="*/ 0 w 303931"/>
              <a:gd name="connsiteY5" fmla="*/ 3071059 h 3071059"/>
              <a:gd name="connsiteX0" fmla="*/ 0 w 303931"/>
              <a:gd name="connsiteY0" fmla="*/ 0 h 3071059"/>
              <a:gd name="connsiteX1" fmla="*/ 171789 w 303931"/>
              <a:gd name="connsiteY1" fmla="*/ 0 h 3071059"/>
              <a:gd name="connsiteX2" fmla="*/ 171789 w 303931"/>
              <a:gd name="connsiteY2" fmla="*/ 1329600 h 3071059"/>
              <a:gd name="connsiteX3" fmla="*/ 303931 w 303931"/>
              <a:gd name="connsiteY3" fmla="*/ 1535528 h 3071059"/>
              <a:gd name="connsiteX4" fmla="*/ 0 w 303931"/>
              <a:gd name="connsiteY4" fmla="*/ 3071059 h 3071059"/>
              <a:gd name="connsiteX0" fmla="*/ 0 w 171789"/>
              <a:gd name="connsiteY0" fmla="*/ 0 h 3071059"/>
              <a:gd name="connsiteX1" fmla="*/ 171789 w 171789"/>
              <a:gd name="connsiteY1" fmla="*/ 0 h 3071059"/>
              <a:gd name="connsiteX2" fmla="*/ 171789 w 171789"/>
              <a:gd name="connsiteY2" fmla="*/ 1329600 h 3071059"/>
              <a:gd name="connsiteX3" fmla="*/ 0 w 171789"/>
              <a:gd name="connsiteY3" fmla="*/ 3071059 h 3071059"/>
              <a:gd name="connsiteX0" fmla="*/ 0 w 171789"/>
              <a:gd name="connsiteY0" fmla="*/ 0 h 3071059"/>
              <a:gd name="connsiteX1" fmla="*/ 171789 w 171789"/>
              <a:gd name="connsiteY1" fmla="*/ 0 h 3071059"/>
              <a:gd name="connsiteX2" fmla="*/ 0 w 171789"/>
              <a:gd name="connsiteY2" fmla="*/ 3071059 h 3071059"/>
              <a:gd name="connsiteX0" fmla="*/ 0 w 0"/>
              <a:gd name="connsiteY0" fmla="*/ 0 h 3071059"/>
              <a:gd name="connsiteX1" fmla="*/ 0 w 0"/>
              <a:gd name="connsiteY1" fmla="*/ 3071059 h 3071059"/>
              <a:gd name="connsiteX0" fmla="*/ 0 w 4231678"/>
              <a:gd name="connsiteY0" fmla="*/ 8862131 h 8862131"/>
              <a:gd name="connsiteX1" fmla="*/ 4231678 w 4231678"/>
              <a:gd name="connsiteY1" fmla="*/ 0 h 8862131"/>
              <a:gd name="connsiteX0" fmla="*/ 0 w 4231678"/>
              <a:gd name="connsiteY0" fmla="*/ 8862131 h 8862131"/>
              <a:gd name="connsiteX1" fmla="*/ 4231678 w 4231678"/>
              <a:gd name="connsiteY1" fmla="*/ 0 h 8862131"/>
              <a:gd name="connsiteX2" fmla="*/ 103188 w 4231678"/>
              <a:gd name="connsiteY2" fmla="*/ 8862128 h 8862131"/>
              <a:gd name="connsiteX0" fmla="*/ 0 w 4231678"/>
              <a:gd name="connsiteY0" fmla="*/ 8862131 h 11225824"/>
              <a:gd name="connsiteX1" fmla="*/ 4231678 w 4231678"/>
              <a:gd name="connsiteY1" fmla="*/ 0 h 11225824"/>
              <a:gd name="connsiteX2" fmla="*/ 103188 w 4231678"/>
              <a:gd name="connsiteY2" fmla="*/ 8862128 h 11225824"/>
              <a:gd name="connsiteX3" fmla="*/ 103188 w 4231678"/>
              <a:gd name="connsiteY3" fmla="*/ 11225824 h 11225824"/>
              <a:gd name="connsiteX0" fmla="*/ 0 w 4231678"/>
              <a:gd name="connsiteY0" fmla="*/ 8862131 h 11440703"/>
              <a:gd name="connsiteX1" fmla="*/ 4231678 w 4231678"/>
              <a:gd name="connsiteY1" fmla="*/ 0 h 11440703"/>
              <a:gd name="connsiteX2" fmla="*/ 103188 w 4231678"/>
              <a:gd name="connsiteY2" fmla="*/ 8862128 h 11440703"/>
              <a:gd name="connsiteX3" fmla="*/ 103188 w 4231678"/>
              <a:gd name="connsiteY3" fmla="*/ 11225824 h 11440703"/>
              <a:gd name="connsiteX4" fmla="*/ 182563 w 4231678"/>
              <a:gd name="connsiteY4" fmla="*/ 11440703 h 11440703"/>
              <a:gd name="connsiteX0" fmla="*/ 0 w 4231678"/>
              <a:gd name="connsiteY0" fmla="*/ 8862131 h 11655584"/>
              <a:gd name="connsiteX1" fmla="*/ 4231678 w 4231678"/>
              <a:gd name="connsiteY1" fmla="*/ 0 h 11655584"/>
              <a:gd name="connsiteX2" fmla="*/ 103188 w 4231678"/>
              <a:gd name="connsiteY2" fmla="*/ 8862128 h 11655584"/>
              <a:gd name="connsiteX3" fmla="*/ 103188 w 4231678"/>
              <a:gd name="connsiteY3" fmla="*/ 11225824 h 11655584"/>
              <a:gd name="connsiteX4" fmla="*/ 182563 w 4231678"/>
              <a:gd name="connsiteY4" fmla="*/ 11440703 h 11655584"/>
              <a:gd name="connsiteX5" fmla="*/ 103188 w 4231678"/>
              <a:gd name="connsiteY5" fmla="*/ 11655584 h 11655584"/>
              <a:gd name="connsiteX0" fmla="*/ 0 w 4231678"/>
              <a:gd name="connsiteY0" fmla="*/ 8862131 h 14019280"/>
              <a:gd name="connsiteX1" fmla="*/ 4231678 w 4231678"/>
              <a:gd name="connsiteY1" fmla="*/ 0 h 14019280"/>
              <a:gd name="connsiteX2" fmla="*/ 103188 w 4231678"/>
              <a:gd name="connsiteY2" fmla="*/ 8862128 h 14019280"/>
              <a:gd name="connsiteX3" fmla="*/ 103188 w 4231678"/>
              <a:gd name="connsiteY3" fmla="*/ 11225824 h 14019280"/>
              <a:gd name="connsiteX4" fmla="*/ 182563 w 4231678"/>
              <a:gd name="connsiteY4" fmla="*/ 11440703 h 14019280"/>
              <a:gd name="connsiteX5" fmla="*/ 103188 w 4231678"/>
              <a:gd name="connsiteY5" fmla="*/ 11655584 h 14019280"/>
              <a:gd name="connsiteX6" fmla="*/ 103188 w 4231678"/>
              <a:gd name="connsiteY6" fmla="*/ 14019280 h 14019280"/>
              <a:gd name="connsiteX0" fmla="*/ 0 w 4231678"/>
              <a:gd name="connsiteY0" fmla="*/ 8862131 h 14019280"/>
              <a:gd name="connsiteX1" fmla="*/ 4231678 w 4231678"/>
              <a:gd name="connsiteY1" fmla="*/ 0 h 14019280"/>
              <a:gd name="connsiteX2" fmla="*/ 103188 w 4231678"/>
              <a:gd name="connsiteY2" fmla="*/ 8862128 h 14019280"/>
              <a:gd name="connsiteX3" fmla="*/ 103188 w 4231678"/>
              <a:gd name="connsiteY3" fmla="*/ 11225824 h 14019280"/>
              <a:gd name="connsiteX4" fmla="*/ 182563 w 4231678"/>
              <a:gd name="connsiteY4" fmla="*/ 11440703 h 14019280"/>
              <a:gd name="connsiteX5" fmla="*/ 103188 w 4231678"/>
              <a:gd name="connsiteY5" fmla="*/ 11655584 h 14019280"/>
              <a:gd name="connsiteX6" fmla="*/ 103188 w 4231678"/>
              <a:gd name="connsiteY6" fmla="*/ 14019280 h 14019280"/>
              <a:gd name="connsiteX7" fmla="*/ 0 w 4231678"/>
              <a:gd name="connsiteY7" fmla="*/ 14019280 h 14019280"/>
              <a:gd name="connsiteX0" fmla="*/ 0 w 4231678"/>
              <a:gd name="connsiteY0" fmla="*/ 8862125 h 14019280"/>
              <a:gd name="connsiteX1" fmla="*/ 4231678 w 4231678"/>
              <a:gd name="connsiteY1" fmla="*/ 0 h 14019280"/>
              <a:gd name="connsiteX2" fmla="*/ 103188 w 4231678"/>
              <a:gd name="connsiteY2" fmla="*/ 8862128 h 14019280"/>
              <a:gd name="connsiteX3" fmla="*/ 103188 w 4231678"/>
              <a:gd name="connsiteY3" fmla="*/ 11225824 h 14019280"/>
              <a:gd name="connsiteX4" fmla="*/ 182563 w 4231678"/>
              <a:gd name="connsiteY4" fmla="*/ 11440703 h 14019280"/>
              <a:gd name="connsiteX5" fmla="*/ 103188 w 4231678"/>
              <a:gd name="connsiteY5" fmla="*/ 11655584 h 14019280"/>
              <a:gd name="connsiteX6" fmla="*/ 103188 w 4231678"/>
              <a:gd name="connsiteY6" fmla="*/ 14019280 h 14019280"/>
              <a:gd name="connsiteX7" fmla="*/ 0 w 4231678"/>
              <a:gd name="connsiteY7" fmla="*/ 14019280 h 14019280"/>
              <a:gd name="connsiteX0" fmla="*/ 0 w 182563"/>
              <a:gd name="connsiteY0" fmla="*/ 0 h 5157155"/>
              <a:gd name="connsiteX1" fmla="*/ 103188 w 182563"/>
              <a:gd name="connsiteY1" fmla="*/ 0 h 5157155"/>
              <a:gd name="connsiteX2" fmla="*/ 103188 w 182563"/>
              <a:gd name="connsiteY2" fmla="*/ 3 h 5157155"/>
              <a:gd name="connsiteX3" fmla="*/ 103188 w 182563"/>
              <a:gd name="connsiteY3" fmla="*/ 2363699 h 5157155"/>
              <a:gd name="connsiteX4" fmla="*/ 182563 w 182563"/>
              <a:gd name="connsiteY4" fmla="*/ 2578578 h 5157155"/>
              <a:gd name="connsiteX5" fmla="*/ 103188 w 182563"/>
              <a:gd name="connsiteY5" fmla="*/ 2793459 h 5157155"/>
              <a:gd name="connsiteX6" fmla="*/ 103188 w 182563"/>
              <a:gd name="connsiteY6" fmla="*/ 5157155 h 5157155"/>
              <a:gd name="connsiteX7" fmla="*/ 0 w 182563"/>
              <a:gd name="connsiteY7" fmla="*/ 5157155 h 5157155"/>
              <a:gd name="connsiteX0" fmla="*/ 0 w 182563"/>
              <a:gd name="connsiteY0" fmla="*/ 0 h 5157155"/>
              <a:gd name="connsiteX1" fmla="*/ 103188 w 182563"/>
              <a:gd name="connsiteY1" fmla="*/ 0 h 5157155"/>
              <a:gd name="connsiteX2" fmla="*/ 103189 w 182563"/>
              <a:gd name="connsiteY2" fmla="*/ 2363693 h 5157155"/>
              <a:gd name="connsiteX3" fmla="*/ 103188 w 182563"/>
              <a:gd name="connsiteY3" fmla="*/ 2363699 h 5157155"/>
              <a:gd name="connsiteX4" fmla="*/ 182563 w 182563"/>
              <a:gd name="connsiteY4" fmla="*/ 2578578 h 5157155"/>
              <a:gd name="connsiteX5" fmla="*/ 103188 w 182563"/>
              <a:gd name="connsiteY5" fmla="*/ 2793459 h 5157155"/>
              <a:gd name="connsiteX6" fmla="*/ 103188 w 182563"/>
              <a:gd name="connsiteY6" fmla="*/ 5157155 h 5157155"/>
              <a:gd name="connsiteX7" fmla="*/ 0 w 182563"/>
              <a:gd name="connsiteY7" fmla="*/ 5157155 h 5157155"/>
              <a:gd name="connsiteX0" fmla="*/ 0 w 182564"/>
              <a:gd name="connsiteY0" fmla="*/ 0 h 5157155"/>
              <a:gd name="connsiteX1" fmla="*/ 103188 w 182564"/>
              <a:gd name="connsiteY1" fmla="*/ 0 h 5157155"/>
              <a:gd name="connsiteX2" fmla="*/ 103189 w 182564"/>
              <a:gd name="connsiteY2" fmla="*/ 2363693 h 5157155"/>
              <a:gd name="connsiteX3" fmla="*/ 182564 w 182564"/>
              <a:gd name="connsiteY3" fmla="*/ 2578575 h 5157155"/>
              <a:gd name="connsiteX4" fmla="*/ 182563 w 182564"/>
              <a:gd name="connsiteY4" fmla="*/ 2578578 h 5157155"/>
              <a:gd name="connsiteX5" fmla="*/ 103188 w 182564"/>
              <a:gd name="connsiteY5" fmla="*/ 2793459 h 5157155"/>
              <a:gd name="connsiteX6" fmla="*/ 103188 w 182564"/>
              <a:gd name="connsiteY6" fmla="*/ 5157155 h 5157155"/>
              <a:gd name="connsiteX7" fmla="*/ 0 w 182564"/>
              <a:gd name="connsiteY7" fmla="*/ 5157155 h 5157155"/>
              <a:gd name="connsiteX0" fmla="*/ 0 w 182564"/>
              <a:gd name="connsiteY0" fmla="*/ 0 h 5157155"/>
              <a:gd name="connsiteX1" fmla="*/ 103188 w 182564"/>
              <a:gd name="connsiteY1" fmla="*/ 0 h 5157155"/>
              <a:gd name="connsiteX2" fmla="*/ 103189 w 182564"/>
              <a:gd name="connsiteY2" fmla="*/ 2363693 h 5157155"/>
              <a:gd name="connsiteX3" fmla="*/ 182564 w 182564"/>
              <a:gd name="connsiteY3" fmla="*/ 2578575 h 5157155"/>
              <a:gd name="connsiteX4" fmla="*/ 103188 w 182564"/>
              <a:gd name="connsiteY4" fmla="*/ 2793456 h 5157155"/>
              <a:gd name="connsiteX5" fmla="*/ 103188 w 182564"/>
              <a:gd name="connsiteY5" fmla="*/ 2793459 h 5157155"/>
              <a:gd name="connsiteX6" fmla="*/ 103188 w 182564"/>
              <a:gd name="connsiteY6" fmla="*/ 5157155 h 5157155"/>
              <a:gd name="connsiteX7" fmla="*/ 0 w 182564"/>
              <a:gd name="connsiteY7" fmla="*/ 5157155 h 5157155"/>
              <a:gd name="connsiteX0" fmla="*/ 0 w 182564"/>
              <a:gd name="connsiteY0" fmla="*/ 0 h 5157155"/>
              <a:gd name="connsiteX1" fmla="*/ 103188 w 182564"/>
              <a:gd name="connsiteY1" fmla="*/ 0 h 5157155"/>
              <a:gd name="connsiteX2" fmla="*/ 103189 w 182564"/>
              <a:gd name="connsiteY2" fmla="*/ 2363693 h 5157155"/>
              <a:gd name="connsiteX3" fmla="*/ 182564 w 182564"/>
              <a:gd name="connsiteY3" fmla="*/ 2578575 h 5157155"/>
              <a:gd name="connsiteX4" fmla="*/ 103188 w 182564"/>
              <a:gd name="connsiteY4" fmla="*/ 2793456 h 5157155"/>
              <a:gd name="connsiteX5" fmla="*/ 103188 w 182564"/>
              <a:gd name="connsiteY5" fmla="*/ 5157152 h 5157155"/>
              <a:gd name="connsiteX6" fmla="*/ 103188 w 182564"/>
              <a:gd name="connsiteY6" fmla="*/ 5157155 h 5157155"/>
              <a:gd name="connsiteX7" fmla="*/ 0 w 182564"/>
              <a:gd name="connsiteY7" fmla="*/ 5157155 h 5157155"/>
              <a:gd name="connsiteX0" fmla="*/ 0 w 182564"/>
              <a:gd name="connsiteY0" fmla="*/ 0 h 5157155"/>
              <a:gd name="connsiteX1" fmla="*/ 103188 w 182564"/>
              <a:gd name="connsiteY1" fmla="*/ 0 h 5157155"/>
              <a:gd name="connsiteX2" fmla="*/ 103189 w 182564"/>
              <a:gd name="connsiteY2" fmla="*/ 2363693 h 5157155"/>
              <a:gd name="connsiteX3" fmla="*/ 182564 w 182564"/>
              <a:gd name="connsiteY3" fmla="*/ 2578575 h 5157155"/>
              <a:gd name="connsiteX4" fmla="*/ 103188 w 182564"/>
              <a:gd name="connsiteY4" fmla="*/ 2793456 h 5157155"/>
              <a:gd name="connsiteX5" fmla="*/ 103188 w 182564"/>
              <a:gd name="connsiteY5" fmla="*/ 5157152 h 5157155"/>
              <a:gd name="connsiteX6" fmla="*/ 0 w 182564"/>
              <a:gd name="connsiteY6" fmla="*/ 5157152 h 5157155"/>
              <a:gd name="connsiteX7" fmla="*/ 0 w 182564"/>
              <a:gd name="connsiteY7" fmla="*/ 5157155 h 5157155"/>
              <a:gd name="connsiteX0" fmla="*/ 0 w 182564"/>
              <a:gd name="connsiteY0" fmla="*/ 0 h 5157155"/>
              <a:gd name="connsiteX1" fmla="*/ 103188 w 182564"/>
              <a:gd name="connsiteY1" fmla="*/ 0 h 5157155"/>
              <a:gd name="connsiteX2" fmla="*/ 103189 w 182564"/>
              <a:gd name="connsiteY2" fmla="*/ 2363693 h 5157155"/>
              <a:gd name="connsiteX3" fmla="*/ 182564 w 182564"/>
              <a:gd name="connsiteY3" fmla="*/ 2578575 h 5157155"/>
              <a:gd name="connsiteX4" fmla="*/ 103188 w 182564"/>
              <a:gd name="connsiteY4" fmla="*/ 2793456 h 5157155"/>
              <a:gd name="connsiteX5" fmla="*/ 103188 w 182564"/>
              <a:gd name="connsiteY5" fmla="*/ 5157152 h 5157155"/>
              <a:gd name="connsiteX6" fmla="*/ 0 w 182564"/>
              <a:gd name="connsiteY6" fmla="*/ 5157152 h 5157155"/>
              <a:gd name="connsiteX7" fmla="*/ 0 w 182564"/>
              <a:gd name="connsiteY7" fmla="*/ 5157155 h 5157155"/>
              <a:gd name="connsiteX0" fmla="*/ 0 w 182564"/>
              <a:gd name="connsiteY0" fmla="*/ 0 h 5157155"/>
              <a:gd name="connsiteX1" fmla="*/ 171788 w 182564"/>
              <a:gd name="connsiteY1" fmla="*/ 0 h 5157155"/>
              <a:gd name="connsiteX2" fmla="*/ 103189 w 182564"/>
              <a:gd name="connsiteY2" fmla="*/ 2363693 h 5157155"/>
              <a:gd name="connsiteX3" fmla="*/ 182564 w 182564"/>
              <a:gd name="connsiteY3" fmla="*/ 2578575 h 5157155"/>
              <a:gd name="connsiteX4" fmla="*/ 103188 w 182564"/>
              <a:gd name="connsiteY4" fmla="*/ 2793456 h 5157155"/>
              <a:gd name="connsiteX5" fmla="*/ 103188 w 182564"/>
              <a:gd name="connsiteY5" fmla="*/ 5157152 h 5157155"/>
              <a:gd name="connsiteX6" fmla="*/ 0 w 182564"/>
              <a:gd name="connsiteY6" fmla="*/ 5157152 h 5157155"/>
              <a:gd name="connsiteX7" fmla="*/ 0 w 182564"/>
              <a:gd name="connsiteY7" fmla="*/ 5157155 h 5157155"/>
              <a:gd name="connsiteX0" fmla="*/ 0 w 182564"/>
              <a:gd name="connsiteY0" fmla="*/ 0 h 5157155"/>
              <a:gd name="connsiteX1" fmla="*/ 171788 w 182564"/>
              <a:gd name="connsiteY1" fmla="*/ 0 h 5157155"/>
              <a:gd name="connsiteX2" fmla="*/ 171788 w 182564"/>
              <a:gd name="connsiteY2" fmla="*/ 2232765 h 5157155"/>
              <a:gd name="connsiteX3" fmla="*/ 182564 w 182564"/>
              <a:gd name="connsiteY3" fmla="*/ 2578575 h 5157155"/>
              <a:gd name="connsiteX4" fmla="*/ 103188 w 182564"/>
              <a:gd name="connsiteY4" fmla="*/ 2793456 h 5157155"/>
              <a:gd name="connsiteX5" fmla="*/ 103188 w 182564"/>
              <a:gd name="connsiteY5" fmla="*/ 5157152 h 5157155"/>
              <a:gd name="connsiteX6" fmla="*/ 0 w 182564"/>
              <a:gd name="connsiteY6" fmla="*/ 5157152 h 5157155"/>
              <a:gd name="connsiteX7" fmla="*/ 0 w 182564"/>
              <a:gd name="connsiteY7" fmla="*/ 5157155 h 5157155"/>
              <a:gd name="connsiteX0" fmla="*/ 0 w 303930"/>
              <a:gd name="connsiteY0" fmla="*/ 0 h 5157155"/>
              <a:gd name="connsiteX1" fmla="*/ 171788 w 303930"/>
              <a:gd name="connsiteY1" fmla="*/ 0 h 5157155"/>
              <a:gd name="connsiteX2" fmla="*/ 171788 w 303930"/>
              <a:gd name="connsiteY2" fmla="*/ 2232765 h 5157155"/>
              <a:gd name="connsiteX3" fmla="*/ 303930 w 303930"/>
              <a:gd name="connsiteY3" fmla="*/ 2578575 h 5157155"/>
              <a:gd name="connsiteX4" fmla="*/ 103188 w 303930"/>
              <a:gd name="connsiteY4" fmla="*/ 2793456 h 5157155"/>
              <a:gd name="connsiteX5" fmla="*/ 103188 w 303930"/>
              <a:gd name="connsiteY5" fmla="*/ 5157152 h 5157155"/>
              <a:gd name="connsiteX6" fmla="*/ 0 w 303930"/>
              <a:gd name="connsiteY6" fmla="*/ 5157152 h 5157155"/>
              <a:gd name="connsiteX7" fmla="*/ 0 w 303930"/>
              <a:gd name="connsiteY7" fmla="*/ 5157155 h 5157155"/>
              <a:gd name="connsiteX0" fmla="*/ 0 w 303930"/>
              <a:gd name="connsiteY0" fmla="*/ 0 h 5157155"/>
              <a:gd name="connsiteX1" fmla="*/ 171788 w 303930"/>
              <a:gd name="connsiteY1" fmla="*/ 0 h 5157155"/>
              <a:gd name="connsiteX2" fmla="*/ 171788 w 303930"/>
              <a:gd name="connsiteY2" fmla="*/ 2232765 h 5157155"/>
              <a:gd name="connsiteX3" fmla="*/ 303930 w 303930"/>
              <a:gd name="connsiteY3" fmla="*/ 2578575 h 5157155"/>
              <a:gd name="connsiteX4" fmla="*/ 171788 w 303930"/>
              <a:gd name="connsiteY4" fmla="*/ 2924390 h 5157155"/>
              <a:gd name="connsiteX5" fmla="*/ 103188 w 303930"/>
              <a:gd name="connsiteY5" fmla="*/ 5157152 h 5157155"/>
              <a:gd name="connsiteX6" fmla="*/ 0 w 303930"/>
              <a:gd name="connsiteY6" fmla="*/ 5157152 h 5157155"/>
              <a:gd name="connsiteX7" fmla="*/ 0 w 303930"/>
              <a:gd name="connsiteY7" fmla="*/ 5157155 h 5157155"/>
              <a:gd name="connsiteX0" fmla="*/ 0 w 303930"/>
              <a:gd name="connsiteY0" fmla="*/ 0 h 5157155"/>
              <a:gd name="connsiteX1" fmla="*/ 171788 w 303930"/>
              <a:gd name="connsiteY1" fmla="*/ 0 h 5157155"/>
              <a:gd name="connsiteX2" fmla="*/ 171788 w 303930"/>
              <a:gd name="connsiteY2" fmla="*/ 2232765 h 5157155"/>
              <a:gd name="connsiteX3" fmla="*/ 303930 w 303930"/>
              <a:gd name="connsiteY3" fmla="*/ 2578575 h 5157155"/>
              <a:gd name="connsiteX4" fmla="*/ 171788 w 303930"/>
              <a:gd name="connsiteY4" fmla="*/ 2924390 h 5157155"/>
              <a:gd name="connsiteX5" fmla="*/ 171788 w 303930"/>
              <a:gd name="connsiteY5" fmla="*/ 5157155 h 5157155"/>
              <a:gd name="connsiteX6" fmla="*/ 0 w 303930"/>
              <a:gd name="connsiteY6" fmla="*/ 5157152 h 5157155"/>
              <a:gd name="connsiteX7" fmla="*/ 0 w 303930"/>
              <a:gd name="connsiteY7" fmla="*/ 5157155 h 5157155"/>
              <a:gd name="connsiteX0" fmla="*/ 0 w 303930"/>
              <a:gd name="connsiteY0" fmla="*/ 0 h 5157155"/>
              <a:gd name="connsiteX1" fmla="*/ 171788 w 303930"/>
              <a:gd name="connsiteY1" fmla="*/ 0 h 5157155"/>
              <a:gd name="connsiteX2" fmla="*/ 171788 w 303930"/>
              <a:gd name="connsiteY2" fmla="*/ 2232765 h 5157155"/>
              <a:gd name="connsiteX3" fmla="*/ 303930 w 303930"/>
              <a:gd name="connsiteY3" fmla="*/ 2578575 h 5157155"/>
              <a:gd name="connsiteX4" fmla="*/ 171788 w 303930"/>
              <a:gd name="connsiteY4" fmla="*/ 2924390 h 5157155"/>
              <a:gd name="connsiteX5" fmla="*/ 171788 w 303930"/>
              <a:gd name="connsiteY5" fmla="*/ 5157155 h 5157155"/>
              <a:gd name="connsiteX6" fmla="*/ 0 w 303930"/>
              <a:gd name="connsiteY6" fmla="*/ 5157155 h 5157155"/>
              <a:gd name="connsiteX7" fmla="*/ 0 w 303930"/>
              <a:gd name="connsiteY7" fmla="*/ 5157155 h 5157155"/>
              <a:gd name="connsiteX0" fmla="*/ 0 w 303930"/>
              <a:gd name="connsiteY0" fmla="*/ 0 h 5157155"/>
              <a:gd name="connsiteX1" fmla="*/ 171788 w 303930"/>
              <a:gd name="connsiteY1" fmla="*/ 0 h 5157155"/>
              <a:gd name="connsiteX2" fmla="*/ 171788 w 303930"/>
              <a:gd name="connsiteY2" fmla="*/ 2232765 h 5157155"/>
              <a:gd name="connsiteX3" fmla="*/ 303930 w 303930"/>
              <a:gd name="connsiteY3" fmla="*/ 2578575 h 5157155"/>
              <a:gd name="connsiteX4" fmla="*/ 171788 w 303930"/>
              <a:gd name="connsiteY4" fmla="*/ 2924390 h 5157155"/>
              <a:gd name="connsiteX5" fmla="*/ 171788 w 303930"/>
              <a:gd name="connsiteY5" fmla="*/ 5157155 h 5157155"/>
              <a:gd name="connsiteX6" fmla="*/ 0 w 303930"/>
              <a:gd name="connsiteY6" fmla="*/ 5157155 h 5157155"/>
              <a:gd name="connsiteX0" fmla="*/ 0 w 303930"/>
              <a:gd name="connsiteY0" fmla="*/ 0 h 5157155"/>
              <a:gd name="connsiteX1" fmla="*/ 171788 w 303930"/>
              <a:gd name="connsiteY1" fmla="*/ 0 h 5157155"/>
              <a:gd name="connsiteX2" fmla="*/ 171788 w 303930"/>
              <a:gd name="connsiteY2" fmla="*/ 2232765 h 5157155"/>
              <a:gd name="connsiteX3" fmla="*/ 303930 w 303930"/>
              <a:gd name="connsiteY3" fmla="*/ 2578575 h 5157155"/>
              <a:gd name="connsiteX4" fmla="*/ 171788 w 303930"/>
              <a:gd name="connsiteY4" fmla="*/ 2924390 h 5157155"/>
              <a:gd name="connsiteX5" fmla="*/ 0 w 303930"/>
              <a:gd name="connsiteY5" fmla="*/ 5157155 h 5157155"/>
              <a:gd name="connsiteX0" fmla="*/ 0 w 303930"/>
              <a:gd name="connsiteY0" fmla="*/ 0 h 5157155"/>
              <a:gd name="connsiteX1" fmla="*/ 171788 w 303930"/>
              <a:gd name="connsiteY1" fmla="*/ 0 h 5157155"/>
              <a:gd name="connsiteX2" fmla="*/ 171788 w 303930"/>
              <a:gd name="connsiteY2" fmla="*/ 2232765 h 5157155"/>
              <a:gd name="connsiteX3" fmla="*/ 303930 w 303930"/>
              <a:gd name="connsiteY3" fmla="*/ 2578575 h 5157155"/>
              <a:gd name="connsiteX4" fmla="*/ 0 w 303930"/>
              <a:gd name="connsiteY4" fmla="*/ 5157155 h 5157155"/>
              <a:gd name="connsiteX0" fmla="*/ 0 w 171788"/>
              <a:gd name="connsiteY0" fmla="*/ 0 h 5157155"/>
              <a:gd name="connsiteX1" fmla="*/ 171788 w 171788"/>
              <a:gd name="connsiteY1" fmla="*/ 0 h 5157155"/>
              <a:gd name="connsiteX2" fmla="*/ 171788 w 171788"/>
              <a:gd name="connsiteY2" fmla="*/ 2232765 h 5157155"/>
              <a:gd name="connsiteX3" fmla="*/ 0 w 171788"/>
              <a:gd name="connsiteY3" fmla="*/ 5157155 h 5157155"/>
              <a:gd name="connsiteX0" fmla="*/ 0 w 171788"/>
              <a:gd name="connsiteY0" fmla="*/ 0 h 5157155"/>
              <a:gd name="connsiteX1" fmla="*/ 171788 w 171788"/>
              <a:gd name="connsiteY1" fmla="*/ 0 h 5157155"/>
              <a:gd name="connsiteX2" fmla="*/ 0 w 171788"/>
              <a:gd name="connsiteY2" fmla="*/ 5157155 h 5157155"/>
              <a:gd name="connsiteX0" fmla="*/ 0 w 0"/>
              <a:gd name="connsiteY0" fmla="*/ 0 h 5157155"/>
              <a:gd name="connsiteX1" fmla="*/ 0 w 0"/>
              <a:gd name="connsiteY1" fmla="*/ 5157155 h 5157155"/>
              <a:gd name="connsiteX0" fmla="*/ 0 w 4231678"/>
              <a:gd name="connsiteY0" fmla="*/ 14881961 h 14881961"/>
              <a:gd name="connsiteX1" fmla="*/ 4231678 w 4231678"/>
              <a:gd name="connsiteY1" fmla="*/ 0 h 14881961"/>
              <a:gd name="connsiteX0" fmla="*/ 0 w 4231678"/>
              <a:gd name="connsiteY0" fmla="*/ 14881961 h 14881961"/>
              <a:gd name="connsiteX1" fmla="*/ 4231678 w 4231678"/>
              <a:gd name="connsiteY1" fmla="*/ 0 h 14881961"/>
              <a:gd name="connsiteX2" fmla="*/ 103188 w 4231678"/>
              <a:gd name="connsiteY2" fmla="*/ 14881956 h 14881961"/>
              <a:gd name="connsiteX0" fmla="*/ 0 w 4231678"/>
              <a:gd name="connsiteY0" fmla="*/ 14881961 h 18851253"/>
              <a:gd name="connsiteX1" fmla="*/ 4231678 w 4231678"/>
              <a:gd name="connsiteY1" fmla="*/ 0 h 18851253"/>
              <a:gd name="connsiteX2" fmla="*/ 103188 w 4231678"/>
              <a:gd name="connsiteY2" fmla="*/ 14881956 h 18851253"/>
              <a:gd name="connsiteX3" fmla="*/ 103188 w 4231678"/>
              <a:gd name="connsiteY3" fmla="*/ 18851253 h 18851253"/>
              <a:gd name="connsiteX0" fmla="*/ 0 w 4231678"/>
              <a:gd name="connsiteY0" fmla="*/ 14881961 h 19212093"/>
              <a:gd name="connsiteX1" fmla="*/ 4231678 w 4231678"/>
              <a:gd name="connsiteY1" fmla="*/ 0 h 19212093"/>
              <a:gd name="connsiteX2" fmla="*/ 103188 w 4231678"/>
              <a:gd name="connsiteY2" fmla="*/ 14881956 h 19212093"/>
              <a:gd name="connsiteX3" fmla="*/ 103188 w 4231678"/>
              <a:gd name="connsiteY3" fmla="*/ 18851253 h 19212093"/>
              <a:gd name="connsiteX4" fmla="*/ 182563 w 4231678"/>
              <a:gd name="connsiteY4" fmla="*/ 19212093 h 19212093"/>
              <a:gd name="connsiteX0" fmla="*/ 0 w 4231678"/>
              <a:gd name="connsiteY0" fmla="*/ 14881961 h 19572938"/>
              <a:gd name="connsiteX1" fmla="*/ 4231678 w 4231678"/>
              <a:gd name="connsiteY1" fmla="*/ 0 h 19572938"/>
              <a:gd name="connsiteX2" fmla="*/ 103188 w 4231678"/>
              <a:gd name="connsiteY2" fmla="*/ 14881956 h 19572938"/>
              <a:gd name="connsiteX3" fmla="*/ 103188 w 4231678"/>
              <a:gd name="connsiteY3" fmla="*/ 18851253 h 19572938"/>
              <a:gd name="connsiteX4" fmla="*/ 182563 w 4231678"/>
              <a:gd name="connsiteY4" fmla="*/ 19212093 h 19572938"/>
              <a:gd name="connsiteX5" fmla="*/ 103188 w 4231678"/>
              <a:gd name="connsiteY5" fmla="*/ 19572938 h 19572938"/>
              <a:gd name="connsiteX0" fmla="*/ 0 w 4231678"/>
              <a:gd name="connsiteY0" fmla="*/ 14881961 h 23542235"/>
              <a:gd name="connsiteX1" fmla="*/ 4231678 w 4231678"/>
              <a:gd name="connsiteY1" fmla="*/ 0 h 23542235"/>
              <a:gd name="connsiteX2" fmla="*/ 103188 w 4231678"/>
              <a:gd name="connsiteY2" fmla="*/ 14881956 h 23542235"/>
              <a:gd name="connsiteX3" fmla="*/ 103188 w 4231678"/>
              <a:gd name="connsiteY3" fmla="*/ 18851253 h 23542235"/>
              <a:gd name="connsiteX4" fmla="*/ 182563 w 4231678"/>
              <a:gd name="connsiteY4" fmla="*/ 19212093 h 23542235"/>
              <a:gd name="connsiteX5" fmla="*/ 103188 w 4231678"/>
              <a:gd name="connsiteY5" fmla="*/ 19572938 h 23542235"/>
              <a:gd name="connsiteX6" fmla="*/ 103188 w 4231678"/>
              <a:gd name="connsiteY6" fmla="*/ 23542235 h 23542235"/>
              <a:gd name="connsiteX0" fmla="*/ 0 w 4231678"/>
              <a:gd name="connsiteY0" fmla="*/ 14881961 h 23542235"/>
              <a:gd name="connsiteX1" fmla="*/ 4231678 w 4231678"/>
              <a:gd name="connsiteY1" fmla="*/ 0 h 23542235"/>
              <a:gd name="connsiteX2" fmla="*/ 103188 w 4231678"/>
              <a:gd name="connsiteY2" fmla="*/ 14881956 h 23542235"/>
              <a:gd name="connsiteX3" fmla="*/ 103188 w 4231678"/>
              <a:gd name="connsiteY3" fmla="*/ 18851253 h 23542235"/>
              <a:gd name="connsiteX4" fmla="*/ 182563 w 4231678"/>
              <a:gd name="connsiteY4" fmla="*/ 19212093 h 23542235"/>
              <a:gd name="connsiteX5" fmla="*/ 103188 w 4231678"/>
              <a:gd name="connsiteY5" fmla="*/ 19572938 h 23542235"/>
              <a:gd name="connsiteX6" fmla="*/ 103188 w 4231678"/>
              <a:gd name="connsiteY6" fmla="*/ 23542235 h 23542235"/>
              <a:gd name="connsiteX7" fmla="*/ 0 w 4231678"/>
              <a:gd name="connsiteY7" fmla="*/ 23542235 h 23542235"/>
              <a:gd name="connsiteX0" fmla="*/ 0 w 4231678"/>
              <a:gd name="connsiteY0" fmla="*/ 14881951 h 23542235"/>
              <a:gd name="connsiteX1" fmla="*/ 4231678 w 4231678"/>
              <a:gd name="connsiteY1" fmla="*/ 0 h 23542235"/>
              <a:gd name="connsiteX2" fmla="*/ 103188 w 4231678"/>
              <a:gd name="connsiteY2" fmla="*/ 14881956 h 23542235"/>
              <a:gd name="connsiteX3" fmla="*/ 103188 w 4231678"/>
              <a:gd name="connsiteY3" fmla="*/ 18851253 h 23542235"/>
              <a:gd name="connsiteX4" fmla="*/ 182563 w 4231678"/>
              <a:gd name="connsiteY4" fmla="*/ 19212093 h 23542235"/>
              <a:gd name="connsiteX5" fmla="*/ 103188 w 4231678"/>
              <a:gd name="connsiteY5" fmla="*/ 19572938 h 23542235"/>
              <a:gd name="connsiteX6" fmla="*/ 103188 w 4231678"/>
              <a:gd name="connsiteY6" fmla="*/ 23542235 h 23542235"/>
              <a:gd name="connsiteX7" fmla="*/ 0 w 4231678"/>
              <a:gd name="connsiteY7" fmla="*/ 23542235 h 23542235"/>
              <a:gd name="connsiteX0" fmla="*/ 0 w 182563"/>
              <a:gd name="connsiteY0" fmla="*/ 0 h 8660284"/>
              <a:gd name="connsiteX1" fmla="*/ 103188 w 182563"/>
              <a:gd name="connsiteY1" fmla="*/ 0 h 8660284"/>
              <a:gd name="connsiteX2" fmla="*/ 103188 w 182563"/>
              <a:gd name="connsiteY2" fmla="*/ 5 h 8660284"/>
              <a:gd name="connsiteX3" fmla="*/ 103188 w 182563"/>
              <a:gd name="connsiteY3" fmla="*/ 3969302 h 8660284"/>
              <a:gd name="connsiteX4" fmla="*/ 182563 w 182563"/>
              <a:gd name="connsiteY4" fmla="*/ 4330142 h 8660284"/>
              <a:gd name="connsiteX5" fmla="*/ 103188 w 182563"/>
              <a:gd name="connsiteY5" fmla="*/ 4690987 h 8660284"/>
              <a:gd name="connsiteX6" fmla="*/ 103188 w 182563"/>
              <a:gd name="connsiteY6" fmla="*/ 8660284 h 8660284"/>
              <a:gd name="connsiteX7" fmla="*/ 0 w 182563"/>
              <a:gd name="connsiteY7" fmla="*/ 8660284 h 8660284"/>
              <a:gd name="connsiteX0" fmla="*/ 0 w 182563"/>
              <a:gd name="connsiteY0" fmla="*/ 0 h 8660284"/>
              <a:gd name="connsiteX1" fmla="*/ 103188 w 182563"/>
              <a:gd name="connsiteY1" fmla="*/ 0 h 8660284"/>
              <a:gd name="connsiteX2" fmla="*/ 103189 w 182563"/>
              <a:gd name="connsiteY2" fmla="*/ 3969292 h 8660284"/>
              <a:gd name="connsiteX3" fmla="*/ 103188 w 182563"/>
              <a:gd name="connsiteY3" fmla="*/ 3969302 h 8660284"/>
              <a:gd name="connsiteX4" fmla="*/ 182563 w 182563"/>
              <a:gd name="connsiteY4" fmla="*/ 4330142 h 8660284"/>
              <a:gd name="connsiteX5" fmla="*/ 103188 w 182563"/>
              <a:gd name="connsiteY5" fmla="*/ 4690987 h 8660284"/>
              <a:gd name="connsiteX6" fmla="*/ 103188 w 182563"/>
              <a:gd name="connsiteY6" fmla="*/ 8660284 h 8660284"/>
              <a:gd name="connsiteX7" fmla="*/ 0 w 182563"/>
              <a:gd name="connsiteY7" fmla="*/ 8660284 h 8660284"/>
              <a:gd name="connsiteX0" fmla="*/ 0 w 182564"/>
              <a:gd name="connsiteY0" fmla="*/ 0 h 8660284"/>
              <a:gd name="connsiteX1" fmla="*/ 103188 w 182564"/>
              <a:gd name="connsiteY1" fmla="*/ 0 h 8660284"/>
              <a:gd name="connsiteX2" fmla="*/ 103189 w 182564"/>
              <a:gd name="connsiteY2" fmla="*/ 3969292 h 8660284"/>
              <a:gd name="connsiteX3" fmla="*/ 182564 w 182564"/>
              <a:gd name="connsiteY3" fmla="*/ 4330137 h 8660284"/>
              <a:gd name="connsiteX4" fmla="*/ 182563 w 182564"/>
              <a:gd name="connsiteY4" fmla="*/ 4330142 h 8660284"/>
              <a:gd name="connsiteX5" fmla="*/ 103188 w 182564"/>
              <a:gd name="connsiteY5" fmla="*/ 4690987 h 8660284"/>
              <a:gd name="connsiteX6" fmla="*/ 103188 w 182564"/>
              <a:gd name="connsiteY6" fmla="*/ 8660284 h 8660284"/>
              <a:gd name="connsiteX7" fmla="*/ 0 w 182564"/>
              <a:gd name="connsiteY7" fmla="*/ 8660284 h 8660284"/>
              <a:gd name="connsiteX0" fmla="*/ 0 w 182564"/>
              <a:gd name="connsiteY0" fmla="*/ 0 h 8660284"/>
              <a:gd name="connsiteX1" fmla="*/ 103188 w 182564"/>
              <a:gd name="connsiteY1" fmla="*/ 0 h 8660284"/>
              <a:gd name="connsiteX2" fmla="*/ 103189 w 182564"/>
              <a:gd name="connsiteY2" fmla="*/ 3969292 h 8660284"/>
              <a:gd name="connsiteX3" fmla="*/ 182564 w 182564"/>
              <a:gd name="connsiteY3" fmla="*/ 4330137 h 8660284"/>
              <a:gd name="connsiteX4" fmla="*/ 103188 w 182564"/>
              <a:gd name="connsiteY4" fmla="*/ 4690982 h 8660284"/>
              <a:gd name="connsiteX5" fmla="*/ 103188 w 182564"/>
              <a:gd name="connsiteY5" fmla="*/ 4690987 h 8660284"/>
              <a:gd name="connsiteX6" fmla="*/ 103188 w 182564"/>
              <a:gd name="connsiteY6" fmla="*/ 8660284 h 8660284"/>
              <a:gd name="connsiteX7" fmla="*/ 0 w 182564"/>
              <a:gd name="connsiteY7" fmla="*/ 8660284 h 8660284"/>
              <a:gd name="connsiteX0" fmla="*/ 0 w 182564"/>
              <a:gd name="connsiteY0" fmla="*/ 0 h 8660284"/>
              <a:gd name="connsiteX1" fmla="*/ 103188 w 182564"/>
              <a:gd name="connsiteY1" fmla="*/ 0 h 8660284"/>
              <a:gd name="connsiteX2" fmla="*/ 103189 w 182564"/>
              <a:gd name="connsiteY2" fmla="*/ 3969292 h 8660284"/>
              <a:gd name="connsiteX3" fmla="*/ 182564 w 182564"/>
              <a:gd name="connsiteY3" fmla="*/ 4330137 h 8660284"/>
              <a:gd name="connsiteX4" fmla="*/ 103188 w 182564"/>
              <a:gd name="connsiteY4" fmla="*/ 4690982 h 8660284"/>
              <a:gd name="connsiteX5" fmla="*/ 103188 w 182564"/>
              <a:gd name="connsiteY5" fmla="*/ 8660279 h 8660284"/>
              <a:gd name="connsiteX6" fmla="*/ 103188 w 182564"/>
              <a:gd name="connsiteY6" fmla="*/ 8660284 h 8660284"/>
              <a:gd name="connsiteX7" fmla="*/ 0 w 182564"/>
              <a:gd name="connsiteY7" fmla="*/ 8660284 h 8660284"/>
              <a:gd name="connsiteX0" fmla="*/ 0 w 182564"/>
              <a:gd name="connsiteY0" fmla="*/ 0 h 8660284"/>
              <a:gd name="connsiteX1" fmla="*/ 103188 w 182564"/>
              <a:gd name="connsiteY1" fmla="*/ 0 h 8660284"/>
              <a:gd name="connsiteX2" fmla="*/ 103189 w 182564"/>
              <a:gd name="connsiteY2" fmla="*/ 3969292 h 8660284"/>
              <a:gd name="connsiteX3" fmla="*/ 182564 w 182564"/>
              <a:gd name="connsiteY3" fmla="*/ 4330137 h 8660284"/>
              <a:gd name="connsiteX4" fmla="*/ 103188 w 182564"/>
              <a:gd name="connsiteY4" fmla="*/ 4690982 h 8660284"/>
              <a:gd name="connsiteX5" fmla="*/ 103188 w 182564"/>
              <a:gd name="connsiteY5" fmla="*/ 8660279 h 8660284"/>
              <a:gd name="connsiteX6" fmla="*/ 0 w 182564"/>
              <a:gd name="connsiteY6" fmla="*/ 8660279 h 8660284"/>
              <a:gd name="connsiteX7" fmla="*/ 0 w 182564"/>
              <a:gd name="connsiteY7" fmla="*/ 8660284 h 8660284"/>
              <a:gd name="connsiteX0" fmla="*/ 0 w 182564"/>
              <a:gd name="connsiteY0" fmla="*/ 0 h 8660284"/>
              <a:gd name="connsiteX1" fmla="*/ 103188 w 182564"/>
              <a:gd name="connsiteY1" fmla="*/ 0 h 8660284"/>
              <a:gd name="connsiteX2" fmla="*/ 103189 w 182564"/>
              <a:gd name="connsiteY2" fmla="*/ 3969292 h 8660284"/>
              <a:gd name="connsiteX3" fmla="*/ 182564 w 182564"/>
              <a:gd name="connsiteY3" fmla="*/ 4330137 h 8660284"/>
              <a:gd name="connsiteX4" fmla="*/ 103188 w 182564"/>
              <a:gd name="connsiteY4" fmla="*/ 4690982 h 8660284"/>
              <a:gd name="connsiteX5" fmla="*/ 103188 w 182564"/>
              <a:gd name="connsiteY5" fmla="*/ 8660279 h 8660284"/>
              <a:gd name="connsiteX6" fmla="*/ 0 w 182564"/>
              <a:gd name="connsiteY6" fmla="*/ 8660279 h 8660284"/>
              <a:gd name="connsiteX7" fmla="*/ 0 w 182564"/>
              <a:gd name="connsiteY7" fmla="*/ 8660284 h 8660284"/>
              <a:gd name="connsiteX0" fmla="*/ 0 w 182564"/>
              <a:gd name="connsiteY0" fmla="*/ 0 h 8660284"/>
              <a:gd name="connsiteX1" fmla="*/ 171788 w 182564"/>
              <a:gd name="connsiteY1" fmla="*/ 0 h 8660284"/>
              <a:gd name="connsiteX2" fmla="*/ 103189 w 182564"/>
              <a:gd name="connsiteY2" fmla="*/ 3969292 h 8660284"/>
              <a:gd name="connsiteX3" fmla="*/ 182564 w 182564"/>
              <a:gd name="connsiteY3" fmla="*/ 4330137 h 8660284"/>
              <a:gd name="connsiteX4" fmla="*/ 103188 w 182564"/>
              <a:gd name="connsiteY4" fmla="*/ 4690982 h 8660284"/>
              <a:gd name="connsiteX5" fmla="*/ 103188 w 182564"/>
              <a:gd name="connsiteY5" fmla="*/ 8660279 h 8660284"/>
              <a:gd name="connsiteX6" fmla="*/ 0 w 182564"/>
              <a:gd name="connsiteY6" fmla="*/ 8660279 h 8660284"/>
              <a:gd name="connsiteX7" fmla="*/ 0 w 182564"/>
              <a:gd name="connsiteY7" fmla="*/ 8660284 h 8660284"/>
              <a:gd name="connsiteX0" fmla="*/ 0 w 182564"/>
              <a:gd name="connsiteY0" fmla="*/ 0 h 8660284"/>
              <a:gd name="connsiteX1" fmla="*/ 171788 w 182564"/>
              <a:gd name="connsiteY1" fmla="*/ 0 h 8660284"/>
              <a:gd name="connsiteX2" fmla="*/ 171788 w 182564"/>
              <a:gd name="connsiteY2" fmla="*/ 3749428 h 8660284"/>
              <a:gd name="connsiteX3" fmla="*/ 182564 w 182564"/>
              <a:gd name="connsiteY3" fmla="*/ 4330137 h 8660284"/>
              <a:gd name="connsiteX4" fmla="*/ 103188 w 182564"/>
              <a:gd name="connsiteY4" fmla="*/ 4690982 h 8660284"/>
              <a:gd name="connsiteX5" fmla="*/ 103188 w 182564"/>
              <a:gd name="connsiteY5" fmla="*/ 8660279 h 8660284"/>
              <a:gd name="connsiteX6" fmla="*/ 0 w 182564"/>
              <a:gd name="connsiteY6" fmla="*/ 8660279 h 8660284"/>
              <a:gd name="connsiteX7" fmla="*/ 0 w 182564"/>
              <a:gd name="connsiteY7" fmla="*/ 8660284 h 8660284"/>
              <a:gd name="connsiteX0" fmla="*/ 0 w 303930"/>
              <a:gd name="connsiteY0" fmla="*/ 0 h 8660284"/>
              <a:gd name="connsiteX1" fmla="*/ 171788 w 303930"/>
              <a:gd name="connsiteY1" fmla="*/ 0 h 8660284"/>
              <a:gd name="connsiteX2" fmla="*/ 171788 w 303930"/>
              <a:gd name="connsiteY2" fmla="*/ 3749428 h 8660284"/>
              <a:gd name="connsiteX3" fmla="*/ 303930 w 303930"/>
              <a:gd name="connsiteY3" fmla="*/ 4330138 h 8660284"/>
              <a:gd name="connsiteX4" fmla="*/ 103188 w 303930"/>
              <a:gd name="connsiteY4" fmla="*/ 4690982 h 8660284"/>
              <a:gd name="connsiteX5" fmla="*/ 103188 w 303930"/>
              <a:gd name="connsiteY5" fmla="*/ 8660279 h 8660284"/>
              <a:gd name="connsiteX6" fmla="*/ 0 w 303930"/>
              <a:gd name="connsiteY6" fmla="*/ 8660279 h 8660284"/>
              <a:gd name="connsiteX7" fmla="*/ 0 w 303930"/>
              <a:gd name="connsiteY7" fmla="*/ 8660284 h 8660284"/>
              <a:gd name="connsiteX0" fmla="*/ 0 w 303930"/>
              <a:gd name="connsiteY0" fmla="*/ 0 h 8660284"/>
              <a:gd name="connsiteX1" fmla="*/ 171788 w 303930"/>
              <a:gd name="connsiteY1" fmla="*/ 0 h 8660284"/>
              <a:gd name="connsiteX2" fmla="*/ 171788 w 303930"/>
              <a:gd name="connsiteY2" fmla="*/ 3749428 h 8660284"/>
              <a:gd name="connsiteX3" fmla="*/ 303930 w 303930"/>
              <a:gd name="connsiteY3" fmla="*/ 4330138 h 8660284"/>
              <a:gd name="connsiteX4" fmla="*/ 171788 w 303930"/>
              <a:gd name="connsiteY4" fmla="*/ 4910856 h 8660284"/>
              <a:gd name="connsiteX5" fmla="*/ 103188 w 303930"/>
              <a:gd name="connsiteY5" fmla="*/ 8660279 h 8660284"/>
              <a:gd name="connsiteX6" fmla="*/ 0 w 303930"/>
              <a:gd name="connsiteY6" fmla="*/ 8660279 h 8660284"/>
              <a:gd name="connsiteX7" fmla="*/ 0 w 303930"/>
              <a:gd name="connsiteY7" fmla="*/ 8660284 h 8660284"/>
              <a:gd name="connsiteX0" fmla="*/ 0 w 303930"/>
              <a:gd name="connsiteY0" fmla="*/ 0 h 8660284"/>
              <a:gd name="connsiteX1" fmla="*/ 171788 w 303930"/>
              <a:gd name="connsiteY1" fmla="*/ 0 h 8660284"/>
              <a:gd name="connsiteX2" fmla="*/ 171788 w 303930"/>
              <a:gd name="connsiteY2" fmla="*/ 3749428 h 8660284"/>
              <a:gd name="connsiteX3" fmla="*/ 303930 w 303930"/>
              <a:gd name="connsiteY3" fmla="*/ 4330138 h 8660284"/>
              <a:gd name="connsiteX4" fmla="*/ 171788 w 303930"/>
              <a:gd name="connsiteY4" fmla="*/ 4910856 h 8660284"/>
              <a:gd name="connsiteX5" fmla="*/ 171788 w 303930"/>
              <a:gd name="connsiteY5" fmla="*/ 8660284 h 8660284"/>
              <a:gd name="connsiteX6" fmla="*/ 0 w 303930"/>
              <a:gd name="connsiteY6" fmla="*/ 8660279 h 8660284"/>
              <a:gd name="connsiteX7" fmla="*/ 0 w 303930"/>
              <a:gd name="connsiteY7" fmla="*/ 8660284 h 8660284"/>
              <a:gd name="connsiteX0" fmla="*/ 0 w 303930"/>
              <a:gd name="connsiteY0" fmla="*/ 0 h 8660284"/>
              <a:gd name="connsiteX1" fmla="*/ 171788 w 303930"/>
              <a:gd name="connsiteY1" fmla="*/ 0 h 8660284"/>
              <a:gd name="connsiteX2" fmla="*/ 171788 w 303930"/>
              <a:gd name="connsiteY2" fmla="*/ 3749428 h 8660284"/>
              <a:gd name="connsiteX3" fmla="*/ 303930 w 303930"/>
              <a:gd name="connsiteY3" fmla="*/ 4330138 h 8660284"/>
              <a:gd name="connsiteX4" fmla="*/ 171788 w 303930"/>
              <a:gd name="connsiteY4" fmla="*/ 4910856 h 8660284"/>
              <a:gd name="connsiteX5" fmla="*/ 171788 w 303930"/>
              <a:gd name="connsiteY5" fmla="*/ 8660284 h 8660284"/>
              <a:gd name="connsiteX6" fmla="*/ 0 w 303930"/>
              <a:gd name="connsiteY6" fmla="*/ 8660284 h 8660284"/>
              <a:gd name="connsiteX7" fmla="*/ 0 w 303930"/>
              <a:gd name="connsiteY7" fmla="*/ 8660284 h 8660284"/>
              <a:gd name="connsiteX0" fmla="*/ 0 w 303930"/>
              <a:gd name="connsiteY0" fmla="*/ 0 h 8660284"/>
              <a:gd name="connsiteX1" fmla="*/ 171788 w 303930"/>
              <a:gd name="connsiteY1" fmla="*/ 0 h 8660284"/>
              <a:gd name="connsiteX2" fmla="*/ 171788 w 303930"/>
              <a:gd name="connsiteY2" fmla="*/ 3749428 h 8660284"/>
              <a:gd name="connsiteX3" fmla="*/ 303930 w 303930"/>
              <a:gd name="connsiteY3" fmla="*/ 4330138 h 8660284"/>
              <a:gd name="connsiteX4" fmla="*/ 171788 w 303930"/>
              <a:gd name="connsiteY4" fmla="*/ 4910856 h 8660284"/>
              <a:gd name="connsiteX5" fmla="*/ 171788 w 303930"/>
              <a:gd name="connsiteY5" fmla="*/ 8660284 h 8660284"/>
              <a:gd name="connsiteX6" fmla="*/ 0 w 303930"/>
              <a:gd name="connsiteY6" fmla="*/ 8660284 h 8660284"/>
              <a:gd name="connsiteX0" fmla="*/ 0 w 303930"/>
              <a:gd name="connsiteY0" fmla="*/ 0 h 8660284"/>
              <a:gd name="connsiteX1" fmla="*/ 171788 w 303930"/>
              <a:gd name="connsiteY1" fmla="*/ 0 h 8660284"/>
              <a:gd name="connsiteX2" fmla="*/ 171788 w 303930"/>
              <a:gd name="connsiteY2" fmla="*/ 3749428 h 8660284"/>
              <a:gd name="connsiteX3" fmla="*/ 303930 w 303930"/>
              <a:gd name="connsiteY3" fmla="*/ 4330138 h 8660284"/>
              <a:gd name="connsiteX4" fmla="*/ 171788 w 303930"/>
              <a:gd name="connsiteY4" fmla="*/ 4910856 h 8660284"/>
              <a:gd name="connsiteX5" fmla="*/ 0 w 303930"/>
              <a:gd name="connsiteY5" fmla="*/ 8660284 h 8660284"/>
              <a:gd name="connsiteX0" fmla="*/ 0 w 303930"/>
              <a:gd name="connsiteY0" fmla="*/ 0 h 8660284"/>
              <a:gd name="connsiteX1" fmla="*/ 171788 w 303930"/>
              <a:gd name="connsiteY1" fmla="*/ 0 h 8660284"/>
              <a:gd name="connsiteX2" fmla="*/ 171788 w 303930"/>
              <a:gd name="connsiteY2" fmla="*/ 3749428 h 8660284"/>
              <a:gd name="connsiteX3" fmla="*/ 303930 w 303930"/>
              <a:gd name="connsiteY3" fmla="*/ 4330138 h 8660284"/>
              <a:gd name="connsiteX4" fmla="*/ 0 w 303930"/>
              <a:gd name="connsiteY4" fmla="*/ 8660284 h 8660284"/>
              <a:gd name="connsiteX0" fmla="*/ 0 w 171789"/>
              <a:gd name="connsiteY0" fmla="*/ 0 h 8660284"/>
              <a:gd name="connsiteX1" fmla="*/ 171788 w 171789"/>
              <a:gd name="connsiteY1" fmla="*/ 0 h 8660284"/>
              <a:gd name="connsiteX2" fmla="*/ 171788 w 171789"/>
              <a:gd name="connsiteY2" fmla="*/ 3749428 h 8660284"/>
              <a:gd name="connsiteX3" fmla="*/ 0 w 171789"/>
              <a:gd name="connsiteY3" fmla="*/ 8660284 h 8660284"/>
              <a:gd name="connsiteX0" fmla="*/ 0 w 171787"/>
              <a:gd name="connsiteY0" fmla="*/ 0 h 8660284"/>
              <a:gd name="connsiteX1" fmla="*/ 171788 w 171787"/>
              <a:gd name="connsiteY1" fmla="*/ 0 h 8660284"/>
              <a:gd name="connsiteX2" fmla="*/ 0 w 171787"/>
              <a:gd name="connsiteY2" fmla="*/ 8660284 h 8660284"/>
              <a:gd name="connsiteX0" fmla="*/ 0 w 0"/>
              <a:gd name="connsiteY0" fmla="*/ 0 h 8660284"/>
              <a:gd name="connsiteX1" fmla="*/ 0 w 0"/>
              <a:gd name="connsiteY1" fmla="*/ 8660284 h 8660284"/>
              <a:gd name="connsiteX0" fmla="*/ 0 w 4247606"/>
              <a:gd name="connsiteY0" fmla="*/ 20002887 h 20002887"/>
              <a:gd name="connsiteX1" fmla="*/ 4247606 w 4247606"/>
              <a:gd name="connsiteY1" fmla="*/ 0 h 20002887"/>
              <a:gd name="connsiteX0" fmla="*/ 0 w 4247606"/>
              <a:gd name="connsiteY0" fmla="*/ 20002887 h 20002887"/>
              <a:gd name="connsiteX1" fmla="*/ 4247606 w 4247606"/>
              <a:gd name="connsiteY1" fmla="*/ 0 h 20002887"/>
              <a:gd name="connsiteX2" fmla="*/ 103187 w 4247606"/>
              <a:gd name="connsiteY2" fmla="*/ 20002880 h 20002887"/>
              <a:gd name="connsiteX0" fmla="*/ 0 w 4247606"/>
              <a:gd name="connsiteY0" fmla="*/ 20002887 h 25659117"/>
              <a:gd name="connsiteX1" fmla="*/ 4247606 w 4247606"/>
              <a:gd name="connsiteY1" fmla="*/ 0 h 25659117"/>
              <a:gd name="connsiteX2" fmla="*/ 103187 w 4247606"/>
              <a:gd name="connsiteY2" fmla="*/ 20002880 h 25659117"/>
              <a:gd name="connsiteX3" fmla="*/ 103187 w 4247606"/>
              <a:gd name="connsiteY3" fmla="*/ 25659117 h 25659117"/>
              <a:gd name="connsiteX0" fmla="*/ 0 w 4247606"/>
              <a:gd name="connsiteY0" fmla="*/ 20002887 h 26173320"/>
              <a:gd name="connsiteX1" fmla="*/ 4247606 w 4247606"/>
              <a:gd name="connsiteY1" fmla="*/ 0 h 26173320"/>
              <a:gd name="connsiteX2" fmla="*/ 103187 w 4247606"/>
              <a:gd name="connsiteY2" fmla="*/ 20002880 h 26173320"/>
              <a:gd name="connsiteX3" fmla="*/ 103187 w 4247606"/>
              <a:gd name="connsiteY3" fmla="*/ 25659117 h 26173320"/>
              <a:gd name="connsiteX4" fmla="*/ 182562 w 4247606"/>
              <a:gd name="connsiteY4" fmla="*/ 26173320 h 26173320"/>
              <a:gd name="connsiteX0" fmla="*/ 0 w 4247606"/>
              <a:gd name="connsiteY0" fmla="*/ 20002887 h 26687523"/>
              <a:gd name="connsiteX1" fmla="*/ 4247606 w 4247606"/>
              <a:gd name="connsiteY1" fmla="*/ 0 h 26687523"/>
              <a:gd name="connsiteX2" fmla="*/ 103187 w 4247606"/>
              <a:gd name="connsiteY2" fmla="*/ 20002880 h 26687523"/>
              <a:gd name="connsiteX3" fmla="*/ 103187 w 4247606"/>
              <a:gd name="connsiteY3" fmla="*/ 25659117 h 26687523"/>
              <a:gd name="connsiteX4" fmla="*/ 182562 w 4247606"/>
              <a:gd name="connsiteY4" fmla="*/ 26173320 h 26687523"/>
              <a:gd name="connsiteX5" fmla="*/ 103187 w 4247606"/>
              <a:gd name="connsiteY5" fmla="*/ 26687523 h 26687523"/>
              <a:gd name="connsiteX0" fmla="*/ 0 w 4247606"/>
              <a:gd name="connsiteY0" fmla="*/ 20002887 h 32343759"/>
              <a:gd name="connsiteX1" fmla="*/ 4247606 w 4247606"/>
              <a:gd name="connsiteY1" fmla="*/ 0 h 32343759"/>
              <a:gd name="connsiteX2" fmla="*/ 103187 w 4247606"/>
              <a:gd name="connsiteY2" fmla="*/ 20002880 h 32343759"/>
              <a:gd name="connsiteX3" fmla="*/ 103187 w 4247606"/>
              <a:gd name="connsiteY3" fmla="*/ 25659117 h 32343759"/>
              <a:gd name="connsiteX4" fmla="*/ 182562 w 4247606"/>
              <a:gd name="connsiteY4" fmla="*/ 26173320 h 32343759"/>
              <a:gd name="connsiteX5" fmla="*/ 103187 w 4247606"/>
              <a:gd name="connsiteY5" fmla="*/ 26687523 h 32343759"/>
              <a:gd name="connsiteX6" fmla="*/ 103187 w 4247606"/>
              <a:gd name="connsiteY6" fmla="*/ 32343759 h 32343759"/>
              <a:gd name="connsiteX0" fmla="*/ 0 w 4247606"/>
              <a:gd name="connsiteY0" fmla="*/ 20002887 h 32343759"/>
              <a:gd name="connsiteX1" fmla="*/ 4247606 w 4247606"/>
              <a:gd name="connsiteY1" fmla="*/ 0 h 32343759"/>
              <a:gd name="connsiteX2" fmla="*/ 103187 w 4247606"/>
              <a:gd name="connsiteY2" fmla="*/ 20002880 h 32343759"/>
              <a:gd name="connsiteX3" fmla="*/ 103187 w 4247606"/>
              <a:gd name="connsiteY3" fmla="*/ 25659117 h 32343759"/>
              <a:gd name="connsiteX4" fmla="*/ 182562 w 4247606"/>
              <a:gd name="connsiteY4" fmla="*/ 26173320 h 32343759"/>
              <a:gd name="connsiteX5" fmla="*/ 103187 w 4247606"/>
              <a:gd name="connsiteY5" fmla="*/ 26687523 h 32343759"/>
              <a:gd name="connsiteX6" fmla="*/ 103187 w 4247606"/>
              <a:gd name="connsiteY6" fmla="*/ 32343759 h 32343759"/>
              <a:gd name="connsiteX7" fmla="*/ 0 w 4247606"/>
              <a:gd name="connsiteY7" fmla="*/ 32343759 h 32343759"/>
              <a:gd name="connsiteX0" fmla="*/ 0 w 4247606"/>
              <a:gd name="connsiteY0" fmla="*/ 20002880 h 32343759"/>
              <a:gd name="connsiteX1" fmla="*/ 4247606 w 4247606"/>
              <a:gd name="connsiteY1" fmla="*/ 0 h 32343759"/>
              <a:gd name="connsiteX2" fmla="*/ 103187 w 4247606"/>
              <a:gd name="connsiteY2" fmla="*/ 20002880 h 32343759"/>
              <a:gd name="connsiteX3" fmla="*/ 103187 w 4247606"/>
              <a:gd name="connsiteY3" fmla="*/ 25659117 h 32343759"/>
              <a:gd name="connsiteX4" fmla="*/ 182562 w 4247606"/>
              <a:gd name="connsiteY4" fmla="*/ 26173320 h 32343759"/>
              <a:gd name="connsiteX5" fmla="*/ 103187 w 4247606"/>
              <a:gd name="connsiteY5" fmla="*/ 26687523 h 32343759"/>
              <a:gd name="connsiteX6" fmla="*/ 103187 w 4247606"/>
              <a:gd name="connsiteY6" fmla="*/ 32343759 h 32343759"/>
              <a:gd name="connsiteX7" fmla="*/ 0 w 4247606"/>
              <a:gd name="connsiteY7" fmla="*/ 32343759 h 32343759"/>
              <a:gd name="connsiteX0" fmla="*/ 0 w 182562"/>
              <a:gd name="connsiteY0" fmla="*/ 0 h 12340879"/>
              <a:gd name="connsiteX1" fmla="*/ 103187 w 182562"/>
              <a:gd name="connsiteY1" fmla="*/ 0 h 12340879"/>
              <a:gd name="connsiteX2" fmla="*/ 103187 w 182562"/>
              <a:gd name="connsiteY2" fmla="*/ 0 h 12340879"/>
              <a:gd name="connsiteX3" fmla="*/ 103187 w 182562"/>
              <a:gd name="connsiteY3" fmla="*/ 5656237 h 12340879"/>
              <a:gd name="connsiteX4" fmla="*/ 182562 w 182562"/>
              <a:gd name="connsiteY4" fmla="*/ 6170440 h 12340879"/>
              <a:gd name="connsiteX5" fmla="*/ 103187 w 182562"/>
              <a:gd name="connsiteY5" fmla="*/ 6684643 h 12340879"/>
              <a:gd name="connsiteX6" fmla="*/ 103187 w 182562"/>
              <a:gd name="connsiteY6" fmla="*/ 12340879 h 12340879"/>
              <a:gd name="connsiteX7" fmla="*/ 0 w 182562"/>
              <a:gd name="connsiteY7" fmla="*/ 12340879 h 12340879"/>
              <a:gd name="connsiteX0" fmla="*/ 0 w 182562"/>
              <a:gd name="connsiteY0" fmla="*/ 0 h 12340879"/>
              <a:gd name="connsiteX1" fmla="*/ 103187 w 182562"/>
              <a:gd name="connsiteY1" fmla="*/ 0 h 12340879"/>
              <a:gd name="connsiteX2" fmla="*/ 103187 w 182562"/>
              <a:gd name="connsiteY2" fmla="*/ 5656229 h 12340879"/>
              <a:gd name="connsiteX3" fmla="*/ 103187 w 182562"/>
              <a:gd name="connsiteY3" fmla="*/ 5656237 h 12340879"/>
              <a:gd name="connsiteX4" fmla="*/ 182562 w 182562"/>
              <a:gd name="connsiteY4" fmla="*/ 6170440 h 12340879"/>
              <a:gd name="connsiteX5" fmla="*/ 103187 w 182562"/>
              <a:gd name="connsiteY5" fmla="*/ 6684643 h 12340879"/>
              <a:gd name="connsiteX6" fmla="*/ 103187 w 182562"/>
              <a:gd name="connsiteY6" fmla="*/ 12340879 h 12340879"/>
              <a:gd name="connsiteX7" fmla="*/ 0 w 182562"/>
              <a:gd name="connsiteY7" fmla="*/ 12340879 h 12340879"/>
              <a:gd name="connsiteX0" fmla="*/ 0 w 182562"/>
              <a:gd name="connsiteY0" fmla="*/ 0 h 12340879"/>
              <a:gd name="connsiteX1" fmla="*/ 103187 w 182562"/>
              <a:gd name="connsiteY1" fmla="*/ 0 h 12340879"/>
              <a:gd name="connsiteX2" fmla="*/ 103187 w 182562"/>
              <a:gd name="connsiteY2" fmla="*/ 5656229 h 12340879"/>
              <a:gd name="connsiteX3" fmla="*/ 182562 w 182562"/>
              <a:gd name="connsiteY3" fmla="*/ 6170433 h 12340879"/>
              <a:gd name="connsiteX4" fmla="*/ 182562 w 182562"/>
              <a:gd name="connsiteY4" fmla="*/ 6170440 h 12340879"/>
              <a:gd name="connsiteX5" fmla="*/ 103187 w 182562"/>
              <a:gd name="connsiteY5" fmla="*/ 6684643 h 12340879"/>
              <a:gd name="connsiteX6" fmla="*/ 103187 w 182562"/>
              <a:gd name="connsiteY6" fmla="*/ 12340879 h 12340879"/>
              <a:gd name="connsiteX7" fmla="*/ 0 w 182562"/>
              <a:gd name="connsiteY7" fmla="*/ 12340879 h 12340879"/>
              <a:gd name="connsiteX0" fmla="*/ 0 w 182562"/>
              <a:gd name="connsiteY0" fmla="*/ 0 h 12340879"/>
              <a:gd name="connsiteX1" fmla="*/ 103187 w 182562"/>
              <a:gd name="connsiteY1" fmla="*/ 0 h 12340879"/>
              <a:gd name="connsiteX2" fmla="*/ 103187 w 182562"/>
              <a:gd name="connsiteY2" fmla="*/ 5656229 h 12340879"/>
              <a:gd name="connsiteX3" fmla="*/ 182562 w 182562"/>
              <a:gd name="connsiteY3" fmla="*/ 6170433 h 12340879"/>
              <a:gd name="connsiteX4" fmla="*/ 103187 w 182562"/>
              <a:gd name="connsiteY4" fmla="*/ 6684636 h 12340879"/>
              <a:gd name="connsiteX5" fmla="*/ 103187 w 182562"/>
              <a:gd name="connsiteY5" fmla="*/ 6684643 h 12340879"/>
              <a:gd name="connsiteX6" fmla="*/ 103187 w 182562"/>
              <a:gd name="connsiteY6" fmla="*/ 12340879 h 12340879"/>
              <a:gd name="connsiteX7" fmla="*/ 0 w 182562"/>
              <a:gd name="connsiteY7" fmla="*/ 12340879 h 12340879"/>
              <a:gd name="connsiteX0" fmla="*/ 0 w 182562"/>
              <a:gd name="connsiteY0" fmla="*/ 0 h 12340879"/>
              <a:gd name="connsiteX1" fmla="*/ 103187 w 182562"/>
              <a:gd name="connsiteY1" fmla="*/ 0 h 12340879"/>
              <a:gd name="connsiteX2" fmla="*/ 103187 w 182562"/>
              <a:gd name="connsiteY2" fmla="*/ 5656229 h 12340879"/>
              <a:gd name="connsiteX3" fmla="*/ 182562 w 182562"/>
              <a:gd name="connsiteY3" fmla="*/ 6170433 h 12340879"/>
              <a:gd name="connsiteX4" fmla="*/ 103187 w 182562"/>
              <a:gd name="connsiteY4" fmla="*/ 6684636 h 12340879"/>
              <a:gd name="connsiteX5" fmla="*/ 103187 w 182562"/>
              <a:gd name="connsiteY5" fmla="*/ 12340872 h 12340879"/>
              <a:gd name="connsiteX6" fmla="*/ 103187 w 182562"/>
              <a:gd name="connsiteY6" fmla="*/ 12340879 h 12340879"/>
              <a:gd name="connsiteX7" fmla="*/ 0 w 182562"/>
              <a:gd name="connsiteY7" fmla="*/ 12340879 h 12340879"/>
              <a:gd name="connsiteX0" fmla="*/ 0 w 182562"/>
              <a:gd name="connsiteY0" fmla="*/ 0 h 12340879"/>
              <a:gd name="connsiteX1" fmla="*/ 103187 w 182562"/>
              <a:gd name="connsiteY1" fmla="*/ 0 h 12340879"/>
              <a:gd name="connsiteX2" fmla="*/ 103187 w 182562"/>
              <a:gd name="connsiteY2" fmla="*/ 5656229 h 12340879"/>
              <a:gd name="connsiteX3" fmla="*/ 182562 w 182562"/>
              <a:gd name="connsiteY3" fmla="*/ 6170433 h 12340879"/>
              <a:gd name="connsiteX4" fmla="*/ 103187 w 182562"/>
              <a:gd name="connsiteY4" fmla="*/ 6684636 h 12340879"/>
              <a:gd name="connsiteX5" fmla="*/ 103187 w 182562"/>
              <a:gd name="connsiteY5" fmla="*/ 12340872 h 12340879"/>
              <a:gd name="connsiteX6" fmla="*/ 0 w 182562"/>
              <a:gd name="connsiteY6" fmla="*/ 12340872 h 12340879"/>
              <a:gd name="connsiteX7" fmla="*/ 0 w 182562"/>
              <a:gd name="connsiteY7" fmla="*/ 12340879 h 12340879"/>
              <a:gd name="connsiteX0" fmla="*/ 0 w 182562"/>
              <a:gd name="connsiteY0" fmla="*/ 0 h 12340879"/>
              <a:gd name="connsiteX1" fmla="*/ 103187 w 182562"/>
              <a:gd name="connsiteY1" fmla="*/ 0 h 12340879"/>
              <a:gd name="connsiteX2" fmla="*/ 103187 w 182562"/>
              <a:gd name="connsiteY2" fmla="*/ 5656229 h 12340879"/>
              <a:gd name="connsiteX3" fmla="*/ 182562 w 182562"/>
              <a:gd name="connsiteY3" fmla="*/ 6170433 h 12340879"/>
              <a:gd name="connsiteX4" fmla="*/ 103187 w 182562"/>
              <a:gd name="connsiteY4" fmla="*/ 6684636 h 12340879"/>
              <a:gd name="connsiteX5" fmla="*/ 103187 w 182562"/>
              <a:gd name="connsiteY5" fmla="*/ 12340872 h 12340879"/>
              <a:gd name="connsiteX6" fmla="*/ 0 w 182562"/>
              <a:gd name="connsiteY6" fmla="*/ 12340872 h 12340879"/>
              <a:gd name="connsiteX7" fmla="*/ 0 w 182562"/>
              <a:gd name="connsiteY7" fmla="*/ 12340879 h 12340879"/>
              <a:gd name="connsiteX0" fmla="*/ 0 w 182562"/>
              <a:gd name="connsiteY0" fmla="*/ 0 h 12340879"/>
              <a:gd name="connsiteX1" fmla="*/ 145776 w 182562"/>
              <a:gd name="connsiteY1" fmla="*/ 0 h 12340879"/>
              <a:gd name="connsiteX2" fmla="*/ 103187 w 182562"/>
              <a:gd name="connsiteY2" fmla="*/ 5656229 h 12340879"/>
              <a:gd name="connsiteX3" fmla="*/ 182562 w 182562"/>
              <a:gd name="connsiteY3" fmla="*/ 6170433 h 12340879"/>
              <a:gd name="connsiteX4" fmla="*/ 103187 w 182562"/>
              <a:gd name="connsiteY4" fmla="*/ 6684636 h 12340879"/>
              <a:gd name="connsiteX5" fmla="*/ 103187 w 182562"/>
              <a:gd name="connsiteY5" fmla="*/ 12340872 h 12340879"/>
              <a:gd name="connsiteX6" fmla="*/ 0 w 182562"/>
              <a:gd name="connsiteY6" fmla="*/ 12340872 h 12340879"/>
              <a:gd name="connsiteX7" fmla="*/ 0 w 182562"/>
              <a:gd name="connsiteY7" fmla="*/ 12340879 h 12340879"/>
              <a:gd name="connsiteX0" fmla="*/ 0 w 182562"/>
              <a:gd name="connsiteY0" fmla="*/ 0 h 12340879"/>
              <a:gd name="connsiteX1" fmla="*/ 145776 w 182562"/>
              <a:gd name="connsiteY1" fmla="*/ 0 h 12340879"/>
              <a:gd name="connsiteX2" fmla="*/ 145776 w 182562"/>
              <a:gd name="connsiteY2" fmla="*/ 5468227 h 12340879"/>
              <a:gd name="connsiteX3" fmla="*/ 182562 w 182562"/>
              <a:gd name="connsiteY3" fmla="*/ 6170433 h 12340879"/>
              <a:gd name="connsiteX4" fmla="*/ 103187 w 182562"/>
              <a:gd name="connsiteY4" fmla="*/ 6684636 h 12340879"/>
              <a:gd name="connsiteX5" fmla="*/ 103187 w 182562"/>
              <a:gd name="connsiteY5" fmla="*/ 12340872 h 12340879"/>
              <a:gd name="connsiteX6" fmla="*/ 0 w 182562"/>
              <a:gd name="connsiteY6" fmla="*/ 12340872 h 12340879"/>
              <a:gd name="connsiteX7" fmla="*/ 0 w 182562"/>
              <a:gd name="connsiteY7" fmla="*/ 12340879 h 12340879"/>
              <a:gd name="connsiteX0" fmla="*/ 0 w 257909"/>
              <a:gd name="connsiteY0" fmla="*/ 0 h 12340879"/>
              <a:gd name="connsiteX1" fmla="*/ 145776 w 257909"/>
              <a:gd name="connsiteY1" fmla="*/ 0 h 12340879"/>
              <a:gd name="connsiteX2" fmla="*/ 145776 w 257909"/>
              <a:gd name="connsiteY2" fmla="*/ 5468227 h 12340879"/>
              <a:gd name="connsiteX3" fmla="*/ 257909 w 257909"/>
              <a:gd name="connsiteY3" fmla="*/ 6170435 h 12340879"/>
              <a:gd name="connsiteX4" fmla="*/ 103187 w 257909"/>
              <a:gd name="connsiteY4" fmla="*/ 6684636 h 12340879"/>
              <a:gd name="connsiteX5" fmla="*/ 103187 w 257909"/>
              <a:gd name="connsiteY5" fmla="*/ 12340872 h 12340879"/>
              <a:gd name="connsiteX6" fmla="*/ 0 w 257909"/>
              <a:gd name="connsiteY6" fmla="*/ 12340872 h 12340879"/>
              <a:gd name="connsiteX7" fmla="*/ 0 w 257909"/>
              <a:gd name="connsiteY7" fmla="*/ 12340879 h 12340879"/>
              <a:gd name="connsiteX0" fmla="*/ 0 w 257909"/>
              <a:gd name="connsiteY0" fmla="*/ 0 h 12340879"/>
              <a:gd name="connsiteX1" fmla="*/ 145776 w 257909"/>
              <a:gd name="connsiteY1" fmla="*/ 0 h 12340879"/>
              <a:gd name="connsiteX2" fmla="*/ 145776 w 257909"/>
              <a:gd name="connsiteY2" fmla="*/ 5468227 h 12340879"/>
              <a:gd name="connsiteX3" fmla="*/ 257909 w 257909"/>
              <a:gd name="connsiteY3" fmla="*/ 6170435 h 12340879"/>
              <a:gd name="connsiteX4" fmla="*/ 145776 w 257909"/>
              <a:gd name="connsiteY4" fmla="*/ 6872652 h 12340879"/>
              <a:gd name="connsiteX5" fmla="*/ 103187 w 257909"/>
              <a:gd name="connsiteY5" fmla="*/ 12340872 h 12340879"/>
              <a:gd name="connsiteX6" fmla="*/ 0 w 257909"/>
              <a:gd name="connsiteY6" fmla="*/ 12340872 h 12340879"/>
              <a:gd name="connsiteX7" fmla="*/ 0 w 257909"/>
              <a:gd name="connsiteY7" fmla="*/ 12340879 h 12340879"/>
              <a:gd name="connsiteX0" fmla="*/ 0 w 257909"/>
              <a:gd name="connsiteY0" fmla="*/ 0 h 12340879"/>
              <a:gd name="connsiteX1" fmla="*/ 145776 w 257909"/>
              <a:gd name="connsiteY1" fmla="*/ 0 h 12340879"/>
              <a:gd name="connsiteX2" fmla="*/ 145776 w 257909"/>
              <a:gd name="connsiteY2" fmla="*/ 5468227 h 12340879"/>
              <a:gd name="connsiteX3" fmla="*/ 257909 w 257909"/>
              <a:gd name="connsiteY3" fmla="*/ 6170435 h 12340879"/>
              <a:gd name="connsiteX4" fmla="*/ 145776 w 257909"/>
              <a:gd name="connsiteY4" fmla="*/ 6872652 h 12340879"/>
              <a:gd name="connsiteX5" fmla="*/ 145776 w 257909"/>
              <a:gd name="connsiteY5" fmla="*/ 12340879 h 12340879"/>
              <a:gd name="connsiteX6" fmla="*/ 0 w 257909"/>
              <a:gd name="connsiteY6" fmla="*/ 12340872 h 12340879"/>
              <a:gd name="connsiteX7" fmla="*/ 0 w 257909"/>
              <a:gd name="connsiteY7" fmla="*/ 12340879 h 12340879"/>
              <a:gd name="connsiteX0" fmla="*/ 0 w 257909"/>
              <a:gd name="connsiteY0" fmla="*/ 0 h 12340879"/>
              <a:gd name="connsiteX1" fmla="*/ 145776 w 257909"/>
              <a:gd name="connsiteY1" fmla="*/ 0 h 12340879"/>
              <a:gd name="connsiteX2" fmla="*/ 145776 w 257909"/>
              <a:gd name="connsiteY2" fmla="*/ 5468227 h 12340879"/>
              <a:gd name="connsiteX3" fmla="*/ 257909 w 257909"/>
              <a:gd name="connsiteY3" fmla="*/ 6170435 h 12340879"/>
              <a:gd name="connsiteX4" fmla="*/ 145776 w 257909"/>
              <a:gd name="connsiteY4" fmla="*/ 6872652 h 12340879"/>
              <a:gd name="connsiteX5" fmla="*/ 145776 w 257909"/>
              <a:gd name="connsiteY5" fmla="*/ 12340879 h 12340879"/>
              <a:gd name="connsiteX6" fmla="*/ 0 w 257909"/>
              <a:gd name="connsiteY6" fmla="*/ 12340879 h 12340879"/>
              <a:gd name="connsiteX7" fmla="*/ 0 w 257909"/>
              <a:gd name="connsiteY7" fmla="*/ 12340879 h 12340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909" h="12340879">
                <a:moveTo>
                  <a:pt x="0" y="0"/>
                </a:moveTo>
                <a:lnTo>
                  <a:pt x="145776" y="0"/>
                </a:lnTo>
                <a:lnTo>
                  <a:pt x="145776" y="5468227"/>
                </a:lnTo>
                <a:lnTo>
                  <a:pt x="257909" y="6170435"/>
                </a:lnTo>
                <a:lnTo>
                  <a:pt x="145776" y="6872652"/>
                </a:lnTo>
                <a:lnTo>
                  <a:pt x="145776" y="12340879"/>
                </a:lnTo>
                <a:lnTo>
                  <a:pt x="0" y="12340879"/>
                </a:lnTo>
                <a:lnTo>
                  <a:pt x="0" y="12340879"/>
                </a:lnTo>
              </a:path>
            </a:pathLst>
          </a:custGeom>
          <a:noFill/>
          <a:ln w="9525">
            <a:solidFill>
              <a:schemeClr val="accent6"/>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ea"/>
            </a:endParaRPr>
          </a:p>
        </p:txBody>
      </p:sp>
      <p:sp>
        <p:nvSpPr>
          <p:cNvPr id="92" name="Rectangle 18431"/>
          <p:cNvSpPr txBox="1"/>
          <p:nvPr/>
        </p:nvSpPr>
        <p:spPr>
          <a:xfrm>
            <a:off x="6106130" y="2683242"/>
            <a:ext cx="346755" cy="18466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dirty="0">
                <a:latin typeface="+mn-ea"/>
                <a:cs typeface="KaiTi"/>
              </a:rPr>
              <a:t>2000</a:t>
            </a:r>
            <a:endParaRPr lang="zh-CN" sz="1200" dirty="0">
              <a:latin typeface="+mn-ea"/>
            </a:endParaRPr>
          </a:p>
        </p:txBody>
      </p:sp>
      <p:sp>
        <p:nvSpPr>
          <p:cNvPr id="66"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zh-CN" sz="800" dirty="0">
                <a:solidFill>
                  <a:srgbClr val="808080"/>
                </a:solidFill>
                <a:latin typeface="KaiTi"/>
                <a:cs typeface="KaiTi"/>
              </a:rPr>
              <a:t>资料来源：麦肯锡分析</a:t>
            </a:r>
            <a:endParaRPr lang="zh-CN" sz="800" dirty="0">
              <a:solidFill>
                <a:srgbClr val="808080"/>
              </a:solidFill>
              <a:latin typeface="KaiTi"/>
            </a:endParaRPr>
          </a:p>
        </p:txBody>
      </p:sp>
      <p:sp>
        <p:nvSpPr>
          <p:cNvPr id="70" name="TextBox 18440"/>
          <p:cNvSpPr txBox="1">
            <a:spLocks/>
          </p:cNvSpPr>
          <p:nvPr>
            <p:custDataLst>
              <p:tags r:id="rId12"/>
            </p:custDataLst>
          </p:nvPr>
        </p:nvSpPr>
        <p:spPr>
          <a:xfrm>
            <a:off x="4317225" y="4945147"/>
            <a:ext cx="1793869" cy="1115459"/>
          </a:xfrm>
          <a:prstGeom prst="rightArrow">
            <a:avLst>
              <a:gd name="adj1" fmla="val 54000"/>
              <a:gd name="adj2" fmla="val 37676"/>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oAutofit/>
          </a:bodyPr>
          <a:lstStyle>
            <a:defPPr>
              <a:defRPr lang="en-US"/>
            </a:defPPr>
            <a:lvl1pPr>
              <a:defRPr sz="1100" b="0">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zh-CN" sz="1200" dirty="0">
                <a:latin typeface="+mn-ea"/>
                <a:cs typeface="KaiTi"/>
              </a:rPr>
              <a:t>更多的</a:t>
            </a:r>
            <a:r>
              <a:rPr lang="zh-CN" sz="1200" b="1" dirty="0">
                <a:latin typeface="+mn-ea"/>
                <a:cs typeface="KaiTi"/>
              </a:rPr>
              <a:t>计算能力</a:t>
            </a:r>
            <a:endParaRPr lang="zh-CN" sz="1200" dirty="0">
              <a:latin typeface="+mn-ea"/>
            </a:endParaRPr>
          </a:p>
        </p:txBody>
      </p:sp>
      <p:sp>
        <p:nvSpPr>
          <p:cNvPr id="5" name="Tracker circle"/>
          <p:cNvSpPr/>
          <p:nvPr/>
        </p:nvSpPr>
        <p:spPr>
          <a:xfrm>
            <a:off x="4141324" y="3138834"/>
            <a:ext cx="248920" cy="24892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zh-CN" sz="1200" b="1" dirty="0">
                <a:solidFill>
                  <a:schemeClr val="tx1"/>
                </a:solidFill>
                <a:latin typeface="+mn-ea"/>
                <a:cs typeface="KaiTi"/>
              </a:rPr>
              <a:t>A</a:t>
            </a:r>
          </a:p>
        </p:txBody>
      </p:sp>
      <p:sp>
        <p:nvSpPr>
          <p:cNvPr id="72" name="Tracker circle"/>
          <p:cNvSpPr/>
          <p:nvPr/>
        </p:nvSpPr>
        <p:spPr>
          <a:xfrm>
            <a:off x="4141324" y="4536737"/>
            <a:ext cx="248920" cy="24892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zh-CN" sz="1200" b="1" dirty="0">
                <a:solidFill>
                  <a:schemeClr val="tx1"/>
                </a:solidFill>
                <a:latin typeface="+mn-ea"/>
                <a:cs typeface="KaiTi"/>
              </a:rPr>
              <a:t>B</a:t>
            </a:r>
            <a:endParaRPr lang="zh-CN" sz="1200" b="1" dirty="0">
              <a:solidFill>
                <a:schemeClr val="tx1"/>
              </a:solidFill>
              <a:latin typeface="+mn-ea"/>
            </a:endParaRPr>
          </a:p>
        </p:txBody>
      </p:sp>
      <p:sp>
        <p:nvSpPr>
          <p:cNvPr id="74" name="Tracker circle"/>
          <p:cNvSpPr/>
          <p:nvPr/>
        </p:nvSpPr>
        <p:spPr>
          <a:xfrm>
            <a:off x="4141324" y="5348988"/>
            <a:ext cx="248920" cy="24892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zh-CN" sz="1200" b="1" dirty="0">
                <a:solidFill>
                  <a:schemeClr val="tx1"/>
                </a:solidFill>
                <a:latin typeface="+mn-ea"/>
                <a:cs typeface="KaiTi"/>
              </a:rPr>
              <a:t>C</a:t>
            </a:r>
            <a:endParaRPr lang="zh-CN" sz="1200" b="1" dirty="0">
              <a:solidFill>
                <a:schemeClr val="tx1"/>
              </a:solidFill>
              <a:latin typeface="+mn-ea"/>
            </a:endParaRPr>
          </a:p>
        </p:txBody>
      </p:sp>
    </p:spTree>
    <p:extLst>
      <p:ext uri="{BB962C8B-B14F-4D97-AF65-F5344CB8AC3E}">
        <p14:creationId xmlns:p14="http://schemas.microsoft.com/office/powerpoint/2010/main" val="28412473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321289493"/>
              </p:ext>
            </p:extLst>
          </p:nvPr>
        </p:nvGraphicFramePr>
        <p:xfrm>
          <a:off x="1121570" y="841524"/>
          <a:ext cx="1190" cy="1190"/>
        </p:xfrm>
        <a:graphic>
          <a:graphicData uri="http://schemas.openxmlformats.org/presentationml/2006/ole">
            <mc:AlternateContent xmlns:mc="http://schemas.openxmlformats.org/markup-compatibility/2006">
              <mc:Choice xmlns:v="urn:schemas-microsoft-com:vml" Requires="v">
                <p:oleObj spid="_x0000_s200710" name="think-cell 幻灯片" r:id="rId4" imgW="353" imgH="353" progId="TCLayout.ActiveDocument.1">
                  <p:embed/>
                </p:oleObj>
              </mc:Choice>
              <mc:Fallback>
                <p:oleObj name="think-cell 幻灯片" r:id="rId4" imgW="353" imgH="353" progId="TCLayout.ActiveDocument.1">
                  <p:embed/>
                  <p:pic>
                    <p:nvPicPr>
                      <p:cNvPr id="6" name="Object 5" hidden="1"/>
                      <p:cNvPicPr/>
                      <p:nvPr/>
                    </p:nvPicPr>
                    <p:blipFill>
                      <a:blip r:embed="rId5"/>
                      <a:stretch>
                        <a:fillRect/>
                      </a:stretch>
                    </p:blipFill>
                    <p:spPr>
                      <a:xfrm>
                        <a:off x="1121570" y="841524"/>
                        <a:ext cx="1190" cy="1190"/>
                      </a:xfrm>
                      <a:prstGeom prst="rect">
                        <a:avLst/>
                      </a:prstGeom>
                    </p:spPr>
                  </p:pic>
                </p:oleObj>
              </mc:Fallback>
            </mc:AlternateContent>
          </a:graphicData>
        </a:graphic>
      </p:graphicFrame>
      <p:sp>
        <p:nvSpPr>
          <p:cNvPr id="2" name="Title 1"/>
          <p:cNvSpPr>
            <a:spLocks noGrp="1"/>
          </p:cNvSpPr>
          <p:nvPr>
            <p:ph type="title"/>
          </p:nvPr>
        </p:nvSpPr>
        <p:spPr>
          <a:xfrm>
            <a:off x="119063" y="306286"/>
            <a:ext cx="8288339" cy="307664"/>
          </a:xfrm>
        </p:spPr>
        <p:txBody>
          <a:bodyPr vert="horz"/>
          <a:lstStyle/>
          <a:p>
            <a:r>
              <a:rPr lang="zh-CN" dirty="0">
                <a:latin typeface="KaiTi"/>
                <a:cs typeface="KaiTi"/>
              </a:rPr>
              <a:t>所有机器学习系列的主要技术</a:t>
            </a:r>
            <a:endParaRPr lang="zh-CN" dirty="0"/>
          </a:p>
        </p:txBody>
      </p:sp>
      <p:sp>
        <p:nvSpPr>
          <p:cNvPr id="231" name="5. Source"/>
          <p:cNvSpPr>
            <a:spLocks noChangeArrowheads="1"/>
          </p:cNvSpPr>
          <p:nvPr/>
        </p:nvSpPr>
        <p:spPr bwMode="gray">
          <a:xfrm>
            <a:off x="119065" y="6435324"/>
            <a:ext cx="7200000" cy="1230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568" indent="-609568" defTabSz="895303">
              <a:tabLst>
                <a:tab pos="630205" algn="l"/>
              </a:tabLst>
            </a:pPr>
            <a:r>
              <a:rPr lang="zh-CN" sz="800" dirty="0">
                <a:solidFill>
                  <a:schemeClr val="accent6"/>
                </a:solidFill>
                <a:latin typeface="KaiTi"/>
                <a:cs typeface="KaiTi"/>
              </a:rPr>
              <a:t>资料来源：麦肯锡分析咨询业务;DataScienceCentral.com</a:t>
            </a:r>
          </a:p>
        </p:txBody>
      </p:sp>
      <p:grpSp>
        <p:nvGrpSpPr>
          <p:cNvPr id="3" name="Group 2"/>
          <p:cNvGrpSpPr/>
          <p:nvPr/>
        </p:nvGrpSpPr>
        <p:grpSpPr>
          <a:xfrm>
            <a:off x="119067" y="841524"/>
            <a:ext cx="8698362" cy="5235184"/>
            <a:chOff x="119067" y="1453253"/>
            <a:chExt cx="8618535" cy="4082372"/>
          </a:xfrm>
        </p:grpSpPr>
        <p:sp>
          <p:nvSpPr>
            <p:cNvPr id="220" name="Rectangle 219"/>
            <p:cNvSpPr>
              <a:spLocks/>
            </p:cNvSpPr>
            <p:nvPr/>
          </p:nvSpPr>
          <p:spPr>
            <a:xfrm>
              <a:off x="119067" y="1453253"/>
              <a:ext cx="8618535" cy="4082372"/>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err="1">
                <a:solidFill>
                  <a:schemeClr val="tx1"/>
                </a:solidFill>
                <a:latin typeface="+mj-lt"/>
              </a:endParaRPr>
            </a:p>
          </p:txBody>
        </p:sp>
        <p:sp>
          <p:nvSpPr>
            <p:cNvPr id="403" name="TextBox 402"/>
            <p:cNvSpPr txBox="1">
              <a:spLocks/>
            </p:cNvSpPr>
            <p:nvPr/>
          </p:nvSpPr>
          <p:spPr>
            <a:xfrm>
              <a:off x="154323" y="2122557"/>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K-中位数</a:t>
              </a:r>
            </a:p>
          </p:txBody>
        </p:sp>
        <p:sp>
          <p:nvSpPr>
            <p:cNvPr id="404" name="TextBox 403"/>
            <p:cNvSpPr txBox="1">
              <a:spLocks/>
            </p:cNvSpPr>
            <p:nvPr/>
          </p:nvSpPr>
          <p:spPr>
            <a:xfrm>
              <a:off x="154323" y="2219303"/>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期望最大化</a:t>
              </a:r>
              <a:endParaRPr lang="zh-CN" sz="1000" dirty="0"/>
            </a:p>
          </p:txBody>
        </p:sp>
        <p:sp>
          <p:nvSpPr>
            <p:cNvPr id="402" name="TextBox 401"/>
            <p:cNvSpPr txBox="1">
              <a:spLocks/>
            </p:cNvSpPr>
            <p:nvPr/>
          </p:nvSpPr>
          <p:spPr>
            <a:xfrm>
              <a:off x="154323" y="2017223"/>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K-均值</a:t>
              </a:r>
            </a:p>
          </p:txBody>
        </p:sp>
        <p:sp>
          <p:nvSpPr>
            <p:cNvPr id="405" name="TextBox 404"/>
            <p:cNvSpPr txBox="1">
              <a:spLocks/>
            </p:cNvSpPr>
            <p:nvPr/>
          </p:nvSpPr>
          <p:spPr>
            <a:xfrm>
              <a:off x="154323" y="2350405"/>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分层聚类</a:t>
              </a:r>
            </a:p>
          </p:txBody>
        </p:sp>
        <p:sp>
          <p:nvSpPr>
            <p:cNvPr id="395" name="TextBox 394"/>
            <p:cNvSpPr txBox="1">
              <a:spLocks/>
            </p:cNvSpPr>
            <p:nvPr/>
          </p:nvSpPr>
          <p:spPr>
            <a:xfrm>
              <a:off x="154323" y="2610091"/>
              <a:ext cx="2313303"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平均单依赖估计 </a:t>
              </a:r>
              <a:endParaRPr lang="zh-CN" sz="1000" dirty="0"/>
            </a:p>
          </p:txBody>
        </p:sp>
        <p:sp>
          <p:nvSpPr>
            <p:cNvPr id="398" name="TextBox 397"/>
            <p:cNvSpPr txBox="1">
              <a:spLocks/>
            </p:cNvSpPr>
            <p:nvPr/>
          </p:nvSpPr>
          <p:spPr>
            <a:xfrm>
              <a:off x="154323" y="2733093"/>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贝叶斯信仰网络 (BBN)</a:t>
              </a:r>
            </a:p>
          </p:txBody>
        </p:sp>
        <p:sp>
          <p:nvSpPr>
            <p:cNvPr id="399" name="TextBox 398"/>
            <p:cNvSpPr txBox="1">
              <a:spLocks/>
            </p:cNvSpPr>
            <p:nvPr/>
          </p:nvSpPr>
          <p:spPr>
            <a:xfrm>
              <a:off x="154323" y="2868490"/>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高斯朴素贝叶斯</a:t>
              </a:r>
              <a:endParaRPr lang="zh-CN" sz="1000" dirty="0"/>
            </a:p>
          </p:txBody>
        </p:sp>
        <p:sp>
          <p:nvSpPr>
            <p:cNvPr id="400" name="TextBox 399"/>
            <p:cNvSpPr txBox="1">
              <a:spLocks/>
            </p:cNvSpPr>
            <p:nvPr/>
          </p:nvSpPr>
          <p:spPr>
            <a:xfrm>
              <a:off x="154323" y="3003886"/>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多项朴素贝叶斯</a:t>
              </a:r>
              <a:endParaRPr lang="zh-CN" sz="1000" dirty="0"/>
            </a:p>
          </p:txBody>
        </p:sp>
        <p:sp>
          <p:nvSpPr>
            <p:cNvPr id="394" name="TextBox 393"/>
            <p:cNvSpPr txBox="1">
              <a:spLocks/>
            </p:cNvSpPr>
            <p:nvPr/>
          </p:nvSpPr>
          <p:spPr>
            <a:xfrm>
              <a:off x="154323" y="2483282"/>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朴素贝叶斯</a:t>
              </a:r>
            </a:p>
          </p:txBody>
        </p:sp>
        <p:sp>
          <p:nvSpPr>
            <p:cNvPr id="401" name="TextBox 400"/>
            <p:cNvSpPr txBox="1">
              <a:spLocks/>
            </p:cNvSpPr>
            <p:nvPr/>
          </p:nvSpPr>
          <p:spPr>
            <a:xfrm>
              <a:off x="154323" y="3126399"/>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贝叶斯网络 (BN)</a:t>
              </a:r>
              <a:endParaRPr lang="zh-CN" sz="1000" dirty="0"/>
            </a:p>
          </p:txBody>
        </p:sp>
        <p:sp>
          <p:nvSpPr>
            <p:cNvPr id="391" name="TextBox 390"/>
            <p:cNvSpPr txBox="1">
              <a:spLocks/>
            </p:cNvSpPr>
            <p:nvPr/>
          </p:nvSpPr>
          <p:spPr>
            <a:xfrm>
              <a:off x="154323" y="3403263"/>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一个规则 (OneR)</a:t>
              </a:r>
              <a:endParaRPr lang="zh-CN" sz="1000" dirty="0"/>
            </a:p>
          </p:txBody>
        </p:sp>
        <p:sp>
          <p:nvSpPr>
            <p:cNvPr id="392" name="TextBox 391"/>
            <p:cNvSpPr txBox="1">
              <a:spLocks/>
            </p:cNvSpPr>
            <p:nvPr/>
          </p:nvSpPr>
          <p:spPr>
            <a:xfrm>
              <a:off x="154323" y="3538660"/>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零规则（(ZeroR)</a:t>
              </a:r>
              <a:endParaRPr lang="zh-CN" sz="1000" dirty="0"/>
            </a:p>
          </p:txBody>
        </p:sp>
        <p:sp>
          <p:nvSpPr>
            <p:cNvPr id="390" name="TextBox 389"/>
            <p:cNvSpPr txBox="1">
              <a:spLocks/>
            </p:cNvSpPr>
            <p:nvPr/>
          </p:nvSpPr>
          <p:spPr>
            <a:xfrm>
              <a:off x="154323" y="3267867"/>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Cubist工具</a:t>
              </a:r>
              <a:endParaRPr lang="zh-CN" sz="1000" dirty="0"/>
            </a:p>
          </p:txBody>
        </p:sp>
        <p:sp>
          <p:nvSpPr>
            <p:cNvPr id="393" name="TextBox 392"/>
            <p:cNvSpPr txBox="1">
              <a:spLocks/>
            </p:cNvSpPr>
            <p:nvPr/>
          </p:nvSpPr>
          <p:spPr>
            <a:xfrm>
              <a:off x="154323" y="3674058"/>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重复增量修剪减少误差(RIPPER)</a:t>
              </a:r>
              <a:endParaRPr lang="zh-CN" sz="1000" dirty="0"/>
            </a:p>
          </p:txBody>
        </p:sp>
        <p:sp>
          <p:nvSpPr>
            <p:cNvPr id="418" name="TextBox 417"/>
            <p:cNvSpPr txBox="1">
              <a:spLocks/>
            </p:cNvSpPr>
            <p:nvPr/>
          </p:nvSpPr>
          <p:spPr>
            <a:xfrm>
              <a:off x="154323" y="4159817"/>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C4.5</a:t>
              </a:r>
              <a:endParaRPr lang="zh-CN" sz="1000" dirty="0"/>
            </a:p>
          </p:txBody>
        </p:sp>
        <p:sp>
          <p:nvSpPr>
            <p:cNvPr id="419" name="TextBox 418"/>
            <p:cNvSpPr txBox="1">
              <a:spLocks/>
            </p:cNvSpPr>
            <p:nvPr/>
          </p:nvSpPr>
          <p:spPr>
            <a:xfrm>
              <a:off x="154323" y="4299360"/>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a:solidFill>
                    <a:srgbClr val="000000"/>
                  </a:solidFill>
                  <a:latin typeface="KaiTi"/>
                  <a:cs typeface="KaiTi"/>
                </a:rPr>
                <a:t>C5 .0</a:t>
              </a:r>
              <a:endParaRPr lang="zh-CN" sz="1000" dirty="0"/>
            </a:p>
          </p:txBody>
        </p:sp>
        <p:sp>
          <p:nvSpPr>
            <p:cNvPr id="386" name="TextBox 385"/>
            <p:cNvSpPr txBox="1">
              <a:spLocks/>
            </p:cNvSpPr>
            <p:nvPr/>
          </p:nvSpPr>
          <p:spPr>
            <a:xfrm>
              <a:off x="154324" y="4408990"/>
              <a:ext cx="2118618"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卡方自动相互作用检测 (CHAID)</a:t>
              </a:r>
            </a:p>
          </p:txBody>
        </p:sp>
        <p:sp>
          <p:nvSpPr>
            <p:cNvPr id="387" name="TextBox 386"/>
            <p:cNvSpPr txBox="1">
              <a:spLocks/>
            </p:cNvSpPr>
            <p:nvPr/>
          </p:nvSpPr>
          <p:spPr>
            <a:xfrm>
              <a:off x="154323" y="4609295"/>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a:solidFill>
                    <a:srgbClr val="000000"/>
                  </a:solidFill>
                  <a:latin typeface="KaiTi"/>
                  <a:cs typeface="KaiTi"/>
                </a:rPr>
                <a:t>决策树桩</a:t>
              </a:r>
              <a:endParaRPr lang="zh-CN" sz="1000" dirty="0"/>
            </a:p>
          </p:txBody>
        </p:sp>
        <p:sp>
          <p:nvSpPr>
            <p:cNvPr id="452" name="TextBox 451"/>
            <p:cNvSpPr txBox="1">
              <a:spLocks/>
            </p:cNvSpPr>
            <p:nvPr/>
          </p:nvSpPr>
          <p:spPr>
            <a:xfrm>
              <a:off x="154323" y="4045892"/>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a:solidFill>
                    <a:srgbClr val="000000"/>
                  </a:solidFill>
                  <a:latin typeface="KaiTi"/>
                  <a:cs typeface="KaiTi"/>
                </a:rPr>
                <a:t>迭代二分法 3(1D3)</a:t>
              </a:r>
              <a:endParaRPr lang="zh-CN" sz="1000" dirty="0"/>
            </a:p>
          </p:txBody>
        </p:sp>
        <p:sp>
          <p:nvSpPr>
            <p:cNvPr id="388" name="TextBox 387"/>
            <p:cNvSpPr txBox="1">
              <a:spLocks/>
            </p:cNvSpPr>
            <p:nvPr/>
          </p:nvSpPr>
          <p:spPr>
            <a:xfrm>
              <a:off x="154323" y="4744693"/>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条件式决策树</a:t>
              </a:r>
              <a:endParaRPr lang="zh-CN" sz="1000" dirty="0"/>
            </a:p>
          </p:txBody>
        </p:sp>
        <p:cxnSp>
          <p:nvCxnSpPr>
            <p:cNvPr id="37" name="Straight Connector 36"/>
            <p:cNvCxnSpPr>
              <a:cxnSpLocks/>
            </p:cNvCxnSpPr>
            <p:nvPr/>
          </p:nvCxnSpPr>
          <p:spPr>
            <a:xfrm>
              <a:off x="119067" y="2462106"/>
              <a:ext cx="339003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p:cNvCxnSpPr>
            <p:nvPr/>
          </p:nvCxnSpPr>
          <p:spPr>
            <a:xfrm>
              <a:off x="154326" y="3251242"/>
              <a:ext cx="339003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p:cNvCxnSpPr>
            <p:nvPr/>
          </p:nvCxnSpPr>
          <p:spPr>
            <a:xfrm>
              <a:off x="154323" y="3875359"/>
              <a:ext cx="339003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525" name="Straight Connector 524"/>
            <p:cNvCxnSpPr>
              <a:cxnSpLocks/>
            </p:cNvCxnSpPr>
            <p:nvPr/>
          </p:nvCxnSpPr>
          <p:spPr>
            <a:xfrm>
              <a:off x="154323" y="2000788"/>
              <a:ext cx="339003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526" name="TextBox 525"/>
            <p:cNvSpPr txBox="1">
              <a:spLocks/>
            </p:cNvSpPr>
            <p:nvPr/>
          </p:nvSpPr>
          <p:spPr>
            <a:xfrm>
              <a:off x="154323" y="1613551"/>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学习向量量化 (LVOJ</a:t>
              </a:r>
              <a:endParaRPr lang="zh-CN" sz="1000" dirty="0"/>
            </a:p>
          </p:txBody>
        </p:sp>
        <p:sp>
          <p:nvSpPr>
            <p:cNvPr id="528" name="TextBox 527"/>
            <p:cNvSpPr txBox="1">
              <a:spLocks/>
            </p:cNvSpPr>
            <p:nvPr/>
          </p:nvSpPr>
          <p:spPr>
            <a:xfrm>
              <a:off x="154323" y="1748948"/>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自组织地图 (SOM)</a:t>
              </a:r>
              <a:endParaRPr lang="zh-CN" sz="1000" dirty="0"/>
            </a:p>
          </p:txBody>
        </p:sp>
        <p:sp>
          <p:nvSpPr>
            <p:cNvPr id="530" name="TextBox 529"/>
            <p:cNvSpPr txBox="1">
              <a:spLocks/>
            </p:cNvSpPr>
            <p:nvPr/>
          </p:nvSpPr>
          <p:spPr>
            <a:xfrm>
              <a:off x="154323" y="1478155"/>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K-最近邻算法（kNN）</a:t>
              </a:r>
            </a:p>
          </p:txBody>
        </p:sp>
        <p:sp>
          <p:nvSpPr>
            <p:cNvPr id="532" name="TextBox 531"/>
            <p:cNvSpPr txBox="1">
              <a:spLocks/>
            </p:cNvSpPr>
            <p:nvPr/>
          </p:nvSpPr>
          <p:spPr>
            <a:xfrm>
              <a:off x="154323" y="1884345"/>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本地加权学习 (LWL)</a:t>
              </a:r>
              <a:endParaRPr lang="zh-CN" sz="1000" dirty="0"/>
            </a:p>
          </p:txBody>
        </p:sp>
        <p:sp>
          <p:nvSpPr>
            <p:cNvPr id="451" name="TextBox 450"/>
            <p:cNvSpPr txBox="1">
              <a:spLocks/>
            </p:cNvSpPr>
            <p:nvPr/>
          </p:nvSpPr>
          <p:spPr>
            <a:xfrm>
              <a:off x="154323" y="3910495"/>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分类和回归树 (CART)</a:t>
              </a:r>
            </a:p>
          </p:txBody>
        </p:sp>
        <p:sp>
          <p:nvSpPr>
            <p:cNvPr id="431" name="Oval 430"/>
            <p:cNvSpPr>
              <a:spLocks/>
            </p:cNvSpPr>
            <p:nvPr/>
          </p:nvSpPr>
          <p:spPr>
            <a:xfrm>
              <a:off x="2329803" y="2483282"/>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C1</a:t>
              </a:r>
            </a:p>
          </p:txBody>
        </p:sp>
        <p:sp>
          <p:nvSpPr>
            <p:cNvPr id="435" name="Oval 434"/>
            <p:cNvSpPr>
              <a:spLocks/>
            </p:cNvSpPr>
            <p:nvPr/>
          </p:nvSpPr>
          <p:spPr>
            <a:xfrm>
              <a:off x="2329803" y="3126401"/>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C6</a:t>
              </a:r>
            </a:p>
          </p:txBody>
        </p:sp>
        <p:sp>
          <p:nvSpPr>
            <p:cNvPr id="438" name="Oval 437"/>
            <p:cNvSpPr>
              <a:spLocks/>
            </p:cNvSpPr>
            <p:nvPr/>
          </p:nvSpPr>
          <p:spPr>
            <a:xfrm>
              <a:off x="2329803" y="3267867"/>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D1</a:t>
              </a:r>
            </a:p>
          </p:txBody>
        </p:sp>
        <p:sp>
          <p:nvSpPr>
            <p:cNvPr id="439" name="Oval 438"/>
            <p:cNvSpPr>
              <a:spLocks/>
            </p:cNvSpPr>
            <p:nvPr/>
          </p:nvSpPr>
          <p:spPr>
            <a:xfrm>
              <a:off x="2329803" y="3674058"/>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D4</a:t>
              </a:r>
            </a:p>
          </p:txBody>
        </p:sp>
        <p:sp>
          <p:nvSpPr>
            <p:cNvPr id="425" name="Oval 424"/>
            <p:cNvSpPr>
              <a:spLocks/>
            </p:cNvSpPr>
            <p:nvPr/>
          </p:nvSpPr>
          <p:spPr>
            <a:xfrm>
              <a:off x="2329803" y="2122558"/>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B2</a:t>
              </a:r>
            </a:p>
          </p:txBody>
        </p:sp>
        <p:sp>
          <p:nvSpPr>
            <p:cNvPr id="426" name="Oval 425"/>
            <p:cNvSpPr>
              <a:spLocks/>
            </p:cNvSpPr>
            <p:nvPr/>
          </p:nvSpPr>
          <p:spPr>
            <a:xfrm>
              <a:off x="2329803" y="2219303"/>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B3</a:t>
              </a:r>
            </a:p>
          </p:txBody>
        </p:sp>
        <p:sp>
          <p:nvSpPr>
            <p:cNvPr id="427" name="Oval 426"/>
            <p:cNvSpPr>
              <a:spLocks/>
            </p:cNvSpPr>
            <p:nvPr/>
          </p:nvSpPr>
          <p:spPr>
            <a:xfrm>
              <a:off x="2329803" y="2017223"/>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B1</a:t>
              </a:r>
            </a:p>
          </p:txBody>
        </p:sp>
        <p:sp>
          <p:nvSpPr>
            <p:cNvPr id="428" name="Oval 427"/>
            <p:cNvSpPr>
              <a:spLocks/>
            </p:cNvSpPr>
            <p:nvPr/>
          </p:nvSpPr>
          <p:spPr>
            <a:xfrm>
              <a:off x="2329803" y="2350405"/>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B4</a:t>
              </a:r>
            </a:p>
          </p:txBody>
        </p:sp>
        <p:sp>
          <p:nvSpPr>
            <p:cNvPr id="429" name="Oval 428"/>
            <p:cNvSpPr>
              <a:spLocks/>
            </p:cNvSpPr>
            <p:nvPr/>
          </p:nvSpPr>
          <p:spPr>
            <a:xfrm>
              <a:off x="2329803" y="2610090"/>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C2</a:t>
              </a:r>
            </a:p>
          </p:txBody>
        </p:sp>
        <p:sp>
          <p:nvSpPr>
            <p:cNvPr id="430" name="Oval 429"/>
            <p:cNvSpPr>
              <a:spLocks/>
            </p:cNvSpPr>
            <p:nvPr/>
          </p:nvSpPr>
          <p:spPr>
            <a:xfrm>
              <a:off x="2329803" y="2733093"/>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C3</a:t>
              </a:r>
            </a:p>
          </p:txBody>
        </p:sp>
        <p:sp>
          <p:nvSpPr>
            <p:cNvPr id="432" name="Oval 431"/>
            <p:cNvSpPr>
              <a:spLocks/>
            </p:cNvSpPr>
            <p:nvPr/>
          </p:nvSpPr>
          <p:spPr>
            <a:xfrm>
              <a:off x="2329803" y="2868490"/>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C4</a:t>
              </a:r>
            </a:p>
          </p:txBody>
        </p:sp>
        <p:sp>
          <p:nvSpPr>
            <p:cNvPr id="434" name="Oval 433"/>
            <p:cNvSpPr>
              <a:spLocks/>
            </p:cNvSpPr>
            <p:nvPr/>
          </p:nvSpPr>
          <p:spPr>
            <a:xfrm>
              <a:off x="2329803" y="3003886"/>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碳五</a:t>
              </a:r>
            </a:p>
          </p:txBody>
        </p:sp>
        <p:sp>
          <p:nvSpPr>
            <p:cNvPr id="436" name="Oval 435"/>
            <p:cNvSpPr>
              <a:spLocks/>
            </p:cNvSpPr>
            <p:nvPr/>
          </p:nvSpPr>
          <p:spPr>
            <a:xfrm>
              <a:off x="2329803" y="3403263"/>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D2</a:t>
              </a:r>
            </a:p>
          </p:txBody>
        </p:sp>
        <p:sp>
          <p:nvSpPr>
            <p:cNvPr id="437" name="Oval 436"/>
            <p:cNvSpPr>
              <a:spLocks/>
            </p:cNvSpPr>
            <p:nvPr/>
          </p:nvSpPr>
          <p:spPr>
            <a:xfrm>
              <a:off x="2329803" y="3538660"/>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D3</a:t>
              </a:r>
            </a:p>
          </p:txBody>
        </p:sp>
        <p:sp>
          <p:nvSpPr>
            <p:cNvPr id="444" name="Oval 443"/>
            <p:cNvSpPr>
              <a:spLocks/>
            </p:cNvSpPr>
            <p:nvPr/>
          </p:nvSpPr>
          <p:spPr>
            <a:xfrm>
              <a:off x="2329803" y="4163963"/>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E3</a:t>
              </a:r>
            </a:p>
          </p:txBody>
        </p:sp>
        <p:sp>
          <p:nvSpPr>
            <p:cNvPr id="446" name="Oval 445"/>
            <p:cNvSpPr>
              <a:spLocks/>
            </p:cNvSpPr>
            <p:nvPr/>
          </p:nvSpPr>
          <p:spPr>
            <a:xfrm>
              <a:off x="2329803" y="4299360"/>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E4</a:t>
              </a:r>
            </a:p>
          </p:txBody>
        </p:sp>
        <p:sp>
          <p:nvSpPr>
            <p:cNvPr id="447" name="Oval 446"/>
            <p:cNvSpPr>
              <a:spLocks/>
            </p:cNvSpPr>
            <p:nvPr/>
          </p:nvSpPr>
          <p:spPr>
            <a:xfrm>
              <a:off x="2329803" y="4408990"/>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E5</a:t>
              </a:r>
            </a:p>
          </p:txBody>
        </p:sp>
        <p:sp>
          <p:nvSpPr>
            <p:cNvPr id="448" name="Oval 447"/>
            <p:cNvSpPr>
              <a:spLocks/>
            </p:cNvSpPr>
            <p:nvPr/>
          </p:nvSpPr>
          <p:spPr>
            <a:xfrm>
              <a:off x="2329803" y="4609296"/>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E6</a:t>
              </a:r>
            </a:p>
          </p:txBody>
        </p:sp>
        <p:sp>
          <p:nvSpPr>
            <p:cNvPr id="443" name="Oval 442"/>
            <p:cNvSpPr>
              <a:spLocks/>
            </p:cNvSpPr>
            <p:nvPr/>
          </p:nvSpPr>
          <p:spPr>
            <a:xfrm>
              <a:off x="2329803" y="4045893"/>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E2</a:t>
              </a:r>
            </a:p>
          </p:txBody>
        </p:sp>
        <p:sp>
          <p:nvSpPr>
            <p:cNvPr id="453" name="Oval 452"/>
            <p:cNvSpPr>
              <a:spLocks/>
            </p:cNvSpPr>
            <p:nvPr/>
          </p:nvSpPr>
          <p:spPr>
            <a:xfrm>
              <a:off x="2329803" y="4744693"/>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E7</a:t>
              </a:r>
            </a:p>
          </p:txBody>
        </p:sp>
        <p:sp>
          <p:nvSpPr>
            <p:cNvPr id="527" name="Oval 526"/>
            <p:cNvSpPr>
              <a:spLocks/>
            </p:cNvSpPr>
            <p:nvPr/>
          </p:nvSpPr>
          <p:spPr>
            <a:xfrm>
              <a:off x="2329803" y="1613551"/>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A2</a:t>
              </a:r>
            </a:p>
          </p:txBody>
        </p:sp>
        <p:sp>
          <p:nvSpPr>
            <p:cNvPr id="529" name="Oval 528"/>
            <p:cNvSpPr>
              <a:spLocks/>
            </p:cNvSpPr>
            <p:nvPr/>
          </p:nvSpPr>
          <p:spPr>
            <a:xfrm>
              <a:off x="2329803" y="1748948"/>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A3</a:t>
              </a:r>
            </a:p>
          </p:txBody>
        </p:sp>
        <p:sp>
          <p:nvSpPr>
            <p:cNvPr id="531" name="Oval 530"/>
            <p:cNvSpPr>
              <a:spLocks/>
            </p:cNvSpPr>
            <p:nvPr/>
          </p:nvSpPr>
          <p:spPr>
            <a:xfrm>
              <a:off x="2329803" y="1478155"/>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A1</a:t>
              </a:r>
            </a:p>
          </p:txBody>
        </p:sp>
        <p:sp>
          <p:nvSpPr>
            <p:cNvPr id="533" name="Oval 532"/>
            <p:cNvSpPr>
              <a:spLocks/>
            </p:cNvSpPr>
            <p:nvPr/>
          </p:nvSpPr>
          <p:spPr>
            <a:xfrm>
              <a:off x="2329803" y="1884345"/>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A4</a:t>
              </a:r>
            </a:p>
          </p:txBody>
        </p:sp>
        <p:sp>
          <p:nvSpPr>
            <p:cNvPr id="445" name="Oval 444"/>
            <p:cNvSpPr>
              <a:spLocks/>
            </p:cNvSpPr>
            <p:nvPr/>
          </p:nvSpPr>
          <p:spPr>
            <a:xfrm>
              <a:off x="2329803" y="3910495"/>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E1</a:t>
              </a:r>
            </a:p>
          </p:txBody>
        </p:sp>
        <p:sp>
          <p:nvSpPr>
            <p:cNvPr id="485" name="Oval 484"/>
            <p:cNvSpPr>
              <a:spLocks/>
            </p:cNvSpPr>
            <p:nvPr/>
          </p:nvSpPr>
          <p:spPr>
            <a:xfrm>
              <a:off x="2329803" y="4850032"/>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E8</a:t>
              </a:r>
            </a:p>
          </p:txBody>
        </p:sp>
        <p:sp>
          <p:nvSpPr>
            <p:cNvPr id="389" name="TextBox 388"/>
            <p:cNvSpPr txBox="1">
              <a:spLocks/>
            </p:cNvSpPr>
            <p:nvPr/>
          </p:nvSpPr>
          <p:spPr>
            <a:xfrm>
              <a:off x="154323" y="4850032"/>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M5</a:t>
              </a:r>
              <a:endParaRPr lang="zh-CN" sz="1000" dirty="0"/>
            </a:p>
          </p:txBody>
        </p:sp>
        <p:sp>
          <p:nvSpPr>
            <p:cNvPr id="9" name="Rectangle 8"/>
            <p:cNvSpPr>
              <a:spLocks/>
            </p:cNvSpPr>
            <p:nvPr/>
          </p:nvSpPr>
          <p:spPr>
            <a:xfrm>
              <a:off x="2831955" y="2047285"/>
              <a:ext cx="675082" cy="39461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19" tIns="5715" rIns="54860" bIns="5715" numCol="1" spcCol="0" rtlCol="0" fromWordArt="0" anchor="ctr" anchorCtr="0" forceAA="0" compatLnSpc="1">
              <a:prstTxWarp prst="textNoShape">
                <a:avLst/>
              </a:prstTxWarp>
              <a:noAutofit/>
            </a:bodyPr>
            <a:lstStyle/>
            <a:p>
              <a:r>
                <a:rPr lang="zh-CN" sz="1000" b="1" dirty="0">
                  <a:solidFill>
                    <a:schemeClr val="accent4"/>
                  </a:solidFill>
                  <a:latin typeface="KaiTi"/>
                  <a:cs typeface="KaiTi"/>
                </a:rPr>
                <a:t>聚类</a:t>
              </a:r>
            </a:p>
          </p:txBody>
        </p:sp>
        <p:sp>
          <p:nvSpPr>
            <p:cNvPr id="10" name="Rectangle 9"/>
            <p:cNvSpPr>
              <a:spLocks/>
            </p:cNvSpPr>
            <p:nvPr/>
          </p:nvSpPr>
          <p:spPr>
            <a:xfrm>
              <a:off x="2831955" y="2508155"/>
              <a:ext cx="675082" cy="69778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19" tIns="5715" rIns="54860" bIns="5715" numCol="1" spcCol="0" rtlCol="0" fromWordArt="0" anchor="ctr" anchorCtr="0" forceAA="0" compatLnSpc="1">
              <a:prstTxWarp prst="textNoShape">
                <a:avLst/>
              </a:prstTxWarp>
              <a:noAutofit/>
            </a:bodyPr>
            <a:lstStyle/>
            <a:p>
              <a:r>
                <a:rPr lang="zh-CN" sz="1000" b="1" dirty="0">
                  <a:solidFill>
                    <a:schemeClr val="accent4"/>
                  </a:solidFill>
                  <a:latin typeface="KaiTi"/>
                  <a:cs typeface="KaiTi"/>
                </a:rPr>
                <a:t>贝叶斯定理</a:t>
              </a:r>
            </a:p>
          </p:txBody>
        </p:sp>
        <p:sp>
          <p:nvSpPr>
            <p:cNvPr id="11" name="Rectangle 10"/>
            <p:cNvSpPr>
              <a:spLocks/>
            </p:cNvSpPr>
            <p:nvPr/>
          </p:nvSpPr>
          <p:spPr>
            <a:xfrm>
              <a:off x="2831955" y="3267866"/>
              <a:ext cx="675082" cy="59613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19" tIns="5715" rIns="54860" bIns="5715" numCol="1" spcCol="0" rtlCol="0" fromWordArt="0" anchor="ctr" anchorCtr="0" forceAA="0" compatLnSpc="1">
              <a:prstTxWarp prst="textNoShape">
                <a:avLst/>
              </a:prstTxWarp>
              <a:noAutofit/>
            </a:bodyPr>
            <a:lstStyle/>
            <a:p>
              <a:r>
                <a:rPr lang="zh-CN" sz="1000" b="1" dirty="0">
                  <a:solidFill>
                    <a:schemeClr val="accent4"/>
                  </a:solidFill>
                  <a:latin typeface="KaiTi"/>
                  <a:cs typeface="KaiTi"/>
                </a:rPr>
                <a:t>规则系统</a:t>
              </a:r>
            </a:p>
          </p:txBody>
        </p:sp>
        <p:sp>
          <p:nvSpPr>
            <p:cNvPr id="12" name="Rectangle 11"/>
            <p:cNvSpPr>
              <a:spLocks/>
            </p:cNvSpPr>
            <p:nvPr/>
          </p:nvSpPr>
          <p:spPr>
            <a:xfrm>
              <a:off x="2831955" y="3910495"/>
              <a:ext cx="675082" cy="102887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19" tIns="5715" rIns="54860" bIns="5715" numCol="1" spcCol="0" rtlCol="0" fromWordArt="0" anchor="ctr" anchorCtr="0" forceAA="0" compatLnSpc="1">
              <a:prstTxWarp prst="textNoShape">
                <a:avLst/>
              </a:prstTxWarp>
              <a:noAutofit/>
            </a:bodyPr>
            <a:lstStyle/>
            <a:p>
              <a:r>
                <a:rPr lang="zh-CN" sz="1000" b="1" dirty="0">
                  <a:solidFill>
                    <a:schemeClr val="accent4"/>
                  </a:solidFill>
                  <a:latin typeface="KaiTi"/>
                  <a:cs typeface="KaiTi"/>
                </a:rPr>
                <a:t>决策树</a:t>
              </a:r>
            </a:p>
          </p:txBody>
        </p:sp>
        <p:sp>
          <p:nvSpPr>
            <p:cNvPr id="524" name="Rectangle 523"/>
            <p:cNvSpPr>
              <a:spLocks/>
            </p:cNvSpPr>
            <p:nvPr/>
          </p:nvSpPr>
          <p:spPr>
            <a:xfrm>
              <a:off x="2831955" y="1490442"/>
              <a:ext cx="675082" cy="4687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19" tIns="5715" rIns="54860" bIns="5715" numCol="1" spcCol="0" rtlCol="0" fromWordArt="0" anchor="ctr" anchorCtr="0" forceAA="0" compatLnSpc="1">
              <a:prstTxWarp prst="textNoShape">
                <a:avLst/>
              </a:prstTxWarp>
              <a:noAutofit/>
            </a:bodyPr>
            <a:lstStyle/>
            <a:p>
              <a:r>
                <a:rPr lang="zh-CN" sz="1000" b="1" dirty="0">
                  <a:solidFill>
                    <a:schemeClr val="accent4"/>
                  </a:solidFill>
                  <a:latin typeface="KaiTi"/>
                  <a:cs typeface="KaiTi"/>
                </a:rPr>
                <a:t>基于实例</a:t>
              </a:r>
            </a:p>
          </p:txBody>
        </p:sp>
        <p:sp>
          <p:nvSpPr>
            <p:cNvPr id="102" name="Oval 101"/>
            <p:cNvSpPr/>
            <p:nvPr/>
          </p:nvSpPr>
          <p:spPr>
            <a:xfrm>
              <a:off x="3438072" y="1677808"/>
              <a:ext cx="190262" cy="152268"/>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sz="1000" b="1" dirty="0">
                  <a:solidFill>
                    <a:schemeClr val="bg1"/>
                  </a:solidFill>
                  <a:latin typeface="KaiTi"/>
                  <a:cs typeface="KaiTi"/>
                </a:rPr>
                <a:t>A</a:t>
              </a:r>
            </a:p>
          </p:txBody>
        </p:sp>
        <p:sp>
          <p:nvSpPr>
            <p:cNvPr id="104" name="Oval 103"/>
            <p:cNvSpPr/>
            <p:nvPr/>
          </p:nvSpPr>
          <p:spPr>
            <a:xfrm>
              <a:off x="3438072" y="2221730"/>
              <a:ext cx="190262" cy="152268"/>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sz="1000" b="1" dirty="0">
                  <a:solidFill>
                    <a:schemeClr val="bg1"/>
                  </a:solidFill>
                  <a:latin typeface="KaiTi"/>
                  <a:cs typeface="KaiTi"/>
                </a:rPr>
                <a:t>B</a:t>
              </a:r>
            </a:p>
          </p:txBody>
        </p:sp>
        <p:sp>
          <p:nvSpPr>
            <p:cNvPr id="105" name="Oval 104"/>
            <p:cNvSpPr/>
            <p:nvPr/>
          </p:nvSpPr>
          <p:spPr>
            <a:xfrm>
              <a:off x="3438072" y="2905030"/>
              <a:ext cx="190262" cy="152268"/>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sz="1000" b="1" dirty="0">
                  <a:solidFill>
                    <a:schemeClr val="bg1"/>
                  </a:solidFill>
                  <a:latin typeface="KaiTi"/>
                  <a:cs typeface="KaiTi"/>
                </a:rPr>
                <a:t>C</a:t>
              </a:r>
            </a:p>
          </p:txBody>
        </p:sp>
        <p:sp>
          <p:nvSpPr>
            <p:cNvPr id="106" name="Oval 105"/>
            <p:cNvSpPr/>
            <p:nvPr/>
          </p:nvSpPr>
          <p:spPr>
            <a:xfrm>
              <a:off x="3438072" y="3489798"/>
              <a:ext cx="190262" cy="152268"/>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sz="1000" b="1" dirty="0">
                  <a:solidFill>
                    <a:schemeClr val="bg1"/>
                  </a:solidFill>
                  <a:latin typeface="KaiTi"/>
                  <a:cs typeface="KaiTi"/>
                </a:rPr>
                <a:t>D</a:t>
              </a:r>
            </a:p>
          </p:txBody>
        </p:sp>
        <p:sp>
          <p:nvSpPr>
            <p:cNvPr id="107" name="Oval 106"/>
            <p:cNvSpPr/>
            <p:nvPr/>
          </p:nvSpPr>
          <p:spPr>
            <a:xfrm>
              <a:off x="3438072" y="4405297"/>
              <a:ext cx="190262" cy="152268"/>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sz="1000" b="1" dirty="0">
                  <a:solidFill>
                    <a:schemeClr val="bg1"/>
                  </a:solidFill>
                  <a:latin typeface="KaiTi"/>
                  <a:cs typeface="KaiTi"/>
                </a:rPr>
                <a:t>E</a:t>
              </a:r>
            </a:p>
          </p:txBody>
        </p:sp>
        <p:sp>
          <p:nvSpPr>
            <p:cNvPr id="7" name="Oval 6"/>
            <p:cNvSpPr/>
            <p:nvPr/>
          </p:nvSpPr>
          <p:spPr>
            <a:xfrm>
              <a:off x="3933819" y="3099018"/>
              <a:ext cx="813639" cy="73445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zh-CN" sz="1000" b="1" dirty="0">
                  <a:solidFill>
                    <a:schemeClr val="bg1"/>
                  </a:solidFill>
                  <a:latin typeface="KaiTi"/>
                  <a:cs typeface="KaiTi"/>
                </a:rPr>
                <a:t>机器学习算法</a:t>
              </a:r>
            </a:p>
          </p:txBody>
        </p:sp>
        <p:cxnSp>
          <p:nvCxnSpPr>
            <p:cNvPr id="879" name="Elbow Connector 878"/>
            <p:cNvCxnSpPr>
              <a:stCxn id="524" idx="1"/>
              <a:endCxn id="531" idx="6"/>
            </p:cNvCxnSpPr>
            <p:nvPr/>
          </p:nvCxnSpPr>
          <p:spPr>
            <a:xfrm rot="10800000">
              <a:off x="2567673" y="1525638"/>
              <a:ext cx="264283" cy="199163"/>
            </a:xfrm>
            <a:prstGeom prst="bentConnector3">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887" name="Elbow Connector 886"/>
            <p:cNvCxnSpPr>
              <a:stCxn id="524" idx="1"/>
              <a:endCxn id="527" idx="6"/>
            </p:cNvCxnSpPr>
            <p:nvPr/>
          </p:nvCxnSpPr>
          <p:spPr>
            <a:xfrm rot="10800000">
              <a:off x="2567673" y="1661036"/>
              <a:ext cx="264283" cy="63766"/>
            </a:xfrm>
            <a:prstGeom prst="bentConnector3">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890" name="Elbow Connector 889"/>
            <p:cNvCxnSpPr>
              <a:stCxn id="524" idx="1"/>
              <a:endCxn id="529" idx="6"/>
            </p:cNvCxnSpPr>
            <p:nvPr/>
          </p:nvCxnSpPr>
          <p:spPr>
            <a:xfrm rot="10800000" flipV="1">
              <a:off x="2567673" y="1724803"/>
              <a:ext cx="264283" cy="71632"/>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894" name="Elbow Connector 893"/>
            <p:cNvCxnSpPr>
              <a:stCxn id="524" idx="1"/>
              <a:endCxn id="533" idx="6"/>
            </p:cNvCxnSpPr>
            <p:nvPr/>
          </p:nvCxnSpPr>
          <p:spPr>
            <a:xfrm rot="10800000" flipV="1">
              <a:off x="2567673" y="1724803"/>
              <a:ext cx="264283" cy="207027"/>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897" name="Elbow Connector 896"/>
            <p:cNvCxnSpPr>
              <a:stCxn id="9" idx="1"/>
              <a:endCxn id="427" idx="6"/>
            </p:cNvCxnSpPr>
            <p:nvPr/>
          </p:nvCxnSpPr>
          <p:spPr>
            <a:xfrm rot="10800000">
              <a:off x="2567673" y="2064709"/>
              <a:ext cx="264283" cy="179882"/>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01" name="Elbow Connector 900"/>
            <p:cNvCxnSpPr>
              <a:stCxn id="9" idx="1"/>
              <a:endCxn id="425" idx="6"/>
            </p:cNvCxnSpPr>
            <p:nvPr/>
          </p:nvCxnSpPr>
          <p:spPr>
            <a:xfrm rot="10800000">
              <a:off x="2567673" y="2170043"/>
              <a:ext cx="264283" cy="74548"/>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04" name="Elbow Connector 903"/>
            <p:cNvCxnSpPr>
              <a:endCxn id="426" idx="6"/>
            </p:cNvCxnSpPr>
            <p:nvPr/>
          </p:nvCxnSpPr>
          <p:spPr>
            <a:xfrm rot="10800000" flipV="1">
              <a:off x="2567671" y="2247399"/>
              <a:ext cx="243818" cy="19389"/>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08" name="Elbow Connector 907"/>
            <p:cNvCxnSpPr>
              <a:stCxn id="9" idx="1"/>
              <a:endCxn id="428" idx="6"/>
            </p:cNvCxnSpPr>
            <p:nvPr/>
          </p:nvCxnSpPr>
          <p:spPr>
            <a:xfrm rot="10800000" flipV="1">
              <a:off x="2567673" y="2244591"/>
              <a:ext cx="264283" cy="153300"/>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11" name="Elbow Connector 910"/>
            <p:cNvCxnSpPr>
              <a:stCxn id="10" idx="1"/>
              <a:endCxn id="431" idx="6"/>
            </p:cNvCxnSpPr>
            <p:nvPr/>
          </p:nvCxnSpPr>
          <p:spPr>
            <a:xfrm rot="10800000">
              <a:off x="2567673" y="2530767"/>
              <a:ext cx="264283" cy="326281"/>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14" name="Elbow Connector 913"/>
            <p:cNvCxnSpPr>
              <a:stCxn id="10" idx="1"/>
              <a:endCxn id="429" idx="6"/>
            </p:cNvCxnSpPr>
            <p:nvPr/>
          </p:nvCxnSpPr>
          <p:spPr>
            <a:xfrm rot="10800000">
              <a:off x="2567673" y="2657575"/>
              <a:ext cx="264283" cy="199473"/>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17" name="Elbow Connector 916"/>
            <p:cNvCxnSpPr>
              <a:stCxn id="10" idx="1"/>
              <a:endCxn id="430" idx="6"/>
            </p:cNvCxnSpPr>
            <p:nvPr/>
          </p:nvCxnSpPr>
          <p:spPr>
            <a:xfrm rot="10800000">
              <a:off x="2567673" y="2780578"/>
              <a:ext cx="264283" cy="76470"/>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20" name="Elbow Connector 919"/>
            <p:cNvCxnSpPr>
              <a:stCxn id="10" idx="1"/>
              <a:endCxn id="432" idx="6"/>
            </p:cNvCxnSpPr>
            <p:nvPr/>
          </p:nvCxnSpPr>
          <p:spPr>
            <a:xfrm rot="10800000" flipV="1">
              <a:off x="2567673" y="2857047"/>
              <a:ext cx="264283" cy="58927"/>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23" name="Elbow Connector 922"/>
            <p:cNvCxnSpPr>
              <a:stCxn id="10" idx="1"/>
              <a:endCxn id="434" idx="6"/>
            </p:cNvCxnSpPr>
            <p:nvPr/>
          </p:nvCxnSpPr>
          <p:spPr>
            <a:xfrm rot="10800000" flipV="1">
              <a:off x="2567673" y="2857048"/>
              <a:ext cx="264283" cy="194324"/>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26" name="Elbow Connector 925"/>
            <p:cNvCxnSpPr>
              <a:stCxn id="10" idx="1"/>
              <a:endCxn id="435" idx="6"/>
            </p:cNvCxnSpPr>
            <p:nvPr/>
          </p:nvCxnSpPr>
          <p:spPr>
            <a:xfrm rot="10800000" flipV="1">
              <a:off x="2567673" y="2857048"/>
              <a:ext cx="264283" cy="316836"/>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29" name="Elbow Connector 928"/>
            <p:cNvCxnSpPr>
              <a:stCxn id="11" idx="1"/>
              <a:endCxn id="438" idx="6"/>
            </p:cNvCxnSpPr>
            <p:nvPr/>
          </p:nvCxnSpPr>
          <p:spPr>
            <a:xfrm rot="10800000">
              <a:off x="2567673" y="3315352"/>
              <a:ext cx="264283" cy="250581"/>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32" name="Elbow Connector 931"/>
            <p:cNvCxnSpPr>
              <a:stCxn id="11" idx="1"/>
              <a:endCxn id="436" idx="6"/>
            </p:cNvCxnSpPr>
            <p:nvPr/>
          </p:nvCxnSpPr>
          <p:spPr>
            <a:xfrm rot="10800000">
              <a:off x="2567673" y="3450750"/>
              <a:ext cx="264283" cy="115184"/>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35" name="Elbow Connector 934"/>
            <p:cNvCxnSpPr>
              <a:stCxn id="11" idx="1"/>
              <a:endCxn id="437" idx="6"/>
            </p:cNvCxnSpPr>
            <p:nvPr/>
          </p:nvCxnSpPr>
          <p:spPr>
            <a:xfrm rot="10800000" flipV="1">
              <a:off x="2567673" y="3565932"/>
              <a:ext cx="264283" cy="20213"/>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39" name="Elbow Connector 938"/>
            <p:cNvCxnSpPr>
              <a:stCxn id="11" idx="1"/>
              <a:endCxn id="439" idx="6"/>
            </p:cNvCxnSpPr>
            <p:nvPr/>
          </p:nvCxnSpPr>
          <p:spPr>
            <a:xfrm rot="10800000" flipV="1">
              <a:off x="2567673" y="3565932"/>
              <a:ext cx="264283" cy="155610"/>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43" name="Elbow Connector 942"/>
            <p:cNvCxnSpPr>
              <a:stCxn id="11" idx="1"/>
              <a:endCxn id="439" idx="6"/>
            </p:cNvCxnSpPr>
            <p:nvPr/>
          </p:nvCxnSpPr>
          <p:spPr>
            <a:xfrm rot="10800000" flipV="1">
              <a:off x="2567673" y="3565932"/>
              <a:ext cx="264283" cy="155610"/>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46" name="Elbow Connector 945"/>
            <p:cNvCxnSpPr>
              <a:stCxn id="12" idx="1"/>
              <a:endCxn id="445" idx="6"/>
            </p:cNvCxnSpPr>
            <p:nvPr/>
          </p:nvCxnSpPr>
          <p:spPr>
            <a:xfrm rot="10800000">
              <a:off x="2567673" y="3957982"/>
              <a:ext cx="264283" cy="466950"/>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49" name="Elbow Connector 948"/>
            <p:cNvCxnSpPr>
              <a:stCxn id="12" idx="1"/>
              <a:endCxn id="443" idx="6"/>
            </p:cNvCxnSpPr>
            <p:nvPr/>
          </p:nvCxnSpPr>
          <p:spPr>
            <a:xfrm rot="10800000">
              <a:off x="2567673" y="4093378"/>
              <a:ext cx="264283" cy="331554"/>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52" name="Elbow Connector 951"/>
            <p:cNvCxnSpPr>
              <a:stCxn id="12" idx="1"/>
              <a:endCxn id="444" idx="6"/>
            </p:cNvCxnSpPr>
            <p:nvPr/>
          </p:nvCxnSpPr>
          <p:spPr>
            <a:xfrm rot="10800000">
              <a:off x="2567673" y="4211449"/>
              <a:ext cx="264283" cy="213482"/>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55" name="Elbow Connector 954"/>
            <p:cNvCxnSpPr>
              <a:stCxn id="12" idx="1"/>
              <a:endCxn id="446" idx="6"/>
            </p:cNvCxnSpPr>
            <p:nvPr/>
          </p:nvCxnSpPr>
          <p:spPr>
            <a:xfrm rot="10800000">
              <a:off x="2567673" y="4346845"/>
              <a:ext cx="264283" cy="78085"/>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59" name="Elbow Connector 958"/>
            <p:cNvCxnSpPr>
              <a:stCxn id="12" idx="1"/>
              <a:endCxn id="447" idx="6"/>
            </p:cNvCxnSpPr>
            <p:nvPr/>
          </p:nvCxnSpPr>
          <p:spPr>
            <a:xfrm rot="10800000" flipV="1">
              <a:off x="2567673" y="4424931"/>
              <a:ext cx="264283" cy="31544"/>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62" name="Elbow Connector 961"/>
            <p:cNvCxnSpPr>
              <a:stCxn id="12" idx="1"/>
              <a:endCxn id="448" idx="6"/>
            </p:cNvCxnSpPr>
            <p:nvPr/>
          </p:nvCxnSpPr>
          <p:spPr>
            <a:xfrm rot="10800000" flipV="1">
              <a:off x="2567673" y="4424930"/>
              <a:ext cx="264283" cy="231851"/>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66" name="Elbow Connector 965"/>
            <p:cNvCxnSpPr>
              <a:stCxn id="12" idx="1"/>
              <a:endCxn id="453" idx="6"/>
            </p:cNvCxnSpPr>
            <p:nvPr/>
          </p:nvCxnSpPr>
          <p:spPr>
            <a:xfrm rot="10800000" flipV="1">
              <a:off x="2567673" y="4424931"/>
              <a:ext cx="264283" cy="367247"/>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69" name="Elbow Connector 968"/>
            <p:cNvCxnSpPr>
              <a:stCxn id="12" idx="1"/>
            </p:cNvCxnSpPr>
            <p:nvPr/>
          </p:nvCxnSpPr>
          <p:spPr>
            <a:xfrm rot="10800000" flipV="1">
              <a:off x="2567673" y="4424931"/>
              <a:ext cx="264283" cy="502649"/>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18" name="TextBox 217"/>
            <p:cNvSpPr txBox="1">
              <a:spLocks/>
            </p:cNvSpPr>
            <p:nvPr/>
          </p:nvSpPr>
          <p:spPr>
            <a:xfrm>
              <a:off x="6510225" y="5160716"/>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深信仰网络 (DBN)</a:t>
              </a:r>
            </a:p>
          </p:txBody>
        </p:sp>
        <p:sp>
          <p:nvSpPr>
            <p:cNvPr id="176" name="TextBox 175"/>
            <p:cNvSpPr txBox="1">
              <a:spLocks/>
            </p:cNvSpPr>
            <p:nvPr/>
          </p:nvSpPr>
          <p:spPr>
            <a:xfrm>
              <a:off x="6510225" y="5278077"/>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a:solidFill>
                    <a:schemeClr val="accent3">
                      <a:lumMod val="75000"/>
                    </a:schemeClr>
                  </a:solidFill>
                  <a:latin typeface="KaiTi"/>
                  <a:cs typeface="KaiTi"/>
                </a:rPr>
                <a:t>卷积神经网络 (CNN)</a:t>
              </a:r>
              <a:endParaRPr lang="zh-CN" sz="1000" b="1" dirty="0">
                <a:solidFill>
                  <a:schemeClr val="accent3">
                    <a:lumMod val="75000"/>
                  </a:schemeClr>
                </a:solidFill>
              </a:endParaRPr>
            </a:p>
          </p:txBody>
        </p:sp>
        <p:sp>
          <p:nvSpPr>
            <p:cNvPr id="179" name="TextBox 178"/>
            <p:cNvSpPr txBox="1">
              <a:spLocks/>
            </p:cNvSpPr>
            <p:nvPr/>
          </p:nvSpPr>
          <p:spPr>
            <a:xfrm>
              <a:off x="6510225" y="4668880"/>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感知机</a:t>
              </a:r>
            </a:p>
          </p:txBody>
        </p:sp>
        <p:sp>
          <p:nvSpPr>
            <p:cNvPr id="180" name="TextBox 179"/>
            <p:cNvSpPr txBox="1">
              <a:spLocks/>
            </p:cNvSpPr>
            <p:nvPr/>
          </p:nvSpPr>
          <p:spPr>
            <a:xfrm>
              <a:off x="6510225" y="4786241"/>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反向传播</a:t>
              </a:r>
            </a:p>
          </p:txBody>
        </p:sp>
        <p:sp>
          <p:nvSpPr>
            <p:cNvPr id="178" name="TextBox 177"/>
            <p:cNvSpPr txBox="1">
              <a:spLocks/>
            </p:cNvSpPr>
            <p:nvPr/>
          </p:nvSpPr>
          <p:spPr>
            <a:xfrm>
              <a:off x="6510225" y="4551519"/>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径向基函数网络 (RBFN)</a:t>
              </a:r>
            </a:p>
          </p:txBody>
        </p:sp>
        <p:sp>
          <p:nvSpPr>
            <p:cNvPr id="181" name="TextBox 180"/>
            <p:cNvSpPr txBox="1">
              <a:spLocks/>
            </p:cNvSpPr>
            <p:nvPr/>
          </p:nvSpPr>
          <p:spPr>
            <a:xfrm>
              <a:off x="6510225" y="4903602"/>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霍普菲尔德网络</a:t>
              </a:r>
              <a:endParaRPr lang="zh-CN" sz="1000" dirty="0"/>
            </a:p>
          </p:txBody>
        </p:sp>
        <p:sp>
          <p:nvSpPr>
            <p:cNvPr id="161" name="TextBox 160"/>
            <p:cNvSpPr txBox="1">
              <a:spLocks/>
            </p:cNvSpPr>
            <p:nvPr/>
          </p:nvSpPr>
          <p:spPr>
            <a:xfrm>
              <a:off x="6510225" y="3729989"/>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渐变提升机（GBM）</a:t>
              </a:r>
            </a:p>
          </p:txBody>
        </p:sp>
        <p:sp>
          <p:nvSpPr>
            <p:cNvPr id="162" name="TextBox 161"/>
            <p:cNvSpPr txBox="1">
              <a:spLocks/>
            </p:cNvSpPr>
            <p:nvPr/>
          </p:nvSpPr>
          <p:spPr>
            <a:xfrm>
              <a:off x="6510225" y="3847350"/>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提升</a:t>
              </a:r>
            </a:p>
          </p:txBody>
        </p:sp>
        <p:sp>
          <p:nvSpPr>
            <p:cNvPr id="163" name="TextBox 162"/>
            <p:cNvSpPr txBox="1">
              <a:spLocks/>
            </p:cNvSpPr>
            <p:nvPr/>
          </p:nvSpPr>
          <p:spPr>
            <a:xfrm>
              <a:off x="6510225" y="3964711"/>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引导聚集（装袋）</a:t>
              </a:r>
            </a:p>
          </p:txBody>
        </p:sp>
        <p:sp>
          <p:nvSpPr>
            <p:cNvPr id="164" name="TextBox 163"/>
            <p:cNvSpPr txBox="1">
              <a:spLocks/>
            </p:cNvSpPr>
            <p:nvPr/>
          </p:nvSpPr>
          <p:spPr>
            <a:xfrm>
              <a:off x="6510225" y="4082073"/>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AdaBoost</a:t>
              </a:r>
              <a:endParaRPr lang="zh-CN" sz="1000" b="1" dirty="0">
                <a:solidFill>
                  <a:schemeClr val="accent3">
                    <a:lumMod val="75000"/>
                  </a:schemeClr>
                </a:solidFill>
              </a:endParaRPr>
            </a:p>
          </p:txBody>
        </p:sp>
        <p:sp>
          <p:nvSpPr>
            <p:cNvPr id="165" name="TextBox 164"/>
            <p:cNvSpPr txBox="1">
              <a:spLocks/>
            </p:cNvSpPr>
            <p:nvPr/>
          </p:nvSpPr>
          <p:spPr>
            <a:xfrm>
              <a:off x="6510225" y="4199435"/>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堆叠泛化 (混合)</a:t>
              </a:r>
              <a:endParaRPr lang="zh-CN" sz="1000" dirty="0"/>
            </a:p>
          </p:txBody>
        </p:sp>
        <p:sp>
          <p:nvSpPr>
            <p:cNvPr id="160" name="TextBox 159"/>
            <p:cNvSpPr txBox="1">
              <a:spLocks/>
            </p:cNvSpPr>
            <p:nvPr/>
          </p:nvSpPr>
          <p:spPr>
            <a:xfrm>
              <a:off x="6510225" y="3612627"/>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随机森林</a:t>
              </a:r>
            </a:p>
          </p:txBody>
        </p:sp>
        <p:sp>
          <p:nvSpPr>
            <p:cNvPr id="166" name="TextBox 165"/>
            <p:cNvSpPr txBox="1">
              <a:spLocks/>
            </p:cNvSpPr>
            <p:nvPr/>
          </p:nvSpPr>
          <p:spPr>
            <a:xfrm>
              <a:off x="6510225" y="4316796"/>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梯度增强回归树 (GBRT)</a:t>
              </a:r>
              <a:endParaRPr lang="zh-CN" sz="1000" dirty="0"/>
            </a:p>
          </p:txBody>
        </p:sp>
        <p:sp>
          <p:nvSpPr>
            <p:cNvPr id="217" name="TextBox 216"/>
            <p:cNvSpPr txBox="1">
              <a:spLocks/>
            </p:cNvSpPr>
            <p:nvPr/>
          </p:nvSpPr>
          <p:spPr>
            <a:xfrm>
              <a:off x="6510225" y="5043355"/>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深玻尔兹曼机 (DBM)</a:t>
              </a:r>
            </a:p>
          </p:txBody>
        </p:sp>
        <p:sp>
          <p:nvSpPr>
            <p:cNvPr id="177" name="TextBox 176"/>
            <p:cNvSpPr txBox="1">
              <a:spLocks/>
            </p:cNvSpPr>
            <p:nvPr/>
          </p:nvSpPr>
          <p:spPr>
            <a:xfrm>
              <a:off x="6510225" y="5395450"/>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堆叠式自动编码器 J</a:t>
              </a:r>
              <a:endParaRPr lang="zh-CN" sz="1000" dirty="0"/>
            </a:p>
          </p:txBody>
        </p:sp>
        <p:sp>
          <p:nvSpPr>
            <p:cNvPr id="168" name="TextBox 167"/>
            <p:cNvSpPr txBox="1">
              <a:spLocks/>
            </p:cNvSpPr>
            <p:nvPr/>
          </p:nvSpPr>
          <p:spPr>
            <a:xfrm>
              <a:off x="6510225" y="3143181"/>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最大间距分类器</a:t>
              </a:r>
            </a:p>
          </p:txBody>
        </p:sp>
        <p:sp>
          <p:nvSpPr>
            <p:cNvPr id="169" name="TextBox 168"/>
            <p:cNvSpPr txBox="1">
              <a:spLocks/>
            </p:cNvSpPr>
            <p:nvPr/>
          </p:nvSpPr>
          <p:spPr>
            <a:xfrm>
              <a:off x="6510225" y="3269621"/>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线性SVM</a:t>
              </a:r>
              <a:endParaRPr lang="zh-CN" sz="1000" dirty="0"/>
            </a:p>
          </p:txBody>
        </p:sp>
        <p:sp>
          <p:nvSpPr>
            <p:cNvPr id="167" name="TextBox 166"/>
            <p:cNvSpPr txBox="1">
              <a:spLocks/>
            </p:cNvSpPr>
            <p:nvPr/>
          </p:nvSpPr>
          <p:spPr>
            <a:xfrm>
              <a:off x="6510225" y="3025819"/>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线性分离器</a:t>
              </a:r>
            </a:p>
          </p:txBody>
        </p:sp>
        <p:sp>
          <p:nvSpPr>
            <p:cNvPr id="170" name="TextBox 169"/>
            <p:cNvSpPr txBox="1">
              <a:spLocks/>
            </p:cNvSpPr>
            <p:nvPr/>
          </p:nvSpPr>
          <p:spPr>
            <a:xfrm>
              <a:off x="6510225" y="3386983"/>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有内核SVM</a:t>
              </a:r>
            </a:p>
          </p:txBody>
        </p:sp>
        <p:sp>
          <p:nvSpPr>
            <p:cNvPr id="578" name="TextBox 577"/>
            <p:cNvSpPr txBox="1">
              <a:spLocks/>
            </p:cNvSpPr>
            <p:nvPr/>
          </p:nvSpPr>
          <p:spPr>
            <a:xfrm>
              <a:off x="6510224" y="1617482"/>
              <a:ext cx="216299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偏最小二乘回归</a:t>
              </a:r>
            </a:p>
          </p:txBody>
        </p:sp>
        <p:sp>
          <p:nvSpPr>
            <p:cNvPr id="580" name="TextBox 579"/>
            <p:cNvSpPr txBox="1">
              <a:spLocks/>
            </p:cNvSpPr>
            <p:nvPr/>
          </p:nvSpPr>
          <p:spPr>
            <a:xfrm>
              <a:off x="6510225" y="1734843"/>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Sammon映射</a:t>
              </a:r>
              <a:endParaRPr lang="zh-CN" sz="1000" dirty="0"/>
            </a:p>
          </p:txBody>
        </p:sp>
        <p:sp>
          <p:nvSpPr>
            <p:cNvPr id="582" name="TextBox 581"/>
            <p:cNvSpPr txBox="1">
              <a:spLocks/>
            </p:cNvSpPr>
            <p:nvPr/>
          </p:nvSpPr>
          <p:spPr>
            <a:xfrm>
              <a:off x="6510225" y="1852204"/>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多维缩放 (MDS)</a:t>
              </a:r>
              <a:endParaRPr lang="zh-CN" sz="1000" dirty="0"/>
            </a:p>
          </p:txBody>
        </p:sp>
        <p:sp>
          <p:nvSpPr>
            <p:cNvPr id="584" name="TextBox 583"/>
            <p:cNvSpPr txBox="1">
              <a:spLocks/>
            </p:cNvSpPr>
            <p:nvPr/>
          </p:nvSpPr>
          <p:spPr>
            <a:xfrm>
              <a:off x="6510225" y="1969566"/>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投影追踪</a:t>
              </a:r>
              <a:endParaRPr lang="zh-CN" sz="1000" dirty="0"/>
            </a:p>
          </p:txBody>
        </p:sp>
        <p:sp>
          <p:nvSpPr>
            <p:cNvPr id="586" name="TextBox 585"/>
            <p:cNvSpPr txBox="1">
              <a:spLocks/>
            </p:cNvSpPr>
            <p:nvPr/>
          </p:nvSpPr>
          <p:spPr>
            <a:xfrm>
              <a:off x="6510223" y="2086928"/>
              <a:ext cx="2146605"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主成分回归 (PCR)</a:t>
              </a:r>
            </a:p>
          </p:txBody>
        </p:sp>
        <p:sp>
          <p:nvSpPr>
            <p:cNvPr id="588" name="TextBox 587"/>
            <p:cNvSpPr txBox="1">
              <a:spLocks/>
            </p:cNvSpPr>
            <p:nvPr/>
          </p:nvSpPr>
          <p:spPr>
            <a:xfrm>
              <a:off x="6510223" y="2416621"/>
              <a:ext cx="2227379"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混合判别分析 (MDA)</a:t>
              </a:r>
            </a:p>
          </p:txBody>
        </p:sp>
        <p:sp>
          <p:nvSpPr>
            <p:cNvPr id="590" name="TextBox 589"/>
            <p:cNvSpPr txBox="1">
              <a:spLocks/>
            </p:cNvSpPr>
            <p:nvPr/>
          </p:nvSpPr>
          <p:spPr>
            <a:xfrm>
              <a:off x="6510223" y="2533983"/>
              <a:ext cx="2227379"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二次判别分析 (QDA)</a:t>
              </a:r>
            </a:p>
          </p:txBody>
        </p:sp>
        <p:sp>
          <p:nvSpPr>
            <p:cNvPr id="592" name="TextBox 591"/>
            <p:cNvSpPr txBox="1">
              <a:spLocks/>
            </p:cNvSpPr>
            <p:nvPr/>
          </p:nvSpPr>
          <p:spPr>
            <a:xfrm>
              <a:off x="6510225" y="2204289"/>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部分最小二乘判别分析</a:t>
              </a:r>
            </a:p>
          </p:txBody>
        </p:sp>
        <p:sp>
          <p:nvSpPr>
            <p:cNvPr id="594" name="TextBox 593"/>
            <p:cNvSpPr txBox="1">
              <a:spLocks/>
            </p:cNvSpPr>
            <p:nvPr/>
          </p:nvSpPr>
          <p:spPr>
            <a:xfrm>
              <a:off x="6510225" y="1500120"/>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主成分分析（PCA）</a:t>
              </a:r>
            </a:p>
          </p:txBody>
        </p:sp>
        <p:sp>
          <p:nvSpPr>
            <p:cNvPr id="596" name="TextBox 595"/>
            <p:cNvSpPr txBox="1">
              <a:spLocks/>
            </p:cNvSpPr>
            <p:nvPr/>
          </p:nvSpPr>
          <p:spPr>
            <a:xfrm>
              <a:off x="6510225" y="2886068"/>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线性判别分析(LDA)</a:t>
              </a:r>
              <a:endParaRPr lang="zh-CN" sz="1000" dirty="0"/>
            </a:p>
          </p:txBody>
        </p:sp>
        <p:sp>
          <p:nvSpPr>
            <p:cNvPr id="599" name="TextBox 598"/>
            <p:cNvSpPr txBox="1">
              <a:spLocks/>
            </p:cNvSpPr>
            <p:nvPr/>
          </p:nvSpPr>
          <p:spPr>
            <a:xfrm>
              <a:off x="6510223" y="2651344"/>
              <a:ext cx="2227379"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正则判别分析 (RDAI)</a:t>
              </a:r>
            </a:p>
          </p:txBody>
        </p:sp>
        <p:sp>
          <p:nvSpPr>
            <p:cNvPr id="601" name="TextBox 600"/>
            <p:cNvSpPr txBox="1">
              <a:spLocks/>
            </p:cNvSpPr>
            <p:nvPr/>
          </p:nvSpPr>
          <p:spPr>
            <a:xfrm>
              <a:off x="6510225" y="2768705"/>
              <a:ext cx="2085437"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灵活判别分析 (FDA)</a:t>
              </a:r>
              <a:endParaRPr lang="zh-CN" sz="1000" dirty="0"/>
            </a:p>
          </p:txBody>
        </p:sp>
        <p:sp>
          <p:nvSpPr>
            <p:cNvPr id="194" name="Oval 193"/>
            <p:cNvSpPr>
              <a:spLocks/>
            </p:cNvSpPr>
            <p:nvPr/>
          </p:nvSpPr>
          <p:spPr>
            <a:xfrm>
              <a:off x="6213650" y="5160716"/>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J2</a:t>
              </a:r>
            </a:p>
          </p:txBody>
        </p:sp>
        <p:sp>
          <p:nvSpPr>
            <p:cNvPr id="195" name="Oval 194"/>
            <p:cNvSpPr>
              <a:spLocks/>
            </p:cNvSpPr>
            <p:nvPr/>
          </p:nvSpPr>
          <p:spPr>
            <a:xfrm>
              <a:off x="6213650" y="5278079"/>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J3</a:t>
              </a:r>
            </a:p>
          </p:txBody>
        </p:sp>
        <p:sp>
          <p:nvSpPr>
            <p:cNvPr id="200" name="Oval 199"/>
            <p:cNvSpPr>
              <a:spLocks/>
            </p:cNvSpPr>
            <p:nvPr/>
          </p:nvSpPr>
          <p:spPr>
            <a:xfrm>
              <a:off x="6213650" y="4668880"/>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I2</a:t>
              </a:r>
            </a:p>
          </p:txBody>
        </p:sp>
        <p:sp>
          <p:nvSpPr>
            <p:cNvPr id="201" name="Oval 200"/>
            <p:cNvSpPr>
              <a:spLocks/>
            </p:cNvSpPr>
            <p:nvPr/>
          </p:nvSpPr>
          <p:spPr>
            <a:xfrm>
              <a:off x="6213650" y="4786241"/>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I3</a:t>
              </a:r>
            </a:p>
          </p:txBody>
        </p:sp>
        <p:sp>
          <p:nvSpPr>
            <p:cNvPr id="199" name="Oval 198"/>
            <p:cNvSpPr>
              <a:spLocks/>
            </p:cNvSpPr>
            <p:nvPr/>
          </p:nvSpPr>
          <p:spPr>
            <a:xfrm>
              <a:off x="6213650" y="4551519"/>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I1</a:t>
              </a:r>
            </a:p>
          </p:txBody>
        </p:sp>
        <p:sp>
          <p:nvSpPr>
            <p:cNvPr id="202" name="Oval 201"/>
            <p:cNvSpPr>
              <a:spLocks/>
            </p:cNvSpPr>
            <p:nvPr/>
          </p:nvSpPr>
          <p:spPr>
            <a:xfrm>
              <a:off x="6213650" y="4903602"/>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I4</a:t>
              </a:r>
            </a:p>
          </p:txBody>
        </p:sp>
        <p:sp>
          <p:nvSpPr>
            <p:cNvPr id="206" name="Oval 205"/>
            <p:cNvSpPr>
              <a:spLocks/>
            </p:cNvSpPr>
            <p:nvPr/>
          </p:nvSpPr>
          <p:spPr>
            <a:xfrm>
              <a:off x="6213650" y="3729989"/>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H2</a:t>
              </a:r>
            </a:p>
          </p:txBody>
        </p:sp>
        <p:sp>
          <p:nvSpPr>
            <p:cNvPr id="207" name="Oval 206"/>
            <p:cNvSpPr>
              <a:spLocks/>
            </p:cNvSpPr>
            <p:nvPr/>
          </p:nvSpPr>
          <p:spPr>
            <a:xfrm>
              <a:off x="6213650" y="3847350"/>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H3</a:t>
              </a:r>
            </a:p>
          </p:txBody>
        </p:sp>
        <p:sp>
          <p:nvSpPr>
            <p:cNvPr id="208" name="Oval 207"/>
            <p:cNvSpPr>
              <a:spLocks/>
            </p:cNvSpPr>
            <p:nvPr/>
          </p:nvSpPr>
          <p:spPr>
            <a:xfrm>
              <a:off x="6213650" y="3964711"/>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H4</a:t>
              </a:r>
            </a:p>
          </p:txBody>
        </p:sp>
        <p:sp>
          <p:nvSpPr>
            <p:cNvPr id="211" name="Oval 210"/>
            <p:cNvSpPr>
              <a:spLocks/>
            </p:cNvSpPr>
            <p:nvPr/>
          </p:nvSpPr>
          <p:spPr>
            <a:xfrm>
              <a:off x="6213650" y="4082074"/>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H5</a:t>
              </a:r>
            </a:p>
          </p:txBody>
        </p:sp>
        <p:sp>
          <p:nvSpPr>
            <p:cNvPr id="212" name="Oval 211"/>
            <p:cNvSpPr>
              <a:spLocks/>
            </p:cNvSpPr>
            <p:nvPr/>
          </p:nvSpPr>
          <p:spPr>
            <a:xfrm>
              <a:off x="6213650" y="4199435"/>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H6</a:t>
              </a:r>
            </a:p>
          </p:txBody>
        </p:sp>
        <p:sp>
          <p:nvSpPr>
            <p:cNvPr id="205" name="Oval 204"/>
            <p:cNvSpPr>
              <a:spLocks/>
            </p:cNvSpPr>
            <p:nvPr/>
          </p:nvSpPr>
          <p:spPr>
            <a:xfrm>
              <a:off x="6213650" y="3612627"/>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H1</a:t>
              </a:r>
            </a:p>
          </p:txBody>
        </p:sp>
        <p:sp>
          <p:nvSpPr>
            <p:cNvPr id="213" name="Oval 212"/>
            <p:cNvSpPr>
              <a:spLocks/>
            </p:cNvSpPr>
            <p:nvPr/>
          </p:nvSpPr>
          <p:spPr>
            <a:xfrm>
              <a:off x="6213650" y="4316796"/>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H7</a:t>
              </a:r>
            </a:p>
          </p:txBody>
        </p:sp>
        <p:sp>
          <p:nvSpPr>
            <p:cNvPr id="193" name="Oval 192"/>
            <p:cNvSpPr>
              <a:spLocks/>
            </p:cNvSpPr>
            <p:nvPr/>
          </p:nvSpPr>
          <p:spPr>
            <a:xfrm>
              <a:off x="6213650" y="5043355"/>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J1</a:t>
              </a:r>
            </a:p>
          </p:txBody>
        </p:sp>
        <p:sp>
          <p:nvSpPr>
            <p:cNvPr id="219" name="Oval 218"/>
            <p:cNvSpPr>
              <a:spLocks/>
            </p:cNvSpPr>
            <p:nvPr/>
          </p:nvSpPr>
          <p:spPr>
            <a:xfrm>
              <a:off x="6213650" y="5395450"/>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J4</a:t>
              </a:r>
            </a:p>
          </p:txBody>
        </p:sp>
        <p:sp>
          <p:nvSpPr>
            <p:cNvPr id="225" name="Oval 224"/>
            <p:cNvSpPr>
              <a:spLocks/>
            </p:cNvSpPr>
            <p:nvPr/>
          </p:nvSpPr>
          <p:spPr>
            <a:xfrm>
              <a:off x="6213650" y="3143181"/>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H2</a:t>
              </a:r>
            </a:p>
          </p:txBody>
        </p:sp>
        <p:sp>
          <p:nvSpPr>
            <p:cNvPr id="226" name="Oval 225"/>
            <p:cNvSpPr>
              <a:spLocks/>
            </p:cNvSpPr>
            <p:nvPr/>
          </p:nvSpPr>
          <p:spPr>
            <a:xfrm>
              <a:off x="6213650" y="3269621"/>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H3</a:t>
              </a:r>
            </a:p>
          </p:txBody>
        </p:sp>
        <p:sp>
          <p:nvSpPr>
            <p:cNvPr id="224" name="Oval 223"/>
            <p:cNvSpPr>
              <a:spLocks/>
            </p:cNvSpPr>
            <p:nvPr/>
          </p:nvSpPr>
          <p:spPr>
            <a:xfrm>
              <a:off x="6213650" y="3025820"/>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H1</a:t>
              </a:r>
            </a:p>
          </p:txBody>
        </p:sp>
        <p:sp>
          <p:nvSpPr>
            <p:cNvPr id="227" name="Oval 226"/>
            <p:cNvSpPr>
              <a:spLocks/>
            </p:cNvSpPr>
            <p:nvPr/>
          </p:nvSpPr>
          <p:spPr>
            <a:xfrm>
              <a:off x="6213650" y="3386983"/>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H4</a:t>
              </a:r>
            </a:p>
          </p:txBody>
        </p:sp>
        <p:sp>
          <p:nvSpPr>
            <p:cNvPr id="579" name="Oval 578"/>
            <p:cNvSpPr>
              <a:spLocks/>
            </p:cNvSpPr>
            <p:nvPr/>
          </p:nvSpPr>
          <p:spPr>
            <a:xfrm>
              <a:off x="6213650" y="1617482"/>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G2</a:t>
              </a:r>
            </a:p>
          </p:txBody>
        </p:sp>
        <p:sp>
          <p:nvSpPr>
            <p:cNvPr id="581" name="Oval 580"/>
            <p:cNvSpPr>
              <a:spLocks/>
            </p:cNvSpPr>
            <p:nvPr/>
          </p:nvSpPr>
          <p:spPr>
            <a:xfrm>
              <a:off x="6213650" y="1734843"/>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G3</a:t>
              </a:r>
            </a:p>
          </p:txBody>
        </p:sp>
        <p:sp>
          <p:nvSpPr>
            <p:cNvPr id="583" name="Oval 582"/>
            <p:cNvSpPr>
              <a:spLocks/>
            </p:cNvSpPr>
            <p:nvPr/>
          </p:nvSpPr>
          <p:spPr>
            <a:xfrm>
              <a:off x="6213650" y="1852204"/>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G4</a:t>
              </a:r>
            </a:p>
          </p:txBody>
        </p:sp>
        <p:sp>
          <p:nvSpPr>
            <p:cNvPr id="585" name="Oval 584"/>
            <p:cNvSpPr>
              <a:spLocks/>
            </p:cNvSpPr>
            <p:nvPr/>
          </p:nvSpPr>
          <p:spPr>
            <a:xfrm>
              <a:off x="6213650" y="1969567"/>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G5</a:t>
              </a:r>
            </a:p>
          </p:txBody>
        </p:sp>
        <p:sp>
          <p:nvSpPr>
            <p:cNvPr id="587" name="Oval 586"/>
            <p:cNvSpPr>
              <a:spLocks/>
            </p:cNvSpPr>
            <p:nvPr/>
          </p:nvSpPr>
          <p:spPr>
            <a:xfrm>
              <a:off x="6213650" y="2086928"/>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G6</a:t>
              </a:r>
            </a:p>
          </p:txBody>
        </p:sp>
        <p:sp>
          <p:nvSpPr>
            <p:cNvPr id="589" name="Oval 588"/>
            <p:cNvSpPr>
              <a:spLocks/>
            </p:cNvSpPr>
            <p:nvPr/>
          </p:nvSpPr>
          <p:spPr>
            <a:xfrm>
              <a:off x="6213650" y="2416621"/>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G8</a:t>
              </a:r>
            </a:p>
          </p:txBody>
        </p:sp>
        <p:sp>
          <p:nvSpPr>
            <p:cNvPr id="591" name="Oval 590"/>
            <p:cNvSpPr>
              <a:spLocks/>
            </p:cNvSpPr>
            <p:nvPr/>
          </p:nvSpPr>
          <p:spPr>
            <a:xfrm>
              <a:off x="6213650" y="2533983"/>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G9</a:t>
              </a:r>
            </a:p>
          </p:txBody>
        </p:sp>
        <p:sp>
          <p:nvSpPr>
            <p:cNvPr id="593" name="Oval 592"/>
            <p:cNvSpPr>
              <a:spLocks/>
            </p:cNvSpPr>
            <p:nvPr/>
          </p:nvSpPr>
          <p:spPr>
            <a:xfrm>
              <a:off x="6213650" y="2204289"/>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G7</a:t>
              </a:r>
            </a:p>
          </p:txBody>
        </p:sp>
        <p:sp>
          <p:nvSpPr>
            <p:cNvPr id="595" name="Oval 594"/>
            <p:cNvSpPr>
              <a:spLocks/>
            </p:cNvSpPr>
            <p:nvPr/>
          </p:nvSpPr>
          <p:spPr>
            <a:xfrm>
              <a:off x="6213650" y="1500120"/>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G1</a:t>
              </a:r>
            </a:p>
          </p:txBody>
        </p:sp>
        <p:sp>
          <p:nvSpPr>
            <p:cNvPr id="600" name="Oval 599"/>
            <p:cNvSpPr>
              <a:spLocks/>
            </p:cNvSpPr>
            <p:nvPr/>
          </p:nvSpPr>
          <p:spPr>
            <a:xfrm>
              <a:off x="6213650" y="2886068"/>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G12</a:t>
              </a:r>
            </a:p>
          </p:txBody>
        </p:sp>
        <p:sp>
          <p:nvSpPr>
            <p:cNvPr id="598" name="Oval 597"/>
            <p:cNvSpPr>
              <a:spLocks/>
            </p:cNvSpPr>
            <p:nvPr/>
          </p:nvSpPr>
          <p:spPr>
            <a:xfrm>
              <a:off x="6213650" y="2651344"/>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G10</a:t>
              </a:r>
            </a:p>
          </p:txBody>
        </p:sp>
        <p:sp>
          <p:nvSpPr>
            <p:cNvPr id="597" name="Oval 596"/>
            <p:cNvSpPr>
              <a:spLocks/>
            </p:cNvSpPr>
            <p:nvPr/>
          </p:nvSpPr>
          <p:spPr>
            <a:xfrm>
              <a:off x="6213650" y="2768706"/>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G11</a:t>
              </a:r>
            </a:p>
          </p:txBody>
        </p:sp>
        <p:sp>
          <p:nvSpPr>
            <p:cNvPr id="14" name="Rectangle 13"/>
            <p:cNvSpPr>
              <a:spLocks/>
            </p:cNvSpPr>
            <p:nvPr/>
          </p:nvSpPr>
          <p:spPr>
            <a:xfrm>
              <a:off x="5167157" y="3025819"/>
              <a:ext cx="834615" cy="54202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6" tIns="34287" rIns="68576" bIns="34287" numCol="1" spcCol="0" rtlCol="0" fromWordArt="0" anchor="ctr" anchorCtr="0" forceAA="0" compatLnSpc="1">
              <a:prstTxWarp prst="textNoShape">
                <a:avLst/>
              </a:prstTxWarp>
              <a:noAutofit/>
            </a:bodyPr>
            <a:lstStyle/>
            <a:p>
              <a:pPr marL="65476"/>
              <a:r>
                <a:rPr lang="zh-CN" sz="1000" b="1" dirty="0">
                  <a:solidFill>
                    <a:schemeClr val="accent4"/>
                  </a:solidFill>
                  <a:latin typeface="KaiTi"/>
                  <a:cs typeface="KaiTi"/>
                </a:rPr>
                <a:t>支持向量机(SVM)</a:t>
              </a:r>
            </a:p>
          </p:txBody>
        </p:sp>
        <p:sp>
          <p:nvSpPr>
            <p:cNvPr id="15" name="Rectangle 14"/>
            <p:cNvSpPr>
              <a:spLocks/>
            </p:cNvSpPr>
            <p:nvPr/>
          </p:nvSpPr>
          <p:spPr>
            <a:xfrm>
              <a:off x="5167157" y="3612627"/>
              <a:ext cx="834615" cy="89411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6" tIns="34287" rIns="68576" bIns="34287" numCol="1" spcCol="0" rtlCol="0" fromWordArt="0" anchor="ctr" anchorCtr="0" forceAA="0" compatLnSpc="1">
              <a:prstTxWarp prst="textNoShape">
                <a:avLst/>
              </a:prstTxWarp>
              <a:noAutofit/>
            </a:bodyPr>
            <a:lstStyle/>
            <a:p>
              <a:pPr marL="65476"/>
              <a:r>
                <a:rPr lang="zh-CN" sz="1000" b="1" dirty="0">
                  <a:solidFill>
                    <a:schemeClr val="accent4"/>
                  </a:solidFill>
                  <a:latin typeface="KaiTi"/>
                  <a:cs typeface="KaiTi"/>
                </a:rPr>
                <a:t>组合</a:t>
              </a:r>
            </a:p>
          </p:txBody>
        </p:sp>
        <p:sp>
          <p:nvSpPr>
            <p:cNvPr id="16" name="Rectangle 15"/>
            <p:cNvSpPr>
              <a:spLocks/>
            </p:cNvSpPr>
            <p:nvPr/>
          </p:nvSpPr>
          <p:spPr>
            <a:xfrm>
              <a:off x="5167157" y="4551518"/>
              <a:ext cx="834615" cy="44705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6" tIns="34287" rIns="68576" bIns="34287" numCol="1" spcCol="0" rtlCol="0" fromWordArt="0" anchor="ctr" anchorCtr="0" forceAA="0" compatLnSpc="1">
              <a:prstTxWarp prst="textNoShape">
                <a:avLst/>
              </a:prstTxWarp>
              <a:noAutofit/>
            </a:bodyPr>
            <a:lstStyle/>
            <a:p>
              <a:pPr marL="65476"/>
              <a:r>
                <a:rPr lang="zh-CN" sz="1000" b="1" dirty="0">
                  <a:solidFill>
                    <a:schemeClr val="accent4"/>
                  </a:solidFill>
                  <a:latin typeface="KaiTi"/>
                  <a:cs typeface="KaiTi"/>
                </a:rPr>
                <a:t>神经网络</a:t>
              </a:r>
            </a:p>
          </p:txBody>
        </p:sp>
        <p:sp>
          <p:nvSpPr>
            <p:cNvPr id="17" name="Rectangle 16"/>
            <p:cNvSpPr>
              <a:spLocks/>
            </p:cNvSpPr>
            <p:nvPr/>
          </p:nvSpPr>
          <p:spPr>
            <a:xfrm>
              <a:off x="5167157" y="5043355"/>
              <a:ext cx="834615" cy="4470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6" tIns="34287" rIns="68576" bIns="34287" numCol="1" spcCol="0" rtlCol="0" fromWordArt="0" anchor="ctr" anchorCtr="0" forceAA="0" compatLnSpc="1">
              <a:prstTxWarp prst="textNoShape">
                <a:avLst/>
              </a:prstTxWarp>
              <a:noAutofit/>
            </a:bodyPr>
            <a:lstStyle/>
            <a:p>
              <a:pPr marL="65476"/>
              <a:r>
                <a:rPr lang="zh-CN" sz="1000" b="1" dirty="0">
                  <a:solidFill>
                    <a:schemeClr val="accent4"/>
                  </a:solidFill>
                  <a:latin typeface="KaiTi"/>
                  <a:cs typeface="KaiTi"/>
                </a:rPr>
                <a:t>深度学习</a:t>
              </a:r>
            </a:p>
          </p:txBody>
        </p:sp>
        <p:sp>
          <p:nvSpPr>
            <p:cNvPr id="576" name="Rectangle 575"/>
            <p:cNvSpPr>
              <a:spLocks/>
            </p:cNvSpPr>
            <p:nvPr/>
          </p:nvSpPr>
          <p:spPr>
            <a:xfrm>
              <a:off x="5167157" y="1500121"/>
              <a:ext cx="834615" cy="148091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6" tIns="34287" rIns="68576" bIns="34287" numCol="1" spcCol="0" rtlCol="0" fromWordArt="0" anchor="ctr" anchorCtr="0" forceAA="0" compatLnSpc="1">
              <a:prstTxWarp prst="textNoShape">
                <a:avLst/>
              </a:prstTxWarp>
              <a:noAutofit/>
            </a:bodyPr>
            <a:lstStyle/>
            <a:p>
              <a:pPr marL="65476"/>
              <a:r>
                <a:rPr lang="zh-CN" sz="1000" b="1" dirty="0">
                  <a:solidFill>
                    <a:schemeClr val="accent4"/>
                  </a:solidFill>
                  <a:latin typeface="KaiTi"/>
                  <a:cs typeface="KaiTi"/>
                </a:rPr>
                <a:t>降维</a:t>
              </a:r>
            </a:p>
          </p:txBody>
        </p:sp>
        <p:sp>
          <p:nvSpPr>
            <p:cNvPr id="111" name="Oval 110"/>
            <p:cNvSpPr/>
            <p:nvPr/>
          </p:nvSpPr>
          <p:spPr>
            <a:xfrm>
              <a:off x="5086586" y="4698912"/>
              <a:ext cx="190262" cy="152268"/>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sz="1000" b="1" dirty="0">
                  <a:solidFill>
                    <a:schemeClr val="bg1"/>
                  </a:solidFill>
                  <a:latin typeface="KaiTi"/>
                  <a:cs typeface="KaiTi"/>
                </a:rPr>
                <a:t>J</a:t>
              </a:r>
            </a:p>
          </p:txBody>
        </p:sp>
        <p:sp>
          <p:nvSpPr>
            <p:cNvPr id="602" name="Oval 601"/>
            <p:cNvSpPr/>
            <p:nvPr/>
          </p:nvSpPr>
          <p:spPr>
            <a:xfrm>
              <a:off x="5086586" y="2201007"/>
              <a:ext cx="190262" cy="152268"/>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sz="1000" b="1" dirty="0">
                  <a:solidFill>
                    <a:schemeClr val="bg1"/>
                  </a:solidFill>
                  <a:latin typeface="KaiTi"/>
                  <a:cs typeface="KaiTi"/>
                </a:rPr>
                <a:t>G</a:t>
              </a:r>
            </a:p>
          </p:txBody>
        </p:sp>
        <p:sp>
          <p:nvSpPr>
            <p:cNvPr id="109" name="Oval 108"/>
            <p:cNvSpPr/>
            <p:nvPr/>
          </p:nvSpPr>
          <p:spPr>
            <a:xfrm>
              <a:off x="5086586" y="3233010"/>
              <a:ext cx="190262" cy="152268"/>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sz="1000" b="1" dirty="0">
                  <a:solidFill>
                    <a:schemeClr val="bg1"/>
                  </a:solidFill>
                  <a:latin typeface="KaiTi"/>
                  <a:cs typeface="KaiTi"/>
                </a:rPr>
                <a:t>H</a:t>
              </a:r>
            </a:p>
          </p:txBody>
        </p:sp>
        <p:sp>
          <p:nvSpPr>
            <p:cNvPr id="108" name="Oval 107"/>
            <p:cNvSpPr/>
            <p:nvPr/>
          </p:nvSpPr>
          <p:spPr>
            <a:xfrm>
              <a:off x="5086586" y="3983547"/>
              <a:ext cx="190262" cy="152268"/>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sz="1000" b="1" dirty="0">
                  <a:solidFill>
                    <a:schemeClr val="bg1"/>
                  </a:solidFill>
                  <a:latin typeface="KaiTi"/>
                  <a:cs typeface="KaiTi"/>
                </a:rPr>
                <a:t>I</a:t>
              </a:r>
            </a:p>
          </p:txBody>
        </p:sp>
        <p:sp>
          <p:nvSpPr>
            <p:cNvPr id="651" name="Oval 650"/>
            <p:cNvSpPr/>
            <p:nvPr/>
          </p:nvSpPr>
          <p:spPr>
            <a:xfrm>
              <a:off x="5056149" y="5190753"/>
              <a:ext cx="190262" cy="152268"/>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sz="1000" b="1" dirty="0">
                  <a:solidFill>
                    <a:schemeClr val="bg1"/>
                  </a:solidFill>
                  <a:latin typeface="KaiTi"/>
                  <a:cs typeface="KaiTi"/>
                </a:rPr>
                <a:t>K</a:t>
              </a:r>
            </a:p>
          </p:txBody>
        </p:sp>
        <p:cxnSp>
          <p:nvCxnSpPr>
            <p:cNvPr id="50" name="Straight Connector 49"/>
            <p:cNvCxnSpPr>
              <a:cxnSpLocks/>
            </p:cNvCxnSpPr>
            <p:nvPr/>
          </p:nvCxnSpPr>
          <p:spPr>
            <a:xfrm>
              <a:off x="5167158" y="5020963"/>
              <a:ext cx="3428503"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a:off x="5167158" y="3590236"/>
              <a:ext cx="3428503"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p:nvCxnSpPr>
          <p:spPr>
            <a:xfrm>
              <a:off x="5167158" y="3003427"/>
              <a:ext cx="3428503"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672" name="Straight Connector 671"/>
            <p:cNvCxnSpPr>
              <a:cxnSpLocks/>
            </p:cNvCxnSpPr>
            <p:nvPr/>
          </p:nvCxnSpPr>
          <p:spPr>
            <a:xfrm>
              <a:off x="5167158" y="4529128"/>
              <a:ext cx="3428503"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972" name="Elbow Connector 971"/>
            <p:cNvCxnSpPr>
              <a:stCxn id="576" idx="3"/>
              <a:endCxn id="595" idx="2"/>
            </p:cNvCxnSpPr>
            <p:nvPr/>
          </p:nvCxnSpPr>
          <p:spPr>
            <a:xfrm flipV="1">
              <a:off x="6001774" y="1547605"/>
              <a:ext cx="211876" cy="692974"/>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75" name="Elbow Connector 974"/>
            <p:cNvCxnSpPr>
              <a:stCxn id="576" idx="3"/>
              <a:endCxn id="579" idx="2"/>
            </p:cNvCxnSpPr>
            <p:nvPr/>
          </p:nvCxnSpPr>
          <p:spPr>
            <a:xfrm flipV="1">
              <a:off x="6001774" y="1664967"/>
              <a:ext cx="211876" cy="575612"/>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78" name="Elbow Connector 977"/>
            <p:cNvCxnSpPr>
              <a:stCxn id="576" idx="3"/>
              <a:endCxn id="581" idx="2"/>
            </p:cNvCxnSpPr>
            <p:nvPr/>
          </p:nvCxnSpPr>
          <p:spPr>
            <a:xfrm flipV="1">
              <a:off x="6001774" y="1782328"/>
              <a:ext cx="211876" cy="458251"/>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81" name="Elbow Connector 980"/>
            <p:cNvCxnSpPr>
              <a:stCxn id="576" idx="3"/>
              <a:endCxn id="583" idx="2"/>
            </p:cNvCxnSpPr>
            <p:nvPr/>
          </p:nvCxnSpPr>
          <p:spPr>
            <a:xfrm flipV="1">
              <a:off x="6001774" y="1899690"/>
              <a:ext cx="211876" cy="340889"/>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84" name="Elbow Connector 983"/>
            <p:cNvCxnSpPr>
              <a:stCxn id="576" idx="3"/>
              <a:endCxn id="585" idx="2"/>
            </p:cNvCxnSpPr>
            <p:nvPr/>
          </p:nvCxnSpPr>
          <p:spPr>
            <a:xfrm flipV="1">
              <a:off x="6001774" y="2017051"/>
              <a:ext cx="211876" cy="223527"/>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87" name="Elbow Connector 986"/>
            <p:cNvCxnSpPr>
              <a:stCxn id="576" idx="3"/>
              <a:endCxn id="587" idx="2"/>
            </p:cNvCxnSpPr>
            <p:nvPr/>
          </p:nvCxnSpPr>
          <p:spPr>
            <a:xfrm flipV="1">
              <a:off x="6001774" y="2134413"/>
              <a:ext cx="211876" cy="106166"/>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90" name="Elbow Connector 989"/>
            <p:cNvCxnSpPr>
              <a:stCxn id="576" idx="3"/>
              <a:endCxn id="593" idx="2"/>
            </p:cNvCxnSpPr>
            <p:nvPr/>
          </p:nvCxnSpPr>
          <p:spPr>
            <a:xfrm>
              <a:off x="6001774" y="2240579"/>
              <a:ext cx="211876" cy="11195"/>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93" name="Elbow Connector 992"/>
            <p:cNvCxnSpPr>
              <a:stCxn id="576" idx="3"/>
              <a:endCxn id="589" idx="2"/>
            </p:cNvCxnSpPr>
            <p:nvPr/>
          </p:nvCxnSpPr>
          <p:spPr>
            <a:xfrm>
              <a:off x="6001774" y="2240580"/>
              <a:ext cx="211876" cy="223527"/>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97" name="Elbow Connector 996"/>
            <p:cNvCxnSpPr>
              <a:stCxn id="576" idx="3"/>
              <a:endCxn id="591" idx="2"/>
            </p:cNvCxnSpPr>
            <p:nvPr/>
          </p:nvCxnSpPr>
          <p:spPr>
            <a:xfrm>
              <a:off x="6001774" y="2240579"/>
              <a:ext cx="211876" cy="340889"/>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00" name="Elbow Connector 999"/>
            <p:cNvCxnSpPr>
              <a:stCxn id="576" idx="3"/>
              <a:endCxn id="598" idx="2"/>
            </p:cNvCxnSpPr>
            <p:nvPr/>
          </p:nvCxnSpPr>
          <p:spPr>
            <a:xfrm>
              <a:off x="6001774" y="2240579"/>
              <a:ext cx="211876" cy="458251"/>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03" name="Elbow Connector 1002"/>
            <p:cNvCxnSpPr>
              <a:stCxn id="576" idx="3"/>
              <a:endCxn id="597" idx="2"/>
            </p:cNvCxnSpPr>
            <p:nvPr/>
          </p:nvCxnSpPr>
          <p:spPr>
            <a:xfrm>
              <a:off x="6001774" y="2240579"/>
              <a:ext cx="211876" cy="575612"/>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06" name="Elbow Connector 1005"/>
            <p:cNvCxnSpPr>
              <a:stCxn id="576" idx="3"/>
              <a:endCxn id="600" idx="2"/>
            </p:cNvCxnSpPr>
            <p:nvPr/>
          </p:nvCxnSpPr>
          <p:spPr>
            <a:xfrm>
              <a:off x="6001774" y="2240579"/>
              <a:ext cx="211876" cy="692974"/>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10" name="Elbow Connector 1009"/>
            <p:cNvCxnSpPr>
              <a:stCxn id="14" idx="3"/>
              <a:endCxn id="227" idx="2"/>
            </p:cNvCxnSpPr>
            <p:nvPr/>
          </p:nvCxnSpPr>
          <p:spPr>
            <a:xfrm>
              <a:off x="6001774" y="3296833"/>
              <a:ext cx="211876" cy="137635"/>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13" name="Elbow Connector 1012"/>
            <p:cNvCxnSpPr>
              <a:stCxn id="14" idx="3"/>
              <a:endCxn id="226" idx="2"/>
            </p:cNvCxnSpPr>
            <p:nvPr/>
          </p:nvCxnSpPr>
          <p:spPr>
            <a:xfrm>
              <a:off x="6001774" y="3296832"/>
              <a:ext cx="211876" cy="20274"/>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16" name="Elbow Connector 1015"/>
            <p:cNvCxnSpPr>
              <a:stCxn id="14" idx="3"/>
              <a:endCxn id="225" idx="2"/>
            </p:cNvCxnSpPr>
            <p:nvPr/>
          </p:nvCxnSpPr>
          <p:spPr>
            <a:xfrm flipV="1">
              <a:off x="6001774" y="3190665"/>
              <a:ext cx="211876" cy="106166"/>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19" name="Elbow Connector 1018"/>
            <p:cNvCxnSpPr>
              <a:stCxn id="14" idx="3"/>
              <a:endCxn id="224" idx="2"/>
            </p:cNvCxnSpPr>
            <p:nvPr/>
          </p:nvCxnSpPr>
          <p:spPr>
            <a:xfrm flipV="1">
              <a:off x="6001774" y="3073304"/>
              <a:ext cx="211876" cy="223527"/>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22" name="Elbow Connector 1021"/>
            <p:cNvCxnSpPr>
              <a:stCxn id="15" idx="3"/>
              <a:endCxn id="205" idx="2"/>
            </p:cNvCxnSpPr>
            <p:nvPr/>
          </p:nvCxnSpPr>
          <p:spPr>
            <a:xfrm flipV="1">
              <a:off x="6001774" y="3660112"/>
              <a:ext cx="211876" cy="399570"/>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25" name="Elbow Connector 1024"/>
            <p:cNvCxnSpPr>
              <a:stCxn id="15" idx="3"/>
              <a:endCxn id="206" idx="2"/>
            </p:cNvCxnSpPr>
            <p:nvPr/>
          </p:nvCxnSpPr>
          <p:spPr>
            <a:xfrm flipV="1">
              <a:off x="6001774" y="3777473"/>
              <a:ext cx="211876" cy="282209"/>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28" name="Elbow Connector 1027"/>
            <p:cNvCxnSpPr>
              <a:stCxn id="15" idx="3"/>
              <a:endCxn id="207" idx="2"/>
            </p:cNvCxnSpPr>
            <p:nvPr/>
          </p:nvCxnSpPr>
          <p:spPr>
            <a:xfrm flipV="1">
              <a:off x="6001774" y="3894834"/>
              <a:ext cx="211876" cy="164848"/>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31" name="Elbow Connector 1030"/>
            <p:cNvCxnSpPr>
              <a:stCxn id="15" idx="3"/>
              <a:endCxn id="208" idx="2"/>
            </p:cNvCxnSpPr>
            <p:nvPr/>
          </p:nvCxnSpPr>
          <p:spPr>
            <a:xfrm flipV="1">
              <a:off x="6001774" y="4012196"/>
              <a:ext cx="211876" cy="47486"/>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35" name="Elbow Connector 1034"/>
            <p:cNvCxnSpPr>
              <a:stCxn id="15" idx="3"/>
              <a:endCxn id="211" idx="2"/>
            </p:cNvCxnSpPr>
            <p:nvPr/>
          </p:nvCxnSpPr>
          <p:spPr>
            <a:xfrm>
              <a:off x="6001774" y="4059683"/>
              <a:ext cx="211876" cy="69875"/>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38" name="Elbow Connector 1037"/>
            <p:cNvCxnSpPr>
              <a:stCxn id="15" idx="3"/>
              <a:endCxn id="212" idx="2"/>
            </p:cNvCxnSpPr>
            <p:nvPr/>
          </p:nvCxnSpPr>
          <p:spPr>
            <a:xfrm>
              <a:off x="6001774" y="4059682"/>
              <a:ext cx="211876" cy="187237"/>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41" name="Elbow Connector 1040"/>
            <p:cNvCxnSpPr>
              <a:stCxn id="15" idx="3"/>
              <a:endCxn id="213" idx="2"/>
            </p:cNvCxnSpPr>
            <p:nvPr/>
          </p:nvCxnSpPr>
          <p:spPr>
            <a:xfrm>
              <a:off x="6001774" y="4059682"/>
              <a:ext cx="211876" cy="304598"/>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44" name="Elbow Connector 1043"/>
            <p:cNvCxnSpPr>
              <a:stCxn id="16" idx="3"/>
              <a:endCxn id="199" idx="2"/>
            </p:cNvCxnSpPr>
            <p:nvPr/>
          </p:nvCxnSpPr>
          <p:spPr>
            <a:xfrm flipV="1">
              <a:off x="6001774" y="4599004"/>
              <a:ext cx="211876" cy="176042"/>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47" name="Elbow Connector 1046"/>
            <p:cNvCxnSpPr>
              <a:stCxn id="16" idx="3"/>
              <a:endCxn id="200" idx="2"/>
            </p:cNvCxnSpPr>
            <p:nvPr/>
          </p:nvCxnSpPr>
          <p:spPr>
            <a:xfrm flipV="1">
              <a:off x="6001774" y="4716365"/>
              <a:ext cx="211876" cy="58681"/>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50" name="Elbow Connector 1049"/>
            <p:cNvCxnSpPr>
              <a:stCxn id="16" idx="3"/>
              <a:endCxn id="201" idx="2"/>
            </p:cNvCxnSpPr>
            <p:nvPr/>
          </p:nvCxnSpPr>
          <p:spPr>
            <a:xfrm>
              <a:off x="6001774" y="4775045"/>
              <a:ext cx="211876" cy="58681"/>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53" name="Elbow Connector 1052"/>
            <p:cNvCxnSpPr>
              <a:stCxn id="16" idx="3"/>
              <a:endCxn id="202" idx="2"/>
            </p:cNvCxnSpPr>
            <p:nvPr/>
          </p:nvCxnSpPr>
          <p:spPr>
            <a:xfrm>
              <a:off x="6001774" y="4775046"/>
              <a:ext cx="211876" cy="176042"/>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56" name="Elbow Connector 1055"/>
            <p:cNvCxnSpPr>
              <a:stCxn id="17" idx="3"/>
              <a:endCxn id="193" idx="2"/>
            </p:cNvCxnSpPr>
            <p:nvPr/>
          </p:nvCxnSpPr>
          <p:spPr>
            <a:xfrm flipV="1">
              <a:off x="6001774" y="5090840"/>
              <a:ext cx="211876" cy="176048"/>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59" name="Elbow Connector 1058"/>
            <p:cNvCxnSpPr>
              <a:stCxn id="17" idx="3"/>
              <a:endCxn id="194" idx="2"/>
            </p:cNvCxnSpPr>
            <p:nvPr/>
          </p:nvCxnSpPr>
          <p:spPr>
            <a:xfrm flipV="1">
              <a:off x="6001774" y="5208202"/>
              <a:ext cx="211876" cy="58686"/>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62" name="Elbow Connector 1061"/>
            <p:cNvCxnSpPr>
              <a:stCxn id="17" idx="3"/>
              <a:endCxn id="195" idx="2"/>
            </p:cNvCxnSpPr>
            <p:nvPr/>
          </p:nvCxnSpPr>
          <p:spPr>
            <a:xfrm>
              <a:off x="6001774" y="5266888"/>
              <a:ext cx="211876" cy="58676"/>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66" name="Elbow Connector 1065"/>
            <p:cNvCxnSpPr>
              <a:stCxn id="17" idx="3"/>
              <a:endCxn id="219" idx="2"/>
            </p:cNvCxnSpPr>
            <p:nvPr/>
          </p:nvCxnSpPr>
          <p:spPr>
            <a:xfrm>
              <a:off x="6001774" y="5266888"/>
              <a:ext cx="211876" cy="176048"/>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69" name="Elbow Connector 1068"/>
            <p:cNvCxnSpPr>
              <a:stCxn id="7" idx="2"/>
              <a:endCxn id="102" idx="6"/>
            </p:cNvCxnSpPr>
            <p:nvPr/>
          </p:nvCxnSpPr>
          <p:spPr>
            <a:xfrm rot="10800000">
              <a:off x="3628334" y="1753943"/>
              <a:ext cx="305486" cy="1712303"/>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73" name="Elbow Connector 1072"/>
            <p:cNvCxnSpPr>
              <a:stCxn id="7" idx="2"/>
              <a:endCxn id="104" idx="6"/>
            </p:cNvCxnSpPr>
            <p:nvPr/>
          </p:nvCxnSpPr>
          <p:spPr>
            <a:xfrm rot="10800000">
              <a:off x="3628334" y="2297866"/>
              <a:ext cx="305486" cy="1168381"/>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76" name="Elbow Connector 1075"/>
            <p:cNvCxnSpPr>
              <a:stCxn id="7" idx="2"/>
              <a:endCxn id="105" idx="6"/>
            </p:cNvCxnSpPr>
            <p:nvPr/>
          </p:nvCxnSpPr>
          <p:spPr>
            <a:xfrm rot="10800000">
              <a:off x="3628334" y="2981164"/>
              <a:ext cx="305486" cy="485081"/>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79" name="Elbow Connector 1078"/>
            <p:cNvCxnSpPr>
              <a:stCxn id="7" idx="2"/>
              <a:endCxn id="106" idx="6"/>
            </p:cNvCxnSpPr>
            <p:nvPr/>
          </p:nvCxnSpPr>
          <p:spPr>
            <a:xfrm rot="10800000" flipV="1">
              <a:off x="3628334" y="3466245"/>
              <a:ext cx="305486" cy="99687"/>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82" name="Elbow Connector 1081"/>
            <p:cNvCxnSpPr>
              <a:stCxn id="7" idx="2"/>
              <a:endCxn id="107" idx="6"/>
            </p:cNvCxnSpPr>
            <p:nvPr/>
          </p:nvCxnSpPr>
          <p:spPr>
            <a:xfrm rot="10800000" flipV="1">
              <a:off x="3628334" y="3466246"/>
              <a:ext cx="305486" cy="1015186"/>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87" name="Elbow Connector 1086"/>
            <p:cNvCxnSpPr>
              <a:stCxn id="7" idx="6"/>
              <a:endCxn id="602" idx="2"/>
            </p:cNvCxnSpPr>
            <p:nvPr/>
          </p:nvCxnSpPr>
          <p:spPr>
            <a:xfrm flipV="1">
              <a:off x="4747458" y="2277142"/>
              <a:ext cx="339128" cy="1189104"/>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90" name="Elbow Connector 1089"/>
            <p:cNvCxnSpPr>
              <a:stCxn id="7" idx="6"/>
              <a:endCxn id="109" idx="2"/>
            </p:cNvCxnSpPr>
            <p:nvPr/>
          </p:nvCxnSpPr>
          <p:spPr>
            <a:xfrm flipV="1">
              <a:off x="4747458" y="3309145"/>
              <a:ext cx="339128" cy="157101"/>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93" name="Elbow Connector 1092"/>
            <p:cNvCxnSpPr>
              <a:stCxn id="7" idx="6"/>
              <a:endCxn id="108" idx="2"/>
            </p:cNvCxnSpPr>
            <p:nvPr/>
          </p:nvCxnSpPr>
          <p:spPr>
            <a:xfrm>
              <a:off x="4747458" y="3466246"/>
              <a:ext cx="339128" cy="593436"/>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96" name="Elbow Connector 1095"/>
            <p:cNvCxnSpPr>
              <a:stCxn id="7" idx="6"/>
              <a:endCxn id="111" idx="2"/>
            </p:cNvCxnSpPr>
            <p:nvPr/>
          </p:nvCxnSpPr>
          <p:spPr>
            <a:xfrm>
              <a:off x="4747458" y="3466246"/>
              <a:ext cx="339128" cy="1308801"/>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99" name="Elbow Connector 1098"/>
            <p:cNvCxnSpPr>
              <a:stCxn id="7" idx="6"/>
              <a:endCxn id="651" idx="2"/>
            </p:cNvCxnSpPr>
            <p:nvPr/>
          </p:nvCxnSpPr>
          <p:spPr>
            <a:xfrm>
              <a:off x="4747458" y="3466246"/>
              <a:ext cx="308691" cy="1800642"/>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29" name="TextBox 228"/>
            <p:cNvSpPr txBox="1">
              <a:spLocks/>
            </p:cNvSpPr>
            <p:nvPr/>
          </p:nvSpPr>
          <p:spPr>
            <a:xfrm>
              <a:off x="3996052" y="2773424"/>
              <a:ext cx="691131" cy="24622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lgn="ctr">
                <a:spcBef>
                  <a:spcPts val="37"/>
                </a:spcBef>
                <a:buNone/>
              </a:pPr>
              <a:r>
                <a:rPr lang="zh-CN" sz="1000" b="1" dirty="0">
                  <a:solidFill>
                    <a:schemeClr val="accent3">
                      <a:lumMod val="75000"/>
                    </a:schemeClr>
                  </a:solidFill>
                  <a:latin typeface="KaiTi"/>
                  <a:cs typeface="KaiTi"/>
                </a:rPr>
                <a:t>粗体表示技术将被提及</a:t>
              </a:r>
            </a:p>
          </p:txBody>
        </p:sp>
        <p:cxnSp>
          <p:nvCxnSpPr>
            <p:cNvPr id="249" name="Straight Connector 248"/>
            <p:cNvCxnSpPr>
              <a:cxnSpLocks/>
            </p:cNvCxnSpPr>
            <p:nvPr/>
          </p:nvCxnSpPr>
          <p:spPr>
            <a:xfrm>
              <a:off x="119067" y="4971234"/>
              <a:ext cx="339003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50" name="Rectangle 249"/>
            <p:cNvSpPr>
              <a:spLocks/>
            </p:cNvSpPr>
            <p:nvPr/>
          </p:nvSpPr>
          <p:spPr>
            <a:xfrm>
              <a:off x="2831956" y="4998574"/>
              <a:ext cx="677143" cy="49184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6" tIns="34287" rIns="68576" bIns="34287" numCol="1" spcCol="0" rtlCol="0" fromWordArt="0" anchor="ctr" anchorCtr="0" forceAA="0" compatLnSpc="1">
              <a:prstTxWarp prst="textNoShape">
                <a:avLst/>
              </a:prstTxWarp>
              <a:noAutofit/>
            </a:bodyPr>
            <a:lstStyle/>
            <a:p>
              <a:pPr marL="65476"/>
              <a:r>
                <a:rPr lang="zh-CN" sz="1000" b="1" dirty="0">
                  <a:solidFill>
                    <a:schemeClr val="accent4"/>
                  </a:solidFill>
                  <a:latin typeface="KaiTi"/>
                  <a:cs typeface="KaiTi"/>
                </a:rPr>
                <a:t>正则化</a:t>
              </a:r>
              <a:endParaRPr lang="zh-CN" sz="1000" b="1" dirty="0">
                <a:solidFill>
                  <a:schemeClr val="accent4"/>
                </a:solidFill>
              </a:endParaRPr>
            </a:p>
          </p:txBody>
        </p:sp>
        <p:sp>
          <p:nvSpPr>
            <p:cNvPr id="262" name="TextBox 261"/>
            <p:cNvSpPr txBox="1">
              <a:spLocks/>
            </p:cNvSpPr>
            <p:nvPr/>
          </p:nvSpPr>
          <p:spPr>
            <a:xfrm>
              <a:off x="168385" y="5104954"/>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最小绝对收缩和选择算子 (LASSO)</a:t>
              </a:r>
            </a:p>
          </p:txBody>
        </p:sp>
        <p:sp>
          <p:nvSpPr>
            <p:cNvPr id="263" name="TextBox 262"/>
            <p:cNvSpPr txBox="1">
              <a:spLocks/>
            </p:cNvSpPr>
            <p:nvPr/>
          </p:nvSpPr>
          <p:spPr>
            <a:xfrm>
              <a:off x="177155" y="5305852"/>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dirty="0">
                  <a:solidFill>
                    <a:srgbClr val="000000"/>
                  </a:solidFill>
                  <a:latin typeface="KaiTi"/>
                  <a:cs typeface="KaiTi"/>
                </a:rPr>
                <a:t>弹性网</a:t>
              </a:r>
              <a:endParaRPr lang="zh-CN" sz="1000" dirty="0"/>
            </a:p>
          </p:txBody>
        </p:sp>
        <p:sp>
          <p:nvSpPr>
            <p:cNvPr id="264" name="TextBox 263"/>
            <p:cNvSpPr txBox="1">
              <a:spLocks/>
            </p:cNvSpPr>
            <p:nvPr/>
          </p:nvSpPr>
          <p:spPr>
            <a:xfrm>
              <a:off x="168385" y="4998777"/>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岭回归</a:t>
              </a:r>
            </a:p>
          </p:txBody>
        </p:sp>
        <p:sp>
          <p:nvSpPr>
            <p:cNvPr id="265" name="TextBox 264"/>
            <p:cNvSpPr txBox="1">
              <a:spLocks/>
            </p:cNvSpPr>
            <p:nvPr/>
          </p:nvSpPr>
          <p:spPr>
            <a:xfrm>
              <a:off x="168385" y="5410672"/>
              <a:ext cx="2304654" cy="12311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90" lvl="1" indent="0">
                <a:spcBef>
                  <a:spcPts val="37"/>
                </a:spcBef>
                <a:buNone/>
              </a:pPr>
              <a:r>
                <a:rPr lang="zh-CN" sz="1000" b="1" dirty="0">
                  <a:solidFill>
                    <a:schemeClr val="accent3">
                      <a:lumMod val="75000"/>
                    </a:schemeClr>
                  </a:solidFill>
                  <a:latin typeface="KaiTi"/>
                  <a:cs typeface="KaiTi"/>
                </a:rPr>
                <a:t>最小角度回归(LARS)</a:t>
              </a:r>
            </a:p>
          </p:txBody>
        </p:sp>
        <p:sp>
          <p:nvSpPr>
            <p:cNvPr id="266" name="Oval 265"/>
            <p:cNvSpPr>
              <a:spLocks/>
            </p:cNvSpPr>
            <p:nvPr/>
          </p:nvSpPr>
          <p:spPr>
            <a:xfrm>
              <a:off x="2343864" y="5147514"/>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F2</a:t>
              </a:r>
            </a:p>
          </p:txBody>
        </p:sp>
        <p:sp>
          <p:nvSpPr>
            <p:cNvPr id="267" name="Oval 266"/>
            <p:cNvSpPr>
              <a:spLocks/>
            </p:cNvSpPr>
            <p:nvPr/>
          </p:nvSpPr>
          <p:spPr>
            <a:xfrm>
              <a:off x="2343864" y="5257789"/>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F3</a:t>
              </a:r>
            </a:p>
          </p:txBody>
        </p:sp>
        <p:sp>
          <p:nvSpPr>
            <p:cNvPr id="268" name="Oval 267"/>
            <p:cNvSpPr>
              <a:spLocks/>
            </p:cNvSpPr>
            <p:nvPr/>
          </p:nvSpPr>
          <p:spPr>
            <a:xfrm>
              <a:off x="2343864" y="5017208"/>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F1</a:t>
              </a:r>
            </a:p>
          </p:txBody>
        </p:sp>
        <p:sp>
          <p:nvSpPr>
            <p:cNvPr id="269" name="Oval 268"/>
            <p:cNvSpPr>
              <a:spLocks/>
            </p:cNvSpPr>
            <p:nvPr/>
          </p:nvSpPr>
          <p:spPr>
            <a:xfrm>
              <a:off x="2330434" y="5393305"/>
              <a:ext cx="237870" cy="9497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1000" b="1" dirty="0">
                  <a:solidFill>
                    <a:schemeClr val="bg1"/>
                  </a:solidFill>
                  <a:latin typeface="KaiTi"/>
                  <a:cs typeface="KaiTi"/>
                </a:rPr>
                <a:t>F4</a:t>
              </a:r>
            </a:p>
          </p:txBody>
        </p:sp>
        <p:cxnSp>
          <p:nvCxnSpPr>
            <p:cNvPr id="270" name="Elbow Connector 269"/>
            <p:cNvCxnSpPr>
              <a:endCxn id="268" idx="6"/>
            </p:cNvCxnSpPr>
            <p:nvPr/>
          </p:nvCxnSpPr>
          <p:spPr>
            <a:xfrm rot="10800000">
              <a:off x="2581736" y="5064695"/>
              <a:ext cx="264283" cy="179882"/>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Elbow Connector 270"/>
            <p:cNvCxnSpPr>
              <a:stCxn id="250" idx="1"/>
              <a:endCxn id="266" idx="6"/>
            </p:cNvCxnSpPr>
            <p:nvPr/>
          </p:nvCxnSpPr>
          <p:spPr>
            <a:xfrm rot="10800000">
              <a:off x="2581735" y="5194999"/>
              <a:ext cx="250222" cy="49498"/>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2" name="Elbow Connector 271"/>
            <p:cNvCxnSpPr>
              <a:endCxn id="267" idx="6"/>
            </p:cNvCxnSpPr>
            <p:nvPr/>
          </p:nvCxnSpPr>
          <p:spPr>
            <a:xfrm rot="10800000" flipV="1">
              <a:off x="2581736" y="5248158"/>
              <a:ext cx="229756" cy="57115"/>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3" name="Elbow Connector 272"/>
            <p:cNvCxnSpPr>
              <a:stCxn id="250" idx="1"/>
              <a:endCxn id="269" idx="6"/>
            </p:cNvCxnSpPr>
            <p:nvPr/>
          </p:nvCxnSpPr>
          <p:spPr>
            <a:xfrm rot="10800000" flipV="1">
              <a:off x="2568302" y="5244497"/>
              <a:ext cx="263654" cy="196294"/>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35" name="Oval 234"/>
            <p:cNvSpPr/>
            <p:nvPr/>
          </p:nvSpPr>
          <p:spPr>
            <a:xfrm>
              <a:off x="3438072" y="5197815"/>
              <a:ext cx="190262" cy="152268"/>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sz="1000" b="1" dirty="0">
                  <a:solidFill>
                    <a:schemeClr val="bg1"/>
                  </a:solidFill>
                  <a:latin typeface="KaiTi"/>
                  <a:cs typeface="KaiTi"/>
                </a:rPr>
                <a:t>F</a:t>
              </a:r>
            </a:p>
          </p:txBody>
        </p:sp>
        <p:cxnSp>
          <p:nvCxnSpPr>
            <p:cNvPr id="236" name="Elbow Connector 235"/>
            <p:cNvCxnSpPr>
              <a:stCxn id="7" idx="2"/>
              <a:endCxn id="235" idx="6"/>
            </p:cNvCxnSpPr>
            <p:nvPr/>
          </p:nvCxnSpPr>
          <p:spPr>
            <a:xfrm rot="10800000" flipV="1">
              <a:off x="3628334" y="3466246"/>
              <a:ext cx="305486" cy="1807704"/>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sp>
        <p:nvSpPr>
          <p:cNvPr id="237" name="1. On-page tracker"/>
          <p:cNvSpPr>
            <a:spLocks noChangeArrowheads="1"/>
          </p:cNvSpPr>
          <p:nvPr/>
        </p:nvSpPr>
        <p:spPr bwMode="gray">
          <a:xfrm>
            <a:off x="119063" y="75764"/>
            <a:ext cx="61555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zh-CN" altLang="en-US" sz="800" cap="all" baseline="0" dirty="0">
                <a:solidFill>
                  <a:schemeClr val="accent6"/>
                </a:solidFill>
                <a:latin typeface="KaiTi"/>
                <a:cs typeface="KaiTi"/>
              </a:rPr>
              <a:t>高阶分析</a:t>
            </a:r>
            <a:r>
              <a:rPr lang="zh-CN" sz="800" cap="all" baseline="0" dirty="0">
                <a:solidFill>
                  <a:schemeClr val="accent6"/>
                </a:solidFill>
                <a:latin typeface="KaiTi"/>
                <a:cs typeface="KaiTi"/>
              </a:rPr>
              <a:t>介绍</a:t>
            </a:r>
            <a:endParaRPr lang="zh-CN" sz="800" cap="all" baseline="0" dirty="0">
              <a:solidFill>
                <a:schemeClr val="accent6"/>
              </a:solidFill>
              <a:latin typeface="KaiTi"/>
              <a:ea typeface="KaiTi"/>
            </a:endParaRPr>
          </a:p>
        </p:txBody>
      </p:sp>
    </p:spTree>
    <p:extLst>
      <p:ext uri="{BB962C8B-B14F-4D97-AF65-F5344CB8AC3E}">
        <p14:creationId xmlns:p14="http://schemas.microsoft.com/office/powerpoint/2010/main" val="2884133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hidden="1"/>
          <p:cNvSpPr/>
          <p:nvPr>
            <p:custDataLst>
              <p:tags r:id="rId1"/>
            </p:custDataLst>
          </p:nvPr>
        </p:nvSpPr>
        <p:spPr bwMode="auto">
          <a:xfrm>
            <a:off x="0" y="0"/>
            <a:ext cx="158750" cy="158750"/>
          </a:xfrm>
          <a:prstGeom prst="rect">
            <a:avLst/>
          </a:prstGeom>
          <a:solidFill>
            <a:schemeClr val="accent1"/>
          </a:solidFill>
          <a:ln w="9525" cap="flat" cmpd="sng" algn="ctr">
            <a:solidFill>
              <a:srgbClr val="B5CAE3"/>
            </a:solidFill>
            <a:prstDash val="solid"/>
            <a:round/>
            <a:headEnd type="none" w="med" len="med"/>
            <a:tailEnd type="none" w="med" len="med"/>
          </a:ln>
          <a:effectLst/>
          <a:extLst>
            <a:ext uri="{AF507438-7753-43E0-B8FC-AC1667EBCBE1}">
              <a14:hiddenEffects xmlns:a14="http://schemas.microsoft.com/office/drawing/2010/main">
                <a:effectLst>
                  <a:outerShdw blurRad="50800" dist="38100" dir="2700000" algn="tl" rotWithShape="0">
                    <a:prstClr val="black">
                      <a:alpha val="40000"/>
                    </a:prstClr>
                  </a:outerShdw>
                </a:effectLst>
              </a14:hiddenEffects>
            </a:ex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895350">
              <a:buClr>
                <a:schemeClr val="tx2"/>
              </a:buClr>
            </a:pPr>
            <a:endParaRPr kumimoji="0" lang="en-US" sz="1400" u="none" strike="noStrike" cap="none" normalizeH="0" dirty="0">
              <a:ln>
                <a:noFill/>
              </a:ln>
              <a:solidFill>
                <a:schemeClr val="tx1"/>
              </a:solidFill>
              <a:effectLst/>
              <a:latin typeface="Arial" panose="020B0604020202020204" pitchFamily="34" charset="0"/>
              <a:sym typeface="Arial" panose="020B0604020202020204" pitchFamily="34" charset="0"/>
            </a:endParaRPr>
          </a:p>
        </p:txBody>
      </p:sp>
      <p:sp>
        <p:nvSpPr>
          <p:cNvPr id="14" name="TextBox 13"/>
          <p:cNvSpPr txBox="1"/>
          <p:nvPr/>
        </p:nvSpPr>
        <p:spPr>
          <a:xfrm flipH="1">
            <a:off x="8788938" y="0"/>
            <a:ext cx="172500" cy="5713121"/>
          </a:xfrm>
          <a:prstGeom prst="rect">
            <a:avLst/>
          </a:prstGeom>
          <a:solidFill>
            <a:schemeClr val="bg1"/>
          </a:solidFill>
          <a:ln>
            <a:noFill/>
          </a:ln>
        </p:spPr>
        <p:txBody>
          <a:bodyPr vert="horz" wrap="square" lIns="72009" tIns="72009" rIns="72009" bIns="72009"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dirty="0">
              <a:ea typeface="楷体" panose="02010609060101010101" pitchFamily="49" charset="-122"/>
            </a:endParaRPr>
          </a:p>
        </p:txBody>
      </p:sp>
      <p:sp>
        <p:nvSpPr>
          <p:cNvPr id="4" name="Rectangle 3"/>
          <p:cNvSpPr txBox="1"/>
          <p:nvPr>
            <p:custDataLst>
              <p:tags r:id="rId2"/>
            </p:custDataLst>
          </p:nvPr>
        </p:nvSpPr>
        <p:spPr>
          <a:xfrm>
            <a:off x="2974130" y="1078352"/>
            <a:ext cx="5795586" cy="3964443"/>
          </a:xfrm>
          <a:prstGeom prst="rect">
            <a:avLst/>
          </a:prstGeom>
          <a:solidFill>
            <a:schemeClr val="accent6">
              <a:lumMod val="40000"/>
              <a:lumOff val="60000"/>
            </a:schemeClr>
          </a:solidFill>
          <a:ln w="19050">
            <a:noFill/>
            <a:prstDash val="dash"/>
          </a:ln>
        </p:spPr>
        <p:txBody>
          <a:bodyPr vert="horz" lIns="76200" tIns="76200" rIns="76200" bIns="76200"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dirty="0">
              <a:ea typeface="楷体" panose="02010609060101010101" pitchFamily="49" charset="-122"/>
            </a:endParaRPr>
          </a:p>
        </p:txBody>
      </p:sp>
      <p:sp>
        <p:nvSpPr>
          <p:cNvPr id="82" name="AutoShape 8"/>
          <p:cNvSpPr>
            <a:spLocks noChangeArrowheads="1"/>
          </p:cNvSpPr>
          <p:nvPr/>
        </p:nvSpPr>
        <p:spPr bwMode="gray">
          <a:xfrm>
            <a:off x="6006607" y="1195112"/>
            <a:ext cx="2663072" cy="3754733"/>
          </a:xfrm>
          <a:prstGeom prst="rect">
            <a:avLst/>
          </a:prstGeom>
          <a:solidFill>
            <a:schemeClr val="bg1">
              <a:lumMod val="95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a:ea typeface="楷体" panose="02010609060101010101" pitchFamily="49" charset="-122"/>
            </a:endParaRPr>
          </a:p>
        </p:txBody>
      </p:sp>
      <p:sp>
        <p:nvSpPr>
          <p:cNvPr id="74" name="AutoShape 8"/>
          <p:cNvSpPr>
            <a:spLocks noChangeArrowheads="1"/>
          </p:cNvSpPr>
          <p:nvPr/>
        </p:nvSpPr>
        <p:spPr bwMode="gray">
          <a:xfrm>
            <a:off x="3096796" y="1195112"/>
            <a:ext cx="2663072" cy="3754733"/>
          </a:xfrm>
          <a:prstGeom prst="rect">
            <a:avLst/>
          </a:prstGeom>
          <a:solidFill>
            <a:schemeClr val="bg1">
              <a:lumMod val="95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a:ea typeface="楷体" panose="02010609060101010101" pitchFamily="49" charset="-122"/>
            </a:endParaRPr>
          </a:p>
        </p:txBody>
      </p:sp>
      <p:sp>
        <p:nvSpPr>
          <p:cNvPr id="75" name="Rectangle 286"/>
          <p:cNvSpPr txBox="1">
            <a:spLocks noChangeArrowheads="1"/>
          </p:cNvSpPr>
          <p:nvPr/>
        </p:nvSpPr>
        <p:spPr bwMode="auto">
          <a:xfrm>
            <a:off x="3260995" y="3332163"/>
            <a:ext cx="2334675" cy="883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ct val="10000"/>
              </a:spcBef>
            </a:pPr>
            <a:r>
              <a:rPr lang="zh-CN" sz="1400" dirty="0">
                <a:ea typeface="楷体" panose="02010609060101010101" pitchFamily="49" charset="-122"/>
                <a:cs typeface="SimSun"/>
              </a:rPr>
              <a:t>推算数据，</a:t>
            </a:r>
            <a:r>
              <a:rPr lang="zh-CN" sz="1400" b="1" i="1" dirty="0">
                <a:solidFill>
                  <a:schemeClr val="tx2"/>
                </a:solidFill>
                <a:ea typeface="楷体" panose="02010609060101010101" pitchFamily="49" charset="-122"/>
                <a:cs typeface="SimSun"/>
              </a:rPr>
              <a:t>预测</a:t>
            </a:r>
            <a:r>
              <a:rPr lang="zh-CN" sz="1400" b="1" dirty="0">
                <a:solidFill>
                  <a:schemeClr val="tx2"/>
                </a:solidFill>
                <a:ea typeface="楷体" panose="02010609060101010101" pitchFamily="49" charset="-122"/>
                <a:cs typeface="SimSun"/>
              </a:rPr>
              <a:t>行为</a:t>
            </a:r>
            <a:r>
              <a:rPr lang="zh-CN" sz="1400" dirty="0">
                <a:ea typeface="楷体" panose="02010609060101010101" pitchFamily="49" charset="-122"/>
                <a:cs typeface="SimSun"/>
              </a:rPr>
              <a:t>和事件（固有的概率性）</a:t>
            </a:r>
          </a:p>
          <a:p>
            <a:pPr lvl="1">
              <a:spcBef>
                <a:spcPct val="10000"/>
              </a:spcBef>
            </a:pPr>
            <a:r>
              <a:rPr lang="zh-CN" sz="1400" dirty="0">
                <a:ea typeface="楷体" panose="02010609060101010101" pitchFamily="49" charset="-122"/>
                <a:cs typeface="SimSun"/>
              </a:rPr>
              <a:t>为数据驱动型组织所用，作为一个关键洞见来源</a:t>
            </a:r>
          </a:p>
        </p:txBody>
      </p:sp>
      <p:sp>
        <p:nvSpPr>
          <p:cNvPr id="76" name="AutoShape 8"/>
          <p:cNvSpPr>
            <a:spLocks noChangeArrowheads="1"/>
          </p:cNvSpPr>
          <p:nvPr/>
        </p:nvSpPr>
        <p:spPr bwMode="gray">
          <a:xfrm>
            <a:off x="3311201" y="1292616"/>
            <a:ext cx="2348614" cy="295806"/>
          </a:xfrm>
          <a:prstGeom prst="rect">
            <a:avLst/>
          </a:prstGeom>
          <a:gradFill>
            <a:gsLst>
              <a:gs pos="100000">
                <a:schemeClr val="accent3">
                  <a:lumMod val="75000"/>
                </a:schemeClr>
              </a:gs>
              <a:gs pos="0">
                <a:schemeClr val="accent4"/>
              </a:gs>
            </a:gsLst>
            <a:lin ang="2700000" scaled="1"/>
          </a:gradFill>
          <a:ln w="19050" algn="ctr">
            <a:noFill/>
            <a:miter lim="800000"/>
            <a:headEnd/>
            <a:tailEnd/>
          </a:ln>
          <a:effectLst/>
        </p:spPr>
        <p:txBody>
          <a:bodyPr vert="horz" wrap="square" lIns="72009" tIns="72009" rIns="72009" bIns="72009" numCol="1"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accent3"/>
              </a:solidFill>
              <a:effectLst/>
              <a:latin typeface="+mn-lt"/>
              <a:ea typeface="楷体" panose="02010609060101010101" pitchFamily="49" charset="-122"/>
              <a:cs typeface="Arial" pitchFamily="34" charset="0"/>
            </a:endParaRPr>
          </a:p>
        </p:txBody>
      </p:sp>
      <p:sp>
        <p:nvSpPr>
          <p:cNvPr id="77" name="Rectangle 286"/>
          <p:cNvSpPr txBox="1">
            <a:spLocks noChangeArrowheads="1"/>
          </p:cNvSpPr>
          <p:nvPr/>
        </p:nvSpPr>
        <p:spPr bwMode="auto">
          <a:xfrm>
            <a:off x="3548482" y="1332797"/>
            <a:ext cx="35907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zh-CN" sz="1400" b="1" dirty="0">
                <a:solidFill>
                  <a:schemeClr val="bg1"/>
                </a:solidFill>
                <a:ea typeface="楷体" panose="02010609060101010101" pitchFamily="49" charset="-122"/>
                <a:cs typeface="SimSun"/>
              </a:rPr>
              <a:t>预测</a:t>
            </a:r>
          </a:p>
        </p:txBody>
      </p:sp>
      <p:cxnSp>
        <p:nvCxnSpPr>
          <p:cNvPr id="79" name="Straight Connector 78"/>
          <p:cNvCxnSpPr>
            <a:cxnSpLocks/>
          </p:cNvCxnSpPr>
          <p:nvPr/>
        </p:nvCxnSpPr>
        <p:spPr bwMode="auto">
          <a:xfrm>
            <a:off x="3175071" y="3251200"/>
            <a:ext cx="2506522" cy="0"/>
          </a:xfrm>
          <a:prstGeom prst="line">
            <a:avLst/>
          </a:prstGeom>
          <a:solidFill>
            <a:schemeClr val="accent1"/>
          </a:solidFill>
          <a:ln w="9525" cap="flat" cmpd="sng" algn="ctr">
            <a:solidFill>
              <a:schemeClr val="accent6"/>
            </a:solidFill>
            <a:prstDash val="sysDot"/>
            <a:round/>
            <a:headEnd type="none" w="med" len="med"/>
            <a:tailEnd type="none" w="med" len="med"/>
          </a:ln>
          <a:effectLst>
            <a:outerShdw dist="35921" dir="2700000" algn="ctr" rotWithShape="0">
              <a:schemeClr val="bg2"/>
            </a:outerShdw>
          </a:effectLst>
        </p:spPr>
      </p:cxnSp>
      <p:sp>
        <p:nvSpPr>
          <p:cNvPr id="606210" name="Rectangle 2"/>
          <p:cNvSpPr>
            <a:spLocks noGrp="1" noChangeArrowheads="1"/>
          </p:cNvSpPr>
          <p:nvPr>
            <p:ph type="title"/>
          </p:nvPr>
        </p:nvSpPr>
        <p:spPr>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zh-CN" dirty="0">
                <a:latin typeface="+mn-lt"/>
                <a:ea typeface="楷体" panose="02010609060101010101" pitchFamily="49" charset="-122"/>
                <a:cs typeface="SimSun"/>
              </a:rPr>
              <a:t>分析</a:t>
            </a:r>
            <a:r>
              <a:rPr lang="zh-CN" altLang="en-US" dirty="0">
                <a:latin typeface="+mn-lt"/>
                <a:ea typeface="楷体" panose="02010609060101010101" pitchFamily="49" charset="-122"/>
                <a:cs typeface="SimSun"/>
              </a:rPr>
              <a:t>的价值创造可</a:t>
            </a:r>
            <a:r>
              <a:rPr lang="zh-CN" dirty="0">
                <a:latin typeface="+mn-lt"/>
                <a:ea typeface="楷体" panose="02010609060101010101" pitchFamily="49" charset="-122"/>
                <a:cs typeface="SimSun"/>
              </a:rPr>
              <a:t>分</a:t>
            </a:r>
            <a:r>
              <a:rPr lang="zh-CN" altLang="en-US" dirty="0">
                <a:latin typeface="+mn-lt"/>
                <a:ea typeface="楷体" panose="02010609060101010101" pitchFamily="49" charset="-122"/>
                <a:cs typeface="SimSun"/>
              </a:rPr>
              <a:t>为</a:t>
            </a:r>
            <a:r>
              <a:rPr lang="zh-CN" dirty="0">
                <a:latin typeface="+mn-lt"/>
                <a:ea typeface="楷体" panose="02010609060101010101" pitchFamily="49" charset="-122"/>
                <a:cs typeface="SimSun"/>
              </a:rPr>
              <a:t>三个阶段（1/2）</a:t>
            </a:r>
          </a:p>
        </p:txBody>
      </p:sp>
      <p:sp>
        <p:nvSpPr>
          <p:cNvPr id="42" name="5. Source"/>
          <p:cNvSpPr>
            <a:spLocks noChangeArrowheads="1"/>
          </p:cNvSpPr>
          <p:nvPr/>
        </p:nvSpPr>
        <p:spPr bwMode="auto">
          <a:xfrm>
            <a:off x="119063" y="6434981"/>
            <a:ext cx="686276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zh-CN" sz="1000" dirty="0">
                <a:latin typeface="+mn-lt"/>
                <a:ea typeface="楷体" panose="02010609060101010101" pitchFamily="49" charset="-122"/>
                <a:cs typeface="SimSun"/>
              </a:rPr>
              <a:t>资料来源：Evans, James R.和Lindner, Carl H. (2012)合著之《商业分析：决策科学的新前沿》。决策线 43 (2)</a:t>
            </a:r>
          </a:p>
        </p:txBody>
      </p:sp>
      <p:sp>
        <p:nvSpPr>
          <p:cNvPr id="43" name="AutoShape 8"/>
          <p:cNvSpPr>
            <a:spLocks noChangeArrowheads="1"/>
          </p:cNvSpPr>
          <p:nvPr/>
        </p:nvSpPr>
        <p:spPr bwMode="gray">
          <a:xfrm>
            <a:off x="186431" y="1195112"/>
            <a:ext cx="2663072" cy="3754733"/>
          </a:xfrm>
          <a:prstGeom prst="rect">
            <a:avLst/>
          </a:prstGeom>
          <a:solidFill>
            <a:schemeClr val="bg1">
              <a:lumMod val="95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a:ea typeface="楷体" panose="02010609060101010101" pitchFamily="49" charset="-122"/>
            </a:endParaRPr>
          </a:p>
        </p:txBody>
      </p:sp>
      <p:sp>
        <p:nvSpPr>
          <p:cNvPr id="46" name="Rectangle 286"/>
          <p:cNvSpPr txBox="1">
            <a:spLocks noChangeArrowheads="1"/>
          </p:cNvSpPr>
          <p:nvPr/>
        </p:nvSpPr>
        <p:spPr bwMode="auto">
          <a:xfrm>
            <a:off x="264706" y="3332163"/>
            <a:ext cx="2506522" cy="4524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ct val="10000"/>
              </a:spcBef>
            </a:pPr>
            <a:r>
              <a:rPr lang="zh-CN" sz="1400" dirty="0">
                <a:ea typeface="楷体" panose="02010609060101010101" pitchFamily="49" charset="-122"/>
                <a:cs typeface="SimSun"/>
              </a:rPr>
              <a:t>旨在</a:t>
            </a:r>
            <a:r>
              <a:rPr lang="zh-CN" sz="1400" b="1" dirty="0">
                <a:solidFill>
                  <a:schemeClr val="tx2"/>
                </a:solidFill>
                <a:ea typeface="楷体" panose="02010609060101010101" pitchFamily="49" charset="-122"/>
                <a:cs typeface="SimSun"/>
              </a:rPr>
              <a:t>描述发生了</a:t>
            </a:r>
            <a:r>
              <a:rPr lang="zh-CN" sz="1400" b="1" i="1" dirty="0">
                <a:solidFill>
                  <a:schemeClr val="tx2"/>
                </a:solidFill>
                <a:ea typeface="楷体" panose="02010609060101010101" pitchFamily="49" charset="-122"/>
                <a:cs typeface="SimSun"/>
              </a:rPr>
              <a:t>什么</a:t>
            </a:r>
          </a:p>
          <a:p>
            <a:pPr lvl="1">
              <a:spcBef>
                <a:spcPct val="10000"/>
              </a:spcBef>
            </a:pPr>
            <a:r>
              <a:rPr lang="zh-CN" sz="1400" dirty="0">
                <a:ea typeface="楷体" panose="02010609060101010101" pitchFamily="49" charset="-122"/>
                <a:cs typeface="SimSun"/>
              </a:rPr>
              <a:t>各行业大量采用</a:t>
            </a:r>
          </a:p>
        </p:txBody>
      </p:sp>
      <p:sp>
        <p:nvSpPr>
          <p:cNvPr id="49" name="AutoShape 8"/>
          <p:cNvSpPr>
            <a:spLocks noChangeArrowheads="1"/>
          </p:cNvSpPr>
          <p:nvPr/>
        </p:nvSpPr>
        <p:spPr bwMode="gray">
          <a:xfrm>
            <a:off x="401390" y="1292616"/>
            <a:ext cx="2348614" cy="295806"/>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lt1"/>
              </a:solidFill>
              <a:ea typeface="楷体" panose="02010609060101010101" pitchFamily="49" charset="-122"/>
            </a:endParaRPr>
          </a:p>
        </p:txBody>
      </p:sp>
      <p:sp>
        <p:nvSpPr>
          <p:cNvPr id="50" name="Rectangle 286"/>
          <p:cNvSpPr txBox="1">
            <a:spLocks noChangeArrowheads="1"/>
          </p:cNvSpPr>
          <p:nvPr/>
        </p:nvSpPr>
        <p:spPr bwMode="auto">
          <a:xfrm>
            <a:off x="647700" y="1332797"/>
            <a:ext cx="35907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zh-CN" sz="1400" b="1" dirty="0">
                <a:solidFill>
                  <a:schemeClr val="bg2"/>
                </a:solidFill>
                <a:ea typeface="楷体" panose="02010609060101010101" pitchFamily="49" charset="-122"/>
                <a:cs typeface="SimSun"/>
              </a:rPr>
              <a:t>描述</a:t>
            </a:r>
          </a:p>
        </p:txBody>
      </p:sp>
      <p:sp>
        <p:nvSpPr>
          <p:cNvPr id="61" name="Text Placeholder 15"/>
          <p:cNvSpPr>
            <a:spLocks noGrp="1"/>
          </p:cNvSpPr>
          <p:nvPr>
            <p:custDataLst>
              <p:tags r:id="rId3"/>
            </p:custDataLst>
          </p:nvPr>
        </p:nvSpPr>
        <p:spPr bwMode="auto">
          <a:xfrm>
            <a:off x="2225675" y="2943225"/>
            <a:ext cx="10160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437F4C12-0B12-4AB2-83BE-EAA91BF27244}" type="datetime'''''''''''''''''''''''''''''''''''''''''''''''z'''''''''">
              <a:rPr lang="en-US" sz="1400">
                <a:ea typeface="楷体" panose="02010609060101010101" pitchFamily="49" charset="-122"/>
              </a:rPr>
              <a:pPr/>
              <a:t>z</a:t>
            </a:fld>
            <a:endParaRPr lang="zh-CN" sz="1400" dirty="0">
              <a:ea typeface="楷体" panose="02010609060101010101" pitchFamily="49" charset="-122"/>
              <a:sym typeface="Arial" panose="020B0604020202020204" pitchFamily="34" charset="0"/>
            </a:endParaRPr>
          </a:p>
        </p:txBody>
      </p:sp>
      <p:sp>
        <p:nvSpPr>
          <p:cNvPr id="56" name="Text Placeholder 14"/>
          <p:cNvSpPr>
            <a:spLocks noGrp="1"/>
          </p:cNvSpPr>
          <p:nvPr>
            <p:custDataLst>
              <p:tags r:id="rId4"/>
            </p:custDataLst>
          </p:nvPr>
        </p:nvSpPr>
        <p:spPr bwMode="auto">
          <a:xfrm>
            <a:off x="1411288" y="2943225"/>
            <a:ext cx="10160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29011986-35E0-4F10-906A-173138DDBC50}" type="datetime'y'''''''''''''''">
              <a:rPr lang="en-US" sz="1400">
                <a:ea typeface="楷体" panose="02010609060101010101" pitchFamily="49" charset="-122"/>
              </a:rPr>
              <a:pPr/>
              <a:t>y</a:t>
            </a:fld>
            <a:endParaRPr lang="zh-CN" sz="1400" dirty="0">
              <a:ea typeface="楷体" panose="02010609060101010101" pitchFamily="49" charset="-122"/>
              <a:sym typeface="Arial" panose="020B0604020202020204" pitchFamily="34" charset="0"/>
            </a:endParaRPr>
          </a:p>
        </p:txBody>
      </p:sp>
      <p:sp>
        <p:nvSpPr>
          <p:cNvPr id="62" name="Text Placeholder 5"/>
          <p:cNvSpPr>
            <a:spLocks noGrp="1"/>
          </p:cNvSpPr>
          <p:nvPr>
            <p:custDataLst>
              <p:tags r:id="rId5"/>
            </p:custDataLst>
          </p:nvPr>
        </p:nvSpPr>
        <p:spPr bwMode="auto">
          <a:xfrm>
            <a:off x="596900" y="2943225"/>
            <a:ext cx="10160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A6AB09EB-F086-4F24-8F95-70D7115E97FB}" type="datetime'''''''''''''''''''''''''''''''''''''''''''''''x'''''''''''''''">
              <a:rPr lang="en-US" sz="1400">
                <a:ea typeface="楷体" panose="02010609060101010101" pitchFamily="49" charset="-122"/>
              </a:rPr>
              <a:pPr/>
              <a:t>x</a:t>
            </a:fld>
            <a:endParaRPr lang="zh-CN" sz="1400" dirty="0">
              <a:ea typeface="楷体" panose="02010609060101010101" pitchFamily="49" charset="-122"/>
              <a:sym typeface="+mn-lt"/>
            </a:endParaRPr>
          </a:p>
        </p:txBody>
      </p:sp>
      <p:cxnSp>
        <p:nvCxnSpPr>
          <p:cNvPr id="63" name="Straight Connector 62"/>
          <p:cNvCxnSpPr>
            <a:cxnSpLocks/>
          </p:cNvCxnSpPr>
          <p:nvPr/>
        </p:nvCxnSpPr>
        <p:spPr bwMode="auto">
          <a:xfrm>
            <a:off x="264706" y="3251200"/>
            <a:ext cx="2506522" cy="0"/>
          </a:xfrm>
          <a:prstGeom prst="line">
            <a:avLst/>
          </a:prstGeom>
          <a:solidFill>
            <a:schemeClr val="accent1"/>
          </a:solidFill>
          <a:ln w="9525" cap="flat" cmpd="sng" algn="ctr">
            <a:solidFill>
              <a:schemeClr val="accent6"/>
            </a:solidFill>
            <a:prstDash val="sysDot"/>
            <a:round/>
            <a:headEnd type="none" w="med" len="med"/>
            <a:tailEnd type="none" w="med" len="med"/>
          </a:ln>
          <a:effectLst>
            <a:outerShdw dist="35921" dir="2700000" algn="ctr" rotWithShape="0">
              <a:schemeClr val="bg2"/>
            </a:outerShdw>
          </a:effectLst>
        </p:spPr>
      </p:cxnSp>
      <p:pic>
        <p:nvPicPr>
          <p:cNvPr id="80" name="Picture 66" descr="https://upload.wikimedia.org/wikipedia/commons/b/bb/SOMsPCA.PNG?1439335811071"/>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560448" y="1903413"/>
            <a:ext cx="1807065" cy="1190817"/>
          </a:xfrm>
          <a:prstGeom prst="rect">
            <a:avLst/>
          </a:prstGeom>
          <a:noFill/>
          <a:extLst>
            <a:ext uri="{909E8E84-426E-40DD-AFC4-6F175D3DCCD1}">
              <a14:hiddenFill xmlns:a14="http://schemas.microsoft.com/office/drawing/2010/main">
                <a:solidFill>
                  <a:srgbClr val="FFFFFF"/>
                </a:solidFill>
              </a14:hiddenFill>
            </a:ext>
          </a:extLst>
        </p:spPr>
      </p:pic>
      <p:sp>
        <p:nvSpPr>
          <p:cNvPr id="81" name="AutoShape 8"/>
          <p:cNvSpPr>
            <a:spLocks noChangeArrowheads="1"/>
          </p:cNvSpPr>
          <p:nvPr/>
        </p:nvSpPr>
        <p:spPr bwMode="gray">
          <a:xfrm>
            <a:off x="6221012" y="1292616"/>
            <a:ext cx="2348614" cy="295806"/>
          </a:xfrm>
          <a:prstGeom prst="rect">
            <a:avLst/>
          </a:prstGeom>
          <a:gradFill>
            <a:gsLst>
              <a:gs pos="100000">
                <a:schemeClr val="accent3">
                  <a:lumMod val="75000"/>
                </a:schemeClr>
              </a:gs>
              <a:gs pos="0">
                <a:schemeClr val="accent4"/>
              </a:gs>
            </a:gsLst>
            <a:lin ang="2700000" scaled="1"/>
          </a:gradFill>
          <a:ln w="19050" algn="ctr">
            <a:noFill/>
            <a:miter lim="800000"/>
            <a:headEnd/>
            <a:tailEnd/>
          </a:ln>
          <a:effectLst/>
        </p:spPr>
        <p:txBody>
          <a:bodyPr vert="horz" wrap="square" lIns="72009" tIns="72009" rIns="72009" bIns="72009" numCol="1"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ea typeface="楷体" panose="02010609060101010101" pitchFamily="49" charset="-122"/>
              <a:cs typeface="Arial" pitchFamily="34" charset="0"/>
            </a:endParaRPr>
          </a:p>
        </p:txBody>
      </p:sp>
      <p:sp>
        <p:nvSpPr>
          <p:cNvPr id="83" name="Rectangle 286"/>
          <p:cNvSpPr txBox="1">
            <a:spLocks noChangeArrowheads="1"/>
          </p:cNvSpPr>
          <p:nvPr/>
        </p:nvSpPr>
        <p:spPr bwMode="auto">
          <a:xfrm>
            <a:off x="6434779" y="1332797"/>
            <a:ext cx="35907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zh-CN" sz="1400" b="1" dirty="0">
                <a:solidFill>
                  <a:schemeClr val="bg1"/>
                </a:solidFill>
                <a:ea typeface="楷体" panose="02010609060101010101" pitchFamily="49" charset="-122"/>
                <a:cs typeface="SimSun"/>
              </a:rPr>
              <a:t>规范</a:t>
            </a:r>
          </a:p>
        </p:txBody>
      </p:sp>
      <p:sp>
        <p:nvSpPr>
          <p:cNvPr id="78" name="Oval 5"/>
          <p:cNvSpPr txBox="1">
            <a:spLocks/>
          </p:cNvSpPr>
          <p:nvPr>
            <p:custDataLst>
              <p:tags r:id="rId6"/>
            </p:custDataLst>
          </p:nvPr>
        </p:nvSpPr>
        <p:spPr>
          <a:xfrm>
            <a:off x="3173965" y="1292616"/>
            <a:ext cx="295806" cy="295806"/>
          </a:xfrm>
          <a:prstGeom prst="ellipse">
            <a:avLst/>
          </a:prstGeom>
          <a:gradFill>
            <a:gsLst>
              <a:gs pos="100000">
                <a:schemeClr val="accent3">
                  <a:lumMod val="75000"/>
                </a:schemeClr>
              </a:gs>
              <a:gs pos="0">
                <a:schemeClr val="accent4"/>
              </a:gs>
            </a:gsLst>
            <a:lin ang="2700000" scaled="1"/>
          </a:gradFill>
          <a:ln w="19050">
            <a:solidFill>
              <a:schemeClr val="bg2"/>
            </a:solidFill>
            <a:miter lim="800000"/>
            <a:headEnd/>
            <a:tailEnd/>
          </a:ln>
          <a:effectLst/>
        </p:spPr>
        <p:txBody>
          <a:bodyPr vert="horz" wrap="square" lIns="3810" tIns="0" rIns="3810" bIns="0" numCol="1" anchor="ctr" anchorCtr="1" compatLnSpc="1">
            <a:prstTxWarp prst="textNoShape">
              <a:avLst/>
            </a:prstTxWarp>
            <a:noAutofit/>
          </a:bodyPr>
          <a:lstStyle>
            <a:lvl1pPr lvl="0" algn="l" defTabSz="895350" eaLnBrk="1" hangingPunct="1">
              <a:buClr>
                <a:schemeClr val="tx2"/>
              </a:buClr>
              <a:defRPr sz="1600">
                <a:latin typeface="+mn-lt"/>
              </a:defRPr>
            </a:lvl1pPr>
            <a:lvl2pPr marL="193675" lvl="1" indent="-192088" algn="l" defTabSz="895350" eaLnBrk="1" hangingPunct="1">
              <a:buClr>
                <a:schemeClr val="tx2"/>
              </a:buClr>
              <a:buSzPct val="125000"/>
              <a:buFont typeface="Arial" charset="0"/>
              <a:buChar char="▪"/>
              <a:defRPr sz="1600">
                <a:latin typeface="+mn-lt"/>
              </a:defRPr>
            </a:lvl2pPr>
            <a:lvl3pPr marL="374650" lvl="2" indent="-179388" algn="l" defTabSz="895350" eaLnBrk="1" hangingPunct="1">
              <a:buClr>
                <a:schemeClr val="tx2"/>
              </a:buClr>
              <a:buFont typeface="Arial" charset="0"/>
              <a:buChar char="–"/>
              <a:defRPr sz="1600">
                <a:latin typeface="+mn-lt"/>
              </a:defRPr>
            </a:lvl3pPr>
            <a:lvl4pPr marL="519113" lvl="3" indent="-142875" algn="l" defTabSz="895350" eaLnBrk="1" hangingPunct="1">
              <a:buClr>
                <a:schemeClr val="tx2"/>
              </a:buClr>
              <a:buFont typeface="Arial" charset="0"/>
              <a:buChar char="▫"/>
              <a:defRPr sz="1600">
                <a:latin typeface="+mn-lt"/>
              </a:defRPr>
            </a:lvl4pPr>
            <a:lvl5pPr marL="663575" lvl="4" indent="-142875" algn="l" defTabSz="895350" eaLnBrk="1" hangingPunct="1">
              <a:buClr>
                <a:schemeClr val="tx2"/>
              </a:buClr>
              <a:buFont typeface="Arial" charset="0"/>
              <a:buChar char="-"/>
              <a:defRPr sz="1600">
                <a:latin typeface="+mn-lt"/>
              </a:defRPr>
            </a:lvl5pPr>
            <a:lvl6pPr marL="1120775" indent="-142875" defTabSz="895350" fontAlgn="base">
              <a:spcBef>
                <a:spcPct val="0"/>
              </a:spcBef>
              <a:spcAft>
                <a:spcPct val="0"/>
              </a:spcAft>
              <a:buClr>
                <a:schemeClr val="tx2"/>
              </a:buClr>
              <a:buFont typeface="Arial" charset="0"/>
              <a:buChar char="-"/>
              <a:defRPr sz="1600">
                <a:latin typeface="+mn-lt"/>
              </a:defRPr>
            </a:lvl6pPr>
            <a:lvl7pPr marL="1577975" indent="-142875" defTabSz="895350" fontAlgn="base">
              <a:spcBef>
                <a:spcPct val="0"/>
              </a:spcBef>
              <a:spcAft>
                <a:spcPct val="0"/>
              </a:spcAft>
              <a:buClr>
                <a:schemeClr val="tx2"/>
              </a:buClr>
              <a:buFont typeface="Arial" charset="0"/>
              <a:buChar char="-"/>
              <a:defRPr sz="1600">
                <a:latin typeface="+mn-lt"/>
              </a:defRPr>
            </a:lvl7pPr>
            <a:lvl8pPr marL="2035175" indent="-142875" defTabSz="895350" fontAlgn="base">
              <a:spcBef>
                <a:spcPct val="0"/>
              </a:spcBef>
              <a:spcAft>
                <a:spcPct val="0"/>
              </a:spcAft>
              <a:buClr>
                <a:schemeClr val="tx2"/>
              </a:buClr>
              <a:buFont typeface="Arial" charset="0"/>
              <a:buChar char="-"/>
              <a:defRPr sz="1600">
                <a:latin typeface="+mn-lt"/>
              </a:defRPr>
            </a:lvl8pPr>
            <a:lvl9pPr marL="2492375" indent="-142875" defTabSz="895350" fontAlgn="base">
              <a:spcBef>
                <a:spcPct val="0"/>
              </a:spcBef>
              <a:spcAft>
                <a:spcPct val="0"/>
              </a:spcAft>
              <a:buClr>
                <a:schemeClr val="tx2"/>
              </a:buClr>
              <a:buFont typeface="Arial" charset="0"/>
              <a:buChar char="-"/>
              <a:defRPr sz="1600">
                <a:latin typeface="+mn-lt"/>
              </a:defRPr>
            </a:lvl9pPr>
          </a:lstStyle>
          <a:p>
            <a:pPr algn="ctr"/>
            <a:r>
              <a:rPr lang="zh-CN" sz="1400" b="1" dirty="0">
                <a:solidFill>
                  <a:schemeClr val="bg1"/>
                </a:solidFill>
                <a:ea typeface="楷体" panose="02010609060101010101" pitchFamily="49" charset="-122"/>
                <a:cs typeface="SimSun"/>
              </a:rPr>
              <a:t>2</a:t>
            </a:r>
          </a:p>
        </p:txBody>
      </p:sp>
      <p:sp>
        <p:nvSpPr>
          <p:cNvPr id="54" name="Oval 5"/>
          <p:cNvSpPr txBox="1">
            <a:spLocks/>
          </p:cNvSpPr>
          <p:nvPr>
            <p:custDataLst>
              <p:tags r:id="rId7"/>
            </p:custDataLst>
          </p:nvPr>
        </p:nvSpPr>
        <p:spPr>
          <a:xfrm>
            <a:off x="264153" y="1292616"/>
            <a:ext cx="295806" cy="295806"/>
          </a:xfrm>
          <a:prstGeom prst="ellipse">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19050">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defPPr>
              <a:defRPr lang="en-US"/>
            </a:defPPr>
            <a:lvl1pPr>
              <a:defRPr sz="1200" b="1">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zh-CN" dirty="0">
                <a:ea typeface="楷体" panose="02010609060101010101" pitchFamily="49" charset="-122"/>
                <a:cs typeface="SimSun"/>
              </a:rPr>
              <a:t>1</a:t>
            </a:r>
          </a:p>
        </p:txBody>
      </p:sp>
      <p:sp>
        <p:nvSpPr>
          <p:cNvPr id="84" name="Oval 5"/>
          <p:cNvSpPr txBox="1">
            <a:spLocks/>
          </p:cNvSpPr>
          <p:nvPr>
            <p:custDataLst>
              <p:tags r:id="rId8"/>
            </p:custDataLst>
          </p:nvPr>
        </p:nvSpPr>
        <p:spPr>
          <a:xfrm>
            <a:off x="6083776" y="1292616"/>
            <a:ext cx="295806" cy="295806"/>
          </a:xfrm>
          <a:prstGeom prst="ellipse">
            <a:avLst/>
          </a:prstGeom>
          <a:gradFill>
            <a:gsLst>
              <a:gs pos="100000">
                <a:schemeClr val="accent3">
                  <a:lumMod val="75000"/>
                </a:schemeClr>
              </a:gs>
              <a:gs pos="0">
                <a:schemeClr val="accent4"/>
              </a:gs>
            </a:gsLst>
            <a:lin ang="2700000" scaled="1"/>
          </a:gradFill>
          <a:ln w="19050">
            <a:solidFill>
              <a:schemeClr val="bg2"/>
            </a:solidFill>
            <a:miter lim="800000"/>
            <a:headEnd/>
            <a:tailEnd/>
          </a:ln>
          <a:effectLst/>
        </p:spPr>
        <p:txBody>
          <a:bodyPr vert="horz" wrap="square" lIns="3810" tIns="0" rIns="3810" bIns="0" numCol="1" anchor="ctr" anchorCtr="1" compatLnSpc="1">
            <a:prstTxWarp prst="textNoShape">
              <a:avLst/>
            </a:prstTxWarp>
            <a:noAutofit/>
          </a:bodyPr>
          <a:lstStyle>
            <a:lvl1pPr lvl="0" algn="l" defTabSz="895350" eaLnBrk="1" hangingPunct="1">
              <a:buClr>
                <a:schemeClr val="tx2"/>
              </a:buClr>
              <a:defRPr sz="1600">
                <a:latin typeface="+mn-lt"/>
              </a:defRPr>
            </a:lvl1pPr>
            <a:lvl2pPr marL="193675" lvl="1" indent="-192088" algn="l" defTabSz="895350" eaLnBrk="1" hangingPunct="1">
              <a:buClr>
                <a:schemeClr val="tx2"/>
              </a:buClr>
              <a:buSzPct val="125000"/>
              <a:buFont typeface="Arial" charset="0"/>
              <a:buChar char="▪"/>
              <a:defRPr sz="1600">
                <a:latin typeface="+mn-lt"/>
              </a:defRPr>
            </a:lvl2pPr>
            <a:lvl3pPr marL="374650" lvl="2" indent="-179388" algn="l" defTabSz="895350" eaLnBrk="1" hangingPunct="1">
              <a:buClr>
                <a:schemeClr val="tx2"/>
              </a:buClr>
              <a:buFont typeface="Arial" charset="0"/>
              <a:buChar char="–"/>
              <a:defRPr sz="1600">
                <a:latin typeface="+mn-lt"/>
              </a:defRPr>
            </a:lvl3pPr>
            <a:lvl4pPr marL="519113" lvl="3" indent="-142875" algn="l" defTabSz="895350" eaLnBrk="1" hangingPunct="1">
              <a:buClr>
                <a:schemeClr val="tx2"/>
              </a:buClr>
              <a:buFont typeface="Arial" charset="0"/>
              <a:buChar char="▫"/>
              <a:defRPr sz="1600">
                <a:latin typeface="+mn-lt"/>
              </a:defRPr>
            </a:lvl4pPr>
            <a:lvl5pPr marL="663575" lvl="4" indent="-142875" algn="l" defTabSz="895350" eaLnBrk="1" hangingPunct="1">
              <a:buClr>
                <a:schemeClr val="tx2"/>
              </a:buClr>
              <a:buFont typeface="Arial" charset="0"/>
              <a:buChar char="-"/>
              <a:defRPr sz="1600">
                <a:latin typeface="+mn-lt"/>
              </a:defRPr>
            </a:lvl5pPr>
            <a:lvl6pPr marL="1120775" indent="-142875" defTabSz="895350" fontAlgn="base">
              <a:spcBef>
                <a:spcPct val="0"/>
              </a:spcBef>
              <a:spcAft>
                <a:spcPct val="0"/>
              </a:spcAft>
              <a:buClr>
                <a:schemeClr val="tx2"/>
              </a:buClr>
              <a:buFont typeface="Arial" charset="0"/>
              <a:buChar char="-"/>
              <a:defRPr sz="1600">
                <a:latin typeface="+mn-lt"/>
              </a:defRPr>
            </a:lvl6pPr>
            <a:lvl7pPr marL="1577975" indent="-142875" defTabSz="895350" fontAlgn="base">
              <a:spcBef>
                <a:spcPct val="0"/>
              </a:spcBef>
              <a:spcAft>
                <a:spcPct val="0"/>
              </a:spcAft>
              <a:buClr>
                <a:schemeClr val="tx2"/>
              </a:buClr>
              <a:buFont typeface="Arial" charset="0"/>
              <a:buChar char="-"/>
              <a:defRPr sz="1600">
                <a:latin typeface="+mn-lt"/>
              </a:defRPr>
            </a:lvl7pPr>
            <a:lvl8pPr marL="2035175" indent="-142875" defTabSz="895350" fontAlgn="base">
              <a:spcBef>
                <a:spcPct val="0"/>
              </a:spcBef>
              <a:spcAft>
                <a:spcPct val="0"/>
              </a:spcAft>
              <a:buClr>
                <a:schemeClr val="tx2"/>
              </a:buClr>
              <a:buFont typeface="Arial" charset="0"/>
              <a:buChar char="-"/>
              <a:defRPr sz="1600">
                <a:latin typeface="+mn-lt"/>
              </a:defRPr>
            </a:lvl8pPr>
            <a:lvl9pPr marL="2492375" indent="-142875" defTabSz="895350" fontAlgn="base">
              <a:spcBef>
                <a:spcPct val="0"/>
              </a:spcBef>
              <a:spcAft>
                <a:spcPct val="0"/>
              </a:spcAft>
              <a:buClr>
                <a:schemeClr val="tx2"/>
              </a:buClr>
              <a:buFont typeface="Arial" charset="0"/>
              <a:buChar char="-"/>
              <a:defRPr sz="1600">
                <a:latin typeface="+mn-lt"/>
              </a:defRPr>
            </a:lvl9pPr>
          </a:lstStyle>
          <a:p>
            <a:pPr algn="ctr"/>
            <a:r>
              <a:rPr lang="zh-CN" sz="1400" b="1" dirty="0">
                <a:solidFill>
                  <a:schemeClr val="bg1"/>
                </a:solidFill>
                <a:ea typeface="楷体" panose="02010609060101010101" pitchFamily="49" charset="-122"/>
                <a:cs typeface="SimSun"/>
              </a:rPr>
              <a:t>3</a:t>
            </a:r>
          </a:p>
        </p:txBody>
      </p:sp>
      <p:pic>
        <p:nvPicPr>
          <p:cNvPr id="85" name="Picture 79" descr="https://media.good.com/images/icon-plat-maa-comparative-219x174.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89334" y="1831975"/>
            <a:ext cx="1734846" cy="1378370"/>
          </a:xfrm>
          <a:prstGeom prst="rect">
            <a:avLst/>
          </a:prstGeom>
          <a:noFill/>
          <a:extLst>
            <a:ext uri="{909E8E84-426E-40DD-AFC4-6F175D3DCCD1}">
              <a14:hiddenFill xmlns:a14="http://schemas.microsoft.com/office/drawing/2010/main">
                <a:solidFill>
                  <a:srgbClr val="FFFFFF"/>
                </a:solidFill>
              </a14:hiddenFill>
            </a:ext>
          </a:extLst>
        </p:spPr>
      </p:pic>
      <p:sp>
        <p:nvSpPr>
          <p:cNvPr id="86" name="Rectangle 286"/>
          <p:cNvSpPr txBox="1">
            <a:spLocks noChangeArrowheads="1"/>
          </p:cNvSpPr>
          <p:nvPr/>
        </p:nvSpPr>
        <p:spPr bwMode="auto">
          <a:xfrm>
            <a:off x="6084882" y="3332163"/>
            <a:ext cx="2506522" cy="133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ct val="10000"/>
              </a:spcBef>
            </a:pPr>
            <a:r>
              <a:rPr lang="zh-CN" sz="1400" dirty="0">
                <a:ea typeface="楷体" panose="02010609060101010101" pitchFamily="49" charset="-122"/>
                <a:cs typeface="SimSun"/>
              </a:rPr>
              <a:t>主要是关于</a:t>
            </a:r>
            <a:r>
              <a:rPr lang="zh-CN" sz="1400" b="1" i="1" dirty="0">
                <a:solidFill>
                  <a:schemeClr val="tx2"/>
                </a:solidFill>
                <a:ea typeface="楷体" panose="02010609060101010101" pitchFamily="49" charset="-122"/>
                <a:cs typeface="SimSun"/>
              </a:rPr>
              <a:t>采取哪些行动</a:t>
            </a:r>
            <a:r>
              <a:rPr lang="zh-CN" sz="1400" dirty="0">
                <a:ea typeface="楷体" panose="02010609060101010101" pitchFamily="49" charset="-122"/>
                <a:cs typeface="SimSun"/>
              </a:rPr>
              <a:t>以实现目标</a:t>
            </a:r>
          </a:p>
          <a:p>
            <a:pPr lvl="1">
              <a:spcBef>
                <a:spcPct val="10000"/>
              </a:spcBef>
            </a:pPr>
            <a:r>
              <a:rPr lang="zh-CN" sz="1400" dirty="0">
                <a:ea typeface="楷体" panose="02010609060101010101" pitchFamily="49" charset="-122"/>
                <a:cs typeface="SimSun"/>
              </a:rPr>
              <a:t>实时的决策制定或可行的建议及反馈机制</a:t>
            </a:r>
          </a:p>
          <a:p>
            <a:pPr lvl="1">
              <a:spcBef>
                <a:spcPct val="10000"/>
              </a:spcBef>
            </a:pPr>
            <a:r>
              <a:rPr lang="zh-CN" sz="1400" dirty="0">
                <a:ea typeface="楷体" panose="02010609060101010101" pitchFamily="49" charset="-122"/>
                <a:cs typeface="SimSun"/>
              </a:rPr>
              <a:t>领先数据和互联网公司大量采用</a:t>
            </a:r>
          </a:p>
        </p:txBody>
      </p:sp>
      <p:cxnSp>
        <p:nvCxnSpPr>
          <p:cNvPr id="87" name="Straight Connector 86"/>
          <p:cNvCxnSpPr>
            <a:cxnSpLocks/>
          </p:cNvCxnSpPr>
          <p:nvPr/>
        </p:nvCxnSpPr>
        <p:spPr bwMode="auto">
          <a:xfrm>
            <a:off x="6084882" y="3251200"/>
            <a:ext cx="2506522" cy="0"/>
          </a:xfrm>
          <a:prstGeom prst="line">
            <a:avLst/>
          </a:prstGeom>
          <a:solidFill>
            <a:schemeClr val="accent1"/>
          </a:solidFill>
          <a:ln w="9525" cap="flat" cmpd="sng" algn="ctr">
            <a:solidFill>
              <a:schemeClr val="accent6"/>
            </a:solidFill>
            <a:prstDash val="sysDot"/>
            <a:round/>
            <a:headEnd type="none" w="med" len="med"/>
            <a:tailEnd type="none" w="med" len="med"/>
          </a:ln>
          <a:effectLst>
            <a:outerShdw dist="35921" dir="2700000" algn="ctr" rotWithShape="0">
              <a:schemeClr val="bg2"/>
            </a:outerShdw>
          </a:effectLst>
        </p:spPr>
      </p:cxnSp>
      <p:sp>
        <p:nvSpPr>
          <p:cNvPr id="88" name="AutoShape 8"/>
          <p:cNvSpPr>
            <a:spLocks noChangeArrowheads="1"/>
          </p:cNvSpPr>
          <p:nvPr/>
        </p:nvSpPr>
        <p:spPr bwMode="gray">
          <a:xfrm>
            <a:off x="119063" y="5119433"/>
            <a:ext cx="8618538" cy="1094256"/>
          </a:xfrm>
          <a:prstGeom prst="rect">
            <a:avLst/>
          </a:prstGeom>
          <a:gradFill>
            <a:gsLst>
              <a:gs pos="0">
                <a:schemeClr val="accent3"/>
              </a:gs>
              <a:gs pos="100000">
                <a:schemeClr val="accent4"/>
              </a:gs>
            </a:gsLst>
            <a:lin ang="5400000" scaled="1"/>
          </a:gradFill>
          <a:ln w="9525">
            <a:noFill/>
            <a:miter lim="800000"/>
            <a:headEnd/>
            <a:tailEnd/>
          </a:ln>
          <a:effectLst>
            <a:outerShdw blurRad="50800" dist="38100" dir="2700000" algn="tl" rotWithShape="0">
              <a:prstClr val="black">
                <a:alpha val="40000"/>
              </a:prstClr>
            </a:outerShdw>
          </a:effectLst>
        </p:spPr>
        <p:txBody>
          <a:bodyPr vert="horz" wrap="square" lIns="73152" tIns="72009" rIns="72009" bIns="72009" numCol="1" anchor="ctr" anchorCtr="0" compatLnSpc="1">
            <a:prstTxWarp prst="textNoShape">
              <a:avLst/>
            </a:prstTxWarp>
            <a:noAutofit/>
          </a:bodyPr>
          <a:lstStyle/>
          <a:p>
            <a:pPr defTabSz="895350">
              <a:buClr>
                <a:schemeClr val="tx2"/>
              </a:buClr>
            </a:pPr>
            <a:endParaRPr lang="en-US" sz="1400" b="1" dirty="0">
              <a:solidFill>
                <a:schemeClr val="bg1"/>
              </a:solidFill>
              <a:latin typeface="+mn-lt"/>
              <a:ea typeface="楷体" panose="02010609060101010101" pitchFamily="49" charset="-122"/>
            </a:endParaRPr>
          </a:p>
        </p:txBody>
      </p:sp>
      <p:sp>
        <p:nvSpPr>
          <p:cNvPr id="90" name="Rectangle 286"/>
          <p:cNvSpPr txBox="1">
            <a:spLocks noChangeArrowheads="1"/>
          </p:cNvSpPr>
          <p:nvPr/>
        </p:nvSpPr>
        <p:spPr bwMode="auto">
          <a:xfrm>
            <a:off x="185878" y="5233064"/>
            <a:ext cx="8488222" cy="1959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zh-CN" sz="1400" b="1" dirty="0">
                <a:solidFill>
                  <a:schemeClr val="bg2"/>
                </a:solidFill>
                <a:ea typeface="楷体" panose="02010609060101010101" pitchFamily="49" charset="-122"/>
                <a:cs typeface="SimSun"/>
              </a:rPr>
              <a:t>现状</a:t>
            </a:r>
          </a:p>
        </p:txBody>
      </p:sp>
      <p:sp>
        <p:nvSpPr>
          <p:cNvPr id="7" name="Rectangle 10"/>
          <p:cNvSpPr txBox="1"/>
          <p:nvPr/>
        </p:nvSpPr>
        <p:spPr>
          <a:xfrm>
            <a:off x="185878" y="5453727"/>
            <a:ext cx="8488222" cy="430887"/>
          </a:xfrm>
          <a:prstGeom prst="rect">
            <a:avLst/>
          </a:prstGeom>
        </p:spPr>
        <p:txBody>
          <a:bodyPr vert="horz" wrap="square" lIns="0" tIns="0" rIns="0" bIns="0"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None/>
            </a:pPr>
            <a:r>
              <a:rPr lang="zh-CN" sz="1400" dirty="0">
                <a:solidFill>
                  <a:schemeClr val="bg2"/>
                </a:solidFill>
                <a:ea typeface="楷体" panose="02010609060101010101" pitchFamily="49" charset="-122"/>
                <a:cs typeface="SimSun"/>
              </a:rPr>
              <a:t>许多企业在整合描述性分析方面已经取得显著进展，因此整合</a:t>
            </a:r>
            <a:r>
              <a:rPr lang="zh-CN" sz="1400" b="1" dirty="0">
                <a:solidFill>
                  <a:schemeClr val="bg2"/>
                </a:solidFill>
                <a:ea typeface="楷体" panose="02010609060101010101" pitchFamily="49" charset="-122"/>
                <a:cs typeface="SimSun"/>
              </a:rPr>
              <a:t>预测性分析是目前的一个重点</a:t>
            </a:r>
            <a:r>
              <a:rPr lang="zh-CN" sz="1400" dirty="0">
                <a:solidFill>
                  <a:schemeClr val="bg2"/>
                </a:solidFill>
                <a:ea typeface="楷体" panose="02010609060101010101" pitchFamily="49" charset="-122"/>
                <a:cs typeface="SimSun"/>
              </a:rPr>
              <a:t>。有前瞻眼光的</a:t>
            </a:r>
            <a:r>
              <a:rPr lang="zh-CN" sz="1400" b="1" dirty="0">
                <a:solidFill>
                  <a:schemeClr val="bg2"/>
                </a:solidFill>
                <a:ea typeface="楷体" panose="02010609060101010101" pitchFamily="49" charset="-122"/>
                <a:cs typeface="SimSun"/>
              </a:rPr>
              <a:t>企业领导者还将规范性机器学习应用的发展整合到运营和战略规划中</a:t>
            </a:r>
          </a:p>
        </p:txBody>
      </p:sp>
      <p:sp>
        <p:nvSpPr>
          <p:cNvPr id="8" name="Right Arrow 7"/>
          <p:cNvSpPr/>
          <p:nvPr/>
        </p:nvSpPr>
        <p:spPr>
          <a:xfrm>
            <a:off x="111125" y="535595"/>
            <a:ext cx="8788766" cy="609206"/>
          </a:xfrm>
          <a:prstGeom prst="rightArrow">
            <a:avLst>
              <a:gd name="adj1" fmla="val 50000"/>
              <a:gd name="adj2" fmla="val 43270"/>
            </a:avLst>
          </a:prstGeom>
          <a:gradFill flip="none" rotWithShape="1">
            <a:gsLst>
              <a:gs pos="0">
                <a:schemeClr val="accent3"/>
              </a:gs>
              <a:gs pos="100000">
                <a:schemeClr val="accent3">
                  <a:lumMod val="60000"/>
                  <a:lumOff val="40000"/>
                </a:schemeClr>
              </a:gs>
            </a:gsLst>
            <a:lin ang="108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a typeface="楷体" panose="02010609060101010101" pitchFamily="49" charset="-122"/>
            </a:endParaRPr>
          </a:p>
        </p:txBody>
      </p:sp>
      <p:sp>
        <p:nvSpPr>
          <p:cNvPr id="19" name="Rectangle 19"/>
          <p:cNvSpPr txBox="1">
            <a:spLocks/>
          </p:cNvSpPr>
          <p:nvPr/>
        </p:nvSpPr>
        <p:spPr>
          <a:xfrm>
            <a:off x="228063" y="732476"/>
            <a:ext cx="8618537" cy="215444"/>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400" b="1" dirty="0">
                <a:solidFill>
                  <a:schemeClr val="bg2"/>
                </a:solidFill>
                <a:ea typeface="楷体" panose="02010609060101010101" pitchFamily="49" charset="-122"/>
                <a:cs typeface="SimSun"/>
              </a:rPr>
              <a:t>复杂度增加</a:t>
            </a:r>
          </a:p>
        </p:txBody>
      </p:sp>
      <p:grpSp>
        <p:nvGrpSpPr>
          <p:cNvPr id="45" name="Group 44"/>
          <p:cNvGrpSpPr/>
          <p:nvPr/>
        </p:nvGrpSpPr>
        <p:grpSpPr>
          <a:xfrm>
            <a:off x="6633735" y="279400"/>
            <a:ext cx="1177330" cy="184666"/>
            <a:chOff x="7835905" y="279400"/>
            <a:chExt cx="1177330" cy="184666"/>
          </a:xfrm>
        </p:grpSpPr>
        <p:sp>
          <p:nvSpPr>
            <p:cNvPr id="47" name="Legend1"/>
            <p:cNvSpPr>
              <a:spLocks noChangeArrowheads="1"/>
            </p:cNvSpPr>
            <p:nvPr/>
          </p:nvSpPr>
          <p:spPr bwMode="auto">
            <a:xfrm>
              <a:off x="8089905" y="279400"/>
              <a:ext cx="92333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zh-CN" sz="1200" dirty="0">
                  <a:latin typeface="+mn-lt"/>
                  <a:ea typeface="楷体" panose="02010609060101010101" pitchFamily="49" charset="-122"/>
                  <a:cs typeface="SimSun"/>
                </a:rPr>
                <a:t>机器学习重点</a:t>
              </a:r>
            </a:p>
          </p:txBody>
        </p:sp>
        <p:sp>
          <p:nvSpPr>
            <p:cNvPr id="48" name="LegendRectangle1"/>
            <p:cNvSpPr>
              <a:spLocks noChangeArrowheads="1"/>
            </p:cNvSpPr>
            <p:nvPr/>
          </p:nvSpPr>
          <p:spPr bwMode="auto">
            <a:xfrm>
              <a:off x="7835905" y="290513"/>
              <a:ext cx="165100" cy="160338"/>
            </a:xfrm>
            <a:prstGeom prst="rect">
              <a:avLst/>
            </a:prstGeom>
            <a:gradFill flip="none" rotWithShape="1">
              <a:gsLst>
                <a:gs pos="100000">
                  <a:schemeClr val="accent3">
                    <a:lumMod val="75000"/>
                  </a:schemeClr>
                </a:gs>
                <a:gs pos="0">
                  <a:schemeClr val="accent4"/>
                </a:gs>
              </a:gsLst>
              <a:lin ang="2700000" scaled="1"/>
              <a:tileRect/>
            </a:gradFill>
            <a:ln w="19050">
              <a:noFill/>
              <a:prstDash val="dash"/>
            </a:ln>
          </p:spPr>
          <p:txBody>
            <a:bodyPr vert="horz" lIns="76200" tIns="76200" rIns="76200" bIns="76200" rtlCol="0" anchor="t" anchorCtr="0">
              <a:noAutofit/>
            </a:bodyPr>
            <a:lstStyle/>
            <a:p>
              <a:pPr defTabSz="895350">
                <a:buClr>
                  <a:schemeClr val="tx2"/>
                </a:buClr>
              </a:pPr>
              <a:endParaRPr lang="en-US" dirty="0">
                <a:latin typeface="+mn-lt"/>
                <a:ea typeface="楷体" panose="02010609060101010101" pitchFamily="49" charset="-122"/>
              </a:endParaRPr>
            </a:p>
          </p:txBody>
        </p:sp>
      </p:grpSp>
      <p:pic>
        <p:nvPicPr>
          <p:cNvPr id="300049" name="Picture 17"/>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4300" y="1790700"/>
            <a:ext cx="2667000" cy="109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617288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hidden="1"/>
          <p:cNvSpPr/>
          <p:nvPr>
            <p:custDataLst>
              <p:tags r:id="rId1"/>
            </p:custDataLst>
          </p:nvPr>
        </p:nvSpPr>
        <p:spPr bwMode="auto">
          <a:xfrm>
            <a:off x="0" y="0"/>
            <a:ext cx="158750" cy="158750"/>
          </a:xfrm>
          <a:prstGeom prst="rect">
            <a:avLst/>
          </a:prstGeom>
          <a:solidFill>
            <a:schemeClr val="accent1"/>
          </a:solidFill>
          <a:ln w="9525" cap="flat" cmpd="sng" algn="ctr">
            <a:solidFill>
              <a:srgbClr val="B5CAE3"/>
            </a:solidFill>
            <a:prstDash val="solid"/>
            <a:round/>
            <a:headEnd type="none" w="med" len="med"/>
            <a:tailEnd type="none" w="med" len="med"/>
          </a:ln>
          <a:effectLst/>
          <a:extLst>
            <a:ext uri="{AF507438-7753-43E0-B8FC-AC1667EBCBE1}">
              <a14:hiddenEffects xmlns:a14="http://schemas.microsoft.com/office/drawing/2010/main">
                <a:effectLst>
                  <a:outerShdw blurRad="50800" dist="38100" dir="2700000" algn="tl" rotWithShape="0">
                    <a:prstClr val="black">
                      <a:alpha val="40000"/>
                    </a:prstClr>
                  </a:outerShdw>
                </a:effectLst>
              </a14:hiddenEffects>
            </a:ex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defTabSz="895350">
              <a:lnSpc>
                <a:spcPct val="90000"/>
              </a:lnSpc>
              <a:buClr>
                <a:schemeClr val="tx2"/>
              </a:buClr>
            </a:pPr>
            <a:endParaRPr kumimoji="0" lang="en-US" sz="1600" u="none" strike="noStrike" cap="none" normalizeH="0" dirty="0">
              <a:ln>
                <a:noFill/>
              </a:ln>
              <a:solidFill>
                <a:schemeClr val="tx1"/>
              </a:solidFill>
              <a:effectLst/>
              <a:sym typeface="Arial" panose="020B0604020202020204" pitchFamily="34" charset="0"/>
            </a:endParaRPr>
          </a:p>
        </p:txBody>
      </p:sp>
      <p:sp>
        <p:nvSpPr>
          <p:cNvPr id="73" name="TextBox 72"/>
          <p:cNvSpPr txBox="1"/>
          <p:nvPr/>
        </p:nvSpPr>
        <p:spPr>
          <a:xfrm flipH="1">
            <a:off x="8788938" y="0"/>
            <a:ext cx="172500" cy="5713121"/>
          </a:xfrm>
          <a:prstGeom prst="rect">
            <a:avLst/>
          </a:prstGeom>
          <a:solidFill>
            <a:schemeClr val="bg1"/>
          </a:solidFill>
          <a:ln>
            <a:noFill/>
          </a:ln>
        </p:spPr>
        <p:txBody>
          <a:bodyPr vert="horz" wrap="square" lIns="72009" tIns="72009" rIns="72009" bIns="72009"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dirty="0">
              <a:ea typeface="楷体" panose="02010609060101010101" pitchFamily="49" charset="-122"/>
            </a:endParaRPr>
          </a:p>
        </p:txBody>
      </p:sp>
      <p:sp>
        <p:nvSpPr>
          <p:cNvPr id="56" name="Rectangle 3"/>
          <p:cNvSpPr txBox="1">
            <a:spLocks/>
          </p:cNvSpPr>
          <p:nvPr>
            <p:custDataLst>
              <p:tags r:id="rId2"/>
            </p:custDataLst>
          </p:nvPr>
        </p:nvSpPr>
        <p:spPr>
          <a:xfrm>
            <a:off x="3805226" y="1078352"/>
            <a:ext cx="4983539" cy="5090052"/>
          </a:xfrm>
          <a:prstGeom prst="rect">
            <a:avLst/>
          </a:prstGeom>
          <a:solidFill>
            <a:schemeClr val="accent6">
              <a:lumMod val="40000"/>
              <a:lumOff val="60000"/>
            </a:schemeClr>
          </a:solidFill>
          <a:ln w="19050">
            <a:noFill/>
            <a:prstDash val="dash"/>
          </a:ln>
        </p:spPr>
        <p:txBody>
          <a:bodyPr vert="horz" lIns="76200" tIns="76200" rIns="76200" bIns="76200" rtlCol="0" anchor="t" anchorCtr="0">
            <a:noAutofit/>
          </a:bodyPr>
          <a:lstStyle>
            <a:defPPr>
              <a:defRPr lang="en-US"/>
            </a:defPPr>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dirty="0">
              <a:ea typeface="楷体" panose="02010609060101010101" pitchFamily="49" charset="-122"/>
            </a:endParaRPr>
          </a:p>
        </p:txBody>
      </p:sp>
      <p:sp>
        <p:nvSpPr>
          <p:cNvPr id="606210" name="Rectangle 2"/>
          <p:cNvSpPr>
            <a:spLocks noGrp="1" noChangeArrowheads="1"/>
          </p:cNvSpPr>
          <p:nvPr>
            <p:ph type="title"/>
          </p:nvPr>
        </p:nvSpPr>
        <p:spPr>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zh-CN" altLang="en-US" dirty="0">
                <a:latin typeface="+mn-lt"/>
                <a:ea typeface="楷体" panose="02010609060101010101" pitchFamily="49" charset="-122"/>
                <a:cs typeface="SimSun"/>
              </a:rPr>
              <a:t>分析的价值创造可分为三个阶段</a:t>
            </a:r>
            <a:r>
              <a:rPr lang="zh-CN" dirty="0">
                <a:latin typeface="+mn-lt"/>
                <a:ea typeface="楷体" panose="02010609060101010101" pitchFamily="49" charset="-122"/>
                <a:cs typeface="SimSun"/>
              </a:rPr>
              <a:t>（2/2）</a:t>
            </a:r>
          </a:p>
        </p:txBody>
      </p:sp>
      <p:sp>
        <p:nvSpPr>
          <p:cNvPr id="42" name="5. Source"/>
          <p:cNvSpPr>
            <a:spLocks noChangeArrowheads="1"/>
          </p:cNvSpPr>
          <p:nvPr/>
        </p:nvSpPr>
        <p:spPr bwMode="auto">
          <a:xfrm>
            <a:off x="119063" y="6434981"/>
            <a:ext cx="686276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zh-CN" sz="1000" dirty="0">
                <a:latin typeface="+mn-lt"/>
                <a:ea typeface="楷体" panose="02010609060101010101" pitchFamily="49" charset="-122"/>
                <a:cs typeface="SimSun"/>
              </a:rPr>
              <a:t>资料来源：Evans, James R.和Lindner, Carl H. (2012)合著之《商业分析：决策科学的新前沿》。</a:t>
            </a:r>
            <a:r>
              <a:rPr lang="zh-CN" sz="1000" i="1" dirty="0">
                <a:latin typeface="+mn-lt"/>
                <a:ea typeface="楷体" panose="02010609060101010101" pitchFamily="49" charset="-122"/>
                <a:cs typeface="SimSun"/>
              </a:rPr>
              <a:t>决策线</a:t>
            </a:r>
            <a:r>
              <a:rPr lang="zh-CN" sz="1000" dirty="0">
                <a:latin typeface="+mn-lt"/>
                <a:ea typeface="楷体" panose="02010609060101010101" pitchFamily="49" charset="-122"/>
                <a:cs typeface="SimSun"/>
              </a:rPr>
              <a:t> 43 (2)</a:t>
            </a:r>
            <a:endParaRPr lang="zh-CN" sz="1000" dirty="0">
              <a:latin typeface="+mn-lt"/>
              <a:ea typeface="楷体" panose="02010609060101010101" pitchFamily="49" charset="-122"/>
            </a:endParaRPr>
          </a:p>
        </p:txBody>
      </p:sp>
      <p:sp>
        <p:nvSpPr>
          <p:cNvPr id="14" name="Rectangle 15"/>
          <p:cNvSpPr txBox="1">
            <a:spLocks/>
          </p:cNvSpPr>
          <p:nvPr/>
        </p:nvSpPr>
        <p:spPr>
          <a:xfrm>
            <a:off x="111125" y="1732419"/>
            <a:ext cx="1129634" cy="1800493"/>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defRPr sz="1200" b="1">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zh-CN" altLang="en-US" sz="1300" dirty="0">
                <a:ea typeface="楷体" panose="02010609060101010101" pitchFamily="49" charset="-122"/>
                <a:cs typeface="SimSun"/>
              </a:rPr>
              <a:t>该</a:t>
            </a:r>
            <a:r>
              <a:rPr lang="zh-CN" sz="1300" dirty="0">
                <a:ea typeface="楷体" panose="02010609060101010101" pitchFamily="49" charset="-122"/>
                <a:cs typeface="SimSun"/>
              </a:rPr>
              <a:t>阶段机器学习分析可解答的商业问题</a:t>
            </a:r>
          </a:p>
        </p:txBody>
      </p:sp>
      <p:sp>
        <p:nvSpPr>
          <p:cNvPr id="66" name="Rectangle 8"/>
          <p:cNvSpPr txBox="1">
            <a:spLocks/>
          </p:cNvSpPr>
          <p:nvPr/>
        </p:nvSpPr>
        <p:spPr>
          <a:xfrm>
            <a:off x="111125" y="3691056"/>
            <a:ext cx="1129634" cy="2247892"/>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defRPr sz="1300" b="1">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zh-CN" dirty="0">
                <a:ea typeface="楷体" panose="02010609060101010101" pitchFamily="49" charset="-122"/>
                <a:cs typeface="SimSun"/>
              </a:rPr>
              <a:t>实施示例</a:t>
            </a:r>
          </a:p>
        </p:txBody>
      </p:sp>
      <p:sp>
        <p:nvSpPr>
          <p:cNvPr id="36" name="Rectangle 35"/>
          <p:cNvSpPr>
            <a:spLocks/>
          </p:cNvSpPr>
          <p:nvPr/>
        </p:nvSpPr>
        <p:spPr>
          <a:xfrm>
            <a:off x="3862225" y="1195112"/>
            <a:ext cx="2366623" cy="4871389"/>
          </a:xfrm>
          <a:prstGeom prst="rect">
            <a:avLst/>
          </a:prstGeom>
          <a:solidFill>
            <a:schemeClr val="bg1">
              <a:lumMod val="95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a:solidFill>
                <a:schemeClr val="lt1"/>
              </a:solidFill>
              <a:ea typeface="楷体" panose="02010609060101010101" pitchFamily="49" charset="-122"/>
            </a:endParaRPr>
          </a:p>
        </p:txBody>
      </p:sp>
      <p:sp>
        <p:nvSpPr>
          <p:cNvPr id="37" name="Rectangle 36"/>
          <p:cNvSpPr>
            <a:spLocks/>
          </p:cNvSpPr>
          <p:nvPr/>
        </p:nvSpPr>
        <p:spPr>
          <a:xfrm>
            <a:off x="6358597" y="1195112"/>
            <a:ext cx="2366623" cy="4871389"/>
          </a:xfrm>
          <a:prstGeom prst="rect">
            <a:avLst/>
          </a:prstGeom>
          <a:solidFill>
            <a:schemeClr val="bg1">
              <a:lumMod val="95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a:solidFill>
                <a:schemeClr val="lt1"/>
              </a:solidFill>
              <a:ea typeface="楷体" panose="02010609060101010101" pitchFamily="49" charset="-122"/>
            </a:endParaRPr>
          </a:p>
        </p:txBody>
      </p:sp>
      <p:sp>
        <p:nvSpPr>
          <p:cNvPr id="3" name="Rectangle 2"/>
          <p:cNvSpPr>
            <a:spLocks/>
          </p:cNvSpPr>
          <p:nvPr/>
        </p:nvSpPr>
        <p:spPr>
          <a:xfrm>
            <a:off x="1365853" y="1195112"/>
            <a:ext cx="2366623" cy="4871389"/>
          </a:xfrm>
          <a:prstGeom prst="rect">
            <a:avLst/>
          </a:prstGeom>
          <a:solidFill>
            <a:schemeClr val="bg1">
              <a:lumMod val="95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a:solidFill>
                <a:schemeClr val="lt1"/>
              </a:solidFill>
              <a:ea typeface="楷体" panose="02010609060101010101" pitchFamily="49" charset="-122"/>
            </a:endParaRPr>
          </a:p>
        </p:txBody>
      </p:sp>
      <p:cxnSp>
        <p:nvCxnSpPr>
          <p:cNvPr id="61" name="Straight Connector 60"/>
          <p:cNvCxnSpPr>
            <a:cxnSpLocks/>
          </p:cNvCxnSpPr>
          <p:nvPr/>
        </p:nvCxnSpPr>
        <p:spPr>
          <a:xfrm>
            <a:off x="6470016" y="3611984"/>
            <a:ext cx="2178308" cy="0"/>
          </a:xfrm>
          <a:prstGeom prst="line">
            <a:avLst/>
          </a:prstGeom>
          <a:solidFill>
            <a:schemeClr val="accent1"/>
          </a:solidFill>
          <a:ln w="9525" cap="flat" cmpd="sng" algn="ctr">
            <a:solidFill>
              <a:schemeClr val="accent6"/>
            </a:solidFill>
            <a:prstDash val="sysDot"/>
            <a:round/>
            <a:headEnd type="none" w="med" len="med"/>
            <a:tailEnd type="none" w="med" len="med"/>
          </a:ln>
          <a:effectLst>
            <a:outerShdw dist="35921" dir="2700000" algn="ctr" rotWithShape="0">
              <a:schemeClr val="bg2"/>
            </a:outerShdw>
          </a:effectLst>
        </p:spPr>
      </p:cxnSp>
      <p:sp>
        <p:nvSpPr>
          <p:cNvPr id="27" name="Rectangle 26"/>
          <p:cNvSpPr>
            <a:spLocks/>
          </p:cNvSpPr>
          <p:nvPr/>
        </p:nvSpPr>
        <p:spPr>
          <a:xfrm>
            <a:off x="3956382" y="3691056"/>
            <a:ext cx="2178308" cy="600164"/>
          </a:xfrm>
          <a:prstGeom prst="rect">
            <a:avLst/>
          </a:prstGeom>
        </p:spPr>
        <p:txBody>
          <a:bodyPr wrap="square" lIns="0" tIns="0" rIns="0" bIns="0">
            <a:spAutoFit/>
          </a:bodyPr>
          <a:lstStyle/>
          <a:p>
            <a:r>
              <a:rPr lang="zh-CN" sz="1300" dirty="0">
                <a:latin typeface="+mn-lt"/>
                <a:ea typeface="楷体" panose="02010609060101010101" pitchFamily="49" charset="-122"/>
                <a:cs typeface="SimSun"/>
              </a:rPr>
              <a:t>机器学习算法提取最有可能预测成功油井的特征，企业以模型作为</a:t>
            </a:r>
            <a:r>
              <a:rPr lang="zh-CN" altLang="en-US" sz="1300" dirty="0">
                <a:latin typeface="+mn-lt"/>
                <a:ea typeface="楷体" panose="02010609060101010101" pitchFamily="49" charset="-122"/>
                <a:cs typeface="SimSun"/>
              </a:rPr>
              <a:t>钻井</a:t>
            </a:r>
            <a:r>
              <a:rPr lang="zh-CN" sz="1300" dirty="0">
                <a:latin typeface="+mn-lt"/>
                <a:ea typeface="楷体" panose="02010609060101010101" pitchFamily="49" charset="-122"/>
                <a:cs typeface="SimSun"/>
              </a:rPr>
              <a:t>依据</a:t>
            </a:r>
            <a:endParaRPr lang="zh-CN" sz="1300" dirty="0">
              <a:latin typeface="+mn-lt"/>
              <a:ea typeface="楷体" panose="02010609060101010101" pitchFamily="49" charset="-122"/>
            </a:endParaRPr>
          </a:p>
        </p:txBody>
      </p:sp>
      <p:sp>
        <p:nvSpPr>
          <p:cNvPr id="28" name="Rectangle 27"/>
          <p:cNvSpPr>
            <a:spLocks/>
          </p:cNvSpPr>
          <p:nvPr/>
        </p:nvSpPr>
        <p:spPr>
          <a:xfrm>
            <a:off x="6470016" y="3691056"/>
            <a:ext cx="2178308" cy="800219"/>
          </a:xfrm>
          <a:prstGeom prst="rect">
            <a:avLst/>
          </a:prstGeom>
        </p:spPr>
        <p:txBody>
          <a:bodyPr wrap="square" lIns="0" tIns="0" rIns="0" bIns="0">
            <a:spAutoFit/>
          </a:bodyPr>
          <a:lstStyle/>
          <a:p>
            <a:r>
              <a:rPr lang="zh-CN" sz="1300" dirty="0">
                <a:latin typeface="+mn-lt"/>
                <a:ea typeface="楷体" panose="02010609060101010101" pitchFamily="49" charset="-122"/>
                <a:cs typeface="SimSun"/>
              </a:rPr>
              <a:t>机器学习算法利用多种类型的数据（例如，流体流动视频、油井记录报告、生产日期）动态调整压裂设备的最佳设置）</a:t>
            </a:r>
            <a:endParaRPr lang="zh-CN" sz="1300" dirty="0">
              <a:latin typeface="+mn-lt"/>
              <a:ea typeface="楷体" panose="02010609060101010101" pitchFamily="49" charset="-122"/>
            </a:endParaRPr>
          </a:p>
        </p:txBody>
      </p:sp>
      <p:sp>
        <p:nvSpPr>
          <p:cNvPr id="4" name="Rectangle 3"/>
          <p:cNvSpPr>
            <a:spLocks/>
          </p:cNvSpPr>
          <p:nvPr/>
        </p:nvSpPr>
        <p:spPr>
          <a:xfrm>
            <a:off x="1415786" y="3691056"/>
            <a:ext cx="2178308" cy="600164"/>
          </a:xfrm>
          <a:prstGeom prst="rect">
            <a:avLst/>
          </a:prstGeom>
        </p:spPr>
        <p:txBody>
          <a:bodyPr wrap="square" lIns="0" tIns="0" rIns="0" bIns="0">
            <a:spAutoFit/>
          </a:bodyPr>
          <a:lstStyle/>
          <a:p>
            <a:r>
              <a:rPr lang="zh-CN" sz="1300" dirty="0">
                <a:latin typeface="+mn-lt"/>
                <a:ea typeface="楷体" panose="02010609060101010101" pitchFamily="49" charset="-122"/>
                <a:cs typeface="SimSun"/>
              </a:rPr>
              <a:t>分析师</a:t>
            </a:r>
            <a:r>
              <a:rPr lang="zh-CN" altLang="en-US" sz="1300" dirty="0">
                <a:latin typeface="+mn-lt"/>
                <a:ea typeface="楷体" panose="02010609060101010101" pitchFamily="49" charset="-122"/>
                <a:cs typeface="SimSun"/>
              </a:rPr>
              <a:t>通过一个</a:t>
            </a:r>
            <a:r>
              <a:rPr lang="zh-CN" sz="1300" dirty="0">
                <a:latin typeface="+mn-lt"/>
                <a:ea typeface="楷体" panose="02010609060101010101" pitchFamily="49" charset="-122"/>
                <a:cs typeface="SimSun"/>
              </a:rPr>
              <a:t>单独</a:t>
            </a:r>
            <a:r>
              <a:rPr lang="zh-CN" altLang="en-US" sz="1300" dirty="0">
                <a:latin typeface="+mn-lt"/>
                <a:ea typeface="楷体" panose="02010609060101010101" pitchFamily="49" charset="-122"/>
                <a:cs typeface="SimSun"/>
              </a:rPr>
              <a:t>的</a:t>
            </a:r>
            <a:r>
              <a:rPr lang="zh-CN" sz="1300" dirty="0">
                <a:latin typeface="+mn-lt"/>
                <a:ea typeface="楷体" panose="02010609060101010101" pitchFamily="49" charset="-122"/>
                <a:cs typeface="SimSun"/>
              </a:rPr>
              <a:t>工作表</a:t>
            </a:r>
            <a:r>
              <a:rPr lang="zh-CN" altLang="en-US" sz="1300" dirty="0">
                <a:latin typeface="+mn-lt"/>
                <a:ea typeface="楷体" panose="02010609060101010101" pitchFamily="49" charset="-122"/>
                <a:cs typeface="SimSun"/>
              </a:rPr>
              <a:t>对</a:t>
            </a:r>
            <a:r>
              <a:rPr lang="zh-CN" sz="1300" dirty="0">
                <a:latin typeface="+mn-lt"/>
                <a:ea typeface="楷体" panose="02010609060101010101" pitchFamily="49" charset="-122"/>
                <a:cs typeface="SimSun"/>
              </a:rPr>
              <a:t>过去三年的生产数据</a:t>
            </a:r>
            <a:r>
              <a:rPr lang="zh-CN" altLang="en-US" sz="1300" dirty="0">
                <a:latin typeface="+mn-lt"/>
                <a:ea typeface="楷体" panose="02010609060101010101" pitchFamily="49" charset="-122"/>
                <a:cs typeface="SimSun"/>
              </a:rPr>
              <a:t>进行分析</a:t>
            </a:r>
            <a:r>
              <a:rPr lang="zh-CN" sz="1300" dirty="0">
                <a:latin typeface="+mn-lt"/>
                <a:ea typeface="楷体" panose="02010609060101010101" pitchFamily="49" charset="-122"/>
                <a:cs typeface="SimSun"/>
              </a:rPr>
              <a:t>，得出各地区平均产量</a:t>
            </a:r>
            <a:endParaRPr lang="zh-CN" sz="1300" dirty="0">
              <a:latin typeface="+mn-lt"/>
              <a:ea typeface="楷体" panose="02010609060101010101" pitchFamily="49" charset="-122"/>
            </a:endParaRPr>
          </a:p>
        </p:txBody>
      </p:sp>
      <p:pic>
        <p:nvPicPr>
          <p:cNvPr id="77899" name="Picture 75" descr="http://www.tceq.state.tx.us/assets/public/implementation/barnett_shale/bs_images/txOilGasWells.png"/>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205222" y="5170511"/>
            <a:ext cx="1068158" cy="768437"/>
          </a:xfrm>
          <a:prstGeom prst="rect">
            <a:avLst/>
          </a:prstGeom>
          <a:noFill/>
          <a:extLst>
            <a:ext uri="{909E8E84-426E-40DD-AFC4-6F175D3DCCD1}">
              <a14:hiddenFill xmlns:a14="http://schemas.microsoft.com/office/drawing/2010/main">
                <a:solidFill>
                  <a:srgbClr val="FFFFFF"/>
                </a:solidFill>
              </a14:hiddenFill>
            </a:ext>
          </a:extLst>
        </p:spPr>
      </p:pic>
      <p:pic>
        <p:nvPicPr>
          <p:cNvPr id="77901" name="Picture 77" descr="https://upload.wikimedia.org/wikipedia/commons/0/0b/West_Texas_Pumpjack.JPG"/>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511457" y="5170511"/>
            <a:ext cx="1068158" cy="768437"/>
          </a:xfrm>
          <a:prstGeom prst="rect">
            <a:avLst/>
          </a:prstGeom>
          <a:noFill/>
          <a:extLst>
            <a:ext uri="{909E8E84-426E-40DD-AFC4-6F175D3DCCD1}">
              <a14:hiddenFill xmlns:a14="http://schemas.microsoft.com/office/drawing/2010/main">
                <a:solidFill>
                  <a:srgbClr val="FFFFFF"/>
                </a:solidFill>
              </a14:hiddenFill>
            </a:ext>
          </a:extLst>
        </p:spPr>
      </p:pic>
      <p:pic>
        <p:nvPicPr>
          <p:cNvPr id="77904" name="Picture 80" descr="http://worldwest.media.clients.ellingtoncms.com/img/photos/2011/10/26/102611_FRACKING5_t670.jpg?b3f6a5d7692ccc373d56e40cf708e3fa67d9af9d"/>
          <p:cNvPicPr>
            <a:picLocks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025091" y="5170511"/>
            <a:ext cx="1068158" cy="768437"/>
          </a:xfrm>
          <a:prstGeom prst="rect">
            <a:avLst/>
          </a:prstGeom>
          <a:noFill/>
          <a:extLst>
            <a:ext uri="{909E8E84-426E-40DD-AFC4-6F175D3DCCD1}">
              <a14:hiddenFill xmlns:a14="http://schemas.microsoft.com/office/drawing/2010/main">
                <a:solidFill>
                  <a:srgbClr val="FFFFFF"/>
                </a:solidFill>
              </a14:hiddenFill>
            </a:ext>
          </a:extLst>
        </p:spPr>
      </p:pic>
      <p:sp>
        <p:nvSpPr>
          <p:cNvPr id="52" name="Right Arrow 51"/>
          <p:cNvSpPr/>
          <p:nvPr/>
        </p:nvSpPr>
        <p:spPr>
          <a:xfrm>
            <a:off x="111125" y="535595"/>
            <a:ext cx="8788766" cy="609206"/>
          </a:xfrm>
          <a:prstGeom prst="rightArrow">
            <a:avLst>
              <a:gd name="adj1" fmla="val 50000"/>
              <a:gd name="adj2" fmla="val 43270"/>
            </a:avLst>
          </a:prstGeom>
          <a:gradFill flip="none" rotWithShape="1">
            <a:gsLst>
              <a:gs pos="0">
                <a:schemeClr val="accent3"/>
              </a:gs>
              <a:gs pos="100000">
                <a:schemeClr val="accent3">
                  <a:lumMod val="60000"/>
                  <a:lumOff val="40000"/>
                </a:schemeClr>
              </a:gs>
            </a:gsLst>
            <a:lin ang="108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a typeface="楷体" panose="02010609060101010101" pitchFamily="49" charset="-122"/>
            </a:endParaRPr>
          </a:p>
        </p:txBody>
      </p:sp>
      <p:sp>
        <p:nvSpPr>
          <p:cNvPr id="53" name="Rectangle 19"/>
          <p:cNvSpPr txBox="1">
            <a:spLocks/>
          </p:cNvSpPr>
          <p:nvPr/>
        </p:nvSpPr>
        <p:spPr>
          <a:xfrm>
            <a:off x="228063" y="739724"/>
            <a:ext cx="8618537" cy="20005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300" b="1" dirty="0">
                <a:solidFill>
                  <a:schemeClr val="bg2"/>
                </a:solidFill>
                <a:ea typeface="楷体" panose="02010609060101010101" pitchFamily="49" charset="-122"/>
                <a:cs typeface="SimSun"/>
              </a:rPr>
              <a:t>复杂度增加</a:t>
            </a:r>
          </a:p>
        </p:txBody>
      </p:sp>
      <p:sp>
        <p:nvSpPr>
          <p:cNvPr id="57" name="AutoShape 8"/>
          <p:cNvSpPr>
            <a:spLocks noChangeArrowheads="1"/>
          </p:cNvSpPr>
          <p:nvPr/>
        </p:nvSpPr>
        <p:spPr bwMode="gray">
          <a:xfrm>
            <a:off x="4112402" y="1286031"/>
            <a:ext cx="2022287" cy="295806"/>
          </a:xfrm>
          <a:prstGeom prst="rect">
            <a:avLst/>
          </a:prstGeom>
          <a:gradFill>
            <a:gsLst>
              <a:gs pos="100000">
                <a:schemeClr val="accent3">
                  <a:lumMod val="75000"/>
                </a:schemeClr>
              </a:gs>
              <a:gs pos="0">
                <a:schemeClr val="accent4"/>
              </a:gs>
            </a:gsLst>
            <a:lin ang="2700000" scaled="1"/>
          </a:gradFill>
          <a:ln w="19050" algn="ctr">
            <a:noFill/>
            <a:miter lim="800000"/>
            <a:headEnd/>
            <a:tailEnd/>
          </a:ln>
          <a:effectLst/>
        </p:spPr>
        <p:txBody>
          <a:bodyPr vert="horz" wrap="square" lIns="72009" tIns="72009" rIns="72009" bIns="72009" numCol="1"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300" b="0" i="0" u="none" strike="noStrike" cap="none" normalizeH="0" baseline="0" dirty="0">
              <a:ln>
                <a:noFill/>
              </a:ln>
              <a:solidFill>
                <a:schemeClr val="accent3"/>
              </a:solidFill>
              <a:effectLst/>
              <a:latin typeface="+mn-lt"/>
              <a:ea typeface="楷体" panose="02010609060101010101" pitchFamily="49" charset="-122"/>
              <a:cs typeface="Arial" pitchFamily="34" charset="0"/>
            </a:endParaRPr>
          </a:p>
        </p:txBody>
      </p:sp>
      <p:sp>
        <p:nvSpPr>
          <p:cNvPr id="58" name="Rectangle 286"/>
          <p:cNvSpPr txBox="1">
            <a:spLocks noChangeArrowheads="1"/>
          </p:cNvSpPr>
          <p:nvPr/>
        </p:nvSpPr>
        <p:spPr bwMode="auto">
          <a:xfrm>
            <a:off x="4311909" y="1333907"/>
            <a:ext cx="333425"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zh-CN" sz="1300" b="1" dirty="0">
                <a:solidFill>
                  <a:schemeClr val="bg1"/>
                </a:solidFill>
                <a:ea typeface="楷体" panose="02010609060101010101" pitchFamily="49" charset="-122"/>
                <a:cs typeface="SimSun"/>
              </a:rPr>
              <a:t>预测</a:t>
            </a:r>
          </a:p>
        </p:txBody>
      </p:sp>
      <p:sp>
        <p:nvSpPr>
          <p:cNvPr id="59" name="AutoShape 8"/>
          <p:cNvSpPr>
            <a:spLocks noChangeArrowheads="1"/>
          </p:cNvSpPr>
          <p:nvPr/>
        </p:nvSpPr>
        <p:spPr bwMode="gray">
          <a:xfrm>
            <a:off x="1571806" y="1286031"/>
            <a:ext cx="2022287" cy="295806"/>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endParaRPr lang="en-US" sz="1300" b="1" dirty="0">
              <a:solidFill>
                <a:schemeClr val="lt1"/>
              </a:solidFill>
              <a:ea typeface="楷体" panose="02010609060101010101" pitchFamily="49" charset="-122"/>
            </a:endParaRPr>
          </a:p>
        </p:txBody>
      </p:sp>
      <p:sp>
        <p:nvSpPr>
          <p:cNvPr id="60" name="Rectangle 286"/>
          <p:cNvSpPr txBox="1">
            <a:spLocks noChangeArrowheads="1"/>
          </p:cNvSpPr>
          <p:nvPr/>
        </p:nvSpPr>
        <p:spPr bwMode="auto">
          <a:xfrm>
            <a:off x="1771313" y="1333907"/>
            <a:ext cx="333425"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zh-CN" sz="1300" b="1" dirty="0">
                <a:solidFill>
                  <a:schemeClr val="bg2"/>
                </a:solidFill>
                <a:ea typeface="楷体" panose="02010609060101010101" pitchFamily="49" charset="-122"/>
                <a:cs typeface="SimSun"/>
              </a:rPr>
              <a:t>描述</a:t>
            </a:r>
          </a:p>
        </p:txBody>
      </p:sp>
      <p:sp>
        <p:nvSpPr>
          <p:cNvPr id="62" name="AutoShape 8"/>
          <p:cNvSpPr>
            <a:spLocks noChangeArrowheads="1"/>
          </p:cNvSpPr>
          <p:nvPr/>
        </p:nvSpPr>
        <p:spPr bwMode="gray">
          <a:xfrm>
            <a:off x="6626036" y="1286031"/>
            <a:ext cx="2022287" cy="295806"/>
          </a:xfrm>
          <a:prstGeom prst="rect">
            <a:avLst/>
          </a:prstGeom>
          <a:gradFill>
            <a:gsLst>
              <a:gs pos="100000">
                <a:schemeClr val="accent3">
                  <a:lumMod val="75000"/>
                </a:schemeClr>
              </a:gs>
              <a:gs pos="0">
                <a:schemeClr val="accent4"/>
              </a:gs>
            </a:gsLst>
            <a:lin ang="2700000" scaled="1"/>
          </a:gradFill>
          <a:ln w="19050" algn="ctr">
            <a:noFill/>
            <a:miter lim="800000"/>
            <a:headEnd/>
            <a:tailEnd/>
          </a:ln>
          <a:effectLst/>
        </p:spPr>
        <p:txBody>
          <a:bodyPr vert="horz" wrap="square" lIns="72009" tIns="72009" rIns="72009" bIns="72009" numCol="1"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300" b="0" i="0" u="none" strike="noStrike" cap="none" normalizeH="0" baseline="0" dirty="0">
              <a:ln>
                <a:noFill/>
              </a:ln>
              <a:solidFill>
                <a:schemeClr val="tx1"/>
              </a:solidFill>
              <a:effectLst/>
              <a:latin typeface="+mn-lt"/>
              <a:ea typeface="楷体" panose="02010609060101010101" pitchFamily="49" charset="-122"/>
              <a:cs typeface="Arial" pitchFamily="34" charset="0"/>
            </a:endParaRPr>
          </a:p>
        </p:txBody>
      </p:sp>
      <p:sp>
        <p:nvSpPr>
          <p:cNvPr id="63" name="Rectangle 286"/>
          <p:cNvSpPr txBox="1">
            <a:spLocks noChangeArrowheads="1"/>
          </p:cNvSpPr>
          <p:nvPr/>
        </p:nvSpPr>
        <p:spPr bwMode="auto">
          <a:xfrm>
            <a:off x="6825543" y="1333907"/>
            <a:ext cx="333425"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zh-CN" sz="1300" b="1" dirty="0">
                <a:solidFill>
                  <a:schemeClr val="bg1"/>
                </a:solidFill>
                <a:ea typeface="楷体" panose="02010609060101010101" pitchFamily="49" charset="-122"/>
                <a:cs typeface="SimSun"/>
              </a:rPr>
              <a:t>规范</a:t>
            </a:r>
          </a:p>
        </p:txBody>
      </p:sp>
      <p:sp>
        <p:nvSpPr>
          <p:cNvPr id="64" name="Oval 5"/>
          <p:cNvSpPr txBox="1">
            <a:spLocks/>
          </p:cNvSpPr>
          <p:nvPr>
            <p:custDataLst>
              <p:tags r:id="rId3"/>
            </p:custDataLst>
          </p:nvPr>
        </p:nvSpPr>
        <p:spPr>
          <a:xfrm>
            <a:off x="3956382" y="1286031"/>
            <a:ext cx="295806" cy="295806"/>
          </a:xfrm>
          <a:prstGeom prst="ellipse">
            <a:avLst/>
          </a:prstGeom>
          <a:gradFill>
            <a:gsLst>
              <a:gs pos="100000">
                <a:schemeClr val="accent3">
                  <a:lumMod val="75000"/>
                </a:schemeClr>
              </a:gs>
              <a:gs pos="0">
                <a:schemeClr val="accent4"/>
              </a:gs>
            </a:gsLst>
            <a:lin ang="2700000" scaled="1"/>
          </a:gradFill>
          <a:ln w="19050">
            <a:solidFill>
              <a:schemeClr val="bg2"/>
            </a:solidFill>
            <a:miter lim="800000"/>
            <a:headEnd/>
            <a:tailEnd/>
          </a:ln>
          <a:effectLst/>
        </p:spPr>
        <p:txBody>
          <a:bodyPr vert="horz" wrap="square" lIns="3810" tIns="0" rIns="3810" bIns="0" numCol="1" anchor="ctr" anchorCtr="1" compatLnSpc="1">
            <a:prstTxWarp prst="textNoShape">
              <a:avLst/>
            </a:prstTxWarp>
            <a:noAutofit/>
          </a:bodyPr>
          <a:lstStyle>
            <a:lvl1pPr lvl="0" algn="l" defTabSz="895350" eaLnBrk="1" hangingPunct="1">
              <a:buClr>
                <a:schemeClr val="tx2"/>
              </a:buClr>
              <a:defRPr sz="1600">
                <a:latin typeface="+mn-lt"/>
              </a:defRPr>
            </a:lvl1pPr>
            <a:lvl2pPr marL="193675" lvl="1" indent="-192088" algn="l" defTabSz="895350" eaLnBrk="1" hangingPunct="1">
              <a:buClr>
                <a:schemeClr val="tx2"/>
              </a:buClr>
              <a:buSzPct val="125000"/>
              <a:buFont typeface="Arial" charset="0"/>
              <a:buChar char="▪"/>
              <a:defRPr sz="1600">
                <a:latin typeface="+mn-lt"/>
              </a:defRPr>
            </a:lvl2pPr>
            <a:lvl3pPr marL="374650" lvl="2" indent="-179388" algn="l" defTabSz="895350" eaLnBrk="1" hangingPunct="1">
              <a:buClr>
                <a:schemeClr val="tx2"/>
              </a:buClr>
              <a:buFont typeface="Arial" charset="0"/>
              <a:buChar char="–"/>
              <a:defRPr sz="1600">
                <a:latin typeface="+mn-lt"/>
              </a:defRPr>
            </a:lvl3pPr>
            <a:lvl4pPr marL="519113" lvl="3" indent="-142875" algn="l" defTabSz="895350" eaLnBrk="1" hangingPunct="1">
              <a:buClr>
                <a:schemeClr val="tx2"/>
              </a:buClr>
              <a:buFont typeface="Arial" charset="0"/>
              <a:buChar char="▫"/>
              <a:defRPr sz="1600">
                <a:latin typeface="+mn-lt"/>
              </a:defRPr>
            </a:lvl4pPr>
            <a:lvl5pPr marL="663575" lvl="4" indent="-142875" algn="l" defTabSz="895350" eaLnBrk="1" hangingPunct="1">
              <a:buClr>
                <a:schemeClr val="tx2"/>
              </a:buClr>
              <a:buFont typeface="Arial" charset="0"/>
              <a:buChar char="-"/>
              <a:defRPr sz="1600">
                <a:latin typeface="+mn-lt"/>
              </a:defRPr>
            </a:lvl5pPr>
            <a:lvl6pPr marL="1120775" indent="-142875" defTabSz="895350" fontAlgn="base">
              <a:spcBef>
                <a:spcPct val="0"/>
              </a:spcBef>
              <a:spcAft>
                <a:spcPct val="0"/>
              </a:spcAft>
              <a:buClr>
                <a:schemeClr val="tx2"/>
              </a:buClr>
              <a:buFont typeface="Arial" charset="0"/>
              <a:buChar char="-"/>
              <a:defRPr sz="1600">
                <a:latin typeface="+mn-lt"/>
              </a:defRPr>
            </a:lvl6pPr>
            <a:lvl7pPr marL="1577975" indent="-142875" defTabSz="895350" fontAlgn="base">
              <a:spcBef>
                <a:spcPct val="0"/>
              </a:spcBef>
              <a:spcAft>
                <a:spcPct val="0"/>
              </a:spcAft>
              <a:buClr>
                <a:schemeClr val="tx2"/>
              </a:buClr>
              <a:buFont typeface="Arial" charset="0"/>
              <a:buChar char="-"/>
              <a:defRPr sz="1600">
                <a:latin typeface="+mn-lt"/>
              </a:defRPr>
            </a:lvl7pPr>
            <a:lvl8pPr marL="2035175" indent="-142875" defTabSz="895350" fontAlgn="base">
              <a:spcBef>
                <a:spcPct val="0"/>
              </a:spcBef>
              <a:spcAft>
                <a:spcPct val="0"/>
              </a:spcAft>
              <a:buClr>
                <a:schemeClr val="tx2"/>
              </a:buClr>
              <a:buFont typeface="Arial" charset="0"/>
              <a:buChar char="-"/>
              <a:defRPr sz="1600">
                <a:latin typeface="+mn-lt"/>
              </a:defRPr>
            </a:lvl8pPr>
            <a:lvl9pPr marL="2492375" indent="-142875" defTabSz="895350" fontAlgn="base">
              <a:spcBef>
                <a:spcPct val="0"/>
              </a:spcBef>
              <a:spcAft>
                <a:spcPct val="0"/>
              </a:spcAft>
              <a:buClr>
                <a:schemeClr val="tx2"/>
              </a:buClr>
              <a:buFont typeface="Arial" charset="0"/>
              <a:buChar char="-"/>
              <a:defRPr sz="1600">
                <a:latin typeface="+mn-lt"/>
              </a:defRPr>
            </a:lvl9pPr>
          </a:lstStyle>
          <a:p>
            <a:pPr algn="ctr"/>
            <a:r>
              <a:rPr lang="zh-CN" sz="1300" b="1" dirty="0">
                <a:solidFill>
                  <a:schemeClr val="bg1"/>
                </a:solidFill>
                <a:ea typeface="楷体" panose="02010609060101010101" pitchFamily="49" charset="-122"/>
                <a:cs typeface="SimSun"/>
              </a:rPr>
              <a:t>2</a:t>
            </a:r>
          </a:p>
        </p:txBody>
      </p:sp>
      <p:sp>
        <p:nvSpPr>
          <p:cNvPr id="65" name="Oval 5"/>
          <p:cNvSpPr txBox="1">
            <a:spLocks/>
          </p:cNvSpPr>
          <p:nvPr>
            <p:custDataLst>
              <p:tags r:id="rId4"/>
            </p:custDataLst>
          </p:nvPr>
        </p:nvSpPr>
        <p:spPr>
          <a:xfrm>
            <a:off x="1415786" y="1286031"/>
            <a:ext cx="295806" cy="295806"/>
          </a:xfrm>
          <a:prstGeom prst="ellipse">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19050">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defPPr>
              <a:defRPr lang="en-US"/>
            </a:defPPr>
            <a:lvl1pPr>
              <a:defRPr sz="1200" b="1">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zh-CN" sz="1300" dirty="0">
                <a:ea typeface="楷体" panose="02010609060101010101" pitchFamily="49" charset="-122"/>
                <a:cs typeface="SimSun"/>
              </a:rPr>
              <a:t>1</a:t>
            </a:r>
          </a:p>
        </p:txBody>
      </p:sp>
      <p:sp>
        <p:nvSpPr>
          <p:cNvPr id="67" name="Oval 5"/>
          <p:cNvSpPr txBox="1">
            <a:spLocks/>
          </p:cNvSpPr>
          <p:nvPr>
            <p:custDataLst>
              <p:tags r:id="rId5"/>
            </p:custDataLst>
          </p:nvPr>
        </p:nvSpPr>
        <p:spPr>
          <a:xfrm>
            <a:off x="6470016" y="1286031"/>
            <a:ext cx="295806" cy="295806"/>
          </a:xfrm>
          <a:prstGeom prst="ellipse">
            <a:avLst/>
          </a:prstGeom>
          <a:gradFill>
            <a:gsLst>
              <a:gs pos="100000">
                <a:schemeClr val="accent3">
                  <a:lumMod val="75000"/>
                </a:schemeClr>
              </a:gs>
              <a:gs pos="0">
                <a:schemeClr val="accent4"/>
              </a:gs>
            </a:gsLst>
            <a:lin ang="2700000" scaled="1"/>
          </a:gradFill>
          <a:ln w="19050">
            <a:solidFill>
              <a:schemeClr val="bg2"/>
            </a:solidFill>
            <a:miter lim="800000"/>
            <a:headEnd/>
            <a:tailEnd/>
          </a:ln>
          <a:effectLst/>
        </p:spPr>
        <p:txBody>
          <a:bodyPr vert="horz" wrap="square" lIns="3810" tIns="0" rIns="3810" bIns="0" numCol="1" anchor="ctr" anchorCtr="1" compatLnSpc="1">
            <a:prstTxWarp prst="textNoShape">
              <a:avLst/>
            </a:prstTxWarp>
            <a:noAutofit/>
          </a:bodyPr>
          <a:lstStyle>
            <a:lvl1pPr lvl="0" algn="l" defTabSz="895350" eaLnBrk="1" hangingPunct="1">
              <a:buClr>
                <a:schemeClr val="tx2"/>
              </a:buClr>
              <a:defRPr sz="1600">
                <a:latin typeface="+mn-lt"/>
              </a:defRPr>
            </a:lvl1pPr>
            <a:lvl2pPr marL="193675" lvl="1" indent="-192088" algn="l" defTabSz="895350" eaLnBrk="1" hangingPunct="1">
              <a:buClr>
                <a:schemeClr val="tx2"/>
              </a:buClr>
              <a:buSzPct val="125000"/>
              <a:buFont typeface="Arial" charset="0"/>
              <a:buChar char="▪"/>
              <a:defRPr sz="1600">
                <a:latin typeface="+mn-lt"/>
              </a:defRPr>
            </a:lvl2pPr>
            <a:lvl3pPr marL="374650" lvl="2" indent="-179388" algn="l" defTabSz="895350" eaLnBrk="1" hangingPunct="1">
              <a:buClr>
                <a:schemeClr val="tx2"/>
              </a:buClr>
              <a:buFont typeface="Arial" charset="0"/>
              <a:buChar char="–"/>
              <a:defRPr sz="1600">
                <a:latin typeface="+mn-lt"/>
              </a:defRPr>
            </a:lvl3pPr>
            <a:lvl4pPr marL="519113" lvl="3" indent="-142875" algn="l" defTabSz="895350" eaLnBrk="1" hangingPunct="1">
              <a:buClr>
                <a:schemeClr val="tx2"/>
              </a:buClr>
              <a:buFont typeface="Arial" charset="0"/>
              <a:buChar char="▫"/>
              <a:defRPr sz="1600">
                <a:latin typeface="+mn-lt"/>
              </a:defRPr>
            </a:lvl4pPr>
            <a:lvl5pPr marL="663575" lvl="4" indent="-142875" algn="l" defTabSz="895350" eaLnBrk="1" hangingPunct="1">
              <a:buClr>
                <a:schemeClr val="tx2"/>
              </a:buClr>
              <a:buFont typeface="Arial" charset="0"/>
              <a:buChar char="-"/>
              <a:defRPr sz="1600">
                <a:latin typeface="+mn-lt"/>
              </a:defRPr>
            </a:lvl5pPr>
            <a:lvl6pPr marL="1120775" indent="-142875" defTabSz="895350" fontAlgn="base">
              <a:spcBef>
                <a:spcPct val="0"/>
              </a:spcBef>
              <a:spcAft>
                <a:spcPct val="0"/>
              </a:spcAft>
              <a:buClr>
                <a:schemeClr val="tx2"/>
              </a:buClr>
              <a:buFont typeface="Arial" charset="0"/>
              <a:buChar char="-"/>
              <a:defRPr sz="1600">
                <a:latin typeface="+mn-lt"/>
              </a:defRPr>
            </a:lvl6pPr>
            <a:lvl7pPr marL="1577975" indent="-142875" defTabSz="895350" fontAlgn="base">
              <a:spcBef>
                <a:spcPct val="0"/>
              </a:spcBef>
              <a:spcAft>
                <a:spcPct val="0"/>
              </a:spcAft>
              <a:buClr>
                <a:schemeClr val="tx2"/>
              </a:buClr>
              <a:buFont typeface="Arial" charset="0"/>
              <a:buChar char="-"/>
              <a:defRPr sz="1600">
                <a:latin typeface="+mn-lt"/>
              </a:defRPr>
            </a:lvl7pPr>
            <a:lvl8pPr marL="2035175" indent="-142875" defTabSz="895350" fontAlgn="base">
              <a:spcBef>
                <a:spcPct val="0"/>
              </a:spcBef>
              <a:spcAft>
                <a:spcPct val="0"/>
              </a:spcAft>
              <a:buClr>
                <a:schemeClr val="tx2"/>
              </a:buClr>
              <a:buFont typeface="Arial" charset="0"/>
              <a:buChar char="-"/>
              <a:defRPr sz="1600">
                <a:latin typeface="+mn-lt"/>
              </a:defRPr>
            </a:lvl8pPr>
            <a:lvl9pPr marL="2492375" indent="-142875" defTabSz="895350" fontAlgn="base">
              <a:spcBef>
                <a:spcPct val="0"/>
              </a:spcBef>
              <a:spcAft>
                <a:spcPct val="0"/>
              </a:spcAft>
              <a:buClr>
                <a:schemeClr val="tx2"/>
              </a:buClr>
              <a:buFont typeface="Arial" charset="0"/>
              <a:buChar char="-"/>
              <a:defRPr sz="1600">
                <a:latin typeface="+mn-lt"/>
              </a:defRPr>
            </a:lvl9pPr>
          </a:lstStyle>
          <a:p>
            <a:pPr algn="ctr"/>
            <a:r>
              <a:rPr lang="zh-CN" sz="1300" b="1" dirty="0">
                <a:solidFill>
                  <a:schemeClr val="bg1"/>
                </a:solidFill>
                <a:ea typeface="楷体" panose="02010609060101010101" pitchFamily="49" charset="-122"/>
                <a:cs typeface="SimSun"/>
              </a:rPr>
              <a:t>3</a:t>
            </a:r>
          </a:p>
        </p:txBody>
      </p:sp>
      <p:sp>
        <p:nvSpPr>
          <p:cNvPr id="7" name="TextBox 6"/>
          <p:cNvSpPr txBox="1">
            <a:spLocks/>
          </p:cNvSpPr>
          <p:nvPr/>
        </p:nvSpPr>
        <p:spPr>
          <a:xfrm>
            <a:off x="6470016" y="1732419"/>
            <a:ext cx="2178308" cy="1200329"/>
          </a:xfrm>
          <a:prstGeom prst="rect">
            <a:avLst/>
          </a:prstGeom>
        </p:spPr>
        <p:txBody>
          <a:bodyPr vert="horz" wrap="square" lIns="0" tIns="0" rIns="0" bIns="0"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zh-CN" sz="1300" dirty="0">
                <a:ea typeface="楷体" panose="02010609060101010101" pitchFamily="49" charset="-122"/>
                <a:cs typeface="SimSun"/>
              </a:rPr>
              <a:t>我们在印度市场的最佳产品售价是多少？</a:t>
            </a:r>
          </a:p>
          <a:p>
            <a:pPr lvl="1"/>
            <a:r>
              <a:rPr lang="zh-CN" sz="1300" dirty="0">
                <a:ea typeface="楷体" panose="02010609060101010101" pitchFamily="49" charset="-122"/>
                <a:cs typeface="SimSun"/>
              </a:rPr>
              <a:t>针对该特定客户，我们应当怎样</a:t>
            </a:r>
            <a:r>
              <a:rPr lang="zh-CN" altLang="en-US" sz="1300" dirty="0">
                <a:ea typeface="楷体" panose="02010609060101010101" pitchFamily="49" charset="-122"/>
                <a:cs typeface="SimSun"/>
              </a:rPr>
              <a:t>安排</a:t>
            </a:r>
            <a:r>
              <a:rPr lang="zh-CN" sz="1300" dirty="0">
                <a:ea typeface="楷体" panose="02010609060101010101" pitchFamily="49" charset="-122"/>
                <a:cs typeface="SimSun"/>
              </a:rPr>
              <a:t>登陆页内容？</a:t>
            </a:r>
          </a:p>
          <a:p>
            <a:pPr lvl="1"/>
            <a:r>
              <a:rPr lang="zh-CN" sz="1300" dirty="0">
                <a:ea typeface="楷体" panose="02010609060101010101" pitchFamily="49" charset="-122"/>
                <a:cs typeface="SimSun"/>
              </a:rPr>
              <a:t>我们如何根据收治患者数量分配这个班次的值班护士？</a:t>
            </a:r>
          </a:p>
        </p:txBody>
      </p:sp>
      <p:sp>
        <p:nvSpPr>
          <p:cNvPr id="9" name="TextBox 8"/>
          <p:cNvSpPr txBox="1">
            <a:spLocks/>
          </p:cNvSpPr>
          <p:nvPr/>
        </p:nvSpPr>
        <p:spPr>
          <a:xfrm>
            <a:off x="3956382" y="1732419"/>
            <a:ext cx="2178308" cy="1000274"/>
          </a:xfrm>
          <a:prstGeom prst="rect">
            <a:avLst/>
          </a:prstGeom>
        </p:spPr>
        <p:txBody>
          <a:bodyPr vert="horz" wrap="square" lIns="0" tIns="0" rIns="0" bIns="0"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zh-CN" sz="1300" dirty="0">
                <a:ea typeface="楷体" panose="02010609060101010101" pitchFamily="49" charset="-122"/>
                <a:cs typeface="SimSun"/>
              </a:rPr>
              <a:t>下个季度的油价会是多少？</a:t>
            </a:r>
          </a:p>
          <a:p>
            <a:pPr lvl="1"/>
            <a:r>
              <a:rPr lang="zh-CN" sz="1300" dirty="0">
                <a:ea typeface="楷体" panose="02010609060101010101" pitchFamily="49" charset="-122"/>
                <a:cs typeface="SimSun"/>
              </a:rPr>
              <a:t>哪些订阅</a:t>
            </a:r>
            <a:r>
              <a:rPr lang="zh-CN" altLang="en-US" sz="1300" dirty="0">
                <a:ea typeface="楷体" panose="02010609060101010101" pitchFamily="49" charset="-122"/>
                <a:cs typeface="SimSun"/>
              </a:rPr>
              <a:t>者</a:t>
            </a:r>
            <a:r>
              <a:rPr lang="zh-CN" sz="1300" dirty="0">
                <a:ea typeface="楷体" panose="02010609060101010101" pitchFamily="49" charset="-122"/>
                <a:cs typeface="SimSun"/>
              </a:rPr>
              <a:t>流失</a:t>
            </a:r>
            <a:r>
              <a:rPr lang="zh-CN" altLang="en-US" sz="1300" dirty="0">
                <a:ea typeface="楷体" panose="02010609060101010101" pitchFamily="49" charset="-122"/>
                <a:cs typeface="SimSun"/>
              </a:rPr>
              <a:t>的</a:t>
            </a:r>
            <a:r>
              <a:rPr lang="zh-CN" sz="1300" dirty="0">
                <a:ea typeface="楷体" panose="02010609060101010101" pitchFamily="49" charset="-122"/>
                <a:cs typeface="SimSun"/>
              </a:rPr>
              <a:t>可能性最大？</a:t>
            </a:r>
          </a:p>
          <a:p>
            <a:pPr lvl="1"/>
            <a:r>
              <a:rPr lang="zh-CN" sz="1300" dirty="0">
                <a:ea typeface="楷体" panose="02010609060101010101" pitchFamily="49" charset="-122"/>
                <a:cs typeface="SimSun"/>
              </a:rPr>
              <a:t>该</a:t>
            </a:r>
            <a:r>
              <a:rPr lang="zh-CN" altLang="en-US" sz="1300" dirty="0">
                <a:ea typeface="楷体" panose="02010609060101010101" pitchFamily="49" charset="-122"/>
                <a:cs typeface="SimSun"/>
              </a:rPr>
              <a:t>客</a:t>
            </a:r>
            <a:r>
              <a:rPr lang="zh-CN" sz="1300" dirty="0">
                <a:ea typeface="楷体" panose="02010609060101010101" pitchFamily="49" charset="-122"/>
                <a:cs typeface="SimSun"/>
              </a:rPr>
              <a:t>户最有可能购买哪个产品？</a:t>
            </a:r>
          </a:p>
        </p:txBody>
      </p:sp>
      <p:sp>
        <p:nvSpPr>
          <p:cNvPr id="11" name="TextBox 10"/>
          <p:cNvSpPr txBox="1">
            <a:spLocks/>
          </p:cNvSpPr>
          <p:nvPr/>
        </p:nvSpPr>
        <p:spPr>
          <a:xfrm>
            <a:off x="1415786" y="1732419"/>
            <a:ext cx="2178308" cy="800219"/>
          </a:xfrm>
          <a:prstGeom prst="rect">
            <a:avLst/>
          </a:prstGeom>
        </p:spPr>
        <p:txBody>
          <a:bodyPr vert="horz" wrap="square" lIns="0" tIns="0" rIns="0" bIns="0"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zh-CN" sz="1300" dirty="0">
                <a:ea typeface="楷体" panose="02010609060101010101" pitchFamily="49" charset="-122"/>
                <a:cs typeface="SimSun"/>
              </a:rPr>
              <a:t>我们去年的销售额是多少？</a:t>
            </a:r>
          </a:p>
          <a:p>
            <a:pPr lvl="1"/>
            <a:r>
              <a:rPr lang="zh-CN" sz="1300" dirty="0">
                <a:ea typeface="楷体" panose="02010609060101010101" pitchFamily="49" charset="-122"/>
                <a:cs typeface="SimSun"/>
              </a:rPr>
              <a:t>客户人均消费是多少？</a:t>
            </a:r>
          </a:p>
          <a:p>
            <a:pPr lvl="1"/>
            <a:r>
              <a:rPr lang="zh-CN" sz="1300" dirty="0">
                <a:ea typeface="楷体" panose="02010609060101010101" pitchFamily="49" charset="-122"/>
                <a:cs typeface="SimSun"/>
              </a:rPr>
              <a:t>哪家供应商成本效益更高？</a:t>
            </a:r>
          </a:p>
          <a:p>
            <a:pPr lvl="1"/>
            <a:r>
              <a:rPr lang="zh-CN" sz="1300" dirty="0">
                <a:ea typeface="楷体" panose="02010609060101010101" pitchFamily="49" charset="-122"/>
                <a:cs typeface="SimSun"/>
              </a:rPr>
              <a:t>哪种产品利润率最佳？</a:t>
            </a:r>
          </a:p>
        </p:txBody>
      </p:sp>
      <p:cxnSp>
        <p:nvCxnSpPr>
          <p:cNvPr id="71" name="Straight Connector 70"/>
          <p:cNvCxnSpPr>
            <a:cxnSpLocks/>
          </p:cNvCxnSpPr>
          <p:nvPr/>
        </p:nvCxnSpPr>
        <p:spPr>
          <a:xfrm>
            <a:off x="3956382" y="3611984"/>
            <a:ext cx="2178308" cy="0"/>
          </a:xfrm>
          <a:prstGeom prst="line">
            <a:avLst/>
          </a:prstGeom>
          <a:solidFill>
            <a:schemeClr val="accent1"/>
          </a:solidFill>
          <a:ln w="9525" cap="flat" cmpd="sng" algn="ctr">
            <a:solidFill>
              <a:schemeClr val="accent6"/>
            </a:solidFill>
            <a:prstDash val="sysDot"/>
            <a:round/>
            <a:headEnd type="none" w="med" len="med"/>
            <a:tailEnd type="none" w="med" len="med"/>
          </a:ln>
          <a:effectLst>
            <a:outerShdw dist="35921" dir="2700000" algn="ctr" rotWithShape="0">
              <a:schemeClr val="bg2"/>
            </a:outerShdw>
          </a:effectLst>
        </p:spPr>
      </p:cxnSp>
      <p:cxnSp>
        <p:nvCxnSpPr>
          <p:cNvPr id="72" name="Straight Connector 71"/>
          <p:cNvCxnSpPr>
            <a:cxnSpLocks/>
          </p:cNvCxnSpPr>
          <p:nvPr/>
        </p:nvCxnSpPr>
        <p:spPr>
          <a:xfrm>
            <a:off x="1415786" y="3611984"/>
            <a:ext cx="2178308" cy="0"/>
          </a:xfrm>
          <a:prstGeom prst="line">
            <a:avLst/>
          </a:prstGeom>
          <a:solidFill>
            <a:schemeClr val="accent1"/>
          </a:solidFill>
          <a:ln w="9525" cap="flat" cmpd="sng" algn="ctr">
            <a:solidFill>
              <a:schemeClr val="accent6"/>
            </a:solidFill>
            <a:prstDash val="sysDot"/>
            <a:round/>
            <a:headEnd type="none" w="med" len="med"/>
            <a:tailEnd type="none" w="med" len="med"/>
          </a:ln>
          <a:effectLst>
            <a:outerShdw dist="35921" dir="2700000" algn="ctr" rotWithShape="0">
              <a:schemeClr val="bg2"/>
            </a:outerShdw>
          </a:effectLst>
        </p:spPr>
      </p:cxnSp>
      <p:grpSp>
        <p:nvGrpSpPr>
          <p:cNvPr id="6" name="Group 5"/>
          <p:cNvGrpSpPr/>
          <p:nvPr/>
        </p:nvGrpSpPr>
        <p:grpSpPr>
          <a:xfrm>
            <a:off x="6633735" y="279400"/>
            <a:ext cx="1177330" cy="184666"/>
            <a:chOff x="7835905" y="279400"/>
            <a:chExt cx="1177330" cy="184666"/>
          </a:xfrm>
        </p:grpSpPr>
        <p:sp>
          <p:nvSpPr>
            <p:cNvPr id="40" name="Legend1"/>
            <p:cNvSpPr>
              <a:spLocks noChangeArrowheads="1"/>
            </p:cNvSpPr>
            <p:nvPr/>
          </p:nvSpPr>
          <p:spPr bwMode="auto">
            <a:xfrm>
              <a:off x="8089905" y="279400"/>
              <a:ext cx="92333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zh-CN" sz="1200" dirty="0">
                  <a:latin typeface="+mn-lt"/>
                  <a:ea typeface="楷体" panose="02010609060101010101" pitchFamily="49" charset="-122"/>
                  <a:cs typeface="SimSun"/>
                </a:rPr>
                <a:t>机器学习重点</a:t>
              </a:r>
            </a:p>
          </p:txBody>
        </p:sp>
        <p:sp>
          <p:nvSpPr>
            <p:cNvPr id="41" name="LegendRectangle1"/>
            <p:cNvSpPr>
              <a:spLocks noChangeArrowheads="1"/>
            </p:cNvSpPr>
            <p:nvPr/>
          </p:nvSpPr>
          <p:spPr bwMode="auto">
            <a:xfrm>
              <a:off x="7835905" y="290513"/>
              <a:ext cx="165100" cy="160338"/>
            </a:xfrm>
            <a:prstGeom prst="rect">
              <a:avLst/>
            </a:prstGeom>
            <a:gradFill flip="none" rotWithShape="1">
              <a:gsLst>
                <a:gs pos="100000">
                  <a:schemeClr val="accent3">
                    <a:lumMod val="75000"/>
                  </a:schemeClr>
                </a:gs>
                <a:gs pos="0">
                  <a:schemeClr val="accent4"/>
                </a:gs>
              </a:gsLst>
              <a:lin ang="2700000" scaled="1"/>
              <a:tileRect/>
            </a:gradFill>
            <a:ln w="19050">
              <a:noFill/>
              <a:prstDash val="dash"/>
            </a:ln>
          </p:spPr>
          <p:txBody>
            <a:bodyPr vert="horz" lIns="76200" tIns="76200" rIns="76200" bIns="76200" rtlCol="0" anchor="t" anchorCtr="0">
              <a:noAutofit/>
            </a:bodyPr>
            <a:lstStyle/>
            <a:p>
              <a:pPr defTabSz="895350">
                <a:buClr>
                  <a:schemeClr val="tx2"/>
                </a:buClr>
              </a:pPr>
              <a:endParaRPr lang="en-US" dirty="0">
                <a:latin typeface="+mn-lt"/>
                <a:ea typeface="楷体" panose="02010609060101010101" pitchFamily="49" charset="-122"/>
              </a:endParaRPr>
            </a:p>
          </p:txBody>
        </p:sp>
      </p:grpSp>
    </p:spTree>
    <p:extLst>
      <p:ext uri="{BB962C8B-B14F-4D97-AF65-F5344CB8AC3E}">
        <p14:creationId xmlns:p14="http://schemas.microsoft.com/office/powerpoint/2010/main" val="23418831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2"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zh-CN" dirty="0">
                <a:latin typeface="+mn-lt"/>
                <a:ea typeface="楷体" panose="02010609060101010101" pitchFamily="49" charset="-122"/>
                <a:cs typeface="SimSun"/>
              </a:rPr>
              <a:t>机器学习如何运作？</a:t>
            </a:r>
          </a:p>
        </p:txBody>
      </p:sp>
      <p:sp useBgFill="1">
        <p:nvSpPr>
          <p:cNvPr id="49" name="Rectangle 48"/>
          <p:cNvSpPr>
            <a:spLocks/>
          </p:cNvSpPr>
          <p:nvPr/>
        </p:nvSpPr>
        <p:spPr>
          <a:xfrm>
            <a:off x="203971" y="643689"/>
            <a:ext cx="8448718" cy="5397486"/>
          </a:xfrm>
          <a:prstGeom prst="rect">
            <a:avLst/>
          </a:prstGeom>
          <a:solidFill>
            <a:schemeClr val="bg1">
              <a:lumMod val="95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a:solidFill>
                <a:schemeClr val="tx1"/>
              </a:solidFill>
              <a:ea typeface="楷体" panose="02010609060101010101" pitchFamily="49" charset="-122"/>
            </a:endParaRPr>
          </a:p>
        </p:txBody>
      </p:sp>
      <p:grpSp>
        <p:nvGrpSpPr>
          <p:cNvPr id="43030" name="Group 43029"/>
          <p:cNvGrpSpPr/>
          <p:nvPr/>
        </p:nvGrpSpPr>
        <p:grpSpPr>
          <a:xfrm>
            <a:off x="1193396" y="1345462"/>
            <a:ext cx="7367929" cy="809242"/>
            <a:chOff x="1185384" y="1372894"/>
            <a:chExt cx="7367929" cy="809242"/>
          </a:xfrm>
        </p:grpSpPr>
        <p:pic>
          <p:nvPicPr>
            <p:cNvPr id="113" name="Picture 196"/>
            <p:cNvPicPr>
              <a:picLocks noChangeArrowheads="1"/>
            </p:cNvPicPr>
            <p:nvPr/>
          </p:nvPicPr>
          <p:blipFill rotWithShape="1">
            <a:blip r:embed="rId19" cstate="print">
              <a:extLst>
                <a:ext uri="{28A0092B-C50C-407E-A947-70E740481C1C}">
                  <a14:useLocalDpi xmlns:a14="http://schemas.microsoft.com/office/drawing/2010/main" val="0"/>
                </a:ext>
              </a:extLst>
            </a:blip>
            <a:srcRect l="15767" t="45009" b="15993"/>
            <a:stretch/>
          </p:blipFill>
          <p:spPr bwMode="gray">
            <a:xfrm>
              <a:off x="1185384" y="1376547"/>
              <a:ext cx="1104177" cy="802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9" name="Picture 2" descr="The gradient descent algorithm in action. (2: surface)"/>
            <p:cNvPicPr>
              <a:picLocks noChangeAspect="1" noChangeArrowheads="1"/>
            </p:cNvPicPr>
            <p:nvPr/>
          </p:nvPicPr>
          <p:blipFill rotWithShape="1">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rcRect t="41" b="41"/>
            <a:stretch/>
          </p:blipFill>
          <p:spPr bwMode="auto">
            <a:xfrm>
              <a:off x="5955563" y="1436931"/>
              <a:ext cx="830991" cy="681413"/>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73"/>
            <p:cNvPicPr>
              <a:picLocks noChangeArrowheads="1"/>
            </p:cNvPicPr>
            <p:nvPr/>
          </p:nvPicPr>
          <p:blipFill rotWithShape="1">
            <a:blip r:embed="rId21" cstate="print">
              <a:extLst>
                <a:ext uri="{28A0092B-C50C-407E-A947-70E740481C1C}">
                  <a14:useLocalDpi xmlns:a14="http://schemas.microsoft.com/office/drawing/2010/main" val="0"/>
                </a:ext>
              </a:extLst>
            </a:blip>
            <a:srcRect t="17564" b="21337"/>
            <a:stretch/>
          </p:blipFill>
          <p:spPr bwMode="auto">
            <a:xfrm>
              <a:off x="2634739" y="1376547"/>
              <a:ext cx="1104177" cy="802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1" name="Picture 19" descr="http://littleml.files.wordpress.com/2012/01/screen-shot-2012-01-23-at-10-00-17-am1.png"/>
            <p:cNvPicPr>
              <a:picLocks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231617" y="1376547"/>
              <a:ext cx="1104177" cy="802180"/>
            </a:xfrm>
            <a:prstGeom prst="rect">
              <a:avLst/>
            </a:prstGeom>
            <a:noFill/>
            <a:extLst>
              <a:ext uri="{909E8E84-426E-40DD-AFC4-6F175D3DCCD1}">
                <a14:hiddenFill xmlns:a14="http://schemas.microsoft.com/office/drawing/2010/main">
                  <a:solidFill>
                    <a:srgbClr val="FFFFFF"/>
                  </a:solidFill>
                </a14:hiddenFill>
              </a:ext>
            </a:extLst>
          </p:spPr>
        </p:pic>
        <p:grpSp>
          <p:nvGrpSpPr>
            <p:cNvPr id="43029" name="Group 43028"/>
            <p:cNvGrpSpPr/>
            <p:nvPr/>
          </p:nvGrpSpPr>
          <p:grpSpPr>
            <a:xfrm>
              <a:off x="7143394" y="1372894"/>
              <a:ext cx="1409919" cy="809242"/>
              <a:chOff x="7143394" y="1330646"/>
              <a:chExt cx="1409919" cy="809242"/>
            </a:xfrm>
          </p:grpSpPr>
          <p:pic>
            <p:nvPicPr>
              <p:cNvPr id="122" name="Picture 4" descr="http://www.welaptega.com/wp-content/uploads/2014/09/testing-accuracy.jpg"/>
              <p:cNvPicPr>
                <a:picLocks noChangeAspect="1" noChangeArrowheads="1"/>
              </p:cNvPicPr>
              <p:nvPr/>
            </p:nvPicPr>
            <p:blipFill rotWithShape="1">
              <a:blip r:embed="rId23" cstate="print">
                <a:clrChange>
                  <a:clrFrom>
                    <a:srgbClr val="FFFFFF"/>
                  </a:clrFrom>
                  <a:clrTo>
                    <a:srgbClr val="FFFFFF">
                      <a:alpha val="0"/>
                    </a:srgbClr>
                  </a:clrTo>
                </a:clrChange>
                <a:extLst>
                  <a:ext uri="{28A0092B-C50C-407E-A947-70E740481C1C}">
                    <a14:useLocalDpi xmlns:a14="http://schemas.microsoft.com/office/drawing/2010/main" val="0"/>
                  </a:ext>
                </a:extLst>
              </a:blip>
              <a:srcRect l="8085" r="12826"/>
              <a:stretch/>
            </p:blipFill>
            <p:spPr bwMode="auto">
              <a:xfrm>
                <a:off x="8086035" y="1516272"/>
                <a:ext cx="467278" cy="443116"/>
              </a:xfrm>
              <a:prstGeom prst="rect">
                <a:avLst/>
              </a:prstGeom>
              <a:noFill/>
              <a:extLst>
                <a:ext uri="{909E8E84-426E-40DD-AFC4-6F175D3DCCD1}">
                  <a14:hiddenFill xmlns:a14="http://schemas.microsoft.com/office/drawing/2010/main">
                    <a:solidFill>
                      <a:srgbClr val="FFFFFF"/>
                    </a:solidFill>
                  </a14:hiddenFill>
                </a:ext>
              </a:extLst>
            </p:spPr>
          </p:pic>
          <p:sp>
            <p:nvSpPr>
              <p:cNvPr id="123" name="TextBox 59"/>
              <p:cNvSpPr txBox="1"/>
              <p:nvPr>
                <p:custDataLst>
                  <p:tags r:id="rId16"/>
                </p:custDataLst>
              </p:nvPr>
            </p:nvSpPr>
            <p:spPr>
              <a:xfrm>
                <a:off x="7143394" y="1330646"/>
                <a:ext cx="862765" cy="376892"/>
              </a:xfrm>
              <a:prstGeom prst="rect">
                <a:avLst/>
              </a:prstGeom>
              <a:gradFill flip="none" rotWithShape="1">
                <a:gsLst>
                  <a:gs pos="0">
                    <a:schemeClr val="accent2"/>
                  </a:gs>
                  <a:gs pos="83000">
                    <a:schemeClr val="accent2">
                      <a:lumMod val="60000"/>
                      <a:lumOff val="40000"/>
                    </a:schemeClr>
                  </a:gs>
                  <a:gs pos="100000">
                    <a:schemeClr val="accent2">
                      <a:lumMod val="40000"/>
                      <a:lumOff val="6000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oAutofit/>
              </a:bodyPr>
              <a:lstStyle>
                <a:defPPr>
                  <a:defRPr lang="en-US"/>
                </a:defPPr>
                <a:lvl1pPr>
                  <a:defRPr sz="1400" b="1">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zh-CN" sz="1050" b="0" dirty="0">
                    <a:solidFill>
                      <a:schemeClr val="tx1"/>
                    </a:solidFill>
                    <a:ea typeface="楷体" panose="02010609060101010101" pitchFamily="49" charset="-122"/>
                    <a:cs typeface="SimSun"/>
                  </a:rPr>
                  <a:t>部分原始数据</a:t>
                </a:r>
              </a:p>
            </p:txBody>
          </p:sp>
          <p:sp>
            <p:nvSpPr>
              <p:cNvPr id="124" name="TextBox 59"/>
              <p:cNvSpPr txBox="1"/>
              <p:nvPr>
                <p:custDataLst>
                  <p:tags r:id="rId17"/>
                </p:custDataLst>
              </p:nvPr>
            </p:nvSpPr>
            <p:spPr>
              <a:xfrm>
                <a:off x="7143394" y="1768365"/>
                <a:ext cx="862765" cy="371523"/>
              </a:xfrm>
              <a:prstGeom prst="rect">
                <a:avLst/>
              </a:prstGeom>
              <a:gradFill flip="none" rotWithShape="1">
                <a:gsLst>
                  <a:gs pos="0">
                    <a:schemeClr val="accent2"/>
                  </a:gs>
                  <a:gs pos="83000">
                    <a:schemeClr val="accent2">
                      <a:lumMod val="60000"/>
                      <a:lumOff val="40000"/>
                    </a:schemeClr>
                  </a:gs>
                  <a:gs pos="100000">
                    <a:schemeClr val="accent2">
                      <a:lumMod val="40000"/>
                      <a:lumOff val="6000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oAutofit/>
              </a:bodyPr>
              <a:lstStyle>
                <a:defPPr>
                  <a:defRPr lang="en-US"/>
                </a:defPPr>
                <a:lvl1pPr>
                  <a:defRPr sz="1050" b="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zh-CN" dirty="0">
                    <a:solidFill>
                      <a:schemeClr val="tx1"/>
                    </a:solidFill>
                    <a:ea typeface="楷体" panose="02010609060101010101" pitchFamily="49" charset="-122"/>
                    <a:cs typeface="SimSun"/>
                  </a:rPr>
                  <a:t>生成的数据</a:t>
                </a:r>
              </a:p>
            </p:txBody>
          </p:sp>
        </p:grpSp>
      </p:grpSp>
      <p:grpSp>
        <p:nvGrpSpPr>
          <p:cNvPr id="43010" name="Group 43009"/>
          <p:cNvGrpSpPr/>
          <p:nvPr/>
        </p:nvGrpSpPr>
        <p:grpSpPr>
          <a:xfrm>
            <a:off x="2533272" y="1277300"/>
            <a:ext cx="4465838" cy="4566870"/>
            <a:chOff x="2525260" y="1277299"/>
            <a:chExt cx="4465838" cy="4801889"/>
          </a:xfrm>
        </p:grpSpPr>
        <p:cxnSp>
          <p:nvCxnSpPr>
            <p:cNvPr id="50" name="Straight Connector 49"/>
            <p:cNvCxnSpPr>
              <a:cxnSpLocks/>
            </p:cNvCxnSpPr>
            <p:nvPr/>
          </p:nvCxnSpPr>
          <p:spPr>
            <a:xfrm>
              <a:off x="2525260" y="1277299"/>
              <a:ext cx="0" cy="4801889"/>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a:off x="4013873" y="1277299"/>
              <a:ext cx="0" cy="4801889"/>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p:nvCxnSpPr>
          <p:spPr>
            <a:xfrm>
              <a:off x="5502486" y="1277299"/>
              <a:ext cx="0" cy="4801889"/>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cxnSpLocks/>
            </p:cNvCxnSpPr>
            <p:nvPr/>
          </p:nvCxnSpPr>
          <p:spPr>
            <a:xfrm>
              <a:off x="6991098" y="1277299"/>
              <a:ext cx="0" cy="4801889"/>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grpSp>
        <p:nvGrpSpPr>
          <p:cNvPr id="43020" name="Group 43019"/>
          <p:cNvGrpSpPr>
            <a:grpSpLocks/>
          </p:cNvGrpSpPr>
          <p:nvPr>
            <p:custDataLst>
              <p:tags r:id="rId1"/>
            </p:custDataLst>
          </p:nvPr>
        </p:nvGrpSpPr>
        <p:grpSpPr>
          <a:xfrm>
            <a:off x="1067183" y="754291"/>
            <a:ext cx="1522469" cy="513070"/>
            <a:chOff x="1059171" y="754291"/>
            <a:chExt cx="1553071" cy="513070"/>
          </a:xfrm>
        </p:grpSpPr>
        <p:sp>
          <p:nvSpPr>
            <p:cNvPr id="108" name="Freeform 107"/>
            <p:cNvSpPr/>
            <p:nvPr>
              <p:custDataLst>
                <p:tags r:id="rId14"/>
              </p:custDataLst>
            </p:nvPr>
          </p:nvSpPr>
          <p:spPr>
            <a:xfrm>
              <a:off x="1059171" y="754291"/>
              <a:ext cx="1553071" cy="51307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85021 w 1828800"/>
                <a:gd name="connsiteY5" fmla="*/ 457201 h 914400"/>
                <a:gd name="connsiteX0" fmla="*/ 0 w 1828800"/>
                <a:gd name="connsiteY0" fmla="*/ 150650 h 1065050"/>
                <a:gd name="connsiteX1" fmla="*/ 1743777 w 1828800"/>
                <a:gd name="connsiteY1" fmla="*/ 0 h 1065050"/>
                <a:gd name="connsiteX2" fmla="*/ 1828800 w 1828800"/>
                <a:gd name="connsiteY2" fmla="*/ 607850 h 1065050"/>
                <a:gd name="connsiteX3" fmla="*/ 1730065 w 1828800"/>
                <a:gd name="connsiteY3" fmla="*/ 1065050 h 1065050"/>
                <a:gd name="connsiteX4" fmla="*/ 0 w 1828800"/>
                <a:gd name="connsiteY4" fmla="*/ 1065050 h 1065050"/>
                <a:gd name="connsiteX5" fmla="*/ 85021 w 1828800"/>
                <a:gd name="connsiteY5" fmla="*/ 607851 h 1065050"/>
                <a:gd name="connsiteX0" fmla="*/ 0 w 1828800"/>
                <a:gd name="connsiteY0" fmla="*/ 15065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065050 h 1215700"/>
                <a:gd name="connsiteX5" fmla="*/ 85021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065050 h 1215700"/>
                <a:gd name="connsiteX5" fmla="*/ 85021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85021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0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0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0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85021 w 1828800"/>
                <a:gd name="connsiteY5" fmla="*/ 607850 h 1215700"/>
                <a:gd name="connsiteX0" fmla="*/ 0 w 1828800"/>
                <a:gd name="connsiteY0" fmla="*/ 242822 h 1458522"/>
                <a:gd name="connsiteX1" fmla="*/ 1743777 w 1828800"/>
                <a:gd name="connsiteY1" fmla="*/ 0 h 1458522"/>
                <a:gd name="connsiteX2" fmla="*/ 1828800 w 1828800"/>
                <a:gd name="connsiteY2" fmla="*/ 850672 h 1458522"/>
                <a:gd name="connsiteX3" fmla="*/ 1743777 w 1828800"/>
                <a:gd name="connsiteY3" fmla="*/ 1458522 h 1458522"/>
                <a:gd name="connsiteX4" fmla="*/ 0 w 1828800"/>
                <a:gd name="connsiteY4" fmla="*/ 1458522 h 1458522"/>
                <a:gd name="connsiteX5" fmla="*/ 85021 w 1828800"/>
                <a:gd name="connsiteY5" fmla="*/ 850672 h 1458522"/>
                <a:gd name="connsiteX0" fmla="*/ 0 w 1828800"/>
                <a:gd name="connsiteY0" fmla="*/ 242822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458522 h 1701352"/>
                <a:gd name="connsiteX5" fmla="*/ 85021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458522 h 1701352"/>
                <a:gd name="connsiteX5" fmla="*/ 85021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85021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0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0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0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108749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108749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108749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0 w 1828800"/>
                <a:gd name="connsiteY5" fmla="*/ 850673 h 170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1701352">
                  <a:moveTo>
                    <a:pt x="0" y="0"/>
                  </a:moveTo>
                  <a:lnTo>
                    <a:pt x="1720052" y="0"/>
                  </a:lnTo>
                  <a:lnTo>
                    <a:pt x="1828800" y="850672"/>
                  </a:lnTo>
                  <a:lnTo>
                    <a:pt x="1720052" y="1701352"/>
                  </a:lnTo>
                  <a:lnTo>
                    <a:pt x="0" y="1701348"/>
                  </a:lnTo>
                  <a:lnTo>
                    <a:pt x="0" y="850673"/>
                  </a:lnTo>
                  <a:close/>
                </a:path>
              </a:pathLst>
            </a:cu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lt1"/>
                </a:solidFill>
                <a:ea typeface="楷体" panose="02010609060101010101" pitchFamily="49" charset="-122"/>
              </a:endParaRPr>
            </a:p>
          </p:txBody>
        </p:sp>
        <p:sp>
          <p:nvSpPr>
            <p:cNvPr id="109" name="Rectangle 13"/>
            <p:cNvSpPr txBox="1">
              <a:spLocks/>
            </p:cNvSpPr>
            <p:nvPr>
              <p:custDataLst>
                <p:tags r:id="rId15"/>
              </p:custDataLst>
            </p:nvPr>
          </p:nvSpPr>
          <p:spPr>
            <a:xfrm>
              <a:off x="1109971" y="754291"/>
              <a:ext cx="1409918" cy="513069"/>
            </a:xfrm>
            <a:prstGeom prst="rect">
              <a:avLst/>
            </a:prstGeom>
          </p:spPr>
          <p:txBody>
            <a:bodyPr vert="horz" lIns="0" tIns="0" rIns="0" bIns="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b="1" dirty="0">
                  <a:solidFill>
                    <a:schemeClr val="bg2"/>
                  </a:solidFill>
                  <a:ea typeface="楷体" panose="02010609060101010101" pitchFamily="49" charset="-122"/>
                  <a:cs typeface="SimSun"/>
                </a:rPr>
                <a:t>定义问题</a:t>
              </a:r>
            </a:p>
          </p:txBody>
        </p:sp>
      </p:grpSp>
      <p:grpSp>
        <p:nvGrpSpPr>
          <p:cNvPr id="43033" name="Group 43032"/>
          <p:cNvGrpSpPr/>
          <p:nvPr/>
        </p:nvGrpSpPr>
        <p:grpSpPr>
          <a:xfrm>
            <a:off x="295335" y="2226091"/>
            <a:ext cx="8265990" cy="3618078"/>
            <a:chOff x="287323" y="2317531"/>
            <a:chExt cx="8265990" cy="3618078"/>
          </a:xfrm>
        </p:grpSpPr>
        <p:cxnSp>
          <p:nvCxnSpPr>
            <p:cNvPr id="56" name="Straight Connector 55"/>
            <p:cNvCxnSpPr>
              <a:cxnSpLocks/>
            </p:cNvCxnSpPr>
            <p:nvPr/>
          </p:nvCxnSpPr>
          <p:spPr>
            <a:xfrm>
              <a:off x="1059171" y="3869865"/>
              <a:ext cx="7494142"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43032" name="Group 43031"/>
            <p:cNvGrpSpPr/>
            <p:nvPr/>
          </p:nvGrpSpPr>
          <p:grpSpPr>
            <a:xfrm>
              <a:off x="287323" y="2317531"/>
              <a:ext cx="8173637" cy="1473737"/>
              <a:chOff x="287323" y="2317531"/>
              <a:chExt cx="8173637" cy="1473737"/>
            </a:xfrm>
          </p:grpSpPr>
          <p:sp>
            <p:nvSpPr>
              <p:cNvPr id="55" name="Rectangle 54"/>
              <p:cNvSpPr>
                <a:spLocks/>
              </p:cNvSpPr>
              <p:nvPr/>
            </p:nvSpPr>
            <p:spPr>
              <a:xfrm>
                <a:off x="287323" y="2317531"/>
                <a:ext cx="747359" cy="1473737"/>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sz="1200" b="1" dirty="0">
                    <a:solidFill>
                      <a:schemeClr val="lt1"/>
                    </a:solidFill>
                    <a:ea typeface="楷体" panose="02010609060101010101" pitchFamily="49" charset="-122"/>
                    <a:cs typeface="SimSun"/>
                  </a:rPr>
                  <a:t>关键活动</a:t>
                </a:r>
              </a:p>
            </p:txBody>
          </p:sp>
          <p:grpSp>
            <p:nvGrpSpPr>
              <p:cNvPr id="43031" name="Group 43030"/>
              <p:cNvGrpSpPr>
                <a:grpSpLocks/>
              </p:cNvGrpSpPr>
              <p:nvPr/>
            </p:nvGrpSpPr>
            <p:grpSpPr>
              <a:xfrm>
                <a:off x="1109971" y="2317531"/>
                <a:ext cx="7350989" cy="904928"/>
                <a:chOff x="1109971" y="2317531"/>
                <a:chExt cx="7350989" cy="904928"/>
              </a:xfrm>
            </p:grpSpPr>
            <p:sp>
              <p:nvSpPr>
                <p:cNvPr id="114" name="Rectangle 32"/>
                <p:cNvSpPr txBox="1">
                  <a:spLocks/>
                </p:cNvSpPr>
                <p:nvPr/>
              </p:nvSpPr>
              <p:spPr>
                <a:xfrm>
                  <a:off x="2687592" y="2317531"/>
                  <a:ext cx="1317566" cy="904928"/>
                </a:xfrm>
                <a:prstGeom prst="rect">
                  <a:avLst/>
                </a:prstGeom>
              </p:spPr>
              <p:txBody>
                <a:bodyPr vert="horz" wrap="square" lIns="0" tIns="0" rIns="0" bIns="0" rtlCol="0">
                  <a:spAutoFit/>
                </a:bodyPr>
                <a:lstStyle>
                  <a:defPPr>
                    <a:defRPr lang="en-US"/>
                  </a:defPPr>
                  <a:lvl1pPr marL="0" lvl="0" indent="0" defTabSz="895350" eaLnBrk="1" hangingPunct="1">
                    <a:buClr>
                      <a:schemeClr val="tx2"/>
                    </a:buClr>
                    <a:defRPr baseline="0">
                      <a:latin typeface="+mn-lt"/>
                    </a:defRPr>
                  </a:lvl1pPr>
                  <a:lvl2pPr marL="123825" lvl="1" indent="-122238" defTabSz="895350" eaLnBrk="1" hangingPunct="1">
                    <a:buClr>
                      <a:schemeClr val="tx2"/>
                    </a:buClr>
                    <a:buSzPct val="125000"/>
                    <a:buFont typeface="Arial" charset="0"/>
                    <a:buChar char="▪"/>
                    <a:defRPr sz="9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lnSpc>
                      <a:spcPct val="96000"/>
                    </a:lnSpc>
                    <a:spcBef>
                      <a:spcPct val="10000"/>
                    </a:spcBef>
                  </a:pPr>
                  <a:r>
                    <a:rPr lang="zh-CN" sz="1200" dirty="0">
                      <a:ea typeface="楷体" panose="02010609060101010101" pitchFamily="49" charset="-122"/>
                      <a:cs typeface="SimSun"/>
                    </a:rPr>
                    <a:t>准备（例如，</a:t>
                  </a:r>
                  <a:r>
                    <a:rPr lang="zh-CN" altLang="en-US" sz="1200" dirty="0">
                      <a:ea typeface="楷体" panose="02010609060101010101" pitchFamily="49" charset="-122"/>
                      <a:cs typeface="SimSun"/>
                    </a:rPr>
                    <a:t>连接</a:t>
                  </a:r>
                  <a:r>
                    <a:rPr lang="zh-CN" sz="1200" dirty="0">
                      <a:ea typeface="楷体" panose="02010609060101010101" pitchFamily="49" charset="-122"/>
                      <a:cs typeface="SimSun"/>
                    </a:rPr>
                    <a:t>、构建、清洁）数据</a:t>
                  </a:r>
                </a:p>
                <a:p>
                  <a:pPr lvl="1">
                    <a:lnSpc>
                      <a:spcPct val="96000"/>
                    </a:lnSpc>
                    <a:spcBef>
                      <a:spcPct val="10000"/>
                    </a:spcBef>
                  </a:pPr>
                  <a:r>
                    <a:rPr lang="zh-CN" sz="1200" b="1" dirty="0">
                      <a:solidFill>
                        <a:schemeClr val="tx2"/>
                      </a:solidFill>
                      <a:ea typeface="楷体" panose="02010609060101010101" pitchFamily="49" charset="-122"/>
                      <a:cs typeface="SimSun"/>
                    </a:rPr>
                    <a:t>提取和识别</a:t>
                  </a:r>
                  <a:r>
                    <a:rPr lang="zh-CN" sz="1200" dirty="0">
                      <a:ea typeface="楷体" panose="02010609060101010101" pitchFamily="49" charset="-122"/>
                      <a:cs typeface="SimSun"/>
                    </a:rPr>
                    <a:t>数据集</a:t>
                  </a:r>
                  <a:r>
                    <a:rPr lang="zh-CN" sz="1200" b="1" dirty="0">
                      <a:solidFill>
                        <a:schemeClr val="tx2"/>
                      </a:solidFill>
                      <a:ea typeface="楷体" panose="02010609060101010101" pitchFamily="49" charset="-122"/>
                      <a:cs typeface="SimSun"/>
                    </a:rPr>
                    <a:t>输入</a:t>
                  </a:r>
                </a:p>
              </p:txBody>
            </p:sp>
            <p:sp>
              <p:nvSpPr>
                <p:cNvPr id="115" name="Rectangle 32"/>
                <p:cNvSpPr txBox="1">
                  <a:spLocks/>
                </p:cNvSpPr>
                <p:nvPr/>
              </p:nvSpPr>
              <p:spPr>
                <a:xfrm>
                  <a:off x="4172860" y="2317531"/>
                  <a:ext cx="1317566" cy="550343"/>
                </a:xfrm>
                <a:prstGeom prst="rect">
                  <a:avLst/>
                </a:prstGeom>
              </p:spPr>
              <p:txBody>
                <a:bodyPr vert="horz" wrap="square" lIns="0" tIns="0" rIns="0" bIns="0" rtlCol="0">
                  <a:spAutoFit/>
                </a:bodyPr>
                <a:lstStyle>
                  <a:defPPr>
                    <a:defRPr lang="en-US"/>
                  </a:defPPr>
                  <a:lvl1pPr marL="0" lvl="0" indent="0" defTabSz="895350" eaLnBrk="1" hangingPunct="1">
                    <a:buClr>
                      <a:schemeClr val="tx2"/>
                    </a:buClr>
                    <a:defRPr baseline="0">
                      <a:latin typeface="+mn-lt"/>
                    </a:defRPr>
                  </a:lvl1pPr>
                  <a:lvl2pPr marL="123825" lvl="1" indent="-122238" defTabSz="895350" eaLnBrk="1" hangingPunct="1">
                    <a:buClr>
                      <a:schemeClr val="tx2"/>
                    </a:buClr>
                    <a:buSzPct val="125000"/>
                    <a:buFont typeface="Arial" charset="0"/>
                    <a:buChar char="▪"/>
                    <a:defRPr sz="9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lnSpc>
                      <a:spcPct val="96000"/>
                    </a:lnSpc>
                    <a:spcBef>
                      <a:spcPct val="10000"/>
                    </a:spcBef>
                  </a:pPr>
                  <a:r>
                    <a:rPr lang="zh-CN" sz="1200" dirty="0">
                      <a:ea typeface="楷体" panose="02010609060101010101" pitchFamily="49" charset="-122"/>
                      <a:cs typeface="SimSun"/>
                    </a:rPr>
                    <a:t>确定将会采用的</a:t>
                  </a:r>
                  <a:r>
                    <a:rPr lang="zh-CN" sz="1200" b="1" dirty="0">
                      <a:solidFill>
                        <a:schemeClr val="tx2"/>
                      </a:solidFill>
                      <a:ea typeface="楷体" panose="02010609060101010101" pitchFamily="49" charset="-122"/>
                      <a:cs typeface="SimSun"/>
                    </a:rPr>
                    <a:t>学习类型</a:t>
                  </a:r>
                </a:p>
                <a:p>
                  <a:pPr lvl="1">
                    <a:lnSpc>
                      <a:spcPct val="96000"/>
                    </a:lnSpc>
                    <a:spcBef>
                      <a:spcPct val="10000"/>
                    </a:spcBef>
                  </a:pPr>
                  <a:r>
                    <a:rPr lang="zh-CN" sz="1200" b="1" dirty="0">
                      <a:solidFill>
                        <a:schemeClr val="tx2"/>
                      </a:solidFill>
                      <a:ea typeface="楷体" panose="02010609060101010101" pitchFamily="49" charset="-122"/>
                      <a:cs typeface="SimSun"/>
                    </a:rPr>
                    <a:t>选择算法</a:t>
                  </a:r>
                </a:p>
              </p:txBody>
            </p:sp>
            <p:sp>
              <p:nvSpPr>
                <p:cNvPr id="116" name="Rectangle 32"/>
                <p:cNvSpPr txBox="1">
                  <a:spLocks/>
                </p:cNvSpPr>
                <p:nvPr/>
              </p:nvSpPr>
              <p:spPr>
                <a:xfrm>
                  <a:off x="7143394" y="2317531"/>
                  <a:ext cx="1317566" cy="550343"/>
                </a:xfrm>
                <a:prstGeom prst="rect">
                  <a:avLst/>
                </a:prstGeom>
              </p:spPr>
              <p:txBody>
                <a:bodyPr vert="horz" wrap="square" lIns="0" tIns="0" rIns="0" bIns="0" rtlCol="0">
                  <a:spAutoFit/>
                </a:bodyPr>
                <a:lstStyle>
                  <a:defPPr>
                    <a:defRPr lang="en-US"/>
                  </a:defPPr>
                  <a:lvl1pPr marL="0" lvl="0" indent="0" defTabSz="895350" eaLnBrk="1" hangingPunct="1">
                    <a:buClr>
                      <a:schemeClr val="tx2"/>
                    </a:buClr>
                    <a:defRPr baseline="0">
                      <a:latin typeface="+mn-lt"/>
                    </a:defRPr>
                  </a:lvl1pPr>
                  <a:lvl2pPr marL="123825" lvl="1" indent="-122238" defTabSz="895350" eaLnBrk="1" hangingPunct="1">
                    <a:buClr>
                      <a:schemeClr val="tx2"/>
                    </a:buClr>
                    <a:buSzPct val="125000"/>
                    <a:buFont typeface="Arial" charset="0"/>
                    <a:buChar char="▪"/>
                    <a:defRPr sz="9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lnSpc>
                      <a:spcPct val="96000"/>
                    </a:lnSpc>
                    <a:spcBef>
                      <a:spcPct val="10000"/>
                    </a:spcBef>
                  </a:pPr>
                  <a:r>
                    <a:rPr lang="zh-CN" sz="1200" b="1" dirty="0">
                      <a:solidFill>
                        <a:schemeClr val="tx2"/>
                      </a:solidFill>
                      <a:ea typeface="楷体" panose="02010609060101010101" pitchFamily="49" charset="-122"/>
                      <a:cs typeface="SimSun"/>
                    </a:rPr>
                    <a:t>测试模型</a:t>
                  </a:r>
                </a:p>
                <a:p>
                  <a:pPr lvl="1">
                    <a:lnSpc>
                      <a:spcPct val="96000"/>
                    </a:lnSpc>
                    <a:spcBef>
                      <a:spcPct val="10000"/>
                    </a:spcBef>
                  </a:pPr>
                  <a:r>
                    <a:rPr lang="zh-CN" sz="1200" dirty="0">
                      <a:ea typeface="楷体" panose="02010609060101010101" pitchFamily="49" charset="-122"/>
                      <a:cs typeface="SimSun"/>
                    </a:rPr>
                    <a:t>如有必要</a:t>
                  </a:r>
                  <a:r>
                    <a:rPr lang="zh-CN" sz="1200" b="1" dirty="0">
                      <a:solidFill>
                        <a:schemeClr val="tx2"/>
                      </a:solidFill>
                      <a:ea typeface="楷体" panose="02010609060101010101" pitchFamily="49" charset="-122"/>
                      <a:cs typeface="SimSun"/>
                    </a:rPr>
                    <a:t>对模型进行再训练</a:t>
                  </a:r>
                </a:p>
              </p:txBody>
            </p:sp>
            <p:sp>
              <p:nvSpPr>
                <p:cNvPr id="117" name="Rectangle 94"/>
                <p:cNvSpPr txBox="1">
                  <a:spLocks/>
                </p:cNvSpPr>
                <p:nvPr/>
              </p:nvSpPr>
              <p:spPr>
                <a:xfrm>
                  <a:off x="1109971" y="2317531"/>
                  <a:ext cx="1409918" cy="354584"/>
                </a:xfrm>
                <a:prstGeom prst="rect">
                  <a:avLst/>
                </a:prstGeom>
              </p:spPr>
              <p:txBody>
                <a:bodyPr vert="horz" wrap="square" lIns="0" tIns="0" rIns="0" bIns="0"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lnSpc>
                      <a:spcPct val="96000"/>
                    </a:lnSpc>
                    <a:spcBef>
                      <a:spcPct val="10000"/>
                    </a:spcBef>
                  </a:pPr>
                  <a:r>
                    <a:rPr lang="zh-CN" sz="1200" dirty="0">
                      <a:ea typeface="楷体" panose="02010609060101010101" pitchFamily="49" charset="-122"/>
                      <a:cs typeface="SimSun"/>
                    </a:rPr>
                    <a:t>工作人员定义问题和业务需求</a:t>
                  </a:r>
                </a:p>
              </p:txBody>
            </p:sp>
            <p:sp>
              <p:nvSpPr>
                <p:cNvPr id="118" name="Rectangle 32"/>
                <p:cNvSpPr txBox="1">
                  <a:spLocks/>
                </p:cNvSpPr>
                <p:nvPr/>
              </p:nvSpPr>
              <p:spPr>
                <a:xfrm>
                  <a:off x="5658128" y="2317531"/>
                  <a:ext cx="1317566" cy="764568"/>
                </a:xfrm>
                <a:prstGeom prst="rect">
                  <a:avLst/>
                </a:prstGeom>
              </p:spPr>
              <p:txBody>
                <a:bodyPr vert="horz" wrap="square" lIns="0" tIns="0" rIns="0" bIns="0" rtlCol="0">
                  <a:spAutoFit/>
                </a:bodyPr>
                <a:lstStyle>
                  <a:defPPr>
                    <a:defRPr lang="en-US"/>
                  </a:defPPr>
                  <a:lvl1pPr marL="0" lvl="0" indent="0" defTabSz="895350" eaLnBrk="1" hangingPunct="1">
                    <a:buClr>
                      <a:schemeClr val="tx2"/>
                    </a:buClr>
                    <a:defRPr baseline="0">
                      <a:latin typeface="+mn-lt"/>
                    </a:defRPr>
                  </a:lvl1pPr>
                  <a:lvl2pPr marL="123825" lvl="1" indent="-122238" defTabSz="895350" eaLnBrk="1" hangingPunct="1">
                    <a:buClr>
                      <a:schemeClr val="tx2"/>
                    </a:buClr>
                    <a:buSzPct val="125000"/>
                    <a:buFont typeface="Arial" charset="0"/>
                    <a:buChar char="▪"/>
                    <a:defRPr sz="9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lnSpc>
                      <a:spcPct val="96000"/>
                    </a:lnSpc>
                    <a:spcBef>
                      <a:spcPct val="10000"/>
                    </a:spcBef>
                  </a:pPr>
                  <a:r>
                    <a:rPr lang="zh-CN" sz="1200" dirty="0">
                      <a:ea typeface="楷体" panose="02010609060101010101" pitchFamily="49" charset="-122"/>
                      <a:cs typeface="SimSun"/>
                    </a:rPr>
                    <a:t>运行算法</a:t>
                  </a:r>
                </a:p>
                <a:p>
                  <a:pPr lvl="1">
                    <a:lnSpc>
                      <a:spcPct val="96000"/>
                    </a:lnSpc>
                    <a:spcBef>
                      <a:spcPct val="10000"/>
                    </a:spcBef>
                  </a:pPr>
                  <a:r>
                    <a:rPr lang="zh-CN" sz="1200" dirty="0">
                      <a:ea typeface="楷体" panose="02010609060101010101" pitchFamily="49" charset="-122"/>
                      <a:cs typeface="SimSun"/>
                    </a:rPr>
                    <a:t>估计精确率</a:t>
                  </a:r>
                </a:p>
                <a:p>
                  <a:pPr lvl="1">
                    <a:lnSpc>
                      <a:spcPct val="96000"/>
                    </a:lnSpc>
                    <a:spcBef>
                      <a:spcPct val="10000"/>
                    </a:spcBef>
                  </a:pPr>
                  <a:r>
                    <a:rPr lang="zh-CN" sz="1200" dirty="0">
                      <a:ea typeface="楷体" panose="02010609060101010101" pitchFamily="49" charset="-122"/>
                      <a:cs typeface="SimSun"/>
                    </a:rPr>
                    <a:t>进一步完善模型</a:t>
                  </a:r>
                </a:p>
                <a:p>
                  <a:pPr lvl="1">
                    <a:lnSpc>
                      <a:spcPct val="96000"/>
                    </a:lnSpc>
                    <a:spcBef>
                      <a:spcPct val="10000"/>
                    </a:spcBef>
                  </a:pPr>
                  <a:r>
                    <a:rPr lang="zh-CN" sz="1200" dirty="0">
                      <a:ea typeface="楷体" panose="02010609060101010101" pitchFamily="49" charset="-122"/>
                      <a:cs typeface="SimSun"/>
                    </a:rPr>
                    <a:t>选择最佳模型</a:t>
                  </a:r>
                </a:p>
              </p:txBody>
            </p:sp>
          </p:grpSp>
        </p:grpSp>
        <p:grpSp>
          <p:nvGrpSpPr>
            <p:cNvPr id="43028" name="Group 43027"/>
            <p:cNvGrpSpPr/>
            <p:nvPr/>
          </p:nvGrpSpPr>
          <p:grpSpPr>
            <a:xfrm>
              <a:off x="287323" y="3948462"/>
              <a:ext cx="8173637" cy="1987147"/>
              <a:chOff x="287323" y="3948462"/>
              <a:chExt cx="8173637" cy="1987147"/>
            </a:xfrm>
          </p:grpSpPr>
          <p:sp>
            <p:nvSpPr>
              <p:cNvPr id="54" name="Rectangle 53"/>
              <p:cNvSpPr>
                <a:spLocks/>
              </p:cNvSpPr>
              <p:nvPr/>
            </p:nvSpPr>
            <p:spPr>
              <a:xfrm>
                <a:off x="287323" y="3948462"/>
                <a:ext cx="747359" cy="1987147"/>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sz="1200" b="1" dirty="0">
                    <a:solidFill>
                      <a:schemeClr val="lt1"/>
                    </a:solidFill>
                    <a:ea typeface="楷体" panose="02010609060101010101" pitchFamily="49" charset="-122"/>
                    <a:cs typeface="SimSun"/>
                  </a:rPr>
                  <a:t>Gmail垃圾邮件侦测示例</a:t>
                </a:r>
              </a:p>
            </p:txBody>
          </p:sp>
          <p:grpSp>
            <p:nvGrpSpPr>
              <p:cNvPr id="43027" name="Group 43026"/>
              <p:cNvGrpSpPr>
                <a:grpSpLocks/>
              </p:cNvGrpSpPr>
              <p:nvPr/>
            </p:nvGrpSpPr>
            <p:grpSpPr>
              <a:xfrm>
                <a:off x="1109971" y="3948462"/>
                <a:ext cx="7350989" cy="1082219"/>
                <a:chOff x="1109971" y="3948462"/>
                <a:chExt cx="7350989" cy="1082219"/>
              </a:xfrm>
            </p:grpSpPr>
            <p:sp>
              <p:nvSpPr>
                <p:cNvPr id="125" name="Rectangle 32"/>
                <p:cNvSpPr txBox="1">
                  <a:spLocks/>
                </p:cNvSpPr>
                <p:nvPr/>
              </p:nvSpPr>
              <p:spPr>
                <a:xfrm>
                  <a:off x="2687592" y="3948462"/>
                  <a:ext cx="1317566" cy="550343"/>
                </a:xfrm>
                <a:prstGeom prst="rect">
                  <a:avLst/>
                </a:prstGeom>
              </p:spPr>
              <p:txBody>
                <a:bodyPr vert="horz" wrap="square" lIns="0" tIns="0" rIns="0" bIns="0" rtlCol="0">
                  <a:spAutoFit/>
                </a:bodyPr>
                <a:lstStyle>
                  <a:defPPr>
                    <a:defRPr lang="en-US"/>
                  </a:defPPr>
                  <a:lvl1pPr marL="0" lvl="0" indent="0" defTabSz="895350" eaLnBrk="1" hangingPunct="1">
                    <a:buClr>
                      <a:schemeClr val="tx2"/>
                    </a:buClr>
                    <a:defRPr baseline="0">
                      <a:latin typeface="+mn-lt"/>
                    </a:defRPr>
                  </a:lvl1pPr>
                  <a:lvl2pPr marL="123825" lvl="1" indent="-122238" defTabSz="895350" eaLnBrk="1" hangingPunct="1">
                    <a:buClr>
                      <a:schemeClr val="tx2"/>
                    </a:buClr>
                    <a:buSzPct val="125000"/>
                    <a:buFont typeface="Arial" charset="0"/>
                    <a:buChar char="▪"/>
                    <a:defRPr sz="9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lnSpc>
                      <a:spcPct val="96000"/>
                    </a:lnSpc>
                    <a:spcBef>
                      <a:spcPct val="10000"/>
                    </a:spcBef>
                  </a:pPr>
                  <a:r>
                    <a:rPr lang="zh-CN" sz="1200" dirty="0">
                      <a:ea typeface="楷体" panose="02010609060101010101" pitchFamily="49" charset="-122"/>
                      <a:cs typeface="SimSun"/>
                    </a:rPr>
                    <a:t>含提取特征的电子邮件数据库</a:t>
                  </a:r>
                </a:p>
                <a:p>
                  <a:pPr lvl="1">
                    <a:lnSpc>
                      <a:spcPct val="96000"/>
                    </a:lnSpc>
                    <a:spcBef>
                      <a:spcPct val="10000"/>
                    </a:spcBef>
                  </a:pPr>
                  <a:r>
                    <a:rPr lang="zh-CN" sz="1200" dirty="0">
                      <a:ea typeface="楷体" panose="02010609060101010101" pitchFamily="49" charset="-122"/>
                      <a:cs typeface="SimSun"/>
                    </a:rPr>
                    <a:t>用户行为数据库</a:t>
                  </a:r>
                </a:p>
              </p:txBody>
            </p:sp>
            <p:sp>
              <p:nvSpPr>
                <p:cNvPr id="126" name="Rectangle 32"/>
                <p:cNvSpPr txBox="1">
                  <a:spLocks/>
                </p:cNvSpPr>
                <p:nvPr/>
              </p:nvSpPr>
              <p:spPr>
                <a:xfrm>
                  <a:off x="4172860" y="3948462"/>
                  <a:ext cx="1317566" cy="709168"/>
                </a:xfrm>
                <a:prstGeom prst="rect">
                  <a:avLst/>
                </a:prstGeom>
              </p:spPr>
              <p:txBody>
                <a:bodyPr vert="horz" wrap="square" lIns="0" tIns="0" rIns="0" bIns="0" rtlCol="0">
                  <a:spAutoFit/>
                </a:bodyPr>
                <a:lstStyle>
                  <a:defPPr>
                    <a:defRPr lang="en-US"/>
                  </a:defPPr>
                  <a:lvl1pPr marL="0" lvl="0" indent="0" defTabSz="895350" eaLnBrk="1" hangingPunct="1">
                    <a:buClr>
                      <a:schemeClr val="tx2"/>
                    </a:buClr>
                    <a:defRPr baseline="0">
                      <a:latin typeface="+mn-lt"/>
                    </a:defRPr>
                  </a:lvl1pPr>
                  <a:lvl2pPr marL="123825" lvl="1" indent="-122238" defTabSz="895350" eaLnBrk="1" hangingPunct="1">
                    <a:buClr>
                      <a:schemeClr val="tx2"/>
                    </a:buClr>
                    <a:buSzPct val="125000"/>
                    <a:buFont typeface="Arial" charset="0"/>
                    <a:buChar char="▪"/>
                    <a:defRPr sz="9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lnSpc>
                      <a:spcPct val="96000"/>
                    </a:lnSpc>
                    <a:spcBef>
                      <a:spcPct val="10000"/>
                    </a:spcBef>
                  </a:pPr>
                  <a:r>
                    <a:rPr lang="zh-CN" sz="1200" dirty="0">
                      <a:ea typeface="楷体" panose="02010609060101010101" pitchFamily="49" charset="-122"/>
                      <a:cs typeface="SimSun"/>
                    </a:rPr>
                    <a:t>谷歌</a:t>
                  </a:r>
                  <a:r>
                    <a:rPr lang="zh-CN" altLang="en-US" sz="1200" dirty="0">
                      <a:ea typeface="楷体" panose="02010609060101010101" pitchFamily="49" charset="-122"/>
                      <a:cs typeface="SimSun"/>
                    </a:rPr>
                    <a:t>利用</a:t>
                  </a:r>
                  <a:r>
                    <a:rPr lang="zh-CN" sz="1200" dirty="0">
                      <a:ea typeface="楷体" panose="02010609060101010101" pitchFamily="49" charset="-122"/>
                      <a:cs typeface="SimSun"/>
                    </a:rPr>
                    <a:t>一个模型组合</a:t>
                  </a:r>
                  <a:r>
                    <a:rPr lang="zh-CN" altLang="en-US" sz="1200" dirty="0">
                      <a:ea typeface="楷体" panose="02010609060101010101" pitchFamily="49" charset="-122"/>
                      <a:cs typeface="SimSun"/>
                    </a:rPr>
                    <a:t>进行</a:t>
                  </a:r>
                  <a:r>
                    <a:rPr lang="zh-CN" sz="1200" dirty="0">
                      <a:ea typeface="楷体" panose="02010609060101010101" pitchFamily="49" charset="-122"/>
                      <a:cs typeface="SimSun"/>
                    </a:rPr>
                    <a:t>半监督学习（包括决策树和神经系统）</a:t>
                  </a:r>
                </a:p>
              </p:txBody>
            </p:sp>
            <p:sp>
              <p:nvSpPr>
                <p:cNvPr id="127" name="Rectangle 32"/>
                <p:cNvSpPr txBox="1">
                  <a:spLocks/>
                </p:cNvSpPr>
                <p:nvPr/>
              </p:nvSpPr>
              <p:spPr>
                <a:xfrm>
                  <a:off x="5658128" y="3948462"/>
                  <a:ext cx="1317566" cy="531877"/>
                </a:xfrm>
                <a:prstGeom prst="rect">
                  <a:avLst/>
                </a:prstGeom>
              </p:spPr>
              <p:txBody>
                <a:bodyPr vert="horz" wrap="square" lIns="0" tIns="0" rIns="0" bIns="0" rtlCol="0">
                  <a:spAutoFit/>
                </a:bodyPr>
                <a:lstStyle>
                  <a:defPPr>
                    <a:defRPr lang="en-US"/>
                  </a:defPPr>
                  <a:lvl1pPr marL="0" lvl="0" indent="0" defTabSz="895350" eaLnBrk="1" hangingPunct="1">
                    <a:buClr>
                      <a:schemeClr val="tx2"/>
                    </a:buClr>
                    <a:defRPr baseline="0">
                      <a:latin typeface="+mn-lt"/>
                    </a:defRPr>
                  </a:lvl1pPr>
                  <a:lvl2pPr marL="123825" lvl="1" indent="-122238" defTabSz="895350" eaLnBrk="1" hangingPunct="1">
                    <a:buClr>
                      <a:schemeClr val="tx2"/>
                    </a:buClr>
                    <a:buSzPct val="125000"/>
                    <a:buFont typeface="Arial" charset="0"/>
                    <a:buChar char="▪"/>
                    <a:defRPr sz="9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lnSpc>
                      <a:spcPct val="96000"/>
                    </a:lnSpc>
                    <a:spcBef>
                      <a:spcPct val="10000"/>
                    </a:spcBef>
                  </a:pPr>
                  <a:r>
                    <a:rPr lang="zh-CN" sz="1200" dirty="0">
                      <a:ea typeface="楷体" panose="02010609060101010101" pitchFamily="49" charset="-122"/>
                      <a:cs typeface="SimSun"/>
                    </a:rPr>
                    <a:t>模型自动将信息</a:t>
                  </a:r>
                  <a:r>
                    <a:rPr lang="zh-CN" altLang="en-US" sz="1200" dirty="0">
                      <a:ea typeface="楷体" panose="02010609060101010101" pitchFamily="49" charset="-122"/>
                      <a:cs typeface="SimSun"/>
                    </a:rPr>
                    <a:t>分类</a:t>
                  </a:r>
                  <a:r>
                    <a:rPr lang="zh-CN" sz="1200" dirty="0">
                      <a:ea typeface="楷体" panose="02010609060101010101" pitchFamily="49" charset="-122"/>
                      <a:cs typeface="SimSun"/>
                    </a:rPr>
                    <a:t>为垃圾和非垃圾邮件</a:t>
                  </a:r>
                </a:p>
              </p:txBody>
            </p:sp>
            <p:sp>
              <p:nvSpPr>
                <p:cNvPr id="128" name="Rectangle 32"/>
                <p:cNvSpPr txBox="1">
                  <a:spLocks/>
                </p:cNvSpPr>
                <p:nvPr/>
              </p:nvSpPr>
              <p:spPr>
                <a:xfrm>
                  <a:off x="7143394" y="3948462"/>
                  <a:ext cx="1317566" cy="1082219"/>
                </a:xfrm>
                <a:prstGeom prst="rect">
                  <a:avLst/>
                </a:prstGeom>
              </p:spPr>
              <p:txBody>
                <a:bodyPr vert="horz" wrap="square" lIns="0" tIns="0" rIns="0" bIns="0" rtlCol="0">
                  <a:spAutoFit/>
                </a:bodyPr>
                <a:lstStyle>
                  <a:defPPr>
                    <a:defRPr lang="en-US"/>
                  </a:defPPr>
                  <a:lvl1pPr marL="0" lvl="0" indent="0" defTabSz="895350" eaLnBrk="1" hangingPunct="1">
                    <a:buClr>
                      <a:schemeClr val="tx2"/>
                    </a:buClr>
                    <a:defRPr baseline="0">
                      <a:latin typeface="+mn-lt"/>
                    </a:defRPr>
                  </a:lvl1pPr>
                  <a:lvl2pPr marL="123825" lvl="1" indent="-122238" defTabSz="895350" eaLnBrk="1" hangingPunct="1">
                    <a:buClr>
                      <a:schemeClr val="tx2"/>
                    </a:buClr>
                    <a:buSzPct val="125000"/>
                    <a:buFont typeface="Arial" charset="0"/>
                    <a:buChar char="▪"/>
                    <a:defRPr sz="9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lnSpc>
                      <a:spcPct val="96000"/>
                    </a:lnSpc>
                    <a:spcBef>
                      <a:spcPct val="10000"/>
                    </a:spcBef>
                  </a:pPr>
                  <a:r>
                    <a:rPr lang="zh-CN" sz="1200" dirty="0">
                      <a:ea typeface="楷体" panose="02010609060101010101" pitchFamily="49" charset="-122"/>
                      <a:cs typeface="SimSun"/>
                    </a:rPr>
                    <a:t>垃圾邮件侦测过滤器</a:t>
                  </a:r>
                  <a:r>
                    <a:rPr lang="zh-CN" altLang="en-US" sz="1200" dirty="0">
                      <a:ea typeface="楷体" panose="02010609060101010101" pitchFamily="49" charset="-122"/>
                      <a:cs typeface="SimSun"/>
                    </a:rPr>
                    <a:t>根据</a:t>
                  </a:r>
                  <a:r>
                    <a:rPr lang="zh-CN" sz="1200" dirty="0">
                      <a:ea typeface="楷体" panose="02010609060101010101" pitchFamily="49" charset="-122"/>
                      <a:cs typeface="SimSun"/>
                    </a:rPr>
                    <a:t>用户反馈不断改善</a:t>
                  </a:r>
                </a:p>
                <a:p>
                  <a:pPr lvl="1">
                    <a:lnSpc>
                      <a:spcPct val="96000"/>
                    </a:lnSpc>
                    <a:spcBef>
                      <a:spcPct val="10000"/>
                    </a:spcBef>
                  </a:pPr>
                  <a:r>
                    <a:rPr lang="zh-CN" altLang="en-US" sz="1200" dirty="0">
                      <a:ea typeface="楷体" panose="02010609060101010101" pitchFamily="49" charset="-122"/>
                      <a:cs typeface="SimSun"/>
                    </a:rPr>
                    <a:t>据</a:t>
                  </a:r>
                  <a:r>
                    <a:rPr lang="zh-CN" sz="1200" dirty="0">
                      <a:ea typeface="楷体" panose="02010609060101010101" pitchFamily="49" charset="-122"/>
                      <a:cs typeface="SimSun"/>
                    </a:rPr>
                    <a:t>谷歌报告</a:t>
                  </a:r>
                  <a:r>
                    <a:rPr lang="zh-CN" altLang="en-US" sz="1200" dirty="0">
                      <a:ea typeface="楷体" panose="02010609060101010101" pitchFamily="49" charset="-122"/>
                      <a:cs typeface="SimSun"/>
                    </a:rPr>
                    <a:t>，</a:t>
                  </a:r>
                  <a:r>
                    <a:rPr lang="zh-CN" sz="1200" dirty="0">
                      <a:ea typeface="楷体" panose="02010609060101010101" pitchFamily="49" charset="-122"/>
                      <a:cs typeface="SimSun"/>
                    </a:rPr>
                    <a:t>成功率达到99%以上</a:t>
                  </a:r>
                </a:p>
              </p:txBody>
            </p:sp>
            <p:sp>
              <p:nvSpPr>
                <p:cNvPr id="129" name="Rectangle 63492"/>
                <p:cNvSpPr txBox="1">
                  <a:spLocks/>
                </p:cNvSpPr>
                <p:nvPr/>
              </p:nvSpPr>
              <p:spPr>
                <a:xfrm>
                  <a:off x="1109971" y="3948462"/>
                  <a:ext cx="1409918" cy="1082219"/>
                </a:xfrm>
                <a:prstGeom prst="rect">
                  <a:avLst/>
                </a:prstGeom>
              </p:spPr>
              <p:txBody>
                <a:bodyPr vert="horz" wrap="square" lIns="0" tIns="0" rIns="0" bIns="0"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lnSpc>
                      <a:spcPct val="96000"/>
                    </a:lnSpc>
                    <a:spcBef>
                      <a:spcPct val="10000"/>
                    </a:spcBef>
                  </a:pPr>
                  <a:r>
                    <a:rPr lang="zh-CN" sz="1200" dirty="0">
                      <a:ea typeface="楷体" panose="02010609060101010101" pitchFamily="49" charset="-122"/>
                      <a:cs typeface="SimSun"/>
                    </a:rPr>
                    <a:t>我们如何在</a:t>
                  </a:r>
                  <a:r>
                    <a:rPr lang="zh-CN" altLang="en-US" sz="1200" dirty="0">
                      <a:ea typeface="楷体" panose="02010609060101010101" pitchFamily="49" charset="-122"/>
                      <a:cs typeface="SimSun"/>
                    </a:rPr>
                    <a:t>发送</a:t>
                  </a:r>
                  <a:r>
                    <a:rPr lang="zh-CN" sz="1200" dirty="0">
                      <a:ea typeface="楷体" panose="02010609060101010101" pitchFamily="49" charset="-122"/>
                      <a:cs typeface="SimSun"/>
                    </a:rPr>
                    <a:t>相关内容的同时确保用户不会看到垃圾邮件？</a:t>
                  </a:r>
                </a:p>
                <a:p>
                  <a:pPr lvl="1">
                    <a:lnSpc>
                      <a:spcPct val="96000"/>
                    </a:lnSpc>
                    <a:spcBef>
                      <a:spcPct val="10000"/>
                    </a:spcBef>
                  </a:pPr>
                  <a:r>
                    <a:rPr lang="zh-CN" sz="1200" dirty="0">
                      <a:ea typeface="楷体" panose="02010609060101010101" pitchFamily="49" charset="-122"/>
                      <a:cs typeface="SimSun"/>
                    </a:rPr>
                    <a:t>如何确保体现用户</a:t>
                  </a:r>
                  <a:r>
                    <a:rPr lang="zh-CN" altLang="en-US" sz="1200" dirty="0">
                      <a:ea typeface="楷体" panose="02010609060101010101" pitchFamily="49" charset="-122"/>
                      <a:cs typeface="SimSun"/>
                    </a:rPr>
                    <a:t>个人</a:t>
                  </a:r>
                  <a:r>
                    <a:rPr lang="zh-CN" sz="1200" dirty="0">
                      <a:ea typeface="楷体" panose="02010609060101010101" pitchFamily="49" charset="-122"/>
                      <a:cs typeface="SimSun"/>
                    </a:rPr>
                    <a:t>偏好？</a:t>
                  </a:r>
                </a:p>
              </p:txBody>
            </p:sp>
          </p:grpSp>
        </p:grpSp>
      </p:grpSp>
      <p:sp>
        <p:nvSpPr>
          <p:cNvPr id="45" name="AutoShape 8"/>
          <p:cNvSpPr>
            <a:spLocks noChangeArrowheads="1"/>
          </p:cNvSpPr>
          <p:nvPr/>
        </p:nvSpPr>
        <p:spPr bwMode="gray">
          <a:xfrm>
            <a:off x="2843602" y="5902676"/>
            <a:ext cx="2954655" cy="276999"/>
          </a:xfrm>
          <a:prstGeom prst="rect">
            <a:avLst/>
          </a:prstGeom>
          <a:gradFill flip="none" rotWithShape="1">
            <a:gsLst>
              <a:gs pos="0">
                <a:schemeClr val="accent3"/>
              </a:gs>
              <a:gs pos="100000">
                <a:schemeClr val="tx2"/>
              </a:gs>
            </a:gsLst>
            <a:lin ang="2700000" scaled="1"/>
            <a:tileRect/>
          </a:gradFill>
          <a:ln w="12700">
            <a:noFill/>
            <a:miter lim="800000"/>
            <a:headEnd/>
            <a:tailEnd/>
          </a:ln>
          <a:effectLst>
            <a:outerShdw blurRad="50800" dist="38100" dir="2700000" algn="tl" rotWithShape="0">
              <a:prstClr val="black">
                <a:alpha val="40000"/>
              </a:prstClr>
            </a:outerShdw>
          </a:effectLst>
        </p:spPr>
        <p:txBody>
          <a:bodyPr wrap="none" anchor="ctr">
            <a:spAutoFit/>
          </a:bodyPr>
          <a:lstStyle/>
          <a:p>
            <a:r>
              <a:rPr lang="zh-CN" sz="1200" b="1" dirty="0">
                <a:solidFill>
                  <a:schemeClr val="bg1"/>
                </a:solidFill>
                <a:latin typeface="+mn-lt"/>
                <a:ea typeface="楷体" panose="02010609060101010101" pitchFamily="49" charset="-122"/>
                <a:cs typeface="SimSun"/>
              </a:rPr>
              <a:t>在实际操作中，以上流程通常</a:t>
            </a:r>
            <a:r>
              <a:rPr lang="zh-CN" altLang="en-US" sz="1200" b="1" dirty="0">
                <a:solidFill>
                  <a:schemeClr val="bg1"/>
                </a:solidFill>
                <a:latin typeface="+mn-lt"/>
                <a:ea typeface="楷体" panose="02010609060101010101" pitchFamily="49" charset="-122"/>
                <a:cs typeface="SimSun"/>
              </a:rPr>
              <a:t>是</a:t>
            </a:r>
            <a:r>
              <a:rPr lang="zh-CN" sz="1200" b="1" dirty="0">
                <a:solidFill>
                  <a:schemeClr val="bg1"/>
                </a:solidFill>
                <a:latin typeface="+mn-lt"/>
                <a:ea typeface="楷体" panose="02010609060101010101" pitchFamily="49" charset="-122"/>
                <a:cs typeface="SimSun"/>
              </a:rPr>
              <a:t>迭代进行</a:t>
            </a:r>
          </a:p>
        </p:txBody>
      </p:sp>
      <p:sp>
        <p:nvSpPr>
          <p:cNvPr id="60" name="5. Source"/>
          <p:cNvSpPr>
            <a:spLocks noChangeArrowheads="1"/>
          </p:cNvSpPr>
          <p:nvPr/>
        </p:nvSpPr>
        <p:spPr bwMode="auto">
          <a:xfrm>
            <a:off x="119062" y="6358037"/>
            <a:ext cx="714338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12775" indent="-612775" defTabSz="895350"/>
            <a:r>
              <a:rPr lang="zh-CN" sz="1000" dirty="0">
                <a:latin typeface="+mn-lt"/>
                <a:ea typeface="楷体" panose="02010609060101010101" pitchFamily="49" charset="-122"/>
                <a:cs typeface="SimSun"/>
              </a:rPr>
              <a:t>资料来源：小组分析；Taylor B.等人(2007年)。反垃圾邮件之战：前线</a:t>
            </a:r>
            <a:r>
              <a:rPr lang="zh-CN" altLang="en-US" sz="1000" dirty="0">
                <a:latin typeface="+mn-lt"/>
                <a:ea typeface="楷体" panose="02010609060101010101" pitchFamily="49" charset="-122"/>
                <a:cs typeface="SimSun"/>
              </a:rPr>
              <a:t>战报</a:t>
            </a:r>
            <a:r>
              <a:rPr lang="zh-CN" sz="1000" dirty="0">
                <a:latin typeface="+mn-lt"/>
                <a:ea typeface="楷体" panose="02010609060101010101" pitchFamily="49" charset="-122"/>
                <a:cs typeface="SimSun"/>
              </a:rPr>
              <a:t>，神经信息处理系统；Somanchi, S. H. (2015年)。</a:t>
            </a:r>
            <a:r>
              <a:rPr lang="en-US" altLang="zh-CN" sz="1000" dirty="0">
                <a:latin typeface="+mn-lt"/>
                <a:ea typeface="楷体" panose="02010609060101010101" pitchFamily="49" charset="-122"/>
                <a:cs typeface="SimSun"/>
              </a:rPr>
              <a:t>《</a:t>
            </a:r>
            <a:r>
              <a:rPr lang="zh-CN" altLang="en-US" sz="1000" dirty="0">
                <a:latin typeface="+mn-lt"/>
                <a:ea typeface="楷体" panose="02010609060101010101" pitchFamily="49" charset="-122"/>
                <a:cs typeface="SimSun"/>
              </a:rPr>
              <a:t>邮件行，垃圾邮件停</a:t>
            </a:r>
            <a:r>
              <a:rPr lang="en-US" altLang="zh-CN" sz="1000" dirty="0">
                <a:latin typeface="+mn-lt"/>
                <a:ea typeface="楷体" panose="02010609060101010101" pitchFamily="49" charset="-122"/>
                <a:cs typeface="SimSun"/>
              </a:rPr>
              <a:t>》</a:t>
            </a:r>
            <a:endParaRPr lang="zh-CN" sz="1000" dirty="0">
              <a:latin typeface="+mn-lt"/>
              <a:ea typeface="楷体" panose="02010609060101010101" pitchFamily="49" charset="-122"/>
              <a:cs typeface="SimSun"/>
            </a:endParaRPr>
          </a:p>
        </p:txBody>
      </p:sp>
      <p:grpSp>
        <p:nvGrpSpPr>
          <p:cNvPr id="43017" name="Group 43016"/>
          <p:cNvGrpSpPr>
            <a:grpSpLocks/>
          </p:cNvGrpSpPr>
          <p:nvPr>
            <p:custDataLst>
              <p:tags r:id="rId2"/>
            </p:custDataLst>
          </p:nvPr>
        </p:nvGrpSpPr>
        <p:grpSpPr>
          <a:xfrm>
            <a:off x="2556276" y="754291"/>
            <a:ext cx="1522469" cy="513070"/>
            <a:chOff x="2544439" y="754291"/>
            <a:chExt cx="1553071" cy="513070"/>
          </a:xfrm>
        </p:grpSpPr>
        <p:sp>
          <p:nvSpPr>
            <p:cNvPr id="58" name="Freeform 57"/>
            <p:cNvSpPr/>
            <p:nvPr>
              <p:custDataLst>
                <p:tags r:id="rId12"/>
              </p:custDataLst>
            </p:nvPr>
          </p:nvSpPr>
          <p:spPr>
            <a:xfrm>
              <a:off x="2544439" y="754291"/>
              <a:ext cx="1553071" cy="51307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150650 h 1065050"/>
                <a:gd name="connsiteX1" fmla="*/ 1743777 w 1828800"/>
                <a:gd name="connsiteY1" fmla="*/ 0 h 1065050"/>
                <a:gd name="connsiteX2" fmla="*/ 1828800 w 1828800"/>
                <a:gd name="connsiteY2" fmla="*/ 607850 h 1065050"/>
                <a:gd name="connsiteX3" fmla="*/ 1730065 w 1828800"/>
                <a:gd name="connsiteY3" fmla="*/ 1065050 h 1065050"/>
                <a:gd name="connsiteX4" fmla="*/ 0 w 1828800"/>
                <a:gd name="connsiteY4" fmla="*/ 1065050 h 1065050"/>
                <a:gd name="connsiteX5" fmla="*/ 0 w 1828800"/>
                <a:gd name="connsiteY5" fmla="*/ 607851 h 1065050"/>
                <a:gd name="connsiteX0" fmla="*/ 0 w 1828800"/>
                <a:gd name="connsiteY0" fmla="*/ 15065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065050 h 1215700"/>
                <a:gd name="connsiteX5" fmla="*/ 0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065050 h 1215700"/>
                <a:gd name="connsiteX5" fmla="*/ 0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0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85021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85021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85021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0 w 1828800"/>
                <a:gd name="connsiteY5" fmla="*/ 607850 h 1215700"/>
                <a:gd name="connsiteX0" fmla="*/ 0 w 1828800"/>
                <a:gd name="connsiteY0" fmla="*/ 242822 h 1458522"/>
                <a:gd name="connsiteX1" fmla="*/ 1743777 w 1828800"/>
                <a:gd name="connsiteY1" fmla="*/ 0 h 1458522"/>
                <a:gd name="connsiteX2" fmla="*/ 1828800 w 1828800"/>
                <a:gd name="connsiteY2" fmla="*/ 850672 h 1458522"/>
                <a:gd name="connsiteX3" fmla="*/ 1743777 w 1828800"/>
                <a:gd name="connsiteY3" fmla="*/ 1458522 h 1458522"/>
                <a:gd name="connsiteX4" fmla="*/ 0 w 1828800"/>
                <a:gd name="connsiteY4" fmla="*/ 1458522 h 1458522"/>
                <a:gd name="connsiteX5" fmla="*/ 0 w 1828800"/>
                <a:gd name="connsiteY5" fmla="*/ 850672 h 1458522"/>
                <a:gd name="connsiteX0" fmla="*/ 0 w 1828800"/>
                <a:gd name="connsiteY0" fmla="*/ 242822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458522 h 1701352"/>
                <a:gd name="connsiteX5" fmla="*/ 0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458522 h 1701352"/>
                <a:gd name="connsiteX5" fmla="*/ 0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0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85023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85023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85023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116593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116593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116593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1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1 w 1828800"/>
                <a:gd name="connsiteY1" fmla="*/ 0 h 1701352"/>
                <a:gd name="connsiteX2" fmla="*/ 1828800 w 1828800"/>
                <a:gd name="connsiteY2" fmla="*/ 850672 h 1701352"/>
                <a:gd name="connsiteX3" fmla="*/ 1720051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1 w 1828800"/>
                <a:gd name="connsiteY1" fmla="*/ 0 h 1701352"/>
                <a:gd name="connsiteX2" fmla="*/ 1828800 w 1828800"/>
                <a:gd name="connsiteY2" fmla="*/ 850672 h 1701352"/>
                <a:gd name="connsiteX3" fmla="*/ 1720051 w 1828800"/>
                <a:gd name="connsiteY3" fmla="*/ 1701352 h 1701352"/>
                <a:gd name="connsiteX4" fmla="*/ 0 w 1828800"/>
                <a:gd name="connsiteY4" fmla="*/ 1701348 h 1701352"/>
                <a:gd name="connsiteX5" fmla="*/ 108749 w 1828800"/>
                <a:gd name="connsiteY5" fmla="*/ 850673 h 1701352"/>
                <a:gd name="connsiteX0" fmla="*/ 0 w 1828800"/>
                <a:gd name="connsiteY0" fmla="*/ 0 h 1701352"/>
                <a:gd name="connsiteX1" fmla="*/ 1720051 w 1828800"/>
                <a:gd name="connsiteY1" fmla="*/ 0 h 1701352"/>
                <a:gd name="connsiteX2" fmla="*/ 1828800 w 1828800"/>
                <a:gd name="connsiteY2" fmla="*/ 850672 h 1701352"/>
                <a:gd name="connsiteX3" fmla="*/ 1720051 w 1828800"/>
                <a:gd name="connsiteY3" fmla="*/ 1701352 h 1701352"/>
                <a:gd name="connsiteX4" fmla="*/ 0 w 1828800"/>
                <a:gd name="connsiteY4" fmla="*/ 1701348 h 1701352"/>
                <a:gd name="connsiteX5" fmla="*/ 108749 w 1828800"/>
                <a:gd name="connsiteY5" fmla="*/ 850673 h 1701352"/>
                <a:gd name="connsiteX0" fmla="*/ 0 w 1828800"/>
                <a:gd name="connsiteY0" fmla="*/ 0 h 1701352"/>
                <a:gd name="connsiteX1" fmla="*/ 1720051 w 1828800"/>
                <a:gd name="connsiteY1" fmla="*/ 0 h 1701352"/>
                <a:gd name="connsiteX2" fmla="*/ 1828800 w 1828800"/>
                <a:gd name="connsiteY2" fmla="*/ 850672 h 1701352"/>
                <a:gd name="connsiteX3" fmla="*/ 1720051 w 1828800"/>
                <a:gd name="connsiteY3" fmla="*/ 1701352 h 1701352"/>
                <a:gd name="connsiteX4" fmla="*/ 0 w 1828800"/>
                <a:gd name="connsiteY4" fmla="*/ 1701348 h 1701352"/>
                <a:gd name="connsiteX5" fmla="*/ 108749 w 1828800"/>
                <a:gd name="connsiteY5" fmla="*/ 850673 h 170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1701352">
                  <a:moveTo>
                    <a:pt x="0" y="0"/>
                  </a:moveTo>
                  <a:lnTo>
                    <a:pt x="1720051" y="0"/>
                  </a:lnTo>
                  <a:lnTo>
                    <a:pt x="1828800" y="850672"/>
                  </a:lnTo>
                  <a:lnTo>
                    <a:pt x="1720051" y="1701352"/>
                  </a:lnTo>
                  <a:lnTo>
                    <a:pt x="0" y="1701348"/>
                  </a:lnTo>
                  <a:lnTo>
                    <a:pt x="108749" y="850673"/>
                  </a:lnTo>
                  <a:close/>
                </a:path>
              </a:pathLst>
            </a:cu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lt1"/>
                </a:solidFill>
                <a:ea typeface="楷体" panose="02010609060101010101" pitchFamily="49" charset="-122"/>
              </a:endParaRPr>
            </a:p>
          </p:txBody>
        </p:sp>
        <p:sp>
          <p:nvSpPr>
            <p:cNvPr id="59" name="Rectangle 13"/>
            <p:cNvSpPr txBox="1">
              <a:spLocks/>
            </p:cNvSpPr>
            <p:nvPr>
              <p:custDataLst>
                <p:tags r:id="rId13"/>
              </p:custDataLst>
            </p:nvPr>
          </p:nvSpPr>
          <p:spPr>
            <a:xfrm>
              <a:off x="2687592" y="754291"/>
              <a:ext cx="1317566" cy="513069"/>
            </a:xfrm>
            <a:prstGeom prst="rect">
              <a:avLst/>
            </a:prstGeom>
          </p:spPr>
          <p:txBody>
            <a:bodyPr vert="horz" lIns="0" tIns="0" rIns="0" bIns="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b="1" dirty="0">
                  <a:solidFill>
                    <a:schemeClr val="bg2"/>
                  </a:solidFill>
                  <a:ea typeface="楷体" panose="02010609060101010101" pitchFamily="49" charset="-122"/>
                  <a:cs typeface="SimSun"/>
                </a:rPr>
                <a:t>准备数据</a:t>
              </a:r>
            </a:p>
          </p:txBody>
        </p:sp>
      </p:grpSp>
      <p:grpSp>
        <p:nvGrpSpPr>
          <p:cNvPr id="43018" name="Group 43017"/>
          <p:cNvGrpSpPr>
            <a:grpSpLocks/>
          </p:cNvGrpSpPr>
          <p:nvPr>
            <p:custDataLst>
              <p:tags r:id="rId3"/>
            </p:custDataLst>
          </p:nvPr>
        </p:nvGrpSpPr>
        <p:grpSpPr>
          <a:xfrm>
            <a:off x="4045369" y="754291"/>
            <a:ext cx="1522469" cy="513070"/>
            <a:chOff x="4029707" y="754291"/>
            <a:chExt cx="1553071" cy="513070"/>
          </a:xfrm>
        </p:grpSpPr>
        <p:sp>
          <p:nvSpPr>
            <p:cNvPr id="66" name="Freeform 65"/>
            <p:cNvSpPr/>
            <p:nvPr>
              <p:custDataLst>
                <p:tags r:id="rId10"/>
              </p:custDataLst>
            </p:nvPr>
          </p:nvSpPr>
          <p:spPr>
            <a:xfrm>
              <a:off x="4029707" y="754291"/>
              <a:ext cx="1553071" cy="51307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150650 h 1065050"/>
                <a:gd name="connsiteX1" fmla="*/ 1743779 w 1828800"/>
                <a:gd name="connsiteY1" fmla="*/ 0 h 1065050"/>
                <a:gd name="connsiteX2" fmla="*/ 1828800 w 1828800"/>
                <a:gd name="connsiteY2" fmla="*/ 607850 h 1065050"/>
                <a:gd name="connsiteX3" fmla="*/ 1730065 w 1828800"/>
                <a:gd name="connsiteY3" fmla="*/ 1065050 h 1065050"/>
                <a:gd name="connsiteX4" fmla="*/ 0 w 1828800"/>
                <a:gd name="connsiteY4" fmla="*/ 1065050 h 1065050"/>
                <a:gd name="connsiteX5" fmla="*/ 0 w 1828800"/>
                <a:gd name="connsiteY5" fmla="*/ 607851 h 1065050"/>
                <a:gd name="connsiteX0" fmla="*/ 0 w 1828800"/>
                <a:gd name="connsiteY0" fmla="*/ 15065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065050 h 1215700"/>
                <a:gd name="connsiteX5" fmla="*/ 0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065050 h 1215700"/>
                <a:gd name="connsiteX5" fmla="*/ 0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215700 h 1215700"/>
                <a:gd name="connsiteX5" fmla="*/ 0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215700 h 1215700"/>
                <a:gd name="connsiteX5" fmla="*/ 85021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215700 h 1215700"/>
                <a:gd name="connsiteX5" fmla="*/ 85021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215700 h 1215700"/>
                <a:gd name="connsiteX5" fmla="*/ 85021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215700 h 1215700"/>
                <a:gd name="connsiteX5" fmla="*/ 0 w 1828800"/>
                <a:gd name="connsiteY5" fmla="*/ 607850 h 1215700"/>
                <a:gd name="connsiteX0" fmla="*/ 0 w 1828800"/>
                <a:gd name="connsiteY0" fmla="*/ 242822 h 1458522"/>
                <a:gd name="connsiteX1" fmla="*/ 1743779 w 1828800"/>
                <a:gd name="connsiteY1" fmla="*/ 0 h 1458522"/>
                <a:gd name="connsiteX2" fmla="*/ 1828800 w 1828800"/>
                <a:gd name="connsiteY2" fmla="*/ 850672 h 1458522"/>
                <a:gd name="connsiteX3" fmla="*/ 1743779 w 1828800"/>
                <a:gd name="connsiteY3" fmla="*/ 1458522 h 1458522"/>
                <a:gd name="connsiteX4" fmla="*/ 0 w 1828800"/>
                <a:gd name="connsiteY4" fmla="*/ 1458522 h 1458522"/>
                <a:gd name="connsiteX5" fmla="*/ 0 w 1828800"/>
                <a:gd name="connsiteY5" fmla="*/ 850672 h 1458522"/>
                <a:gd name="connsiteX0" fmla="*/ 0 w 1828800"/>
                <a:gd name="connsiteY0" fmla="*/ 242822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458522 h 1701352"/>
                <a:gd name="connsiteX5" fmla="*/ 0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458522 h 1701352"/>
                <a:gd name="connsiteX5" fmla="*/ 0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0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85021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85021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85021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116593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116593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116593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108749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108749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108749 w 1828800"/>
                <a:gd name="connsiteY5" fmla="*/ 850673 h 170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1701352">
                  <a:moveTo>
                    <a:pt x="0" y="0"/>
                  </a:moveTo>
                  <a:lnTo>
                    <a:pt x="1720052" y="0"/>
                  </a:lnTo>
                  <a:lnTo>
                    <a:pt x="1828800" y="850672"/>
                  </a:lnTo>
                  <a:lnTo>
                    <a:pt x="1720052" y="1701352"/>
                  </a:lnTo>
                  <a:lnTo>
                    <a:pt x="0" y="1701348"/>
                  </a:lnTo>
                  <a:lnTo>
                    <a:pt x="108749" y="850673"/>
                  </a:lnTo>
                  <a:close/>
                </a:path>
              </a:pathLst>
            </a:cu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lt1"/>
                </a:solidFill>
                <a:ea typeface="楷体" panose="02010609060101010101" pitchFamily="49" charset="-122"/>
              </a:endParaRPr>
            </a:p>
          </p:txBody>
        </p:sp>
        <p:sp>
          <p:nvSpPr>
            <p:cNvPr id="67" name="Rectangle 13"/>
            <p:cNvSpPr txBox="1">
              <a:spLocks/>
            </p:cNvSpPr>
            <p:nvPr>
              <p:custDataLst>
                <p:tags r:id="rId11"/>
              </p:custDataLst>
            </p:nvPr>
          </p:nvSpPr>
          <p:spPr>
            <a:xfrm>
              <a:off x="4172860" y="754291"/>
              <a:ext cx="1317566" cy="513069"/>
            </a:xfrm>
            <a:prstGeom prst="rect">
              <a:avLst/>
            </a:prstGeom>
          </p:spPr>
          <p:txBody>
            <a:bodyPr vert="horz" lIns="0" tIns="0" rIns="0" bIns="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b="1" dirty="0">
                  <a:solidFill>
                    <a:schemeClr val="bg2"/>
                  </a:solidFill>
                  <a:ea typeface="楷体" panose="02010609060101010101" pitchFamily="49" charset="-122"/>
                  <a:cs typeface="SimSun"/>
                </a:rPr>
                <a:t>选择算法</a:t>
              </a:r>
            </a:p>
          </p:txBody>
        </p:sp>
      </p:grpSp>
      <p:grpSp>
        <p:nvGrpSpPr>
          <p:cNvPr id="43019" name="Group 43018"/>
          <p:cNvGrpSpPr>
            <a:grpSpLocks/>
          </p:cNvGrpSpPr>
          <p:nvPr>
            <p:custDataLst>
              <p:tags r:id="rId4"/>
            </p:custDataLst>
          </p:nvPr>
        </p:nvGrpSpPr>
        <p:grpSpPr>
          <a:xfrm>
            <a:off x="5534462" y="754291"/>
            <a:ext cx="1522469" cy="513070"/>
            <a:chOff x="5514975" y="754291"/>
            <a:chExt cx="1553071" cy="513070"/>
          </a:xfrm>
        </p:grpSpPr>
        <p:sp>
          <p:nvSpPr>
            <p:cNvPr id="105" name="Freeform 104"/>
            <p:cNvSpPr/>
            <p:nvPr>
              <p:custDataLst>
                <p:tags r:id="rId8"/>
              </p:custDataLst>
            </p:nvPr>
          </p:nvSpPr>
          <p:spPr>
            <a:xfrm>
              <a:off x="5514975" y="754291"/>
              <a:ext cx="1553071" cy="51307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7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7 w 1828800"/>
                <a:gd name="connsiteY1" fmla="*/ 0 h 914400"/>
                <a:gd name="connsiteX2" fmla="*/ 1828800 w 1828800"/>
                <a:gd name="connsiteY2" fmla="*/ 457200 h 914400"/>
                <a:gd name="connsiteX3" fmla="*/ 1729077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7 w 1828800"/>
                <a:gd name="connsiteY1" fmla="*/ 0 h 914400"/>
                <a:gd name="connsiteX2" fmla="*/ 1828800 w 1828800"/>
                <a:gd name="connsiteY2" fmla="*/ 457200 h 914400"/>
                <a:gd name="connsiteX3" fmla="*/ 172907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2907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3006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30064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30064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30064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3006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3006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3006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30064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30064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30064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30064 w 1828800"/>
                <a:gd name="connsiteY3" fmla="*/ 914400 h 914400"/>
                <a:gd name="connsiteX4" fmla="*/ 0 w 1828800"/>
                <a:gd name="connsiteY4" fmla="*/ 914400 h 914400"/>
                <a:gd name="connsiteX5" fmla="*/ 0 w 1828800"/>
                <a:gd name="connsiteY5" fmla="*/ 457201 h 914400"/>
                <a:gd name="connsiteX0" fmla="*/ 0 w 1828800"/>
                <a:gd name="connsiteY0" fmla="*/ 150650 h 1065050"/>
                <a:gd name="connsiteX1" fmla="*/ 1743779 w 1828800"/>
                <a:gd name="connsiteY1" fmla="*/ 0 h 1065050"/>
                <a:gd name="connsiteX2" fmla="*/ 1828800 w 1828800"/>
                <a:gd name="connsiteY2" fmla="*/ 607850 h 1065050"/>
                <a:gd name="connsiteX3" fmla="*/ 1730064 w 1828800"/>
                <a:gd name="connsiteY3" fmla="*/ 1065050 h 1065050"/>
                <a:gd name="connsiteX4" fmla="*/ 0 w 1828800"/>
                <a:gd name="connsiteY4" fmla="*/ 1065050 h 1065050"/>
                <a:gd name="connsiteX5" fmla="*/ 0 w 1828800"/>
                <a:gd name="connsiteY5" fmla="*/ 607851 h 1065050"/>
                <a:gd name="connsiteX0" fmla="*/ 0 w 1828800"/>
                <a:gd name="connsiteY0" fmla="*/ 15065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065050 h 1215700"/>
                <a:gd name="connsiteX5" fmla="*/ 0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065050 h 1215700"/>
                <a:gd name="connsiteX5" fmla="*/ 0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215700 h 1215700"/>
                <a:gd name="connsiteX5" fmla="*/ 0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215700 h 1215700"/>
                <a:gd name="connsiteX5" fmla="*/ 85023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215700 h 1215700"/>
                <a:gd name="connsiteX5" fmla="*/ 85023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215700 h 1215700"/>
                <a:gd name="connsiteX5" fmla="*/ 85023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215700 h 1215700"/>
                <a:gd name="connsiteX5" fmla="*/ 0 w 1828800"/>
                <a:gd name="connsiteY5" fmla="*/ 607850 h 1215700"/>
                <a:gd name="connsiteX0" fmla="*/ 0 w 1828800"/>
                <a:gd name="connsiteY0" fmla="*/ 242822 h 1458522"/>
                <a:gd name="connsiteX1" fmla="*/ 1743779 w 1828800"/>
                <a:gd name="connsiteY1" fmla="*/ 0 h 1458522"/>
                <a:gd name="connsiteX2" fmla="*/ 1828800 w 1828800"/>
                <a:gd name="connsiteY2" fmla="*/ 850672 h 1458522"/>
                <a:gd name="connsiteX3" fmla="*/ 1743779 w 1828800"/>
                <a:gd name="connsiteY3" fmla="*/ 1458522 h 1458522"/>
                <a:gd name="connsiteX4" fmla="*/ 0 w 1828800"/>
                <a:gd name="connsiteY4" fmla="*/ 1458522 h 1458522"/>
                <a:gd name="connsiteX5" fmla="*/ 0 w 1828800"/>
                <a:gd name="connsiteY5" fmla="*/ 850672 h 1458522"/>
                <a:gd name="connsiteX0" fmla="*/ 0 w 1828800"/>
                <a:gd name="connsiteY0" fmla="*/ 242822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458522 h 1701352"/>
                <a:gd name="connsiteX5" fmla="*/ 0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458522 h 1701352"/>
                <a:gd name="connsiteX5" fmla="*/ 0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0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85023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85023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85023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116593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116593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116593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108749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108749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108749 w 1828800"/>
                <a:gd name="connsiteY5" fmla="*/ 850673 h 170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1701352">
                  <a:moveTo>
                    <a:pt x="0" y="0"/>
                  </a:moveTo>
                  <a:lnTo>
                    <a:pt x="1720052" y="0"/>
                  </a:lnTo>
                  <a:lnTo>
                    <a:pt x="1828800" y="850672"/>
                  </a:lnTo>
                  <a:lnTo>
                    <a:pt x="1720052" y="1701352"/>
                  </a:lnTo>
                  <a:lnTo>
                    <a:pt x="0" y="1701348"/>
                  </a:lnTo>
                  <a:lnTo>
                    <a:pt x="108749" y="850673"/>
                  </a:lnTo>
                  <a:close/>
                </a:path>
              </a:pathLst>
            </a:cu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lt1"/>
                </a:solidFill>
                <a:ea typeface="楷体" panose="02010609060101010101" pitchFamily="49" charset="-122"/>
              </a:endParaRPr>
            </a:p>
          </p:txBody>
        </p:sp>
        <p:sp>
          <p:nvSpPr>
            <p:cNvPr id="106" name="Rectangle 13"/>
            <p:cNvSpPr txBox="1">
              <a:spLocks/>
            </p:cNvSpPr>
            <p:nvPr>
              <p:custDataLst>
                <p:tags r:id="rId9"/>
              </p:custDataLst>
            </p:nvPr>
          </p:nvSpPr>
          <p:spPr>
            <a:xfrm>
              <a:off x="5658128" y="754291"/>
              <a:ext cx="1317566" cy="513069"/>
            </a:xfrm>
            <a:prstGeom prst="rect">
              <a:avLst/>
            </a:prstGeom>
          </p:spPr>
          <p:txBody>
            <a:bodyPr vert="horz" lIns="0" tIns="0" rIns="0" bIns="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b="1" dirty="0">
                  <a:solidFill>
                    <a:schemeClr val="bg2"/>
                  </a:solidFill>
                  <a:ea typeface="楷体" panose="02010609060101010101" pitchFamily="49" charset="-122"/>
                  <a:cs typeface="SimSun"/>
                </a:rPr>
                <a:t>训练模型</a:t>
              </a:r>
            </a:p>
          </p:txBody>
        </p:sp>
      </p:grpSp>
      <p:grpSp>
        <p:nvGrpSpPr>
          <p:cNvPr id="43021" name="Group 43020"/>
          <p:cNvGrpSpPr>
            <a:grpSpLocks/>
          </p:cNvGrpSpPr>
          <p:nvPr>
            <p:custDataLst>
              <p:tags r:id="rId5"/>
            </p:custDataLst>
          </p:nvPr>
        </p:nvGrpSpPr>
        <p:grpSpPr>
          <a:xfrm>
            <a:off x="7023555" y="754291"/>
            <a:ext cx="1522469" cy="513070"/>
            <a:chOff x="7000242" y="754291"/>
            <a:chExt cx="1553071" cy="513070"/>
          </a:xfrm>
        </p:grpSpPr>
        <p:sp>
          <p:nvSpPr>
            <p:cNvPr id="111" name="Freeform 110"/>
            <p:cNvSpPr/>
            <p:nvPr>
              <p:custDataLst>
                <p:tags r:id="rId6"/>
              </p:custDataLst>
            </p:nvPr>
          </p:nvSpPr>
          <p:spPr>
            <a:xfrm>
              <a:off x="7000242" y="754291"/>
              <a:ext cx="1553071" cy="51307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150650 h 1065050"/>
                <a:gd name="connsiteX1" fmla="*/ 1743777 w 1828800"/>
                <a:gd name="connsiteY1" fmla="*/ 0 h 1065050"/>
                <a:gd name="connsiteX2" fmla="*/ 1828800 w 1828800"/>
                <a:gd name="connsiteY2" fmla="*/ 607850 h 1065050"/>
                <a:gd name="connsiteX3" fmla="*/ 1730065 w 1828800"/>
                <a:gd name="connsiteY3" fmla="*/ 1065050 h 1065050"/>
                <a:gd name="connsiteX4" fmla="*/ 0 w 1828800"/>
                <a:gd name="connsiteY4" fmla="*/ 1065050 h 1065050"/>
                <a:gd name="connsiteX5" fmla="*/ 0 w 1828800"/>
                <a:gd name="connsiteY5" fmla="*/ 607851 h 1065050"/>
                <a:gd name="connsiteX0" fmla="*/ 0 w 1828800"/>
                <a:gd name="connsiteY0" fmla="*/ 15065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065050 h 1215700"/>
                <a:gd name="connsiteX5" fmla="*/ 0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065050 h 1215700"/>
                <a:gd name="connsiteX5" fmla="*/ 0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0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85021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85021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85021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0 w 1828800"/>
                <a:gd name="connsiteY5" fmla="*/ 607850 h 1215700"/>
                <a:gd name="connsiteX0" fmla="*/ 0 w 1828800"/>
                <a:gd name="connsiteY0" fmla="*/ 242822 h 1458522"/>
                <a:gd name="connsiteX1" fmla="*/ 1743777 w 1828800"/>
                <a:gd name="connsiteY1" fmla="*/ 0 h 1458522"/>
                <a:gd name="connsiteX2" fmla="*/ 1828800 w 1828800"/>
                <a:gd name="connsiteY2" fmla="*/ 850672 h 1458522"/>
                <a:gd name="connsiteX3" fmla="*/ 1743777 w 1828800"/>
                <a:gd name="connsiteY3" fmla="*/ 1458522 h 1458522"/>
                <a:gd name="connsiteX4" fmla="*/ 0 w 1828800"/>
                <a:gd name="connsiteY4" fmla="*/ 1458522 h 1458522"/>
                <a:gd name="connsiteX5" fmla="*/ 0 w 1828800"/>
                <a:gd name="connsiteY5" fmla="*/ 850672 h 1458522"/>
                <a:gd name="connsiteX0" fmla="*/ 0 w 1828800"/>
                <a:gd name="connsiteY0" fmla="*/ 242822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458522 h 1701352"/>
                <a:gd name="connsiteX5" fmla="*/ 0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458522 h 1701352"/>
                <a:gd name="connsiteX5" fmla="*/ 0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0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85021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85021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85021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116594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116594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116594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1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1 w 1828800"/>
                <a:gd name="connsiteY1" fmla="*/ 0 h 1701352"/>
                <a:gd name="connsiteX2" fmla="*/ 1828800 w 1828800"/>
                <a:gd name="connsiteY2" fmla="*/ 850672 h 1701352"/>
                <a:gd name="connsiteX3" fmla="*/ 1720051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1 w 1828800"/>
                <a:gd name="connsiteY1" fmla="*/ 0 h 1701352"/>
                <a:gd name="connsiteX2" fmla="*/ 1828800 w 1828800"/>
                <a:gd name="connsiteY2" fmla="*/ 850672 h 1701352"/>
                <a:gd name="connsiteX3" fmla="*/ 1720051 w 1828800"/>
                <a:gd name="connsiteY3" fmla="*/ 1701352 h 1701352"/>
                <a:gd name="connsiteX4" fmla="*/ 0 w 1828800"/>
                <a:gd name="connsiteY4" fmla="*/ 1701348 h 1701352"/>
                <a:gd name="connsiteX5" fmla="*/ 108748 w 1828800"/>
                <a:gd name="connsiteY5" fmla="*/ 850673 h 1701352"/>
                <a:gd name="connsiteX0" fmla="*/ 0 w 1828800"/>
                <a:gd name="connsiteY0" fmla="*/ 0 h 1701352"/>
                <a:gd name="connsiteX1" fmla="*/ 1720051 w 1828800"/>
                <a:gd name="connsiteY1" fmla="*/ 0 h 1701352"/>
                <a:gd name="connsiteX2" fmla="*/ 1828800 w 1828800"/>
                <a:gd name="connsiteY2" fmla="*/ 850672 h 1701352"/>
                <a:gd name="connsiteX3" fmla="*/ 1720051 w 1828800"/>
                <a:gd name="connsiteY3" fmla="*/ 1701352 h 1701352"/>
                <a:gd name="connsiteX4" fmla="*/ 0 w 1828800"/>
                <a:gd name="connsiteY4" fmla="*/ 1701348 h 1701352"/>
                <a:gd name="connsiteX5" fmla="*/ 108748 w 1828800"/>
                <a:gd name="connsiteY5" fmla="*/ 850673 h 1701352"/>
                <a:gd name="connsiteX0" fmla="*/ 0 w 1828800"/>
                <a:gd name="connsiteY0" fmla="*/ 0 h 1701352"/>
                <a:gd name="connsiteX1" fmla="*/ 1720051 w 1828800"/>
                <a:gd name="connsiteY1" fmla="*/ 0 h 1701352"/>
                <a:gd name="connsiteX2" fmla="*/ 1828800 w 1828800"/>
                <a:gd name="connsiteY2" fmla="*/ 850672 h 1701352"/>
                <a:gd name="connsiteX3" fmla="*/ 1720051 w 1828800"/>
                <a:gd name="connsiteY3" fmla="*/ 1701352 h 1701352"/>
                <a:gd name="connsiteX4" fmla="*/ 0 w 1828800"/>
                <a:gd name="connsiteY4" fmla="*/ 1701348 h 1701352"/>
                <a:gd name="connsiteX5" fmla="*/ 108748 w 1828800"/>
                <a:gd name="connsiteY5" fmla="*/ 850673 h 170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1701352">
                  <a:moveTo>
                    <a:pt x="0" y="0"/>
                  </a:moveTo>
                  <a:lnTo>
                    <a:pt x="1720051" y="0"/>
                  </a:lnTo>
                  <a:lnTo>
                    <a:pt x="1828800" y="850672"/>
                  </a:lnTo>
                  <a:lnTo>
                    <a:pt x="1720051" y="1701352"/>
                  </a:lnTo>
                  <a:lnTo>
                    <a:pt x="0" y="1701348"/>
                  </a:lnTo>
                  <a:lnTo>
                    <a:pt x="108748" y="850673"/>
                  </a:lnTo>
                  <a:close/>
                </a:path>
              </a:pathLst>
            </a:cu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lt1"/>
                </a:solidFill>
                <a:ea typeface="楷体" panose="02010609060101010101" pitchFamily="49" charset="-122"/>
              </a:endParaRPr>
            </a:p>
          </p:txBody>
        </p:sp>
        <p:sp>
          <p:nvSpPr>
            <p:cNvPr id="112" name="Rectangle 13"/>
            <p:cNvSpPr txBox="1">
              <a:spLocks/>
            </p:cNvSpPr>
            <p:nvPr>
              <p:custDataLst>
                <p:tags r:id="rId7"/>
              </p:custDataLst>
            </p:nvPr>
          </p:nvSpPr>
          <p:spPr>
            <a:xfrm>
              <a:off x="7143394" y="754291"/>
              <a:ext cx="1317566" cy="513069"/>
            </a:xfrm>
            <a:prstGeom prst="rect">
              <a:avLst/>
            </a:prstGeom>
          </p:spPr>
          <p:txBody>
            <a:bodyPr vert="horz" lIns="0" tIns="0" rIns="0" bIns="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b="1" dirty="0">
                  <a:solidFill>
                    <a:schemeClr val="bg2"/>
                  </a:solidFill>
                  <a:ea typeface="楷体" panose="02010609060101010101" pitchFamily="49" charset="-122"/>
                  <a:cs typeface="SimSun"/>
                </a:rPr>
                <a:t>验证和使用模型</a:t>
              </a:r>
            </a:p>
          </p:txBody>
        </p:sp>
      </p:grpSp>
      <p:pic>
        <p:nvPicPr>
          <p:cNvPr id="302089" name="Picture 9"/>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608657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zh-CN" dirty="0">
                <a:latin typeface="+mn-lt"/>
                <a:ea typeface="楷体" panose="02010609060101010101" pitchFamily="49" charset="-122"/>
                <a:cs typeface="SimSun"/>
              </a:rPr>
              <a:t>机器学习可分为三种类型...</a:t>
            </a:r>
          </a:p>
        </p:txBody>
      </p:sp>
      <p:sp>
        <p:nvSpPr>
          <p:cNvPr id="70" name="5. Source"/>
          <p:cNvSpPr>
            <a:spLocks noChangeArrowheads="1"/>
          </p:cNvSpPr>
          <p:nvPr/>
        </p:nvSpPr>
        <p:spPr bwMode="auto">
          <a:xfrm>
            <a:off x="119063" y="6434981"/>
            <a:ext cx="686276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12775" indent="-612775" defTabSz="895350"/>
            <a:r>
              <a:rPr lang="zh-CN" sz="1000" dirty="0">
                <a:latin typeface="+mn-lt"/>
                <a:ea typeface="楷体" panose="02010609060101010101" pitchFamily="49" charset="-122"/>
                <a:cs typeface="SimSun"/>
              </a:rPr>
              <a:t>资料来源：小组分析</a:t>
            </a:r>
          </a:p>
        </p:txBody>
      </p:sp>
      <p:grpSp>
        <p:nvGrpSpPr>
          <p:cNvPr id="27" name="Group 26"/>
          <p:cNvGrpSpPr/>
          <p:nvPr/>
        </p:nvGrpSpPr>
        <p:grpSpPr>
          <a:xfrm>
            <a:off x="287209" y="585189"/>
            <a:ext cx="8282245" cy="5652986"/>
            <a:chOff x="287209" y="585189"/>
            <a:chExt cx="8282245" cy="5652986"/>
          </a:xfrm>
        </p:grpSpPr>
        <p:sp>
          <p:nvSpPr>
            <p:cNvPr id="4" name="TextBox 6"/>
            <p:cNvSpPr txBox="1">
              <a:spLocks/>
            </p:cNvSpPr>
            <p:nvPr>
              <p:custDataLst>
                <p:tags r:id="rId1"/>
              </p:custDataLst>
            </p:nvPr>
          </p:nvSpPr>
          <p:spPr>
            <a:xfrm>
              <a:off x="287209" y="585189"/>
              <a:ext cx="8282245" cy="5652986"/>
            </a:xfrm>
            <a:prstGeom prst="rect">
              <a:avLst/>
            </a:prstGeom>
            <a:solidFill>
              <a:schemeClr val="bg1">
                <a:lumMod val="95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ctr">
                <a:defRPr sz="12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endParaRPr lang="en-US" dirty="0">
                <a:ea typeface="楷体" panose="02010609060101010101" pitchFamily="49" charset="-122"/>
              </a:endParaRPr>
            </a:p>
          </p:txBody>
        </p:sp>
        <p:grpSp>
          <p:nvGrpSpPr>
            <p:cNvPr id="26" name="Group 25"/>
            <p:cNvGrpSpPr/>
            <p:nvPr/>
          </p:nvGrpSpPr>
          <p:grpSpPr>
            <a:xfrm>
              <a:off x="399689" y="634441"/>
              <a:ext cx="8057285" cy="5525908"/>
              <a:chOff x="605164" y="628466"/>
              <a:chExt cx="8057285" cy="5525908"/>
            </a:xfrm>
          </p:grpSpPr>
          <p:sp>
            <p:nvSpPr>
              <p:cNvPr id="76" name="Rectangle 75"/>
              <p:cNvSpPr>
                <a:spLocks/>
              </p:cNvSpPr>
              <p:nvPr/>
            </p:nvSpPr>
            <p:spPr>
              <a:xfrm>
                <a:off x="3767580" y="1197137"/>
                <a:ext cx="2545296" cy="1660749"/>
              </a:xfrm>
              <a:prstGeom prst="rect">
                <a:avLst/>
              </a:prstGeom>
              <a:solidFill>
                <a:schemeClr val="bg2"/>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accent3"/>
                  </a:solidFill>
                  <a:ea typeface="楷体" panose="02010609060101010101" pitchFamily="49" charset="-122"/>
                </a:endParaRPr>
              </a:p>
            </p:txBody>
          </p:sp>
          <p:grpSp>
            <p:nvGrpSpPr>
              <p:cNvPr id="25" name="Group 24"/>
              <p:cNvGrpSpPr/>
              <p:nvPr/>
            </p:nvGrpSpPr>
            <p:grpSpPr>
              <a:xfrm>
                <a:off x="3845020" y="1511172"/>
                <a:ext cx="2339054" cy="1032679"/>
                <a:chOff x="3689837" y="1572468"/>
                <a:chExt cx="2362445" cy="1032679"/>
              </a:xfrm>
            </p:grpSpPr>
            <p:sp>
              <p:nvSpPr>
                <p:cNvPr id="77" name="Rounded Rectangle 76"/>
                <p:cNvSpPr>
                  <a:spLocks/>
                </p:cNvSpPr>
                <p:nvPr/>
              </p:nvSpPr>
              <p:spPr>
                <a:xfrm>
                  <a:off x="4587160" y="1572468"/>
                  <a:ext cx="688951" cy="240983"/>
                </a:xfrm>
                <a:prstGeom prst="round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r>
                    <a:rPr lang="zh-CN" sz="1100" dirty="0">
                      <a:solidFill>
                        <a:schemeClr val="tx1"/>
                      </a:solidFill>
                      <a:ea typeface="楷体" panose="02010609060101010101" pitchFamily="49" charset="-122"/>
                      <a:cs typeface="SimSun"/>
                    </a:rPr>
                    <a:t>智能体</a:t>
                  </a:r>
                </a:p>
              </p:txBody>
            </p:sp>
            <p:sp>
              <p:nvSpPr>
                <p:cNvPr id="78" name="Rounded Rectangle 77"/>
                <p:cNvSpPr>
                  <a:spLocks/>
                </p:cNvSpPr>
                <p:nvPr/>
              </p:nvSpPr>
              <p:spPr>
                <a:xfrm>
                  <a:off x="4499334" y="2364164"/>
                  <a:ext cx="951955" cy="240983"/>
                </a:xfrm>
                <a:prstGeom prst="round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45720" tIns="45720" rIns="45720" bIns="45720" rtlCol="0" anchor="ctr">
                  <a:noAutofit/>
                </a:bodyPr>
                <a:lstStyle/>
                <a:p>
                  <a:pPr algn="ctr"/>
                  <a:r>
                    <a:rPr lang="zh-CN" sz="1100" dirty="0">
                      <a:solidFill>
                        <a:schemeClr val="tx1"/>
                      </a:solidFill>
                      <a:ea typeface="楷体" panose="02010609060101010101" pitchFamily="49" charset="-122"/>
                      <a:cs typeface="SimSun"/>
                    </a:rPr>
                    <a:t>环境</a:t>
                  </a:r>
                </a:p>
              </p:txBody>
            </p:sp>
            <p:cxnSp>
              <p:nvCxnSpPr>
                <p:cNvPr id="79" name="Elbow Connector 78"/>
                <p:cNvCxnSpPr>
                  <a:stCxn id="77" idx="3"/>
                  <a:endCxn id="78" idx="3"/>
                </p:cNvCxnSpPr>
                <p:nvPr/>
              </p:nvCxnSpPr>
              <p:spPr>
                <a:xfrm>
                  <a:off x="5276112" y="1692960"/>
                  <a:ext cx="175177" cy="791696"/>
                </a:xfrm>
                <a:prstGeom prst="bentConnector3">
                  <a:avLst>
                    <a:gd name="adj1" fmla="val 23180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80" name="Rectangle 8"/>
                <p:cNvSpPr txBox="1"/>
                <p:nvPr/>
              </p:nvSpPr>
              <p:spPr>
                <a:xfrm>
                  <a:off x="5767332" y="2002245"/>
                  <a:ext cx="284950" cy="169277"/>
                </a:xfrm>
                <a:prstGeom prst="rect">
                  <a:avLst/>
                </a:prstGeom>
              </p:spPr>
              <p:txBody>
                <a:bodyPr vert="horz" wrap="non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b="1" dirty="0">
                      <a:solidFill>
                        <a:schemeClr val="tx2"/>
                      </a:solidFill>
                      <a:ea typeface="楷体" panose="02010609060101010101" pitchFamily="49" charset="-122"/>
                      <a:cs typeface="SimSun"/>
                    </a:rPr>
                    <a:t>行动</a:t>
                  </a:r>
                </a:p>
              </p:txBody>
            </p:sp>
            <p:sp>
              <p:nvSpPr>
                <p:cNvPr id="81" name="Freeform 80"/>
                <p:cNvSpPr/>
                <p:nvPr/>
              </p:nvSpPr>
              <p:spPr>
                <a:xfrm>
                  <a:off x="4175919" y="1732487"/>
                  <a:ext cx="401998" cy="752167"/>
                </a:xfrm>
                <a:custGeom>
                  <a:avLst/>
                  <a:gdLst>
                    <a:gd name="connsiteX0" fmla="*/ 385762 w 471487"/>
                    <a:gd name="connsiteY0" fmla="*/ 457200 h 457200"/>
                    <a:gd name="connsiteX1" fmla="*/ 0 w 471487"/>
                    <a:gd name="connsiteY1" fmla="*/ 457200 h 457200"/>
                    <a:gd name="connsiteX2" fmla="*/ 0 w 471487"/>
                    <a:gd name="connsiteY2" fmla="*/ 0 h 457200"/>
                    <a:gd name="connsiteX3" fmla="*/ 471487 w 471487"/>
                    <a:gd name="connsiteY3" fmla="*/ 0 h 457200"/>
                  </a:gdLst>
                  <a:ahLst/>
                  <a:cxnLst>
                    <a:cxn ang="0">
                      <a:pos x="connsiteX0" y="connsiteY0"/>
                    </a:cxn>
                    <a:cxn ang="0">
                      <a:pos x="connsiteX1" y="connsiteY1"/>
                    </a:cxn>
                    <a:cxn ang="0">
                      <a:pos x="connsiteX2" y="connsiteY2"/>
                    </a:cxn>
                    <a:cxn ang="0">
                      <a:pos x="connsiteX3" y="connsiteY3"/>
                    </a:cxn>
                  </a:cxnLst>
                  <a:rect l="l" t="t" r="r" b="b"/>
                  <a:pathLst>
                    <a:path w="471487" h="457200">
                      <a:moveTo>
                        <a:pt x="385762" y="457200"/>
                      </a:moveTo>
                      <a:lnTo>
                        <a:pt x="0" y="457200"/>
                      </a:lnTo>
                      <a:lnTo>
                        <a:pt x="0" y="0"/>
                      </a:lnTo>
                      <a:lnTo>
                        <a:pt x="471487" y="0"/>
                      </a:lnTo>
                    </a:path>
                  </a:pathLst>
                </a:cu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dirty="0">
                    <a:solidFill>
                      <a:schemeClr val="accent3"/>
                    </a:solidFill>
                    <a:ea typeface="楷体" panose="02010609060101010101" pitchFamily="49" charset="-122"/>
                  </a:endParaRPr>
                </a:p>
              </p:txBody>
            </p:sp>
            <p:sp>
              <p:nvSpPr>
                <p:cNvPr id="82" name="Freeform 81"/>
                <p:cNvSpPr/>
                <p:nvPr/>
              </p:nvSpPr>
              <p:spPr>
                <a:xfrm>
                  <a:off x="4111625" y="1641999"/>
                  <a:ext cx="473224" cy="897167"/>
                </a:xfrm>
                <a:custGeom>
                  <a:avLst/>
                  <a:gdLst>
                    <a:gd name="connsiteX0" fmla="*/ 385762 w 471487"/>
                    <a:gd name="connsiteY0" fmla="*/ 457200 h 457200"/>
                    <a:gd name="connsiteX1" fmla="*/ 0 w 471487"/>
                    <a:gd name="connsiteY1" fmla="*/ 457200 h 457200"/>
                    <a:gd name="connsiteX2" fmla="*/ 0 w 471487"/>
                    <a:gd name="connsiteY2" fmla="*/ 0 h 457200"/>
                    <a:gd name="connsiteX3" fmla="*/ 471487 w 471487"/>
                    <a:gd name="connsiteY3" fmla="*/ 0 h 457200"/>
                    <a:gd name="connsiteX0" fmla="*/ 385762 w 559593"/>
                    <a:gd name="connsiteY0" fmla="*/ 457200 h 457200"/>
                    <a:gd name="connsiteX1" fmla="*/ 0 w 559593"/>
                    <a:gd name="connsiteY1" fmla="*/ 457200 h 457200"/>
                    <a:gd name="connsiteX2" fmla="*/ 0 w 559593"/>
                    <a:gd name="connsiteY2" fmla="*/ 0 h 457200"/>
                    <a:gd name="connsiteX3" fmla="*/ 559593 w 559593"/>
                    <a:gd name="connsiteY3" fmla="*/ 1633 h 457200"/>
                    <a:gd name="connsiteX0" fmla="*/ 458787 w 559593"/>
                    <a:gd name="connsiteY0" fmla="*/ 455023 h 457200"/>
                    <a:gd name="connsiteX1" fmla="*/ 0 w 559593"/>
                    <a:gd name="connsiteY1" fmla="*/ 457200 h 457200"/>
                    <a:gd name="connsiteX2" fmla="*/ 0 w 559593"/>
                    <a:gd name="connsiteY2" fmla="*/ 0 h 457200"/>
                    <a:gd name="connsiteX3" fmla="*/ 559593 w 559593"/>
                    <a:gd name="connsiteY3" fmla="*/ 1633 h 457200"/>
                    <a:gd name="connsiteX0" fmla="*/ 465137 w 559593"/>
                    <a:gd name="connsiteY0" fmla="*/ 457200 h 457200"/>
                    <a:gd name="connsiteX1" fmla="*/ 0 w 559593"/>
                    <a:gd name="connsiteY1" fmla="*/ 457200 h 457200"/>
                    <a:gd name="connsiteX2" fmla="*/ 0 w 559593"/>
                    <a:gd name="connsiteY2" fmla="*/ 0 h 457200"/>
                    <a:gd name="connsiteX3" fmla="*/ 559593 w 559593"/>
                    <a:gd name="connsiteY3" fmla="*/ 1633 h 457200"/>
                  </a:gdLst>
                  <a:ahLst/>
                  <a:cxnLst>
                    <a:cxn ang="0">
                      <a:pos x="connsiteX0" y="connsiteY0"/>
                    </a:cxn>
                    <a:cxn ang="0">
                      <a:pos x="connsiteX1" y="connsiteY1"/>
                    </a:cxn>
                    <a:cxn ang="0">
                      <a:pos x="connsiteX2" y="connsiteY2"/>
                    </a:cxn>
                    <a:cxn ang="0">
                      <a:pos x="connsiteX3" y="connsiteY3"/>
                    </a:cxn>
                  </a:cxnLst>
                  <a:rect l="l" t="t" r="r" b="b"/>
                  <a:pathLst>
                    <a:path w="559593" h="457200">
                      <a:moveTo>
                        <a:pt x="465137" y="457200"/>
                      </a:moveTo>
                      <a:lnTo>
                        <a:pt x="0" y="457200"/>
                      </a:lnTo>
                      <a:lnTo>
                        <a:pt x="0" y="0"/>
                      </a:lnTo>
                      <a:lnTo>
                        <a:pt x="559593" y="1633"/>
                      </a:lnTo>
                    </a:path>
                  </a:pathLst>
                </a:custGeom>
                <a:noFill/>
                <a:ln w="9525">
                  <a:solidFill>
                    <a:schemeClr val="accent6"/>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accent3"/>
                    </a:solidFill>
                    <a:ea typeface="楷体" panose="02010609060101010101" pitchFamily="49" charset="-122"/>
                  </a:endParaRPr>
                </a:p>
              </p:txBody>
            </p:sp>
            <p:sp>
              <p:nvSpPr>
                <p:cNvPr id="83" name="Rectangle 8"/>
                <p:cNvSpPr txBox="1"/>
                <p:nvPr/>
              </p:nvSpPr>
              <p:spPr>
                <a:xfrm>
                  <a:off x="4217242" y="1876489"/>
                  <a:ext cx="323807" cy="169277"/>
                </a:xfrm>
                <a:prstGeom prst="rect">
                  <a:avLst/>
                </a:prstGeom>
              </p:spPr>
              <p:txBody>
                <a:bodyPr vert="horz" wrap="non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b="1" dirty="0">
                      <a:solidFill>
                        <a:schemeClr val="tx2"/>
                      </a:solidFill>
                      <a:ea typeface="楷体" panose="02010609060101010101" pitchFamily="49" charset="-122"/>
                      <a:cs typeface="SimSun"/>
                    </a:rPr>
                    <a:t>奖励 </a:t>
                  </a:r>
                  <a:endParaRPr lang="zh-CN" sz="1100" b="1" baseline="-25000" dirty="0">
                    <a:solidFill>
                      <a:schemeClr val="tx2"/>
                    </a:solidFill>
                    <a:ea typeface="楷体" panose="02010609060101010101" pitchFamily="49" charset="-122"/>
                  </a:endParaRPr>
                </a:p>
              </p:txBody>
            </p:sp>
            <p:sp>
              <p:nvSpPr>
                <p:cNvPr id="84" name="Rectangle 8"/>
                <p:cNvSpPr txBox="1"/>
                <p:nvPr/>
              </p:nvSpPr>
              <p:spPr>
                <a:xfrm>
                  <a:off x="3689837" y="2192798"/>
                  <a:ext cx="284950" cy="169277"/>
                </a:xfrm>
                <a:prstGeom prst="rect">
                  <a:avLst/>
                </a:prstGeom>
              </p:spPr>
              <p:txBody>
                <a:bodyPr vert="horz" wrap="non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b="1" dirty="0">
                      <a:solidFill>
                        <a:schemeClr val="tx2"/>
                      </a:solidFill>
                      <a:ea typeface="楷体" panose="02010609060101010101" pitchFamily="49" charset="-122"/>
                      <a:cs typeface="SimSun"/>
                    </a:rPr>
                    <a:t>状态</a:t>
                  </a:r>
                  <a:endParaRPr lang="zh-CN" sz="1100" b="1" baseline="-25000" dirty="0">
                    <a:solidFill>
                      <a:schemeClr val="tx2"/>
                    </a:solidFill>
                    <a:ea typeface="楷体" panose="02010609060101010101" pitchFamily="49" charset="-122"/>
                  </a:endParaRPr>
                </a:p>
              </p:txBody>
            </p:sp>
          </p:grpSp>
          <p:sp>
            <p:nvSpPr>
              <p:cNvPr id="112" name="Rectangle 8"/>
              <p:cNvSpPr txBox="1">
                <a:spLocks/>
              </p:cNvSpPr>
              <p:nvPr/>
            </p:nvSpPr>
            <p:spPr>
              <a:xfrm>
                <a:off x="3767580" y="964900"/>
                <a:ext cx="2545296" cy="16927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b="1" dirty="0">
                    <a:solidFill>
                      <a:schemeClr val="tx2"/>
                    </a:solidFill>
                    <a:ea typeface="楷体" panose="02010609060101010101" pitchFamily="49" charset="-122"/>
                    <a:cs typeface="SimSun"/>
                  </a:rPr>
                  <a:t>强化</a:t>
                </a:r>
              </a:p>
            </p:txBody>
          </p:sp>
          <p:sp>
            <p:nvSpPr>
              <p:cNvPr id="126" name="Rectangle 20"/>
              <p:cNvSpPr txBox="1">
                <a:spLocks/>
              </p:cNvSpPr>
              <p:nvPr/>
            </p:nvSpPr>
            <p:spPr>
              <a:xfrm>
                <a:off x="605164" y="4337689"/>
                <a:ext cx="785143" cy="1816685"/>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rIns="73152" rtlCol="0" anchor="ctr"/>
              <a:lstStyle>
                <a:defPPr>
                  <a:defRPr lang="en-US"/>
                </a:defPPr>
                <a:lvl1pPr>
                  <a:defRPr sz="1200" b="1">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zh-CN" sz="1100" dirty="0">
                    <a:ea typeface="楷体" panose="02010609060101010101" pitchFamily="49" charset="-122"/>
                    <a:cs typeface="SimSun"/>
                  </a:rPr>
                  <a:t>如何运作？</a:t>
                </a:r>
              </a:p>
            </p:txBody>
          </p:sp>
          <p:sp>
            <p:nvSpPr>
              <p:cNvPr id="85" name="Rectangle 84"/>
              <p:cNvSpPr>
                <a:spLocks/>
              </p:cNvSpPr>
              <p:nvPr/>
            </p:nvSpPr>
            <p:spPr>
              <a:xfrm>
                <a:off x="1493029" y="1197137"/>
                <a:ext cx="2149311" cy="1660749"/>
              </a:xfrm>
              <a:prstGeom prst="rect">
                <a:avLst/>
              </a:prstGeom>
              <a:solidFill>
                <a:schemeClr val="bg2"/>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accent3"/>
                  </a:solidFill>
                  <a:ea typeface="楷体" panose="02010609060101010101" pitchFamily="49" charset="-122"/>
                </a:endParaRPr>
              </a:p>
            </p:txBody>
          </p:sp>
          <p:grpSp>
            <p:nvGrpSpPr>
              <p:cNvPr id="86" name="Group 85"/>
              <p:cNvGrpSpPr/>
              <p:nvPr/>
            </p:nvGrpSpPr>
            <p:grpSpPr>
              <a:xfrm>
                <a:off x="1830676" y="1447089"/>
                <a:ext cx="1474016" cy="344802"/>
                <a:chOff x="1992871" y="1182355"/>
                <a:chExt cx="1488756" cy="344802"/>
              </a:xfrm>
            </p:grpSpPr>
            <p:sp>
              <p:nvSpPr>
                <p:cNvPr id="87" name="Oval 86"/>
                <p:cNvSpPr/>
                <p:nvPr/>
              </p:nvSpPr>
              <p:spPr>
                <a:xfrm>
                  <a:off x="1992871" y="1182355"/>
                  <a:ext cx="344802" cy="344802"/>
                </a:xfrm>
                <a:prstGeom prst="ellipse">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accent3"/>
                    </a:solidFill>
                    <a:ea typeface="楷体" panose="02010609060101010101" pitchFamily="49" charset="-122"/>
                  </a:endParaRPr>
                </a:p>
              </p:txBody>
            </p:sp>
            <p:sp>
              <p:nvSpPr>
                <p:cNvPr id="88" name="Oval 87"/>
                <p:cNvSpPr/>
                <p:nvPr/>
              </p:nvSpPr>
              <p:spPr>
                <a:xfrm>
                  <a:off x="2374189" y="1182355"/>
                  <a:ext cx="344802" cy="344802"/>
                </a:xfrm>
                <a:prstGeom prst="ellipse">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accent3"/>
                    </a:solidFill>
                    <a:ea typeface="楷体" panose="02010609060101010101" pitchFamily="49" charset="-122"/>
                  </a:endParaRPr>
                </a:p>
              </p:txBody>
            </p:sp>
            <p:sp>
              <p:nvSpPr>
                <p:cNvPr id="89" name="Oval 88"/>
                <p:cNvSpPr/>
                <p:nvPr/>
              </p:nvSpPr>
              <p:spPr>
                <a:xfrm>
                  <a:off x="2755507" y="1182355"/>
                  <a:ext cx="344802" cy="344802"/>
                </a:xfrm>
                <a:prstGeom prst="ellipse">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accent3"/>
                    </a:solidFill>
                    <a:ea typeface="楷体" panose="02010609060101010101" pitchFamily="49" charset="-122"/>
                  </a:endParaRPr>
                </a:p>
              </p:txBody>
            </p:sp>
            <p:sp>
              <p:nvSpPr>
                <p:cNvPr id="90" name="Oval 89"/>
                <p:cNvSpPr/>
                <p:nvPr/>
              </p:nvSpPr>
              <p:spPr>
                <a:xfrm>
                  <a:off x="3136825" y="1182355"/>
                  <a:ext cx="344802" cy="344802"/>
                </a:xfrm>
                <a:prstGeom prst="ellipse">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accent3"/>
                    </a:solidFill>
                    <a:ea typeface="楷体" panose="02010609060101010101" pitchFamily="49" charset="-122"/>
                  </a:endParaRPr>
                </a:p>
              </p:txBody>
            </p:sp>
          </p:grpSp>
          <p:sp>
            <p:nvSpPr>
              <p:cNvPr id="91" name="Oval 90"/>
              <p:cNvSpPr/>
              <p:nvPr/>
            </p:nvSpPr>
            <p:spPr>
              <a:xfrm>
                <a:off x="2415067" y="2208791"/>
                <a:ext cx="341388" cy="344802"/>
              </a:xfrm>
              <a:prstGeom prst="ellipse">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accent3"/>
                  </a:solidFill>
                  <a:ea typeface="楷体" panose="02010609060101010101" pitchFamily="49" charset="-122"/>
                </a:endParaRPr>
              </a:p>
            </p:txBody>
          </p:sp>
          <p:cxnSp>
            <p:nvCxnSpPr>
              <p:cNvPr id="92" name="Straight Connector 91"/>
              <p:cNvCxnSpPr>
                <a:stCxn id="87" idx="4"/>
                <a:endCxn id="91" idx="1"/>
              </p:cNvCxnSpPr>
              <p:nvPr/>
            </p:nvCxnSpPr>
            <p:spPr>
              <a:xfrm>
                <a:off x="2001370" y="1791891"/>
                <a:ext cx="463692" cy="467395"/>
              </a:xfrm>
              <a:prstGeom prst="line">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stCxn id="88" idx="4"/>
                <a:endCxn id="91" idx="0"/>
              </p:cNvCxnSpPr>
              <p:nvPr/>
            </p:nvCxnSpPr>
            <p:spPr>
              <a:xfrm>
                <a:off x="2378913" y="1791891"/>
                <a:ext cx="206848" cy="416900"/>
              </a:xfrm>
              <a:prstGeom prst="line">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a:stCxn id="89" idx="4"/>
                <a:endCxn id="91" idx="0"/>
              </p:cNvCxnSpPr>
              <p:nvPr/>
            </p:nvCxnSpPr>
            <p:spPr>
              <a:xfrm flipH="1">
                <a:off x="2585761" y="1791891"/>
                <a:ext cx="170694" cy="416900"/>
              </a:xfrm>
              <a:prstGeom prst="line">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stCxn id="90" idx="4"/>
                <a:endCxn id="91" idx="7"/>
              </p:cNvCxnSpPr>
              <p:nvPr/>
            </p:nvCxnSpPr>
            <p:spPr>
              <a:xfrm flipH="1">
                <a:off x="2706460" y="1791891"/>
                <a:ext cx="427538" cy="467395"/>
              </a:xfrm>
              <a:prstGeom prst="line">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96" name="Rectangle 8"/>
              <p:cNvSpPr txBox="1">
                <a:spLocks/>
              </p:cNvSpPr>
              <p:nvPr/>
            </p:nvSpPr>
            <p:spPr>
              <a:xfrm>
                <a:off x="1482282" y="1225360"/>
                <a:ext cx="2170804" cy="184666"/>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zh-CN" sz="1100" b="1" dirty="0">
                    <a:solidFill>
                      <a:schemeClr val="tx2"/>
                    </a:solidFill>
                    <a:ea typeface="楷体" panose="02010609060101010101" pitchFamily="49" charset="-122"/>
                    <a:cs typeface="SimSun"/>
                  </a:rPr>
                  <a:t>观察（输入）</a:t>
                </a:r>
              </a:p>
            </p:txBody>
          </p:sp>
          <p:sp>
            <p:nvSpPr>
              <p:cNvPr id="97" name="Rectangle 8"/>
              <p:cNvSpPr txBox="1">
                <a:spLocks/>
              </p:cNvSpPr>
              <p:nvPr/>
            </p:nvSpPr>
            <p:spPr>
              <a:xfrm>
                <a:off x="2029042" y="2601409"/>
                <a:ext cx="1077284" cy="228254"/>
              </a:xfrm>
              <a:prstGeom prst="rect">
                <a:avLst/>
              </a:prstGeom>
            </p:spPr>
            <p:txBody>
              <a:bodyPr vert="horz" wrap="squar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zh-CN" sz="1100" b="1" dirty="0">
                    <a:solidFill>
                      <a:schemeClr val="tx2"/>
                    </a:solidFill>
                    <a:ea typeface="楷体" panose="02010609060101010101" pitchFamily="49" charset="-122"/>
                    <a:cs typeface="SimSun"/>
                  </a:rPr>
                  <a:t>输出</a:t>
                </a:r>
              </a:p>
            </p:txBody>
          </p:sp>
          <p:sp>
            <p:nvSpPr>
              <p:cNvPr id="113" name="Rectangle 8"/>
              <p:cNvSpPr txBox="1">
                <a:spLocks/>
              </p:cNvSpPr>
              <p:nvPr/>
            </p:nvSpPr>
            <p:spPr>
              <a:xfrm>
                <a:off x="1482282" y="964900"/>
                <a:ext cx="2170804" cy="16927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b="1" dirty="0">
                    <a:solidFill>
                      <a:schemeClr val="tx2"/>
                    </a:solidFill>
                    <a:ea typeface="楷体" panose="02010609060101010101" pitchFamily="49" charset="-122"/>
                    <a:cs typeface="SimSun"/>
                  </a:rPr>
                  <a:t>监督</a:t>
                </a:r>
              </a:p>
            </p:txBody>
          </p:sp>
          <p:sp>
            <p:nvSpPr>
              <p:cNvPr id="98" name="Rectangle 97"/>
              <p:cNvSpPr>
                <a:spLocks/>
              </p:cNvSpPr>
              <p:nvPr/>
            </p:nvSpPr>
            <p:spPr>
              <a:xfrm>
                <a:off x="6458733" y="1197137"/>
                <a:ext cx="2203716" cy="1660749"/>
              </a:xfrm>
              <a:prstGeom prst="rect">
                <a:avLst/>
              </a:prstGeom>
              <a:solidFill>
                <a:schemeClr val="bg2"/>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a typeface="楷体" panose="02010609060101010101" pitchFamily="49" charset="-122"/>
                </a:endParaRPr>
              </a:p>
            </p:txBody>
          </p:sp>
          <p:pic>
            <p:nvPicPr>
              <p:cNvPr id="100" name="Picture 33" descr="https://upload.wikimedia.org/wikipedia/commons/thumb/2/28/DBSCAN-Gaussian-data.svg/2000px-DBSCAN-Gaussian-data.svg.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12834" r="12069" b="8244"/>
              <a:stretch/>
            </p:blipFill>
            <p:spPr bwMode="auto">
              <a:xfrm>
                <a:off x="6745013" y="1231980"/>
                <a:ext cx="1631155" cy="1591062"/>
              </a:xfrm>
              <a:prstGeom prst="rect">
                <a:avLst/>
              </a:prstGeom>
              <a:noFill/>
              <a:extLst>
                <a:ext uri="{909E8E84-426E-40DD-AFC4-6F175D3DCCD1}">
                  <a14:hiddenFill xmlns:a14="http://schemas.microsoft.com/office/drawing/2010/main">
                    <a:solidFill>
                      <a:srgbClr val="FFFFFF"/>
                    </a:solidFill>
                  </a14:hiddenFill>
                </a:ext>
              </a:extLst>
            </p:spPr>
          </p:pic>
          <p:sp>
            <p:nvSpPr>
              <p:cNvPr id="116" name="Rectangle 8"/>
              <p:cNvSpPr txBox="1">
                <a:spLocks/>
              </p:cNvSpPr>
              <p:nvPr/>
            </p:nvSpPr>
            <p:spPr>
              <a:xfrm>
                <a:off x="6448379" y="964900"/>
                <a:ext cx="2203716" cy="16927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b="1" dirty="0">
                    <a:solidFill>
                      <a:schemeClr val="tx2"/>
                    </a:solidFill>
                    <a:ea typeface="楷体" panose="02010609060101010101" pitchFamily="49" charset="-122"/>
                    <a:cs typeface="SimSun"/>
                  </a:rPr>
                  <a:t>无监督</a:t>
                </a:r>
              </a:p>
            </p:txBody>
          </p:sp>
          <p:grpSp>
            <p:nvGrpSpPr>
              <p:cNvPr id="17" name="Group 16"/>
              <p:cNvGrpSpPr/>
              <p:nvPr/>
            </p:nvGrpSpPr>
            <p:grpSpPr>
              <a:xfrm>
                <a:off x="605164" y="2904926"/>
                <a:ext cx="8057285" cy="677108"/>
                <a:chOff x="605164" y="2904926"/>
                <a:chExt cx="8057285" cy="677108"/>
              </a:xfrm>
            </p:grpSpPr>
            <p:sp>
              <p:nvSpPr>
                <p:cNvPr id="118" name="Rectangle 20"/>
                <p:cNvSpPr txBox="1">
                  <a:spLocks/>
                </p:cNvSpPr>
                <p:nvPr/>
              </p:nvSpPr>
              <p:spPr>
                <a:xfrm>
                  <a:off x="605164" y="2904926"/>
                  <a:ext cx="785143" cy="677108"/>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rIns="73152" rtlCol="0" anchor="ctr"/>
                <a:lstStyle>
                  <a:defPPr>
                    <a:defRPr lang="en-US"/>
                  </a:defPPr>
                  <a:lvl1pPr>
                    <a:defRPr sz="1200" b="1">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zh-CN" sz="1100" dirty="0">
                      <a:ea typeface="楷体" panose="02010609060101010101" pitchFamily="49" charset="-122"/>
                      <a:cs typeface="SimSun"/>
                    </a:rPr>
                    <a:t>什么情况下使用？</a:t>
                  </a:r>
                </a:p>
              </p:txBody>
            </p:sp>
            <p:grpSp>
              <p:nvGrpSpPr>
                <p:cNvPr id="16" name="Group 15"/>
                <p:cNvGrpSpPr>
                  <a:grpSpLocks/>
                </p:cNvGrpSpPr>
                <p:nvPr/>
              </p:nvGrpSpPr>
              <p:grpSpPr>
                <a:xfrm>
                  <a:off x="1831824" y="2904926"/>
                  <a:ext cx="6830625" cy="338554"/>
                  <a:chOff x="1831824" y="2904926"/>
                  <a:chExt cx="6830625" cy="338554"/>
                </a:xfrm>
              </p:grpSpPr>
              <p:sp>
                <p:nvSpPr>
                  <p:cNvPr id="119" name="Rectangle 22"/>
                  <p:cNvSpPr txBox="1">
                    <a:spLocks/>
                  </p:cNvSpPr>
                  <p:nvPr/>
                </p:nvSpPr>
                <p:spPr>
                  <a:xfrm>
                    <a:off x="4081735" y="2904926"/>
                    <a:ext cx="2231141" cy="338554"/>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dirty="0">
                        <a:ea typeface="楷体" panose="02010609060101010101" pitchFamily="49" charset="-122"/>
                        <a:cs typeface="SimSun"/>
                      </a:rPr>
                      <a:t>知道模型但无法求解，</a:t>
                    </a:r>
                    <a:r>
                      <a:rPr lang="zh-CN" sz="1100" i="1" dirty="0">
                        <a:ea typeface="楷体" panose="02010609060101010101" pitchFamily="49" charset="-122"/>
                        <a:cs typeface="SimSun"/>
                      </a:rPr>
                      <a:t>或者</a:t>
                    </a:r>
                    <a:r>
                      <a:rPr lang="zh-CN" sz="1100" dirty="0">
                        <a:ea typeface="楷体" panose="02010609060101010101" pitchFamily="49" charset="-122"/>
                        <a:cs typeface="SimSun"/>
                      </a:rPr>
                      <a:t>了解环境的唯一方式是与之互动</a:t>
                    </a:r>
                  </a:p>
                </p:txBody>
              </p:sp>
              <p:sp>
                <p:nvSpPr>
                  <p:cNvPr id="120" name="Rectangle 22"/>
                  <p:cNvSpPr txBox="1">
                    <a:spLocks/>
                  </p:cNvSpPr>
                  <p:nvPr/>
                </p:nvSpPr>
                <p:spPr>
                  <a:xfrm>
                    <a:off x="1831824" y="2904926"/>
                    <a:ext cx="1810516" cy="338554"/>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dirty="0">
                        <a:ea typeface="楷体" panose="02010609060101010101" pitchFamily="49" charset="-122"/>
                        <a:cs typeface="SimSun"/>
                      </a:rPr>
                      <a:t>知道怎样</a:t>
                    </a:r>
                    <a:r>
                      <a:rPr lang="zh-CN" altLang="en-US" sz="1100" dirty="0">
                        <a:ea typeface="楷体" panose="02010609060101010101" pitchFamily="49" charset="-122"/>
                        <a:cs typeface="SimSun"/>
                      </a:rPr>
                      <a:t>对</a:t>
                    </a:r>
                    <a:r>
                      <a:rPr lang="zh-CN" sz="1100" dirty="0">
                        <a:ea typeface="楷体" panose="02010609060101010101" pitchFamily="49" charset="-122"/>
                        <a:cs typeface="SimSun"/>
                      </a:rPr>
                      <a:t>数据分类，但</a:t>
                    </a:r>
                    <a:r>
                      <a:rPr lang="zh-CN" altLang="en-US" sz="1100" dirty="0">
                        <a:ea typeface="楷体" panose="02010609060101010101" pitchFamily="49" charset="-122"/>
                        <a:cs typeface="SimSun"/>
                      </a:rPr>
                      <a:t>想要让</a:t>
                    </a:r>
                    <a:r>
                      <a:rPr lang="zh-CN" sz="1100" dirty="0">
                        <a:ea typeface="楷体" panose="02010609060101010101" pitchFamily="49" charset="-122"/>
                        <a:cs typeface="SimSun"/>
                      </a:rPr>
                      <a:t>机器来做这件事</a:t>
                    </a:r>
                  </a:p>
                </p:txBody>
              </p:sp>
              <p:sp>
                <p:nvSpPr>
                  <p:cNvPr id="121" name="Rectangle 22"/>
                  <p:cNvSpPr txBox="1">
                    <a:spLocks/>
                  </p:cNvSpPr>
                  <p:nvPr/>
                </p:nvSpPr>
                <p:spPr>
                  <a:xfrm>
                    <a:off x="6781626" y="2904926"/>
                    <a:ext cx="1880823" cy="338554"/>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dirty="0">
                        <a:ea typeface="楷体" panose="02010609060101010101" pitchFamily="49" charset="-122"/>
                        <a:cs typeface="SimSun"/>
                      </a:rPr>
                      <a:t>不知道怎样</a:t>
                    </a:r>
                    <a:r>
                      <a:rPr lang="zh-CN" altLang="en-US" sz="1100" dirty="0">
                        <a:ea typeface="楷体" panose="02010609060101010101" pitchFamily="49" charset="-122"/>
                        <a:cs typeface="SimSun"/>
                      </a:rPr>
                      <a:t>对</a:t>
                    </a:r>
                    <a:r>
                      <a:rPr lang="zh-CN" sz="1100" dirty="0">
                        <a:ea typeface="楷体" panose="02010609060101010101" pitchFamily="49" charset="-122"/>
                        <a:cs typeface="SimSun"/>
                      </a:rPr>
                      <a:t>数据分类，</a:t>
                    </a:r>
                    <a:r>
                      <a:rPr lang="zh-CN" altLang="en-US" sz="1100" dirty="0">
                        <a:ea typeface="楷体" panose="02010609060101010101" pitchFamily="49" charset="-122"/>
                        <a:cs typeface="SimSun"/>
                      </a:rPr>
                      <a:t>想要让</a:t>
                    </a:r>
                    <a:r>
                      <a:rPr lang="zh-CN" sz="1100" dirty="0">
                        <a:ea typeface="楷体" panose="02010609060101010101" pitchFamily="49" charset="-122"/>
                        <a:cs typeface="SimSun"/>
                      </a:rPr>
                      <a:t>机器找</a:t>
                    </a:r>
                    <a:r>
                      <a:rPr lang="zh-CN" altLang="en-US" sz="1100" dirty="0">
                        <a:ea typeface="楷体" panose="02010609060101010101" pitchFamily="49" charset="-122"/>
                        <a:cs typeface="SimSun"/>
                      </a:rPr>
                      <a:t>出</a:t>
                    </a:r>
                    <a:r>
                      <a:rPr lang="zh-CN" sz="1100" dirty="0">
                        <a:ea typeface="楷体" panose="02010609060101010101" pitchFamily="49" charset="-122"/>
                        <a:cs typeface="SimSun"/>
                      </a:rPr>
                      <a:t>分类器</a:t>
                    </a:r>
                  </a:p>
                </p:txBody>
              </p:sp>
            </p:grpSp>
          </p:grpSp>
          <p:grpSp>
            <p:nvGrpSpPr>
              <p:cNvPr id="22" name="Group 21"/>
              <p:cNvGrpSpPr/>
              <p:nvPr/>
            </p:nvGrpSpPr>
            <p:grpSpPr>
              <a:xfrm>
                <a:off x="605164" y="3705946"/>
                <a:ext cx="8057285" cy="507831"/>
                <a:chOff x="605164" y="3661966"/>
                <a:chExt cx="8057285" cy="507831"/>
              </a:xfrm>
            </p:grpSpPr>
            <p:sp>
              <p:nvSpPr>
                <p:cNvPr id="123" name="Rectangle 22"/>
                <p:cNvSpPr txBox="1">
                  <a:spLocks/>
                </p:cNvSpPr>
                <p:nvPr/>
              </p:nvSpPr>
              <p:spPr>
                <a:xfrm>
                  <a:off x="4083518" y="3661966"/>
                  <a:ext cx="2231141" cy="338554"/>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dirty="0">
                      <a:ea typeface="楷体" panose="02010609060101010101" pitchFamily="49" charset="-122"/>
                      <a:cs typeface="SimSun"/>
                    </a:rPr>
                    <a:t>根据从重复试验中学习到的经验将CT扫描</a:t>
                  </a:r>
                  <a:r>
                    <a:rPr lang="zh-CN" altLang="en-US" sz="1100" dirty="0">
                      <a:ea typeface="楷体" panose="02010609060101010101" pitchFamily="49" charset="-122"/>
                      <a:cs typeface="SimSun"/>
                    </a:rPr>
                    <a:t>工作</a:t>
                  </a:r>
                  <a:r>
                    <a:rPr lang="zh-CN" sz="1100" dirty="0">
                      <a:ea typeface="楷体" panose="02010609060101010101" pitchFamily="49" charset="-122"/>
                      <a:cs typeface="SimSun"/>
                    </a:rPr>
                    <a:t>分配给</a:t>
                  </a:r>
                  <a:r>
                    <a:rPr lang="zh-CN" altLang="en-US" sz="1100" dirty="0">
                      <a:ea typeface="楷体" panose="02010609060101010101" pitchFamily="49" charset="-122"/>
                      <a:cs typeface="SimSun"/>
                    </a:rPr>
                    <a:t>分散的</a:t>
                  </a:r>
                  <a:r>
                    <a:rPr lang="zh-CN" sz="1100" dirty="0">
                      <a:ea typeface="楷体" panose="02010609060101010101" pitchFamily="49" charset="-122"/>
                      <a:cs typeface="SimSun"/>
                    </a:rPr>
                    <a:t>流程资源</a:t>
                  </a:r>
                </a:p>
              </p:txBody>
            </p:sp>
            <p:grpSp>
              <p:nvGrpSpPr>
                <p:cNvPr id="18" name="Group 17"/>
                <p:cNvGrpSpPr/>
                <p:nvPr/>
              </p:nvGrpSpPr>
              <p:grpSpPr>
                <a:xfrm>
                  <a:off x="605164" y="3661966"/>
                  <a:ext cx="3037176" cy="507831"/>
                  <a:chOff x="605164" y="3661966"/>
                  <a:chExt cx="3037176" cy="507831"/>
                </a:xfrm>
              </p:grpSpPr>
              <p:sp>
                <p:nvSpPr>
                  <p:cNvPr id="122" name="Rectangle 20"/>
                  <p:cNvSpPr txBox="1">
                    <a:spLocks/>
                  </p:cNvSpPr>
                  <p:nvPr/>
                </p:nvSpPr>
                <p:spPr>
                  <a:xfrm>
                    <a:off x="605164" y="3661966"/>
                    <a:ext cx="785143" cy="507831"/>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rIns="73152" rtlCol="0" anchor="ctr"/>
                  <a:lstStyle>
                    <a:defPPr>
                      <a:defRPr lang="en-US"/>
                    </a:defPPr>
                    <a:lvl1pPr>
                      <a:defRPr sz="1200" b="1">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zh-CN" sz="1100" dirty="0">
                        <a:ea typeface="楷体" panose="02010609060101010101" pitchFamily="49" charset="-122"/>
                        <a:cs typeface="SimSun"/>
                      </a:rPr>
                      <a:t>商业</a:t>
                    </a:r>
                    <a:r>
                      <a:rPr lang="zh-CN" altLang="en-US" sz="1100" dirty="0">
                        <a:ea typeface="楷体" panose="02010609060101010101" pitchFamily="49" charset="-122"/>
                        <a:cs typeface="SimSun"/>
                      </a:rPr>
                      <a:t>案例</a:t>
                    </a:r>
                    <a:endParaRPr lang="zh-CN" sz="1100" dirty="0">
                      <a:ea typeface="楷体" panose="02010609060101010101" pitchFamily="49" charset="-122"/>
                      <a:cs typeface="SimSun"/>
                    </a:endParaRPr>
                  </a:p>
                </p:txBody>
              </p:sp>
              <p:sp>
                <p:nvSpPr>
                  <p:cNvPr id="124" name="Rectangle 22"/>
                  <p:cNvSpPr txBox="1">
                    <a:spLocks/>
                  </p:cNvSpPr>
                  <p:nvPr/>
                </p:nvSpPr>
                <p:spPr>
                  <a:xfrm>
                    <a:off x="1831824" y="3661966"/>
                    <a:ext cx="1810516" cy="338554"/>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dirty="0">
                        <a:ea typeface="楷体" panose="02010609060101010101" pitchFamily="49" charset="-122"/>
                        <a:cs typeface="SimSun"/>
                      </a:rPr>
                      <a:t>根据申请信息确定求职者是否会成功</a:t>
                    </a:r>
                  </a:p>
                </p:txBody>
              </p:sp>
            </p:grpSp>
            <p:sp>
              <p:nvSpPr>
                <p:cNvPr id="125" name="Rectangle 22"/>
                <p:cNvSpPr txBox="1">
                  <a:spLocks/>
                </p:cNvSpPr>
                <p:nvPr/>
              </p:nvSpPr>
              <p:spPr>
                <a:xfrm>
                  <a:off x="6781626" y="3661966"/>
                  <a:ext cx="1880823" cy="16927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dirty="0">
                      <a:ea typeface="楷体" panose="02010609060101010101" pitchFamily="49" charset="-122"/>
                      <a:cs typeface="SimSun"/>
                    </a:rPr>
                    <a:t>为用户聚类相关新闻报道</a:t>
                  </a:r>
                </a:p>
              </p:txBody>
            </p:sp>
          </p:grpSp>
          <p:grpSp>
            <p:nvGrpSpPr>
              <p:cNvPr id="20" name="Group 19"/>
              <p:cNvGrpSpPr/>
              <p:nvPr/>
            </p:nvGrpSpPr>
            <p:grpSpPr>
              <a:xfrm>
                <a:off x="1537078" y="4907476"/>
                <a:ext cx="7125371" cy="338554"/>
                <a:chOff x="1537078" y="4914052"/>
                <a:chExt cx="7125371" cy="338554"/>
              </a:xfrm>
            </p:grpSpPr>
            <p:pic>
              <p:nvPicPr>
                <p:cNvPr id="147" name="Picture 10" descr="https://cdn2.iconfinder.com/data/icons/windows-8-metro-style/512/compute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67580" y="4914052"/>
                  <a:ext cx="231486" cy="233801"/>
                </a:xfrm>
                <a:prstGeom prst="rect">
                  <a:avLst/>
                </a:prstGeom>
                <a:noFill/>
                <a:extLst>
                  <a:ext uri="{909E8E84-426E-40DD-AFC4-6F175D3DCCD1}">
                    <a14:hiddenFill xmlns:a14="http://schemas.microsoft.com/office/drawing/2010/main">
                      <a:solidFill>
                        <a:srgbClr val="FFFFFF"/>
                      </a:solidFill>
                    </a14:hiddenFill>
                  </a:ext>
                </a:extLst>
              </p:spPr>
            </p:pic>
            <p:sp>
              <p:nvSpPr>
                <p:cNvPr id="130" name="Rectangle 22"/>
                <p:cNvSpPr txBox="1">
                  <a:spLocks/>
                </p:cNvSpPr>
                <p:nvPr/>
              </p:nvSpPr>
              <p:spPr>
                <a:xfrm>
                  <a:off x="4081735" y="4914052"/>
                  <a:ext cx="2231141" cy="16927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dirty="0">
                      <a:ea typeface="楷体" panose="02010609060101010101" pitchFamily="49" charset="-122"/>
                      <a:cs typeface="SimSun"/>
                    </a:rPr>
                    <a:t>机器获得环境反馈（观察和奖励）</a:t>
                  </a:r>
                </a:p>
              </p:txBody>
            </p:sp>
            <p:pic>
              <p:nvPicPr>
                <p:cNvPr id="150" name="Picture 10" descr="https://cdn2.iconfinder.com/data/icons/windows-8-metro-style/512/compute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37078" y="4914052"/>
                  <a:ext cx="231486" cy="233801"/>
                </a:xfrm>
                <a:prstGeom prst="rect">
                  <a:avLst/>
                </a:prstGeom>
                <a:noFill/>
                <a:extLst>
                  <a:ext uri="{909E8E84-426E-40DD-AFC4-6F175D3DCCD1}">
                    <a14:hiddenFill xmlns:a14="http://schemas.microsoft.com/office/drawing/2010/main">
                      <a:solidFill>
                        <a:srgbClr val="FFFFFF"/>
                      </a:solidFill>
                    </a14:hiddenFill>
                  </a:ext>
                </a:extLst>
              </p:spPr>
            </p:pic>
            <p:sp>
              <p:nvSpPr>
                <p:cNvPr id="133" name="Rectangle 22"/>
                <p:cNvSpPr txBox="1">
                  <a:spLocks/>
                </p:cNvSpPr>
                <p:nvPr/>
              </p:nvSpPr>
              <p:spPr>
                <a:xfrm>
                  <a:off x="1831824" y="4914052"/>
                  <a:ext cx="1810516" cy="338554"/>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dirty="0">
                      <a:ea typeface="楷体" panose="02010609060101010101" pitchFamily="49" charset="-122"/>
                      <a:cs typeface="SimSun"/>
                    </a:rPr>
                    <a:t>机器获得</a:t>
                  </a:r>
                  <a:r>
                    <a:rPr lang="zh-CN" sz="1100" b="1" dirty="0">
                      <a:solidFill>
                        <a:schemeClr val="tx2"/>
                      </a:solidFill>
                      <a:ea typeface="楷体" panose="02010609060101010101" pitchFamily="49" charset="-122"/>
                      <a:cs typeface="SimSun"/>
                    </a:rPr>
                    <a:t>有标记的训练数据</a:t>
                  </a:r>
                  <a:r>
                    <a:rPr lang="zh-CN" sz="1100" dirty="0">
                      <a:ea typeface="楷体" panose="02010609060101010101" pitchFamily="49" charset="-122"/>
                      <a:cs typeface="SimSun"/>
                    </a:rPr>
                    <a:t>，</a:t>
                  </a:r>
                  <a:r>
                    <a:rPr lang="zh-CN" altLang="en-US" sz="1100" dirty="0">
                      <a:ea typeface="楷体" panose="02010609060101010101" pitchFamily="49" charset="-122"/>
                      <a:cs typeface="SimSun"/>
                    </a:rPr>
                    <a:t>然后推导怎样</a:t>
                  </a:r>
                  <a:r>
                    <a:rPr lang="zh-CN" sz="1100" dirty="0">
                      <a:ea typeface="楷体" panose="02010609060101010101" pitchFamily="49" charset="-122"/>
                      <a:cs typeface="SimSun"/>
                    </a:rPr>
                    <a:t>标记数据</a:t>
                  </a:r>
                </a:p>
              </p:txBody>
            </p:sp>
            <p:pic>
              <p:nvPicPr>
                <p:cNvPr id="153" name="Picture 10" descr="https://cdn2.iconfinder.com/data/icons/windows-8-metro-style/512/compute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58733" y="4914052"/>
                  <a:ext cx="231486" cy="233801"/>
                </a:xfrm>
                <a:prstGeom prst="rect">
                  <a:avLst/>
                </a:prstGeom>
                <a:noFill/>
                <a:extLst>
                  <a:ext uri="{909E8E84-426E-40DD-AFC4-6F175D3DCCD1}">
                    <a14:hiddenFill xmlns:a14="http://schemas.microsoft.com/office/drawing/2010/main">
                      <a:solidFill>
                        <a:srgbClr val="FFFFFF"/>
                      </a:solidFill>
                    </a14:hiddenFill>
                  </a:ext>
                </a:extLst>
              </p:spPr>
            </p:pic>
            <p:sp>
              <p:nvSpPr>
                <p:cNvPr id="136" name="Rectangle 22"/>
                <p:cNvSpPr txBox="1">
                  <a:spLocks/>
                </p:cNvSpPr>
                <p:nvPr/>
              </p:nvSpPr>
              <p:spPr>
                <a:xfrm>
                  <a:off x="6781626" y="4914052"/>
                  <a:ext cx="1880823" cy="16927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dirty="0">
                      <a:ea typeface="楷体" panose="02010609060101010101" pitchFamily="49" charset="-122"/>
                      <a:cs typeface="SimSun"/>
                    </a:rPr>
                    <a:t>机器通过数据</a:t>
                  </a:r>
                  <a:r>
                    <a:rPr lang="zh-CN" altLang="en-US" sz="1100" dirty="0">
                      <a:ea typeface="楷体" panose="02010609060101010101" pitchFamily="49" charset="-122"/>
                      <a:cs typeface="SimSun"/>
                    </a:rPr>
                    <a:t>推导隐藏</a:t>
                  </a:r>
                  <a:r>
                    <a:rPr lang="zh-CN" sz="1100" dirty="0">
                      <a:ea typeface="楷体" panose="02010609060101010101" pitchFamily="49" charset="-122"/>
                      <a:cs typeface="SimSun"/>
                    </a:rPr>
                    <a:t>结构</a:t>
                  </a:r>
                </a:p>
              </p:txBody>
            </p:sp>
          </p:grpSp>
          <p:grpSp>
            <p:nvGrpSpPr>
              <p:cNvPr id="19" name="Group 18"/>
              <p:cNvGrpSpPr>
                <a:grpSpLocks/>
              </p:cNvGrpSpPr>
              <p:nvPr/>
            </p:nvGrpSpPr>
            <p:grpSpPr>
              <a:xfrm>
                <a:off x="1493029" y="4337689"/>
                <a:ext cx="7169420" cy="338554"/>
                <a:chOff x="1493029" y="4326289"/>
                <a:chExt cx="7169420" cy="338554"/>
              </a:xfrm>
            </p:grpSpPr>
            <p:pic>
              <p:nvPicPr>
                <p:cNvPr id="146" name="Picture 10" descr="https://cdn2.iconfinder.com/data/icons/windows-8-metro-style/512/compute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67580" y="4326289"/>
                  <a:ext cx="231486" cy="233801"/>
                </a:xfrm>
                <a:prstGeom prst="rect">
                  <a:avLst/>
                </a:prstGeom>
                <a:noFill/>
                <a:extLst>
                  <a:ext uri="{909E8E84-426E-40DD-AFC4-6F175D3DCCD1}">
                    <a14:hiddenFill xmlns:a14="http://schemas.microsoft.com/office/drawing/2010/main">
                      <a:solidFill>
                        <a:srgbClr val="FFFFFF"/>
                      </a:solidFill>
                    </a14:hiddenFill>
                  </a:ext>
                </a:extLst>
              </p:spPr>
            </p:pic>
            <p:sp>
              <p:nvSpPr>
                <p:cNvPr id="127" name="Rectangle 22"/>
                <p:cNvSpPr txBox="1">
                  <a:spLocks/>
                </p:cNvSpPr>
                <p:nvPr/>
              </p:nvSpPr>
              <p:spPr>
                <a:xfrm>
                  <a:off x="4081735" y="4326289"/>
                  <a:ext cx="2231141" cy="338554"/>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dirty="0">
                      <a:ea typeface="楷体" panose="02010609060101010101" pitchFamily="49" charset="-122"/>
                      <a:cs typeface="SimSun"/>
                    </a:rPr>
                    <a:t>机器对环境采取行动（例如，移动棋局上的一枚棋子）</a:t>
                  </a:r>
                </a:p>
              </p:txBody>
            </p:sp>
            <p:pic>
              <p:nvPicPr>
                <p:cNvPr id="149" name="Picture 8" descr="http://www.hbna.org/sites/default/files/person-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93029" y="4326289"/>
                  <a:ext cx="319585" cy="322781"/>
                </a:xfrm>
                <a:prstGeom prst="rect">
                  <a:avLst/>
                </a:prstGeom>
                <a:noFill/>
                <a:extLst>
                  <a:ext uri="{909E8E84-426E-40DD-AFC4-6F175D3DCCD1}">
                    <a14:hiddenFill xmlns:a14="http://schemas.microsoft.com/office/drawing/2010/main">
                      <a:solidFill>
                        <a:srgbClr val="FFFFFF"/>
                      </a:solidFill>
                    </a14:hiddenFill>
                  </a:ext>
                </a:extLst>
              </p:spPr>
            </p:pic>
            <p:sp>
              <p:nvSpPr>
                <p:cNvPr id="132" name="Rectangle 22"/>
                <p:cNvSpPr txBox="1">
                  <a:spLocks/>
                </p:cNvSpPr>
                <p:nvPr/>
              </p:nvSpPr>
              <p:spPr>
                <a:xfrm>
                  <a:off x="1831824" y="4326289"/>
                  <a:ext cx="1810516" cy="338554"/>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dirty="0">
                      <a:ea typeface="楷体" panose="02010609060101010101" pitchFamily="49" charset="-122"/>
                      <a:cs typeface="SimSun"/>
                    </a:rPr>
                    <a:t>工作人员以需要的输出</a:t>
                  </a:r>
                  <a:r>
                    <a:rPr lang="zh-CN" altLang="en-US" sz="1100" dirty="0">
                      <a:ea typeface="楷体" panose="02010609060101010101" pitchFamily="49" charset="-122"/>
                      <a:cs typeface="SimSun"/>
                    </a:rPr>
                    <a:t>结果</a:t>
                  </a:r>
                  <a:r>
                    <a:rPr lang="zh-CN" sz="1100" dirty="0">
                      <a:ea typeface="楷体" panose="02010609060101010101" pitchFamily="49" charset="-122"/>
                      <a:cs typeface="SimSun"/>
                    </a:rPr>
                    <a:t>标记输入数据</a:t>
                  </a:r>
                </a:p>
              </p:txBody>
            </p:sp>
            <p:pic>
              <p:nvPicPr>
                <p:cNvPr id="152" name="Picture 10" descr="https://cdn2.iconfinder.com/data/icons/windows-8-metro-style/512/compute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58733" y="4326289"/>
                  <a:ext cx="231486" cy="233801"/>
                </a:xfrm>
                <a:prstGeom prst="rect">
                  <a:avLst/>
                </a:prstGeom>
                <a:noFill/>
                <a:extLst>
                  <a:ext uri="{909E8E84-426E-40DD-AFC4-6F175D3DCCD1}">
                    <a14:hiddenFill xmlns:a14="http://schemas.microsoft.com/office/drawing/2010/main">
                      <a:solidFill>
                        <a:srgbClr val="FFFFFF"/>
                      </a:solidFill>
                    </a14:hiddenFill>
                  </a:ext>
                </a:extLst>
              </p:spPr>
            </p:pic>
            <p:sp>
              <p:nvSpPr>
                <p:cNvPr id="135" name="Rectangle 22"/>
                <p:cNvSpPr txBox="1">
                  <a:spLocks/>
                </p:cNvSpPr>
                <p:nvPr/>
              </p:nvSpPr>
              <p:spPr>
                <a:xfrm>
                  <a:off x="6781626" y="4326289"/>
                  <a:ext cx="1880823" cy="16927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dirty="0">
                      <a:ea typeface="楷体" panose="02010609060101010101" pitchFamily="49" charset="-122"/>
                      <a:cs typeface="SimSun"/>
                    </a:rPr>
                    <a:t>机器获得</a:t>
                  </a:r>
                  <a:r>
                    <a:rPr lang="zh-CN" sz="1100" b="1" dirty="0">
                      <a:solidFill>
                        <a:schemeClr val="tx2"/>
                      </a:solidFill>
                      <a:ea typeface="楷体" panose="02010609060101010101" pitchFamily="49" charset="-122"/>
                      <a:cs typeface="SimSun"/>
                    </a:rPr>
                    <a:t>无标记</a:t>
                  </a:r>
                  <a:r>
                    <a:rPr lang="zh-CN" sz="1100" dirty="0">
                      <a:ea typeface="楷体" panose="02010609060101010101" pitchFamily="49" charset="-122"/>
                      <a:cs typeface="SimSun"/>
                    </a:rPr>
                    <a:t>的输入数据</a:t>
                  </a:r>
                </a:p>
              </p:txBody>
            </p:sp>
          </p:grpSp>
          <p:grpSp>
            <p:nvGrpSpPr>
              <p:cNvPr id="21" name="Group 20"/>
              <p:cNvGrpSpPr/>
              <p:nvPr/>
            </p:nvGrpSpPr>
            <p:grpSpPr>
              <a:xfrm>
                <a:off x="1537078" y="5477266"/>
                <a:ext cx="7125371" cy="507831"/>
                <a:chOff x="1537078" y="5477266"/>
                <a:chExt cx="7125371" cy="507831"/>
              </a:xfrm>
            </p:grpSpPr>
            <p:sp>
              <p:nvSpPr>
                <p:cNvPr id="131" name="Rectangle 22"/>
                <p:cNvSpPr txBox="1">
                  <a:spLocks/>
                </p:cNvSpPr>
                <p:nvPr/>
              </p:nvSpPr>
              <p:spPr>
                <a:xfrm>
                  <a:off x="4081735" y="5477266"/>
                  <a:ext cx="2231141" cy="50783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dirty="0">
                      <a:ea typeface="楷体" panose="02010609060101010101" pitchFamily="49" charset="-122"/>
                      <a:cs typeface="SimSun"/>
                    </a:rPr>
                    <a:t>机器估计既定状态的价值</a:t>
                  </a:r>
                  <a:r>
                    <a:rPr lang="zh-CN" altLang="en-US" sz="1100" dirty="0">
                      <a:ea typeface="楷体" panose="02010609060101010101" pitchFamily="49" charset="-122"/>
                      <a:cs typeface="SimSun"/>
                    </a:rPr>
                    <a:t>，</a:t>
                  </a:r>
                  <a:r>
                    <a:rPr lang="zh-CN" sz="1100" dirty="0">
                      <a:ea typeface="楷体" panose="02010609060101010101" pitchFamily="49" charset="-122"/>
                      <a:cs typeface="SimSun"/>
                    </a:rPr>
                    <a:t>随时间推移而不断纠正</a:t>
                  </a:r>
                  <a:r>
                    <a:rPr lang="zh-CN" altLang="en-US" sz="1100" dirty="0">
                      <a:ea typeface="楷体" panose="02010609060101010101" pitchFamily="49" charset="-122"/>
                      <a:cs typeface="SimSun"/>
                    </a:rPr>
                    <a:t>，从而</a:t>
                  </a:r>
                  <a:r>
                    <a:rPr lang="zh-CN" sz="1100" dirty="0">
                      <a:ea typeface="楷体" panose="02010609060101010101" pitchFamily="49" charset="-122"/>
                      <a:cs typeface="SimSun"/>
                    </a:rPr>
                    <a:t>进行优化，得出最佳长期解决方案</a:t>
                  </a:r>
                </a:p>
              </p:txBody>
            </p:sp>
            <p:pic>
              <p:nvPicPr>
                <p:cNvPr id="148" name="Picture 10" descr="https://cdn2.iconfinder.com/data/icons/windows-8-metro-style/512/compute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67580" y="5477266"/>
                  <a:ext cx="231486" cy="233801"/>
                </a:xfrm>
                <a:prstGeom prst="rect">
                  <a:avLst/>
                </a:prstGeom>
                <a:noFill/>
                <a:extLst>
                  <a:ext uri="{909E8E84-426E-40DD-AFC4-6F175D3DCCD1}">
                    <a14:hiddenFill xmlns:a14="http://schemas.microsoft.com/office/drawing/2010/main">
                      <a:solidFill>
                        <a:srgbClr val="FFFFFF"/>
                      </a:solidFill>
                    </a14:hiddenFill>
                  </a:ext>
                </a:extLst>
              </p:spPr>
            </p:pic>
            <p:sp>
              <p:nvSpPr>
                <p:cNvPr id="134" name="Rectangle 22"/>
                <p:cNvSpPr txBox="1">
                  <a:spLocks/>
                </p:cNvSpPr>
                <p:nvPr/>
              </p:nvSpPr>
              <p:spPr>
                <a:xfrm>
                  <a:off x="1831824" y="5477266"/>
                  <a:ext cx="1810516" cy="338554"/>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dirty="0">
                      <a:ea typeface="楷体" panose="02010609060101010101" pitchFamily="49" charset="-122"/>
                      <a:cs typeface="SimSun"/>
                    </a:rPr>
                    <a:t>机器根据</a:t>
                  </a:r>
                  <a:r>
                    <a:rPr lang="zh-CN" altLang="en-US" sz="1100" dirty="0">
                      <a:ea typeface="楷体" panose="02010609060101010101" pitchFamily="49" charset="-122"/>
                      <a:cs typeface="SimSun"/>
                    </a:rPr>
                    <a:t>推导</a:t>
                  </a:r>
                  <a:r>
                    <a:rPr lang="zh-CN" sz="1100" dirty="0">
                      <a:ea typeface="楷体" panose="02010609060101010101" pitchFamily="49" charset="-122"/>
                      <a:cs typeface="SimSun"/>
                    </a:rPr>
                    <a:t>出的模型</a:t>
                  </a:r>
                  <a:r>
                    <a:rPr lang="zh-CN" sz="1100" b="1" dirty="0">
                      <a:solidFill>
                        <a:schemeClr val="tx2"/>
                      </a:solidFill>
                      <a:ea typeface="楷体" panose="02010609060101010101" pitchFamily="49" charset="-122"/>
                      <a:cs typeface="SimSun"/>
                    </a:rPr>
                    <a:t>预测新数据输出</a:t>
                  </a:r>
                </a:p>
              </p:txBody>
            </p:sp>
            <p:pic>
              <p:nvPicPr>
                <p:cNvPr id="151" name="Picture 10" descr="https://cdn2.iconfinder.com/data/icons/windows-8-metro-style/512/compute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37078" y="5477266"/>
                  <a:ext cx="231486" cy="233801"/>
                </a:xfrm>
                <a:prstGeom prst="rect">
                  <a:avLst/>
                </a:prstGeom>
                <a:noFill/>
                <a:extLst>
                  <a:ext uri="{909E8E84-426E-40DD-AFC4-6F175D3DCCD1}">
                    <a14:hiddenFill xmlns:a14="http://schemas.microsoft.com/office/drawing/2010/main">
                      <a:solidFill>
                        <a:srgbClr val="FFFFFF"/>
                      </a:solidFill>
                    </a14:hiddenFill>
                  </a:ext>
                </a:extLst>
              </p:spPr>
            </p:pic>
            <p:sp>
              <p:nvSpPr>
                <p:cNvPr id="137" name="Rectangle 22"/>
                <p:cNvSpPr txBox="1">
                  <a:spLocks/>
                </p:cNvSpPr>
                <p:nvPr/>
              </p:nvSpPr>
              <p:spPr>
                <a:xfrm>
                  <a:off x="6781626" y="5477266"/>
                  <a:ext cx="1880823" cy="338554"/>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100" dirty="0">
                      <a:ea typeface="楷体" panose="02010609060101010101" pitchFamily="49" charset="-122"/>
                      <a:cs typeface="SimSun"/>
                    </a:rPr>
                    <a:t>机器</a:t>
                  </a:r>
                  <a:r>
                    <a:rPr lang="zh-CN" sz="1100" b="1" dirty="0">
                      <a:solidFill>
                        <a:schemeClr val="tx2"/>
                      </a:solidFill>
                      <a:ea typeface="楷体" panose="02010609060101010101" pitchFamily="49" charset="-122"/>
                      <a:cs typeface="SimSun"/>
                    </a:rPr>
                    <a:t>返回结构</a:t>
                  </a:r>
                  <a:r>
                    <a:rPr lang="zh-CN" sz="1100" dirty="0">
                      <a:ea typeface="楷体" panose="02010609060101010101" pitchFamily="49" charset="-122"/>
                      <a:cs typeface="SimSun"/>
                    </a:rPr>
                    <a:t>，根据该结构对数据进行分类</a:t>
                  </a:r>
                </a:p>
              </p:txBody>
            </p:sp>
            <p:pic>
              <p:nvPicPr>
                <p:cNvPr id="154" name="Picture 10" descr="https://cdn2.iconfinder.com/data/icons/windows-8-metro-style/512/compute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58733" y="5477266"/>
                  <a:ext cx="231486" cy="23380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60" name="Straight Connector 159"/>
              <p:cNvCxnSpPr>
                <a:cxnSpLocks/>
              </p:cNvCxnSpPr>
              <p:nvPr/>
            </p:nvCxnSpPr>
            <p:spPr>
              <a:xfrm>
                <a:off x="1482282" y="3643990"/>
                <a:ext cx="7180167"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a:cxnSpLocks/>
              </p:cNvCxnSpPr>
              <p:nvPr/>
            </p:nvCxnSpPr>
            <p:spPr>
              <a:xfrm>
                <a:off x="1482282" y="4275733"/>
                <a:ext cx="7180167"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7" name="TextBox 8"/>
              <p:cNvSpPr txBox="1">
                <a:spLocks/>
              </p:cNvSpPr>
              <p:nvPr>
                <p:custDataLst>
                  <p:tags r:id="rId2"/>
                </p:custDataLst>
              </p:nvPr>
            </p:nvSpPr>
            <p:spPr>
              <a:xfrm>
                <a:off x="1418007" y="628466"/>
                <a:ext cx="7201176" cy="377165"/>
              </a:xfrm>
              <a:prstGeom prst="rightArrow">
                <a:avLst>
                  <a:gd name="adj1" fmla="val 54000"/>
                  <a:gd name="adj2" fmla="val 37676"/>
                </a:avLst>
              </a:prstGeom>
              <a:gradFill flip="none" rotWithShape="1">
                <a:gsLst>
                  <a:gs pos="0">
                    <a:schemeClr val="accent3"/>
                  </a:gs>
                  <a:gs pos="100000">
                    <a:schemeClr val="accent3">
                      <a:lumMod val="60000"/>
                      <a:lumOff val="40000"/>
                    </a:schemeClr>
                  </a:gs>
                </a:gsLst>
                <a:lin ang="108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tx1"/>
                    </a:solidFill>
                  </a:defRPr>
                </a:lvl1pPr>
              </a:lstStyle>
              <a:p>
                <a:pPr algn="l"/>
                <a:r>
                  <a:rPr lang="zh-CN" altLang="en-US" sz="1100" b="1" dirty="0">
                    <a:solidFill>
                      <a:schemeClr val="bg2"/>
                    </a:solidFill>
                    <a:ea typeface="楷体" panose="02010609060101010101" pitchFamily="49" charset="-122"/>
                    <a:cs typeface="SimSun"/>
                  </a:rPr>
                  <a:t>对</a:t>
                </a:r>
                <a:r>
                  <a:rPr lang="zh-CN" sz="1100" b="1" dirty="0">
                    <a:solidFill>
                      <a:schemeClr val="bg2"/>
                    </a:solidFill>
                    <a:ea typeface="楷体" panose="02010609060101010101" pitchFamily="49" charset="-122"/>
                    <a:cs typeface="SimSun"/>
                  </a:rPr>
                  <a:t>机器学习算法的反馈减少</a:t>
                </a:r>
              </a:p>
            </p:txBody>
          </p:sp>
        </p:grpSp>
      </p:grpSp>
      <p:pic>
        <p:nvPicPr>
          <p:cNvPr id="303113"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149476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6" name="Group 255"/>
          <p:cNvGrpSpPr>
            <a:grpSpLocks/>
          </p:cNvGrpSpPr>
          <p:nvPr/>
        </p:nvGrpSpPr>
        <p:grpSpPr>
          <a:xfrm>
            <a:off x="0" y="-1"/>
            <a:ext cx="8961438" cy="6721475"/>
            <a:chOff x="749301" y="-1"/>
            <a:chExt cx="8961438" cy="6721475"/>
          </a:xfrm>
        </p:grpSpPr>
        <p:grpSp>
          <p:nvGrpSpPr>
            <p:cNvPr id="277" name="Group 276"/>
            <p:cNvGrpSpPr>
              <a:grpSpLocks/>
            </p:cNvGrpSpPr>
            <p:nvPr/>
          </p:nvGrpSpPr>
          <p:grpSpPr>
            <a:xfrm>
              <a:off x="749301" y="-1"/>
              <a:ext cx="8961438" cy="6721475"/>
              <a:chOff x="-12625388" y="-4110038"/>
              <a:chExt cx="11771313" cy="11769726"/>
            </a:xfrm>
          </p:grpSpPr>
          <p:sp>
            <p:nvSpPr>
              <p:cNvPr id="279" name="Freeform 305"/>
              <p:cNvSpPr>
                <a:spLocks noEditPoints="1"/>
              </p:cNvSpPr>
              <p:nvPr/>
            </p:nvSpPr>
            <p:spPr bwMode="auto">
              <a:xfrm>
                <a:off x="-12625388" y="-4110038"/>
                <a:ext cx="11771313" cy="11769725"/>
              </a:xfrm>
              <a:custGeom>
                <a:avLst/>
                <a:gdLst>
                  <a:gd name="T0" fmla="*/ 15360 w 15446"/>
                  <a:gd name="T1" fmla="*/ 14351 h 15446"/>
                  <a:gd name="T2" fmla="*/ 11037 w 15446"/>
                  <a:gd name="T3" fmla="*/ 13656 h 15446"/>
                  <a:gd name="T4" fmla="*/ 5936 w 15446"/>
                  <a:gd name="T5" fmla="*/ 12632 h 15446"/>
                  <a:gd name="T6" fmla="*/ 13164 w 15446"/>
                  <a:gd name="T7" fmla="*/ 15446 h 15446"/>
                  <a:gd name="T8" fmla="*/ 7984 w 15446"/>
                  <a:gd name="T9" fmla="*/ 14465 h 15446"/>
                  <a:gd name="T10" fmla="*/ 4300 w 15446"/>
                  <a:gd name="T11" fmla="*/ 15446 h 15446"/>
                  <a:gd name="T12" fmla="*/ 750 w 15446"/>
                  <a:gd name="T13" fmla="*/ 12746 h 15446"/>
                  <a:gd name="T14" fmla="*/ 750 w 15446"/>
                  <a:gd name="T15" fmla="*/ 12746 h 15446"/>
                  <a:gd name="T16" fmla="*/ 750 w 15446"/>
                  <a:gd name="T17" fmla="*/ 12746 h 15446"/>
                  <a:gd name="T18" fmla="*/ 371 w 15446"/>
                  <a:gd name="T19" fmla="*/ 15010 h 15446"/>
                  <a:gd name="T20" fmla="*/ 14542 w 15446"/>
                  <a:gd name="T21" fmla="*/ 0 h 15446"/>
                  <a:gd name="T22" fmla="*/ 7468 w 15446"/>
                  <a:gd name="T23" fmla="*/ 1574 h 15446"/>
                  <a:gd name="T24" fmla="*/ 7468 w 15446"/>
                  <a:gd name="T25" fmla="*/ 1574 h 15446"/>
                  <a:gd name="T26" fmla="*/ 3502 w 15446"/>
                  <a:gd name="T27" fmla="*/ 2789 h 15446"/>
                  <a:gd name="T28" fmla="*/ 1065 w 15446"/>
                  <a:gd name="T29" fmla="*/ 1273 h 15446"/>
                  <a:gd name="T30" fmla="*/ 120 w 15446"/>
                  <a:gd name="T31" fmla="*/ 3894 h 15446"/>
                  <a:gd name="T32" fmla="*/ 1145 w 15446"/>
                  <a:gd name="T33" fmla="*/ 6872 h 15446"/>
                  <a:gd name="T34" fmla="*/ 0 w 15446"/>
                  <a:gd name="T35" fmla="*/ 7970 h 15446"/>
                  <a:gd name="T36" fmla="*/ 2324 w 15446"/>
                  <a:gd name="T37" fmla="*/ 8914 h 15446"/>
                  <a:gd name="T38" fmla="*/ 3502 w 15446"/>
                  <a:gd name="T39" fmla="*/ 10955 h 15446"/>
                  <a:gd name="T40" fmla="*/ 2324 w 15446"/>
                  <a:gd name="T41" fmla="*/ 8914 h 15446"/>
                  <a:gd name="T42" fmla="*/ 586 w 15446"/>
                  <a:gd name="T43" fmla="*/ 11428 h 15446"/>
                  <a:gd name="T44" fmla="*/ 3502 w 15446"/>
                  <a:gd name="T45" fmla="*/ 10956 h 15446"/>
                  <a:gd name="T46" fmla="*/ 4943 w 15446"/>
                  <a:gd name="T47" fmla="*/ 15446 h 15446"/>
                  <a:gd name="T48" fmla="*/ 901 w 15446"/>
                  <a:gd name="T49" fmla="*/ 1246 h 15446"/>
                  <a:gd name="T50" fmla="*/ 2324 w 15446"/>
                  <a:gd name="T51" fmla="*/ 748 h 15446"/>
                  <a:gd name="T52" fmla="*/ 45 w 15446"/>
                  <a:gd name="T53" fmla="*/ 0 h 15446"/>
                  <a:gd name="T54" fmla="*/ 3737 w 15446"/>
                  <a:gd name="T55" fmla="*/ 15446 h 15446"/>
                  <a:gd name="T56" fmla="*/ 11037 w 15446"/>
                  <a:gd name="T57" fmla="*/ 13656 h 15446"/>
                  <a:gd name="T58" fmla="*/ 8413 w 15446"/>
                  <a:gd name="T59" fmla="*/ 8879 h 15446"/>
                  <a:gd name="T60" fmla="*/ 10777 w 15446"/>
                  <a:gd name="T61" fmla="*/ 9480 h 15446"/>
                  <a:gd name="T62" fmla="*/ 14110 w 15446"/>
                  <a:gd name="T63" fmla="*/ 8914 h 15446"/>
                  <a:gd name="T64" fmla="*/ 12931 w 15446"/>
                  <a:gd name="T65" fmla="*/ 10955 h 15446"/>
                  <a:gd name="T66" fmla="*/ 14110 w 15446"/>
                  <a:gd name="T67" fmla="*/ 12997 h 15446"/>
                  <a:gd name="T68" fmla="*/ 2324 w 15446"/>
                  <a:gd name="T69" fmla="*/ 12997 h 15446"/>
                  <a:gd name="T70" fmla="*/ 5935 w 15446"/>
                  <a:gd name="T71" fmla="*/ 12631 h 15446"/>
                  <a:gd name="T72" fmla="*/ 5936 w 15446"/>
                  <a:gd name="T73" fmla="*/ 12632 h 15446"/>
                  <a:gd name="T74" fmla="*/ 12931 w 15446"/>
                  <a:gd name="T75" fmla="*/ 6872 h 15446"/>
                  <a:gd name="T76" fmla="*/ 12931 w 15446"/>
                  <a:gd name="T77" fmla="*/ 6872 h 15446"/>
                  <a:gd name="T78" fmla="*/ 5860 w 15446"/>
                  <a:gd name="T79" fmla="*/ 6872 h 15446"/>
                  <a:gd name="T80" fmla="*/ 7038 w 15446"/>
                  <a:gd name="T81" fmla="*/ 8914 h 15446"/>
                  <a:gd name="T82" fmla="*/ 15446 w 15446"/>
                  <a:gd name="T83" fmla="*/ 8914 h 15446"/>
                  <a:gd name="T84" fmla="*/ 8217 w 15446"/>
                  <a:gd name="T85" fmla="*/ 6872 h 15446"/>
                  <a:gd name="T86" fmla="*/ 4159 w 15446"/>
                  <a:gd name="T87" fmla="*/ 4109 h 15446"/>
                  <a:gd name="T88" fmla="*/ 4159 w 15446"/>
                  <a:gd name="T89" fmla="*/ 4109 h 15446"/>
                  <a:gd name="T90" fmla="*/ 2557 w 15446"/>
                  <a:gd name="T91" fmla="*/ 7302 h 15446"/>
                  <a:gd name="T92" fmla="*/ 5860 w 15446"/>
                  <a:gd name="T93" fmla="*/ 6872 h 15446"/>
                  <a:gd name="T94" fmla="*/ 15446 w 15446"/>
                  <a:gd name="T95" fmla="*/ 7072 h 15446"/>
                  <a:gd name="T96" fmla="*/ 10574 w 15446"/>
                  <a:gd name="T97" fmla="*/ 6872 h 15446"/>
                  <a:gd name="T98" fmla="*/ 10574 w 15446"/>
                  <a:gd name="T99" fmla="*/ 6872 h 15446"/>
                  <a:gd name="T100" fmla="*/ 9316 w 15446"/>
                  <a:gd name="T101" fmla="*/ 6257 h 15446"/>
                  <a:gd name="T102" fmla="*/ 12655 w 15446"/>
                  <a:gd name="T103" fmla="*/ 5604 h 15446"/>
                  <a:gd name="T104" fmla="*/ 9316 w 15446"/>
                  <a:gd name="T105" fmla="*/ 6257 h 15446"/>
                  <a:gd name="T106" fmla="*/ 12655 w 15446"/>
                  <a:gd name="T107" fmla="*/ 5604 h 15446"/>
                  <a:gd name="T108" fmla="*/ 8410 w 15446"/>
                  <a:gd name="T109" fmla="*/ 2581 h 15446"/>
                  <a:gd name="T110" fmla="*/ 7038 w 15446"/>
                  <a:gd name="T111" fmla="*/ 4831 h 15446"/>
                  <a:gd name="T112" fmla="*/ 14110 w 15446"/>
                  <a:gd name="T113" fmla="*/ 4831 h 15446"/>
                  <a:gd name="T114" fmla="*/ 14110 w 15446"/>
                  <a:gd name="T115" fmla="*/ 4831 h 15446"/>
                  <a:gd name="T116" fmla="*/ 4603 w 15446"/>
                  <a:gd name="T117" fmla="*/ 3765 h 15446"/>
                  <a:gd name="T118" fmla="*/ 9396 w 15446"/>
                  <a:gd name="T119" fmla="*/ 748 h 15446"/>
                  <a:gd name="T120" fmla="*/ 5859 w 15446"/>
                  <a:gd name="T121" fmla="*/ 2790 h 15446"/>
                  <a:gd name="T122" fmla="*/ 15446 w 15446"/>
                  <a:gd name="T123" fmla="*/ 1876 h 15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46" h="15446">
                    <a:moveTo>
                      <a:pt x="14929" y="15446"/>
                    </a:moveTo>
                    <a:lnTo>
                      <a:pt x="14929" y="15446"/>
                    </a:lnTo>
                    <a:lnTo>
                      <a:pt x="15360" y="14351"/>
                    </a:lnTo>
                    <a:lnTo>
                      <a:pt x="13552" y="15446"/>
                    </a:lnTo>
                    <a:lnTo>
                      <a:pt x="15360" y="14351"/>
                    </a:lnTo>
                    <a:lnTo>
                      <a:pt x="14710" y="13647"/>
                    </a:lnTo>
                    <a:lnTo>
                      <a:pt x="15360" y="14351"/>
                    </a:lnTo>
                    <a:lnTo>
                      <a:pt x="15446" y="14344"/>
                    </a:lnTo>
                    <a:lnTo>
                      <a:pt x="15446" y="14344"/>
                    </a:lnTo>
                    <a:lnTo>
                      <a:pt x="15360" y="14351"/>
                    </a:lnTo>
                    <a:lnTo>
                      <a:pt x="14929" y="15446"/>
                    </a:lnTo>
                    <a:moveTo>
                      <a:pt x="13164" y="15446"/>
                    </a:moveTo>
                    <a:lnTo>
                      <a:pt x="13164" y="15446"/>
                    </a:lnTo>
                    <a:lnTo>
                      <a:pt x="11037" y="13656"/>
                    </a:lnTo>
                    <a:lnTo>
                      <a:pt x="11394" y="15446"/>
                    </a:lnTo>
                    <a:lnTo>
                      <a:pt x="11394" y="15446"/>
                    </a:lnTo>
                    <a:lnTo>
                      <a:pt x="11037" y="13656"/>
                    </a:lnTo>
                    <a:lnTo>
                      <a:pt x="9396" y="12997"/>
                    </a:lnTo>
                    <a:lnTo>
                      <a:pt x="9395" y="12997"/>
                    </a:lnTo>
                    <a:lnTo>
                      <a:pt x="9396" y="12997"/>
                    </a:lnTo>
                    <a:lnTo>
                      <a:pt x="5936" y="12632"/>
                    </a:lnTo>
                    <a:lnTo>
                      <a:pt x="9395" y="12997"/>
                    </a:lnTo>
                    <a:lnTo>
                      <a:pt x="9395" y="12997"/>
                    </a:lnTo>
                    <a:lnTo>
                      <a:pt x="11037" y="13656"/>
                    </a:lnTo>
                    <a:lnTo>
                      <a:pt x="11037" y="13656"/>
                    </a:lnTo>
                    <a:lnTo>
                      <a:pt x="11037" y="13656"/>
                    </a:lnTo>
                    <a:lnTo>
                      <a:pt x="11037" y="13656"/>
                    </a:lnTo>
                    <a:lnTo>
                      <a:pt x="13164" y="15446"/>
                    </a:lnTo>
                    <a:moveTo>
                      <a:pt x="8513" y="15446"/>
                    </a:moveTo>
                    <a:lnTo>
                      <a:pt x="6538" y="15446"/>
                    </a:lnTo>
                    <a:lnTo>
                      <a:pt x="7984" y="14465"/>
                    </a:lnTo>
                    <a:lnTo>
                      <a:pt x="6538" y="15446"/>
                    </a:lnTo>
                    <a:lnTo>
                      <a:pt x="7984" y="14465"/>
                    </a:lnTo>
                    <a:lnTo>
                      <a:pt x="7376" y="13922"/>
                    </a:lnTo>
                    <a:lnTo>
                      <a:pt x="7984" y="14465"/>
                    </a:lnTo>
                    <a:lnTo>
                      <a:pt x="8513" y="15446"/>
                    </a:lnTo>
                    <a:moveTo>
                      <a:pt x="4943" y="15446"/>
                    </a:moveTo>
                    <a:lnTo>
                      <a:pt x="4943" y="15446"/>
                    </a:lnTo>
                    <a:lnTo>
                      <a:pt x="3564" y="14028"/>
                    </a:lnTo>
                    <a:lnTo>
                      <a:pt x="3502" y="15039"/>
                    </a:lnTo>
                    <a:lnTo>
                      <a:pt x="4300" y="15446"/>
                    </a:lnTo>
                    <a:lnTo>
                      <a:pt x="4300" y="15446"/>
                    </a:lnTo>
                    <a:lnTo>
                      <a:pt x="3502" y="15039"/>
                    </a:lnTo>
                    <a:lnTo>
                      <a:pt x="3502" y="15039"/>
                    </a:lnTo>
                    <a:lnTo>
                      <a:pt x="3502" y="15039"/>
                    </a:lnTo>
                    <a:lnTo>
                      <a:pt x="3564" y="14028"/>
                    </a:lnTo>
                    <a:lnTo>
                      <a:pt x="2324" y="12997"/>
                    </a:lnTo>
                    <a:lnTo>
                      <a:pt x="2324" y="12997"/>
                    </a:lnTo>
                    <a:lnTo>
                      <a:pt x="750" y="12746"/>
                    </a:lnTo>
                    <a:lnTo>
                      <a:pt x="750" y="12746"/>
                    </a:lnTo>
                    <a:lnTo>
                      <a:pt x="750" y="12746"/>
                    </a:lnTo>
                    <a:lnTo>
                      <a:pt x="750" y="12746"/>
                    </a:lnTo>
                    <a:lnTo>
                      <a:pt x="586" y="11428"/>
                    </a:lnTo>
                    <a:lnTo>
                      <a:pt x="0" y="11274"/>
                    </a:lnTo>
                    <a:lnTo>
                      <a:pt x="0" y="12062"/>
                    </a:lnTo>
                    <a:lnTo>
                      <a:pt x="750" y="12746"/>
                    </a:lnTo>
                    <a:lnTo>
                      <a:pt x="750" y="12746"/>
                    </a:lnTo>
                    <a:lnTo>
                      <a:pt x="0" y="12062"/>
                    </a:lnTo>
                    <a:lnTo>
                      <a:pt x="750" y="12746"/>
                    </a:lnTo>
                    <a:lnTo>
                      <a:pt x="0" y="13667"/>
                    </a:lnTo>
                    <a:lnTo>
                      <a:pt x="0" y="15111"/>
                    </a:lnTo>
                    <a:lnTo>
                      <a:pt x="371" y="15010"/>
                    </a:lnTo>
                    <a:lnTo>
                      <a:pt x="750" y="12746"/>
                    </a:lnTo>
                    <a:lnTo>
                      <a:pt x="750" y="12746"/>
                    </a:lnTo>
                    <a:lnTo>
                      <a:pt x="372" y="15010"/>
                    </a:lnTo>
                    <a:lnTo>
                      <a:pt x="1152" y="14205"/>
                    </a:lnTo>
                    <a:lnTo>
                      <a:pt x="372" y="15010"/>
                    </a:lnTo>
                    <a:lnTo>
                      <a:pt x="482" y="15446"/>
                    </a:lnTo>
                    <a:lnTo>
                      <a:pt x="482" y="15446"/>
                    </a:lnTo>
                    <a:lnTo>
                      <a:pt x="371" y="15010"/>
                    </a:lnTo>
                    <a:lnTo>
                      <a:pt x="0" y="15111"/>
                    </a:lnTo>
                    <a:lnTo>
                      <a:pt x="0" y="15446"/>
                    </a:lnTo>
                    <a:lnTo>
                      <a:pt x="0" y="0"/>
                    </a:lnTo>
                    <a:lnTo>
                      <a:pt x="15446" y="0"/>
                    </a:lnTo>
                    <a:lnTo>
                      <a:pt x="14542" y="0"/>
                    </a:lnTo>
                    <a:lnTo>
                      <a:pt x="14110" y="748"/>
                    </a:lnTo>
                    <a:lnTo>
                      <a:pt x="14542" y="0"/>
                    </a:lnTo>
                    <a:lnTo>
                      <a:pt x="8964" y="0"/>
                    </a:lnTo>
                    <a:lnTo>
                      <a:pt x="9395" y="747"/>
                    </a:lnTo>
                    <a:lnTo>
                      <a:pt x="9395" y="747"/>
                    </a:lnTo>
                    <a:lnTo>
                      <a:pt x="8964" y="0"/>
                    </a:lnTo>
                    <a:lnTo>
                      <a:pt x="7879" y="0"/>
                    </a:lnTo>
                    <a:lnTo>
                      <a:pt x="7468" y="1574"/>
                    </a:lnTo>
                    <a:lnTo>
                      <a:pt x="7468" y="1574"/>
                    </a:lnTo>
                    <a:lnTo>
                      <a:pt x="7879" y="0"/>
                    </a:lnTo>
                    <a:lnTo>
                      <a:pt x="6111" y="0"/>
                    </a:lnTo>
                    <a:lnTo>
                      <a:pt x="7468" y="1574"/>
                    </a:lnTo>
                    <a:lnTo>
                      <a:pt x="6111" y="0"/>
                    </a:lnTo>
                    <a:lnTo>
                      <a:pt x="4249" y="0"/>
                    </a:lnTo>
                    <a:lnTo>
                      <a:pt x="4681" y="748"/>
                    </a:lnTo>
                    <a:lnTo>
                      <a:pt x="7468" y="1574"/>
                    </a:lnTo>
                    <a:lnTo>
                      <a:pt x="7468" y="1574"/>
                    </a:lnTo>
                    <a:lnTo>
                      <a:pt x="4681" y="748"/>
                    </a:lnTo>
                    <a:lnTo>
                      <a:pt x="5860" y="2789"/>
                    </a:lnTo>
                    <a:lnTo>
                      <a:pt x="5859" y="2789"/>
                    </a:lnTo>
                    <a:lnTo>
                      <a:pt x="4681" y="748"/>
                    </a:lnTo>
                    <a:lnTo>
                      <a:pt x="3502" y="2790"/>
                    </a:lnTo>
                    <a:lnTo>
                      <a:pt x="3502" y="2789"/>
                    </a:lnTo>
                    <a:lnTo>
                      <a:pt x="4681" y="748"/>
                    </a:lnTo>
                    <a:lnTo>
                      <a:pt x="2324" y="748"/>
                    </a:lnTo>
                    <a:lnTo>
                      <a:pt x="3502" y="2789"/>
                    </a:lnTo>
                    <a:lnTo>
                      <a:pt x="3502" y="2789"/>
                    </a:lnTo>
                    <a:lnTo>
                      <a:pt x="2324" y="748"/>
                    </a:lnTo>
                    <a:lnTo>
                      <a:pt x="1065" y="1273"/>
                    </a:lnTo>
                    <a:lnTo>
                      <a:pt x="1065" y="1273"/>
                    </a:lnTo>
                    <a:lnTo>
                      <a:pt x="1065" y="1273"/>
                    </a:lnTo>
                    <a:lnTo>
                      <a:pt x="1065" y="1273"/>
                    </a:lnTo>
                    <a:lnTo>
                      <a:pt x="120" y="3894"/>
                    </a:lnTo>
                    <a:lnTo>
                      <a:pt x="2324" y="4831"/>
                    </a:lnTo>
                    <a:lnTo>
                      <a:pt x="2324" y="4831"/>
                    </a:lnTo>
                    <a:lnTo>
                      <a:pt x="120" y="3894"/>
                    </a:lnTo>
                    <a:lnTo>
                      <a:pt x="120" y="3894"/>
                    </a:lnTo>
                    <a:lnTo>
                      <a:pt x="1065" y="1273"/>
                    </a:lnTo>
                    <a:lnTo>
                      <a:pt x="0" y="1982"/>
                    </a:lnTo>
                    <a:lnTo>
                      <a:pt x="0" y="3795"/>
                    </a:lnTo>
                    <a:lnTo>
                      <a:pt x="120" y="3894"/>
                    </a:lnTo>
                    <a:lnTo>
                      <a:pt x="120" y="3894"/>
                    </a:lnTo>
                    <a:lnTo>
                      <a:pt x="270" y="4331"/>
                    </a:lnTo>
                    <a:lnTo>
                      <a:pt x="1145" y="6872"/>
                    </a:lnTo>
                    <a:lnTo>
                      <a:pt x="270" y="4331"/>
                    </a:lnTo>
                    <a:lnTo>
                      <a:pt x="1145" y="6872"/>
                    </a:lnTo>
                    <a:lnTo>
                      <a:pt x="2088" y="5239"/>
                    </a:lnTo>
                    <a:lnTo>
                      <a:pt x="1145" y="6872"/>
                    </a:lnTo>
                    <a:lnTo>
                      <a:pt x="1145" y="6872"/>
                    </a:lnTo>
                    <a:lnTo>
                      <a:pt x="1109" y="6907"/>
                    </a:lnTo>
                    <a:lnTo>
                      <a:pt x="0" y="7970"/>
                    </a:lnTo>
                    <a:lnTo>
                      <a:pt x="1109" y="6907"/>
                    </a:lnTo>
                    <a:lnTo>
                      <a:pt x="0" y="7970"/>
                    </a:lnTo>
                    <a:lnTo>
                      <a:pt x="0" y="8978"/>
                    </a:lnTo>
                    <a:lnTo>
                      <a:pt x="2324" y="8914"/>
                    </a:lnTo>
                    <a:lnTo>
                      <a:pt x="1145" y="6872"/>
                    </a:lnTo>
                    <a:lnTo>
                      <a:pt x="2324" y="8914"/>
                    </a:lnTo>
                    <a:lnTo>
                      <a:pt x="2324" y="8914"/>
                    </a:lnTo>
                    <a:lnTo>
                      <a:pt x="4116" y="9609"/>
                    </a:lnTo>
                    <a:lnTo>
                      <a:pt x="3114" y="8126"/>
                    </a:lnTo>
                    <a:lnTo>
                      <a:pt x="4116" y="9609"/>
                    </a:lnTo>
                    <a:lnTo>
                      <a:pt x="5860" y="10955"/>
                    </a:lnTo>
                    <a:lnTo>
                      <a:pt x="5859" y="10955"/>
                    </a:lnTo>
                    <a:lnTo>
                      <a:pt x="4116" y="9609"/>
                    </a:lnTo>
                    <a:lnTo>
                      <a:pt x="3502" y="10955"/>
                    </a:lnTo>
                    <a:lnTo>
                      <a:pt x="3502" y="10955"/>
                    </a:lnTo>
                    <a:lnTo>
                      <a:pt x="3502" y="10955"/>
                    </a:lnTo>
                    <a:lnTo>
                      <a:pt x="3502" y="10955"/>
                    </a:lnTo>
                    <a:lnTo>
                      <a:pt x="4116" y="9609"/>
                    </a:lnTo>
                    <a:lnTo>
                      <a:pt x="2324" y="8914"/>
                    </a:lnTo>
                    <a:lnTo>
                      <a:pt x="2324" y="8914"/>
                    </a:lnTo>
                    <a:lnTo>
                      <a:pt x="2324" y="8914"/>
                    </a:lnTo>
                    <a:lnTo>
                      <a:pt x="2324" y="8914"/>
                    </a:lnTo>
                    <a:lnTo>
                      <a:pt x="2324" y="8914"/>
                    </a:lnTo>
                    <a:lnTo>
                      <a:pt x="0" y="8978"/>
                    </a:lnTo>
                    <a:lnTo>
                      <a:pt x="0" y="11274"/>
                    </a:lnTo>
                    <a:lnTo>
                      <a:pt x="586" y="11428"/>
                    </a:lnTo>
                    <a:lnTo>
                      <a:pt x="1542" y="10045"/>
                    </a:lnTo>
                    <a:lnTo>
                      <a:pt x="586" y="11428"/>
                    </a:lnTo>
                    <a:lnTo>
                      <a:pt x="3502" y="10955"/>
                    </a:lnTo>
                    <a:lnTo>
                      <a:pt x="586" y="11428"/>
                    </a:lnTo>
                    <a:lnTo>
                      <a:pt x="750" y="12746"/>
                    </a:lnTo>
                    <a:lnTo>
                      <a:pt x="2324" y="12997"/>
                    </a:lnTo>
                    <a:lnTo>
                      <a:pt x="2324" y="12997"/>
                    </a:lnTo>
                    <a:lnTo>
                      <a:pt x="3564" y="14028"/>
                    </a:lnTo>
                    <a:lnTo>
                      <a:pt x="3502" y="10956"/>
                    </a:lnTo>
                    <a:lnTo>
                      <a:pt x="3564" y="14028"/>
                    </a:lnTo>
                    <a:lnTo>
                      <a:pt x="5860" y="10956"/>
                    </a:lnTo>
                    <a:lnTo>
                      <a:pt x="5860" y="10956"/>
                    </a:lnTo>
                    <a:lnTo>
                      <a:pt x="3564" y="14028"/>
                    </a:lnTo>
                    <a:lnTo>
                      <a:pt x="3564" y="14028"/>
                    </a:lnTo>
                    <a:lnTo>
                      <a:pt x="3564" y="14028"/>
                    </a:lnTo>
                    <a:lnTo>
                      <a:pt x="4943" y="15446"/>
                    </a:lnTo>
                    <a:moveTo>
                      <a:pt x="0" y="3795"/>
                    </a:moveTo>
                    <a:lnTo>
                      <a:pt x="120" y="3894"/>
                    </a:lnTo>
                    <a:lnTo>
                      <a:pt x="0" y="3795"/>
                    </a:lnTo>
                    <a:moveTo>
                      <a:pt x="0" y="1099"/>
                    </a:moveTo>
                    <a:lnTo>
                      <a:pt x="0" y="1982"/>
                    </a:lnTo>
                    <a:lnTo>
                      <a:pt x="1065" y="1273"/>
                    </a:lnTo>
                    <a:lnTo>
                      <a:pt x="901" y="1246"/>
                    </a:lnTo>
                    <a:lnTo>
                      <a:pt x="1065" y="1273"/>
                    </a:lnTo>
                    <a:lnTo>
                      <a:pt x="2324" y="748"/>
                    </a:lnTo>
                    <a:lnTo>
                      <a:pt x="0" y="916"/>
                    </a:lnTo>
                    <a:lnTo>
                      <a:pt x="0" y="1099"/>
                    </a:lnTo>
                    <a:moveTo>
                      <a:pt x="0" y="52"/>
                    </a:moveTo>
                    <a:lnTo>
                      <a:pt x="0" y="916"/>
                    </a:lnTo>
                    <a:lnTo>
                      <a:pt x="2324" y="748"/>
                    </a:lnTo>
                    <a:lnTo>
                      <a:pt x="4681" y="748"/>
                    </a:lnTo>
                    <a:lnTo>
                      <a:pt x="4249" y="0"/>
                    </a:lnTo>
                    <a:lnTo>
                      <a:pt x="1892" y="0"/>
                    </a:lnTo>
                    <a:lnTo>
                      <a:pt x="2324" y="748"/>
                    </a:lnTo>
                    <a:lnTo>
                      <a:pt x="2324" y="748"/>
                    </a:lnTo>
                    <a:lnTo>
                      <a:pt x="1892" y="0"/>
                    </a:lnTo>
                    <a:lnTo>
                      <a:pt x="45" y="0"/>
                    </a:lnTo>
                    <a:lnTo>
                      <a:pt x="0" y="52"/>
                    </a:lnTo>
                    <a:moveTo>
                      <a:pt x="0" y="0"/>
                    </a:moveTo>
                    <a:lnTo>
                      <a:pt x="0" y="52"/>
                    </a:lnTo>
                    <a:lnTo>
                      <a:pt x="44" y="0"/>
                    </a:lnTo>
                    <a:lnTo>
                      <a:pt x="0" y="0"/>
                    </a:lnTo>
                    <a:moveTo>
                      <a:pt x="3737" y="15446"/>
                    </a:moveTo>
                    <a:lnTo>
                      <a:pt x="3737" y="15446"/>
                    </a:lnTo>
                    <a:lnTo>
                      <a:pt x="3502" y="15039"/>
                    </a:lnTo>
                    <a:lnTo>
                      <a:pt x="3737" y="15446"/>
                    </a:lnTo>
                    <a:moveTo>
                      <a:pt x="1074" y="15446"/>
                    </a:moveTo>
                    <a:lnTo>
                      <a:pt x="1074" y="15446"/>
                    </a:lnTo>
                    <a:lnTo>
                      <a:pt x="800" y="15275"/>
                    </a:lnTo>
                    <a:lnTo>
                      <a:pt x="1074" y="15446"/>
                    </a:lnTo>
                    <a:moveTo>
                      <a:pt x="11037" y="13656"/>
                    </a:moveTo>
                    <a:lnTo>
                      <a:pt x="12931" y="10955"/>
                    </a:lnTo>
                    <a:lnTo>
                      <a:pt x="10777" y="9480"/>
                    </a:lnTo>
                    <a:lnTo>
                      <a:pt x="10433" y="11715"/>
                    </a:lnTo>
                    <a:lnTo>
                      <a:pt x="10433" y="11715"/>
                    </a:lnTo>
                    <a:lnTo>
                      <a:pt x="10433" y="11715"/>
                    </a:lnTo>
                    <a:lnTo>
                      <a:pt x="10777" y="9480"/>
                    </a:lnTo>
                    <a:lnTo>
                      <a:pt x="8413" y="8879"/>
                    </a:lnTo>
                    <a:lnTo>
                      <a:pt x="8413" y="8879"/>
                    </a:lnTo>
                    <a:lnTo>
                      <a:pt x="8413" y="8879"/>
                    </a:lnTo>
                    <a:lnTo>
                      <a:pt x="8413" y="8879"/>
                    </a:lnTo>
                    <a:lnTo>
                      <a:pt x="7038" y="8914"/>
                    </a:lnTo>
                    <a:lnTo>
                      <a:pt x="7038" y="8914"/>
                    </a:lnTo>
                    <a:lnTo>
                      <a:pt x="8413" y="8879"/>
                    </a:lnTo>
                    <a:lnTo>
                      <a:pt x="10777" y="9480"/>
                    </a:lnTo>
                    <a:lnTo>
                      <a:pt x="10777" y="9480"/>
                    </a:lnTo>
                    <a:lnTo>
                      <a:pt x="10777" y="9480"/>
                    </a:lnTo>
                    <a:lnTo>
                      <a:pt x="10777" y="9480"/>
                    </a:lnTo>
                    <a:lnTo>
                      <a:pt x="12931" y="10955"/>
                    </a:lnTo>
                    <a:lnTo>
                      <a:pt x="13871" y="11844"/>
                    </a:lnTo>
                    <a:lnTo>
                      <a:pt x="14110" y="8914"/>
                    </a:lnTo>
                    <a:lnTo>
                      <a:pt x="14110" y="8914"/>
                    </a:lnTo>
                    <a:lnTo>
                      <a:pt x="13871" y="11844"/>
                    </a:lnTo>
                    <a:lnTo>
                      <a:pt x="15446" y="11473"/>
                    </a:lnTo>
                    <a:lnTo>
                      <a:pt x="15446" y="11473"/>
                    </a:lnTo>
                    <a:lnTo>
                      <a:pt x="13871" y="11844"/>
                    </a:lnTo>
                    <a:lnTo>
                      <a:pt x="14069" y="12799"/>
                    </a:lnTo>
                    <a:lnTo>
                      <a:pt x="13871" y="11844"/>
                    </a:lnTo>
                    <a:lnTo>
                      <a:pt x="12931" y="10955"/>
                    </a:lnTo>
                    <a:lnTo>
                      <a:pt x="14110" y="12997"/>
                    </a:lnTo>
                    <a:lnTo>
                      <a:pt x="14110" y="12997"/>
                    </a:lnTo>
                    <a:lnTo>
                      <a:pt x="14110" y="12997"/>
                    </a:lnTo>
                    <a:lnTo>
                      <a:pt x="12931" y="10955"/>
                    </a:lnTo>
                    <a:lnTo>
                      <a:pt x="11037" y="13656"/>
                    </a:lnTo>
                    <a:moveTo>
                      <a:pt x="15446" y="12997"/>
                    </a:moveTo>
                    <a:lnTo>
                      <a:pt x="14110" y="12997"/>
                    </a:lnTo>
                    <a:lnTo>
                      <a:pt x="14110" y="12997"/>
                    </a:lnTo>
                    <a:lnTo>
                      <a:pt x="15446" y="12997"/>
                    </a:lnTo>
                    <a:lnTo>
                      <a:pt x="15446" y="12997"/>
                    </a:lnTo>
                    <a:moveTo>
                      <a:pt x="2324" y="12997"/>
                    </a:moveTo>
                    <a:lnTo>
                      <a:pt x="586" y="11428"/>
                    </a:lnTo>
                    <a:lnTo>
                      <a:pt x="2324" y="12997"/>
                    </a:lnTo>
                    <a:lnTo>
                      <a:pt x="2324" y="12997"/>
                    </a:lnTo>
                    <a:moveTo>
                      <a:pt x="750" y="12746"/>
                    </a:moveTo>
                    <a:lnTo>
                      <a:pt x="750" y="12746"/>
                    </a:lnTo>
                    <a:lnTo>
                      <a:pt x="750" y="12746"/>
                    </a:lnTo>
                    <a:lnTo>
                      <a:pt x="750" y="12746"/>
                    </a:lnTo>
                    <a:lnTo>
                      <a:pt x="750" y="12746"/>
                    </a:lnTo>
                    <a:moveTo>
                      <a:pt x="5936" y="12632"/>
                    </a:moveTo>
                    <a:lnTo>
                      <a:pt x="5935" y="12631"/>
                    </a:lnTo>
                    <a:lnTo>
                      <a:pt x="7357" y="11428"/>
                    </a:lnTo>
                    <a:lnTo>
                      <a:pt x="5860" y="10955"/>
                    </a:lnTo>
                    <a:lnTo>
                      <a:pt x="5860" y="10955"/>
                    </a:lnTo>
                    <a:lnTo>
                      <a:pt x="7357" y="11428"/>
                    </a:lnTo>
                    <a:lnTo>
                      <a:pt x="7093" y="9346"/>
                    </a:lnTo>
                    <a:lnTo>
                      <a:pt x="7357" y="11428"/>
                    </a:lnTo>
                    <a:lnTo>
                      <a:pt x="5936" y="12632"/>
                    </a:lnTo>
                    <a:moveTo>
                      <a:pt x="5935" y="12632"/>
                    </a:moveTo>
                    <a:lnTo>
                      <a:pt x="5927" y="12440"/>
                    </a:lnTo>
                    <a:lnTo>
                      <a:pt x="5935" y="12631"/>
                    </a:lnTo>
                    <a:moveTo>
                      <a:pt x="10777" y="9480"/>
                    </a:moveTo>
                    <a:lnTo>
                      <a:pt x="12931" y="6872"/>
                    </a:lnTo>
                    <a:lnTo>
                      <a:pt x="10574" y="6872"/>
                    </a:lnTo>
                    <a:lnTo>
                      <a:pt x="12931" y="6872"/>
                    </a:lnTo>
                    <a:lnTo>
                      <a:pt x="12818" y="6352"/>
                    </a:lnTo>
                    <a:lnTo>
                      <a:pt x="12931" y="6872"/>
                    </a:lnTo>
                    <a:lnTo>
                      <a:pt x="15446" y="7725"/>
                    </a:lnTo>
                    <a:lnTo>
                      <a:pt x="15446" y="7725"/>
                    </a:lnTo>
                    <a:lnTo>
                      <a:pt x="12931" y="6872"/>
                    </a:lnTo>
                    <a:lnTo>
                      <a:pt x="14110" y="8914"/>
                    </a:lnTo>
                    <a:lnTo>
                      <a:pt x="12931" y="6872"/>
                    </a:lnTo>
                    <a:lnTo>
                      <a:pt x="10777" y="9480"/>
                    </a:lnTo>
                    <a:lnTo>
                      <a:pt x="10777" y="9480"/>
                    </a:lnTo>
                    <a:moveTo>
                      <a:pt x="7038" y="8914"/>
                    </a:moveTo>
                    <a:lnTo>
                      <a:pt x="7038" y="8914"/>
                    </a:lnTo>
                    <a:lnTo>
                      <a:pt x="8217" y="6872"/>
                    </a:lnTo>
                    <a:lnTo>
                      <a:pt x="5860" y="6872"/>
                    </a:lnTo>
                    <a:lnTo>
                      <a:pt x="5860" y="6872"/>
                    </a:lnTo>
                    <a:lnTo>
                      <a:pt x="8217" y="6872"/>
                    </a:lnTo>
                    <a:lnTo>
                      <a:pt x="7366" y="5398"/>
                    </a:lnTo>
                    <a:lnTo>
                      <a:pt x="8217" y="6872"/>
                    </a:lnTo>
                    <a:lnTo>
                      <a:pt x="9050" y="6406"/>
                    </a:lnTo>
                    <a:lnTo>
                      <a:pt x="8217" y="6872"/>
                    </a:lnTo>
                    <a:lnTo>
                      <a:pt x="8217" y="6872"/>
                    </a:lnTo>
                    <a:lnTo>
                      <a:pt x="7038" y="8914"/>
                    </a:lnTo>
                    <a:moveTo>
                      <a:pt x="7038" y="8914"/>
                    </a:moveTo>
                    <a:lnTo>
                      <a:pt x="5868" y="6886"/>
                    </a:lnTo>
                    <a:lnTo>
                      <a:pt x="7038" y="8914"/>
                    </a:lnTo>
                    <a:lnTo>
                      <a:pt x="7038" y="8914"/>
                    </a:lnTo>
                    <a:moveTo>
                      <a:pt x="15446" y="8914"/>
                    </a:moveTo>
                    <a:lnTo>
                      <a:pt x="14110" y="8914"/>
                    </a:lnTo>
                    <a:lnTo>
                      <a:pt x="15446" y="8914"/>
                    </a:lnTo>
                    <a:lnTo>
                      <a:pt x="15446" y="8914"/>
                    </a:lnTo>
                    <a:moveTo>
                      <a:pt x="14110" y="8914"/>
                    </a:moveTo>
                    <a:lnTo>
                      <a:pt x="14110" y="8914"/>
                    </a:lnTo>
                    <a:lnTo>
                      <a:pt x="14874" y="8485"/>
                    </a:lnTo>
                    <a:lnTo>
                      <a:pt x="14110" y="8914"/>
                    </a:lnTo>
                    <a:moveTo>
                      <a:pt x="8413" y="8878"/>
                    </a:moveTo>
                    <a:lnTo>
                      <a:pt x="8217" y="6872"/>
                    </a:lnTo>
                    <a:lnTo>
                      <a:pt x="8217" y="6872"/>
                    </a:lnTo>
                    <a:lnTo>
                      <a:pt x="8413" y="8878"/>
                    </a:lnTo>
                    <a:lnTo>
                      <a:pt x="8413" y="8878"/>
                    </a:lnTo>
                    <a:moveTo>
                      <a:pt x="2557" y="7302"/>
                    </a:moveTo>
                    <a:lnTo>
                      <a:pt x="2557" y="7302"/>
                    </a:lnTo>
                    <a:lnTo>
                      <a:pt x="2557" y="7302"/>
                    </a:lnTo>
                    <a:lnTo>
                      <a:pt x="4159" y="4109"/>
                    </a:lnTo>
                    <a:lnTo>
                      <a:pt x="2324" y="4831"/>
                    </a:lnTo>
                    <a:lnTo>
                      <a:pt x="2324" y="4831"/>
                    </a:lnTo>
                    <a:lnTo>
                      <a:pt x="2324" y="4831"/>
                    </a:lnTo>
                    <a:lnTo>
                      <a:pt x="2324" y="4831"/>
                    </a:lnTo>
                    <a:lnTo>
                      <a:pt x="2324" y="4831"/>
                    </a:lnTo>
                    <a:lnTo>
                      <a:pt x="4159" y="4109"/>
                    </a:lnTo>
                    <a:lnTo>
                      <a:pt x="4159" y="4109"/>
                    </a:lnTo>
                    <a:lnTo>
                      <a:pt x="4159" y="4109"/>
                    </a:lnTo>
                    <a:lnTo>
                      <a:pt x="4159" y="4109"/>
                    </a:lnTo>
                    <a:lnTo>
                      <a:pt x="4159" y="4109"/>
                    </a:lnTo>
                    <a:lnTo>
                      <a:pt x="5860" y="6872"/>
                    </a:lnTo>
                    <a:lnTo>
                      <a:pt x="5859" y="6872"/>
                    </a:lnTo>
                    <a:lnTo>
                      <a:pt x="4159" y="4109"/>
                    </a:lnTo>
                    <a:lnTo>
                      <a:pt x="2557" y="7302"/>
                    </a:lnTo>
                    <a:lnTo>
                      <a:pt x="2557" y="7302"/>
                    </a:lnTo>
                    <a:moveTo>
                      <a:pt x="2557" y="7302"/>
                    </a:moveTo>
                    <a:lnTo>
                      <a:pt x="2324" y="4831"/>
                    </a:lnTo>
                    <a:lnTo>
                      <a:pt x="2324" y="4831"/>
                    </a:lnTo>
                    <a:lnTo>
                      <a:pt x="2557" y="7302"/>
                    </a:lnTo>
                    <a:moveTo>
                      <a:pt x="2909" y="7256"/>
                    </a:moveTo>
                    <a:lnTo>
                      <a:pt x="5860" y="6872"/>
                    </a:lnTo>
                    <a:lnTo>
                      <a:pt x="5860" y="6872"/>
                    </a:lnTo>
                    <a:lnTo>
                      <a:pt x="5860" y="6872"/>
                    </a:lnTo>
                    <a:lnTo>
                      <a:pt x="2909" y="7256"/>
                    </a:lnTo>
                    <a:moveTo>
                      <a:pt x="15446" y="7072"/>
                    </a:moveTo>
                    <a:lnTo>
                      <a:pt x="15229" y="6708"/>
                    </a:lnTo>
                    <a:lnTo>
                      <a:pt x="15446" y="7072"/>
                    </a:lnTo>
                    <a:lnTo>
                      <a:pt x="15446" y="7072"/>
                    </a:lnTo>
                    <a:moveTo>
                      <a:pt x="1145" y="6872"/>
                    </a:moveTo>
                    <a:lnTo>
                      <a:pt x="1145" y="6872"/>
                    </a:lnTo>
                    <a:moveTo>
                      <a:pt x="10574" y="6872"/>
                    </a:moveTo>
                    <a:lnTo>
                      <a:pt x="10574" y="6872"/>
                    </a:lnTo>
                    <a:lnTo>
                      <a:pt x="10574" y="6872"/>
                    </a:lnTo>
                    <a:lnTo>
                      <a:pt x="12458" y="5724"/>
                    </a:lnTo>
                    <a:lnTo>
                      <a:pt x="10574" y="6872"/>
                    </a:lnTo>
                    <a:moveTo>
                      <a:pt x="8217" y="6872"/>
                    </a:moveTo>
                    <a:lnTo>
                      <a:pt x="8217" y="6872"/>
                    </a:lnTo>
                    <a:lnTo>
                      <a:pt x="8217" y="6872"/>
                    </a:lnTo>
                    <a:lnTo>
                      <a:pt x="8217" y="6872"/>
                    </a:lnTo>
                    <a:moveTo>
                      <a:pt x="10574" y="6872"/>
                    </a:moveTo>
                    <a:lnTo>
                      <a:pt x="9445" y="6321"/>
                    </a:lnTo>
                    <a:lnTo>
                      <a:pt x="10574" y="6872"/>
                    </a:lnTo>
                    <a:lnTo>
                      <a:pt x="10574" y="6872"/>
                    </a:lnTo>
                    <a:moveTo>
                      <a:pt x="9316" y="6257"/>
                    </a:moveTo>
                    <a:lnTo>
                      <a:pt x="9316" y="6257"/>
                    </a:lnTo>
                    <a:lnTo>
                      <a:pt x="9316" y="6257"/>
                    </a:lnTo>
                    <a:lnTo>
                      <a:pt x="9316" y="6257"/>
                    </a:lnTo>
                    <a:lnTo>
                      <a:pt x="9316" y="6257"/>
                    </a:lnTo>
                    <a:lnTo>
                      <a:pt x="9316" y="6257"/>
                    </a:lnTo>
                    <a:lnTo>
                      <a:pt x="12655" y="5604"/>
                    </a:lnTo>
                    <a:lnTo>
                      <a:pt x="12655" y="5604"/>
                    </a:lnTo>
                    <a:lnTo>
                      <a:pt x="12655" y="5604"/>
                    </a:lnTo>
                    <a:lnTo>
                      <a:pt x="12655" y="5604"/>
                    </a:lnTo>
                    <a:lnTo>
                      <a:pt x="14110" y="4831"/>
                    </a:lnTo>
                    <a:lnTo>
                      <a:pt x="12655" y="5604"/>
                    </a:lnTo>
                    <a:lnTo>
                      <a:pt x="12655" y="5604"/>
                    </a:lnTo>
                    <a:lnTo>
                      <a:pt x="12655" y="5604"/>
                    </a:lnTo>
                    <a:lnTo>
                      <a:pt x="9316" y="6257"/>
                    </a:lnTo>
                    <a:moveTo>
                      <a:pt x="9316" y="6257"/>
                    </a:moveTo>
                    <a:lnTo>
                      <a:pt x="7038" y="4831"/>
                    </a:lnTo>
                    <a:lnTo>
                      <a:pt x="7038" y="4831"/>
                    </a:lnTo>
                    <a:lnTo>
                      <a:pt x="9316" y="6257"/>
                    </a:lnTo>
                    <a:lnTo>
                      <a:pt x="9316" y="6257"/>
                    </a:lnTo>
                    <a:moveTo>
                      <a:pt x="9316" y="6257"/>
                    </a:moveTo>
                    <a:lnTo>
                      <a:pt x="9316" y="3550"/>
                    </a:lnTo>
                    <a:lnTo>
                      <a:pt x="9316" y="6257"/>
                    </a:lnTo>
                    <a:moveTo>
                      <a:pt x="12655" y="5604"/>
                    </a:moveTo>
                    <a:lnTo>
                      <a:pt x="12655" y="5604"/>
                    </a:lnTo>
                    <a:lnTo>
                      <a:pt x="12201" y="3434"/>
                    </a:lnTo>
                    <a:lnTo>
                      <a:pt x="12655" y="5604"/>
                    </a:lnTo>
                    <a:moveTo>
                      <a:pt x="7038" y="4831"/>
                    </a:moveTo>
                    <a:lnTo>
                      <a:pt x="7038" y="4831"/>
                    </a:lnTo>
                    <a:lnTo>
                      <a:pt x="9316" y="3550"/>
                    </a:lnTo>
                    <a:lnTo>
                      <a:pt x="5859" y="2789"/>
                    </a:lnTo>
                    <a:lnTo>
                      <a:pt x="5860" y="2789"/>
                    </a:lnTo>
                    <a:lnTo>
                      <a:pt x="9316" y="3550"/>
                    </a:lnTo>
                    <a:lnTo>
                      <a:pt x="8410" y="2581"/>
                    </a:lnTo>
                    <a:lnTo>
                      <a:pt x="9316" y="3550"/>
                    </a:lnTo>
                    <a:lnTo>
                      <a:pt x="9319" y="3444"/>
                    </a:lnTo>
                    <a:lnTo>
                      <a:pt x="9316" y="3550"/>
                    </a:lnTo>
                    <a:lnTo>
                      <a:pt x="10574" y="2789"/>
                    </a:lnTo>
                    <a:lnTo>
                      <a:pt x="9316" y="3550"/>
                    </a:lnTo>
                    <a:lnTo>
                      <a:pt x="7038" y="4831"/>
                    </a:lnTo>
                    <a:moveTo>
                      <a:pt x="7038" y="4831"/>
                    </a:moveTo>
                    <a:lnTo>
                      <a:pt x="6499" y="3898"/>
                    </a:lnTo>
                    <a:lnTo>
                      <a:pt x="7038" y="4831"/>
                    </a:lnTo>
                    <a:moveTo>
                      <a:pt x="2324" y="4831"/>
                    </a:moveTo>
                    <a:lnTo>
                      <a:pt x="1405" y="2233"/>
                    </a:lnTo>
                    <a:lnTo>
                      <a:pt x="2324" y="4831"/>
                    </a:lnTo>
                    <a:lnTo>
                      <a:pt x="2324" y="4831"/>
                    </a:lnTo>
                    <a:moveTo>
                      <a:pt x="14110" y="4831"/>
                    </a:moveTo>
                    <a:lnTo>
                      <a:pt x="12201" y="3434"/>
                    </a:lnTo>
                    <a:lnTo>
                      <a:pt x="12066" y="2627"/>
                    </a:lnTo>
                    <a:lnTo>
                      <a:pt x="12201" y="3434"/>
                    </a:lnTo>
                    <a:lnTo>
                      <a:pt x="15446" y="2602"/>
                    </a:lnTo>
                    <a:lnTo>
                      <a:pt x="15446" y="2602"/>
                    </a:lnTo>
                    <a:lnTo>
                      <a:pt x="12201" y="3434"/>
                    </a:lnTo>
                    <a:lnTo>
                      <a:pt x="14110" y="4831"/>
                    </a:lnTo>
                    <a:moveTo>
                      <a:pt x="14110" y="4831"/>
                    </a:moveTo>
                    <a:lnTo>
                      <a:pt x="14110" y="4831"/>
                    </a:lnTo>
                    <a:lnTo>
                      <a:pt x="15358" y="3331"/>
                    </a:lnTo>
                    <a:lnTo>
                      <a:pt x="14110" y="4831"/>
                    </a:lnTo>
                    <a:moveTo>
                      <a:pt x="4159" y="4109"/>
                    </a:moveTo>
                    <a:lnTo>
                      <a:pt x="4159" y="4109"/>
                    </a:lnTo>
                    <a:lnTo>
                      <a:pt x="4603" y="3765"/>
                    </a:lnTo>
                    <a:lnTo>
                      <a:pt x="4159" y="4109"/>
                    </a:lnTo>
                    <a:moveTo>
                      <a:pt x="12201" y="3434"/>
                    </a:moveTo>
                    <a:lnTo>
                      <a:pt x="10574" y="2789"/>
                    </a:lnTo>
                    <a:lnTo>
                      <a:pt x="10574" y="2789"/>
                    </a:lnTo>
                    <a:lnTo>
                      <a:pt x="10574" y="2789"/>
                    </a:lnTo>
                    <a:lnTo>
                      <a:pt x="11753" y="748"/>
                    </a:lnTo>
                    <a:lnTo>
                      <a:pt x="9396" y="748"/>
                    </a:lnTo>
                    <a:lnTo>
                      <a:pt x="9396" y="748"/>
                    </a:lnTo>
                    <a:lnTo>
                      <a:pt x="11753" y="748"/>
                    </a:lnTo>
                    <a:lnTo>
                      <a:pt x="11753" y="748"/>
                    </a:lnTo>
                    <a:lnTo>
                      <a:pt x="11753" y="748"/>
                    </a:lnTo>
                    <a:lnTo>
                      <a:pt x="10574" y="2789"/>
                    </a:lnTo>
                    <a:lnTo>
                      <a:pt x="12201" y="3434"/>
                    </a:lnTo>
                    <a:moveTo>
                      <a:pt x="5859" y="2790"/>
                    </a:moveTo>
                    <a:lnTo>
                      <a:pt x="3502" y="2790"/>
                    </a:lnTo>
                    <a:lnTo>
                      <a:pt x="5860" y="2789"/>
                    </a:lnTo>
                    <a:lnTo>
                      <a:pt x="5859" y="2789"/>
                    </a:lnTo>
                    <a:lnTo>
                      <a:pt x="5859" y="2790"/>
                    </a:lnTo>
                    <a:moveTo>
                      <a:pt x="15446" y="1876"/>
                    </a:moveTo>
                    <a:lnTo>
                      <a:pt x="14110" y="748"/>
                    </a:lnTo>
                    <a:lnTo>
                      <a:pt x="15446" y="1876"/>
                    </a:lnTo>
                    <a:lnTo>
                      <a:pt x="15446" y="1876"/>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0" name="Freeform 306"/>
              <p:cNvSpPr>
                <a:spLocks/>
              </p:cNvSpPr>
              <p:nvPr/>
            </p:nvSpPr>
            <p:spPr bwMode="auto">
              <a:xfrm>
                <a:off x="-12625388" y="-3271838"/>
                <a:ext cx="811213" cy="671513"/>
              </a:xfrm>
              <a:custGeom>
                <a:avLst/>
                <a:gdLst>
                  <a:gd name="T0" fmla="*/ 0 w 511"/>
                  <a:gd name="T1" fmla="*/ 423 h 423"/>
                  <a:gd name="T2" fmla="*/ 0 w 511"/>
                  <a:gd name="T3" fmla="*/ 0 h 423"/>
                  <a:gd name="T4" fmla="*/ 433 w 511"/>
                  <a:gd name="T5" fmla="*/ 70 h 423"/>
                  <a:gd name="T6" fmla="*/ 511 w 511"/>
                  <a:gd name="T7" fmla="*/ 83 h 423"/>
                  <a:gd name="T8" fmla="*/ 0 w 511"/>
                  <a:gd name="T9" fmla="*/ 423 h 423"/>
                </a:gdLst>
                <a:ahLst/>
                <a:cxnLst>
                  <a:cxn ang="0">
                    <a:pos x="T0" y="T1"/>
                  </a:cxn>
                  <a:cxn ang="0">
                    <a:pos x="T2" y="T3"/>
                  </a:cxn>
                  <a:cxn ang="0">
                    <a:pos x="T4" y="T5"/>
                  </a:cxn>
                  <a:cxn ang="0">
                    <a:pos x="T6" y="T7"/>
                  </a:cxn>
                  <a:cxn ang="0">
                    <a:pos x="T8" y="T9"/>
                  </a:cxn>
                </a:cxnLst>
                <a:rect l="0" t="0" r="r" b="b"/>
                <a:pathLst>
                  <a:path w="511" h="423">
                    <a:moveTo>
                      <a:pt x="0" y="423"/>
                    </a:moveTo>
                    <a:lnTo>
                      <a:pt x="0" y="0"/>
                    </a:lnTo>
                    <a:lnTo>
                      <a:pt x="433" y="70"/>
                    </a:lnTo>
                    <a:lnTo>
                      <a:pt x="511" y="83"/>
                    </a:lnTo>
                    <a:lnTo>
                      <a:pt x="0" y="42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1" name="Freeform 307"/>
              <p:cNvSpPr>
                <a:spLocks/>
              </p:cNvSpPr>
              <p:nvPr/>
            </p:nvSpPr>
            <p:spPr bwMode="auto">
              <a:xfrm>
                <a:off x="-12625388" y="-4110038"/>
                <a:ext cx="33338" cy="39688"/>
              </a:xfrm>
              <a:custGeom>
                <a:avLst/>
                <a:gdLst>
                  <a:gd name="T0" fmla="*/ 0 w 21"/>
                  <a:gd name="T1" fmla="*/ 25 h 25"/>
                  <a:gd name="T2" fmla="*/ 0 w 21"/>
                  <a:gd name="T3" fmla="*/ 0 h 25"/>
                  <a:gd name="T4" fmla="*/ 21 w 21"/>
                  <a:gd name="T5" fmla="*/ 0 h 25"/>
                  <a:gd name="T6" fmla="*/ 0 w 21"/>
                  <a:gd name="T7" fmla="*/ 25 h 25"/>
                </a:gdLst>
                <a:ahLst/>
                <a:cxnLst>
                  <a:cxn ang="0">
                    <a:pos x="T0" y="T1"/>
                  </a:cxn>
                  <a:cxn ang="0">
                    <a:pos x="T2" y="T3"/>
                  </a:cxn>
                  <a:cxn ang="0">
                    <a:pos x="T4" y="T5"/>
                  </a:cxn>
                  <a:cxn ang="0">
                    <a:pos x="T6" y="T7"/>
                  </a:cxn>
                </a:cxnLst>
                <a:rect l="0" t="0" r="r" b="b"/>
                <a:pathLst>
                  <a:path w="21" h="25">
                    <a:moveTo>
                      <a:pt x="0" y="25"/>
                    </a:moveTo>
                    <a:lnTo>
                      <a:pt x="0" y="0"/>
                    </a:lnTo>
                    <a:lnTo>
                      <a:pt x="21" y="0"/>
                    </a:lnTo>
                    <a:lnTo>
                      <a:pt x="0" y="25"/>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2" name="Freeform 308"/>
              <p:cNvSpPr>
                <a:spLocks/>
              </p:cNvSpPr>
              <p:nvPr/>
            </p:nvSpPr>
            <p:spPr bwMode="auto">
              <a:xfrm>
                <a:off x="-12625388" y="-3540126"/>
                <a:ext cx="1771650" cy="400050"/>
              </a:xfrm>
              <a:custGeom>
                <a:avLst/>
                <a:gdLst>
                  <a:gd name="T0" fmla="*/ 511 w 1116"/>
                  <a:gd name="T1" fmla="*/ 252 h 252"/>
                  <a:gd name="T2" fmla="*/ 433 w 1116"/>
                  <a:gd name="T3" fmla="*/ 239 h 252"/>
                  <a:gd name="T4" fmla="*/ 0 w 1116"/>
                  <a:gd name="T5" fmla="*/ 169 h 252"/>
                  <a:gd name="T6" fmla="*/ 0 w 1116"/>
                  <a:gd name="T7" fmla="*/ 81 h 252"/>
                  <a:gd name="T8" fmla="*/ 1116 w 1116"/>
                  <a:gd name="T9" fmla="*/ 0 h 252"/>
                  <a:gd name="T10" fmla="*/ 511 w 1116"/>
                  <a:gd name="T11" fmla="*/ 252 h 252"/>
                </a:gdLst>
                <a:ahLst/>
                <a:cxnLst>
                  <a:cxn ang="0">
                    <a:pos x="T0" y="T1"/>
                  </a:cxn>
                  <a:cxn ang="0">
                    <a:pos x="T2" y="T3"/>
                  </a:cxn>
                  <a:cxn ang="0">
                    <a:pos x="T4" y="T5"/>
                  </a:cxn>
                  <a:cxn ang="0">
                    <a:pos x="T6" y="T7"/>
                  </a:cxn>
                  <a:cxn ang="0">
                    <a:pos x="T8" y="T9"/>
                  </a:cxn>
                  <a:cxn ang="0">
                    <a:pos x="T10" y="T11"/>
                  </a:cxn>
                </a:cxnLst>
                <a:rect l="0" t="0" r="r" b="b"/>
                <a:pathLst>
                  <a:path w="1116" h="252">
                    <a:moveTo>
                      <a:pt x="511" y="252"/>
                    </a:moveTo>
                    <a:lnTo>
                      <a:pt x="433" y="239"/>
                    </a:lnTo>
                    <a:lnTo>
                      <a:pt x="0" y="169"/>
                    </a:lnTo>
                    <a:lnTo>
                      <a:pt x="0" y="81"/>
                    </a:lnTo>
                    <a:lnTo>
                      <a:pt x="1116" y="0"/>
                    </a:lnTo>
                    <a:lnTo>
                      <a:pt x="511" y="25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3" name="Freeform 309"/>
              <p:cNvSpPr>
                <a:spLocks/>
              </p:cNvSpPr>
              <p:nvPr/>
            </p:nvSpPr>
            <p:spPr bwMode="auto">
              <a:xfrm>
                <a:off x="-12625388" y="-4110038"/>
                <a:ext cx="1771650" cy="698500"/>
              </a:xfrm>
              <a:custGeom>
                <a:avLst/>
                <a:gdLst>
                  <a:gd name="T0" fmla="*/ 0 w 1116"/>
                  <a:gd name="T1" fmla="*/ 440 h 440"/>
                  <a:gd name="T2" fmla="*/ 0 w 1116"/>
                  <a:gd name="T3" fmla="*/ 25 h 440"/>
                  <a:gd name="T4" fmla="*/ 22 w 1116"/>
                  <a:gd name="T5" fmla="*/ 0 h 440"/>
                  <a:gd name="T6" fmla="*/ 908 w 1116"/>
                  <a:gd name="T7" fmla="*/ 0 h 440"/>
                  <a:gd name="T8" fmla="*/ 1116 w 1116"/>
                  <a:gd name="T9" fmla="*/ 359 h 440"/>
                  <a:gd name="T10" fmla="*/ 1116 w 1116"/>
                  <a:gd name="T11" fmla="*/ 359 h 440"/>
                  <a:gd name="T12" fmla="*/ 1116 w 1116"/>
                  <a:gd name="T13" fmla="*/ 359 h 440"/>
                  <a:gd name="T14" fmla="*/ 0 w 1116"/>
                  <a:gd name="T15" fmla="*/ 440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6" h="440">
                    <a:moveTo>
                      <a:pt x="0" y="440"/>
                    </a:moveTo>
                    <a:lnTo>
                      <a:pt x="0" y="25"/>
                    </a:lnTo>
                    <a:lnTo>
                      <a:pt x="22" y="0"/>
                    </a:lnTo>
                    <a:lnTo>
                      <a:pt x="908" y="0"/>
                    </a:lnTo>
                    <a:lnTo>
                      <a:pt x="1116" y="359"/>
                    </a:lnTo>
                    <a:lnTo>
                      <a:pt x="1116" y="359"/>
                    </a:lnTo>
                    <a:lnTo>
                      <a:pt x="1116" y="359"/>
                    </a:lnTo>
                    <a:lnTo>
                      <a:pt x="0" y="440"/>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5" name="Freeform 310"/>
              <p:cNvSpPr>
                <a:spLocks noEditPoints="1"/>
              </p:cNvSpPr>
              <p:nvPr/>
            </p:nvSpPr>
            <p:spPr bwMode="auto">
              <a:xfrm>
                <a:off x="-10853738" y="-4110038"/>
                <a:ext cx="1795463" cy="569913"/>
              </a:xfrm>
              <a:custGeom>
                <a:avLst/>
                <a:gdLst>
                  <a:gd name="T0" fmla="*/ 2357 w 2357"/>
                  <a:gd name="T1" fmla="*/ 748 h 748"/>
                  <a:gd name="T2" fmla="*/ 0 w 2357"/>
                  <a:gd name="T3" fmla="*/ 748 h 748"/>
                  <a:gd name="T4" fmla="*/ 432 w 2357"/>
                  <a:gd name="T5" fmla="*/ 0 h 748"/>
                  <a:gd name="T6" fmla="*/ 1925 w 2357"/>
                  <a:gd name="T7" fmla="*/ 0 h 748"/>
                  <a:gd name="T8" fmla="*/ 2357 w 2357"/>
                  <a:gd name="T9" fmla="*/ 748 h 748"/>
                  <a:gd name="T10" fmla="*/ 0 w 2357"/>
                  <a:gd name="T11" fmla="*/ 748 h 748"/>
                  <a:gd name="T12" fmla="*/ 0 w 2357"/>
                  <a:gd name="T13" fmla="*/ 748 h 748"/>
                  <a:gd name="T14" fmla="*/ 0 w 2357"/>
                  <a:gd name="T15" fmla="*/ 748 h 748"/>
                  <a:gd name="T16" fmla="*/ 0 w 2357"/>
                  <a:gd name="T17" fmla="*/ 748 h 748"/>
                  <a:gd name="T18" fmla="*/ 0 w 2357"/>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7" h="748">
                    <a:moveTo>
                      <a:pt x="2357" y="748"/>
                    </a:moveTo>
                    <a:lnTo>
                      <a:pt x="0" y="748"/>
                    </a:lnTo>
                    <a:lnTo>
                      <a:pt x="432" y="0"/>
                    </a:lnTo>
                    <a:lnTo>
                      <a:pt x="1925" y="0"/>
                    </a:lnTo>
                    <a:lnTo>
                      <a:pt x="2357" y="748"/>
                    </a:lnTo>
                    <a:moveTo>
                      <a:pt x="0" y="748"/>
                    </a:moveTo>
                    <a:lnTo>
                      <a:pt x="0" y="748"/>
                    </a:lnTo>
                    <a:lnTo>
                      <a:pt x="0" y="748"/>
                    </a:lnTo>
                    <a:lnTo>
                      <a:pt x="0" y="748"/>
                    </a:lnTo>
                    <a:lnTo>
                      <a:pt x="0"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6" name="Freeform 311"/>
              <p:cNvSpPr>
                <a:spLocks/>
              </p:cNvSpPr>
              <p:nvPr/>
            </p:nvSpPr>
            <p:spPr bwMode="auto">
              <a:xfrm>
                <a:off x="-9386888" y="-4110038"/>
                <a:ext cx="865188" cy="569913"/>
              </a:xfrm>
              <a:custGeom>
                <a:avLst/>
                <a:gdLst>
                  <a:gd name="T0" fmla="*/ 207 w 545"/>
                  <a:gd name="T1" fmla="*/ 359 h 359"/>
                  <a:gd name="T2" fmla="*/ 0 w 545"/>
                  <a:gd name="T3" fmla="*/ 0 h 359"/>
                  <a:gd name="T4" fmla="*/ 545 w 545"/>
                  <a:gd name="T5" fmla="*/ 0 h 359"/>
                  <a:gd name="T6" fmla="*/ 207 w 545"/>
                  <a:gd name="T7" fmla="*/ 359 h 359"/>
                </a:gdLst>
                <a:ahLst/>
                <a:cxnLst>
                  <a:cxn ang="0">
                    <a:pos x="T0" y="T1"/>
                  </a:cxn>
                  <a:cxn ang="0">
                    <a:pos x="T2" y="T3"/>
                  </a:cxn>
                  <a:cxn ang="0">
                    <a:pos x="T4" y="T5"/>
                  </a:cxn>
                  <a:cxn ang="0">
                    <a:pos x="T6" y="T7"/>
                  </a:cxn>
                </a:cxnLst>
                <a:rect l="0" t="0" r="r" b="b"/>
                <a:pathLst>
                  <a:path w="545" h="359">
                    <a:moveTo>
                      <a:pt x="207" y="359"/>
                    </a:moveTo>
                    <a:lnTo>
                      <a:pt x="0" y="0"/>
                    </a:lnTo>
                    <a:lnTo>
                      <a:pt x="545" y="0"/>
                    </a:lnTo>
                    <a:lnTo>
                      <a:pt x="207"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7" name="Freeform 312"/>
              <p:cNvSpPr>
                <a:spLocks/>
              </p:cNvSpPr>
              <p:nvPr/>
            </p:nvSpPr>
            <p:spPr bwMode="auto">
              <a:xfrm>
                <a:off x="-11183938" y="-4110038"/>
                <a:ext cx="658813" cy="569913"/>
              </a:xfrm>
              <a:custGeom>
                <a:avLst/>
                <a:gdLst>
                  <a:gd name="T0" fmla="*/ 208 w 415"/>
                  <a:gd name="T1" fmla="*/ 359 h 359"/>
                  <a:gd name="T2" fmla="*/ 0 w 415"/>
                  <a:gd name="T3" fmla="*/ 0 h 359"/>
                  <a:gd name="T4" fmla="*/ 415 w 415"/>
                  <a:gd name="T5" fmla="*/ 0 h 359"/>
                  <a:gd name="T6" fmla="*/ 208 w 415"/>
                  <a:gd name="T7" fmla="*/ 359 h 359"/>
                </a:gdLst>
                <a:ahLst/>
                <a:cxnLst>
                  <a:cxn ang="0">
                    <a:pos x="T0" y="T1"/>
                  </a:cxn>
                  <a:cxn ang="0">
                    <a:pos x="T2" y="T3"/>
                  </a:cxn>
                  <a:cxn ang="0">
                    <a:pos x="T4" y="T5"/>
                  </a:cxn>
                  <a:cxn ang="0">
                    <a:pos x="T6" y="T7"/>
                  </a:cxn>
                </a:cxnLst>
                <a:rect l="0" t="0" r="r" b="b"/>
                <a:pathLst>
                  <a:path w="415" h="359">
                    <a:moveTo>
                      <a:pt x="208" y="359"/>
                    </a:moveTo>
                    <a:lnTo>
                      <a:pt x="0" y="0"/>
                    </a:lnTo>
                    <a:lnTo>
                      <a:pt x="415" y="0"/>
                    </a:lnTo>
                    <a:lnTo>
                      <a:pt x="208"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8" name="Freeform 313"/>
              <p:cNvSpPr>
                <a:spLocks/>
              </p:cNvSpPr>
              <p:nvPr/>
            </p:nvSpPr>
            <p:spPr bwMode="auto">
              <a:xfrm>
                <a:off x="-10853738" y="-4110038"/>
                <a:ext cx="328613" cy="569913"/>
              </a:xfrm>
              <a:custGeom>
                <a:avLst/>
                <a:gdLst>
                  <a:gd name="T0" fmla="*/ 0 w 207"/>
                  <a:gd name="T1" fmla="*/ 359 h 359"/>
                  <a:gd name="T2" fmla="*/ 0 w 207"/>
                  <a:gd name="T3" fmla="*/ 359 h 359"/>
                  <a:gd name="T4" fmla="*/ 0 w 207"/>
                  <a:gd name="T5" fmla="*/ 359 h 359"/>
                  <a:gd name="T6" fmla="*/ 207 w 207"/>
                  <a:gd name="T7" fmla="*/ 0 h 359"/>
                  <a:gd name="T8" fmla="*/ 207 w 207"/>
                  <a:gd name="T9" fmla="*/ 0 h 359"/>
                  <a:gd name="T10" fmla="*/ 0 w 207"/>
                  <a:gd name="T11" fmla="*/ 359 h 359"/>
                </a:gdLst>
                <a:ahLst/>
                <a:cxnLst>
                  <a:cxn ang="0">
                    <a:pos x="T0" y="T1"/>
                  </a:cxn>
                  <a:cxn ang="0">
                    <a:pos x="T2" y="T3"/>
                  </a:cxn>
                  <a:cxn ang="0">
                    <a:pos x="T4" y="T5"/>
                  </a:cxn>
                  <a:cxn ang="0">
                    <a:pos x="T6" y="T7"/>
                  </a:cxn>
                  <a:cxn ang="0">
                    <a:pos x="T8" y="T9"/>
                  </a:cxn>
                  <a:cxn ang="0">
                    <a:pos x="T10" y="T11"/>
                  </a:cxn>
                </a:cxnLst>
                <a:rect l="0" t="0" r="r" b="b"/>
                <a:pathLst>
                  <a:path w="207" h="359">
                    <a:moveTo>
                      <a:pt x="0" y="359"/>
                    </a:moveTo>
                    <a:lnTo>
                      <a:pt x="0" y="359"/>
                    </a:lnTo>
                    <a:lnTo>
                      <a:pt x="0" y="359"/>
                    </a:lnTo>
                    <a:lnTo>
                      <a:pt x="207" y="0"/>
                    </a:lnTo>
                    <a:lnTo>
                      <a:pt x="207"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9" name="Freeform 314"/>
              <p:cNvSpPr>
                <a:spLocks noEditPoints="1"/>
              </p:cNvSpPr>
              <p:nvPr/>
            </p:nvSpPr>
            <p:spPr bwMode="auto">
              <a:xfrm>
                <a:off x="-12533313" y="-1143001"/>
                <a:ext cx="781050" cy="2268538"/>
              </a:xfrm>
              <a:custGeom>
                <a:avLst/>
                <a:gdLst>
                  <a:gd name="T0" fmla="*/ 1025 w 1025"/>
                  <a:gd name="T1" fmla="*/ 2978 h 2978"/>
                  <a:gd name="T2" fmla="*/ 150 w 1025"/>
                  <a:gd name="T3" fmla="*/ 437 h 2978"/>
                  <a:gd name="T4" fmla="*/ 1025 w 1025"/>
                  <a:gd name="T5" fmla="*/ 2978 h 2978"/>
                  <a:gd name="T6" fmla="*/ 0 w 1025"/>
                  <a:gd name="T7" fmla="*/ 0 h 2978"/>
                  <a:gd name="T8" fmla="*/ 0 w 1025"/>
                  <a:gd name="T9" fmla="*/ 0 h 2978"/>
                </a:gdLst>
                <a:ahLst/>
                <a:cxnLst>
                  <a:cxn ang="0">
                    <a:pos x="T0" y="T1"/>
                  </a:cxn>
                  <a:cxn ang="0">
                    <a:pos x="T2" y="T3"/>
                  </a:cxn>
                  <a:cxn ang="0">
                    <a:pos x="T4" y="T5"/>
                  </a:cxn>
                  <a:cxn ang="0">
                    <a:pos x="T6" y="T7"/>
                  </a:cxn>
                  <a:cxn ang="0">
                    <a:pos x="T8" y="T9"/>
                  </a:cxn>
                </a:cxnLst>
                <a:rect l="0" t="0" r="r" b="b"/>
                <a:pathLst>
                  <a:path w="1025" h="2978">
                    <a:moveTo>
                      <a:pt x="1025" y="2978"/>
                    </a:moveTo>
                    <a:lnTo>
                      <a:pt x="150" y="437"/>
                    </a:lnTo>
                    <a:lnTo>
                      <a:pt x="1025" y="2978"/>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1" name="Freeform 315"/>
              <p:cNvSpPr>
                <a:spLocks/>
              </p:cNvSpPr>
              <p:nvPr/>
            </p:nvSpPr>
            <p:spPr bwMode="auto">
              <a:xfrm>
                <a:off x="-12625388" y="-3140076"/>
                <a:ext cx="811213" cy="1997075"/>
              </a:xfrm>
              <a:custGeom>
                <a:avLst/>
                <a:gdLst>
                  <a:gd name="T0" fmla="*/ 58 w 511"/>
                  <a:gd name="T1" fmla="*/ 1258 h 1258"/>
                  <a:gd name="T2" fmla="*/ 0 w 511"/>
                  <a:gd name="T3" fmla="*/ 1211 h 1258"/>
                  <a:gd name="T4" fmla="*/ 0 w 511"/>
                  <a:gd name="T5" fmla="*/ 340 h 1258"/>
                  <a:gd name="T6" fmla="*/ 511 w 511"/>
                  <a:gd name="T7" fmla="*/ 0 h 1258"/>
                  <a:gd name="T8" fmla="*/ 58 w 511"/>
                  <a:gd name="T9" fmla="*/ 1258 h 1258"/>
                </a:gdLst>
                <a:ahLst/>
                <a:cxnLst>
                  <a:cxn ang="0">
                    <a:pos x="T0" y="T1"/>
                  </a:cxn>
                  <a:cxn ang="0">
                    <a:pos x="T2" y="T3"/>
                  </a:cxn>
                  <a:cxn ang="0">
                    <a:pos x="T4" y="T5"/>
                  </a:cxn>
                  <a:cxn ang="0">
                    <a:pos x="T6" y="T7"/>
                  </a:cxn>
                  <a:cxn ang="0">
                    <a:pos x="T8" y="T9"/>
                  </a:cxn>
                </a:cxnLst>
                <a:rect l="0" t="0" r="r" b="b"/>
                <a:pathLst>
                  <a:path w="511" h="1258">
                    <a:moveTo>
                      <a:pt x="58" y="1258"/>
                    </a:moveTo>
                    <a:lnTo>
                      <a:pt x="0" y="1211"/>
                    </a:lnTo>
                    <a:lnTo>
                      <a:pt x="0" y="340"/>
                    </a:lnTo>
                    <a:lnTo>
                      <a:pt x="511" y="0"/>
                    </a:lnTo>
                    <a:lnTo>
                      <a:pt x="58" y="1258"/>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2" name="Line 316"/>
              <p:cNvSpPr>
                <a:spLocks noChangeShapeType="1"/>
              </p:cNvSpPr>
              <p:nvPr/>
            </p:nvSpPr>
            <p:spPr bwMode="auto">
              <a:xfrm>
                <a:off x="-12533313" y="-1143001"/>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4" name="Freeform 317"/>
              <p:cNvSpPr>
                <a:spLocks noEditPoints="1"/>
              </p:cNvSpPr>
              <p:nvPr/>
            </p:nvSpPr>
            <p:spPr bwMode="auto">
              <a:xfrm>
                <a:off x="-12533313" y="-1143001"/>
                <a:ext cx="1679575" cy="2268538"/>
              </a:xfrm>
              <a:custGeom>
                <a:avLst/>
                <a:gdLst>
                  <a:gd name="T0" fmla="*/ 1025 w 2204"/>
                  <a:gd name="T1" fmla="*/ 2978 h 2978"/>
                  <a:gd name="T2" fmla="*/ 150 w 2204"/>
                  <a:gd name="T3" fmla="*/ 437 h 2978"/>
                  <a:gd name="T4" fmla="*/ 0 w 2204"/>
                  <a:gd name="T5" fmla="*/ 0 h 2978"/>
                  <a:gd name="T6" fmla="*/ 2204 w 2204"/>
                  <a:gd name="T7" fmla="*/ 937 h 2978"/>
                  <a:gd name="T8" fmla="*/ 2204 w 2204"/>
                  <a:gd name="T9" fmla="*/ 937 h 2978"/>
                  <a:gd name="T10" fmla="*/ 2204 w 2204"/>
                  <a:gd name="T11" fmla="*/ 937 h 2978"/>
                  <a:gd name="T12" fmla="*/ 2204 w 2204"/>
                  <a:gd name="T13" fmla="*/ 937 h 2978"/>
                  <a:gd name="T14" fmla="*/ 2204 w 2204"/>
                  <a:gd name="T15" fmla="*/ 937 h 2978"/>
                  <a:gd name="T16" fmla="*/ 1968 w 2204"/>
                  <a:gd name="T17" fmla="*/ 1345 h 2978"/>
                  <a:gd name="T18" fmla="*/ 1025 w 2204"/>
                  <a:gd name="T19" fmla="*/ 2978 h 2978"/>
                  <a:gd name="T20" fmla="*/ 150 w 2204"/>
                  <a:gd name="T21" fmla="*/ 437 h 2978"/>
                  <a:gd name="T22" fmla="*/ 0 w 2204"/>
                  <a:gd name="T23" fmla="*/ 0 h 2978"/>
                  <a:gd name="T24" fmla="*/ 150 w 2204"/>
                  <a:gd name="T25" fmla="*/ 437 h 2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4" h="2978">
                    <a:moveTo>
                      <a:pt x="1025" y="2978"/>
                    </a:moveTo>
                    <a:lnTo>
                      <a:pt x="150" y="437"/>
                    </a:lnTo>
                    <a:lnTo>
                      <a:pt x="0" y="0"/>
                    </a:lnTo>
                    <a:lnTo>
                      <a:pt x="2204" y="937"/>
                    </a:lnTo>
                    <a:lnTo>
                      <a:pt x="2204" y="937"/>
                    </a:lnTo>
                    <a:lnTo>
                      <a:pt x="2204" y="937"/>
                    </a:lnTo>
                    <a:lnTo>
                      <a:pt x="2204" y="937"/>
                    </a:lnTo>
                    <a:lnTo>
                      <a:pt x="2204" y="937"/>
                    </a:lnTo>
                    <a:lnTo>
                      <a:pt x="1968" y="1345"/>
                    </a:lnTo>
                    <a:lnTo>
                      <a:pt x="1025" y="2978"/>
                    </a:lnTo>
                    <a:moveTo>
                      <a:pt x="150" y="437"/>
                    </a:moveTo>
                    <a:lnTo>
                      <a:pt x="0" y="0"/>
                    </a:lnTo>
                    <a:lnTo>
                      <a:pt x="150" y="437"/>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5" name="Freeform 318"/>
              <p:cNvSpPr>
                <a:spLocks/>
              </p:cNvSpPr>
              <p:nvPr/>
            </p:nvSpPr>
            <p:spPr bwMode="auto">
              <a:xfrm>
                <a:off x="-12533313" y="-1143001"/>
                <a:ext cx="114300" cy="333375"/>
              </a:xfrm>
              <a:custGeom>
                <a:avLst/>
                <a:gdLst>
                  <a:gd name="T0" fmla="*/ 72 w 72"/>
                  <a:gd name="T1" fmla="*/ 210 h 210"/>
                  <a:gd name="T2" fmla="*/ 72 w 72"/>
                  <a:gd name="T3" fmla="*/ 210 h 210"/>
                  <a:gd name="T4" fmla="*/ 0 w 72"/>
                  <a:gd name="T5" fmla="*/ 0 h 210"/>
                  <a:gd name="T6" fmla="*/ 0 w 72"/>
                  <a:gd name="T7" fmla="*/ 0 h 210"/>
                  <a:gd name="T8" fmla="*/ 72 w 72"/>
                  <a:gd name="T9" fmla="*/ 210 h 210"/>
                </a:gdLst>
                <a:ahLst/>
                <a:cxnLst>
                  <a:cxn ang="0">
                    <a:pos x="T0" y="T1"/>
                  </a:cxn>
                  <a:cxn ang="0">
                    <a:pos x="T2" y="T3"/>
                  </a:cxn>
                  <a:cxn ang="0">
                    <a:pos x="T4" y="T5"/>
                  </a:cxn>
                  <a:cxn ang="0">
                    <a:pos x="T6" y="T7"/>
                  </a:cxn>
                  <a:cxn ang="0">
                    <a:pos x="T8" y="T9"/>
                  </a:cxn>
                </a:cxnLst>
                <a:rect l="0" t="0" r="r" b="b"/>
                <a:pathLst>
                  <a:path w="72" h="210">
                    <a:moveTo>
                      <a:pt x="72" y="210"/>
                    </a:moveTo>
                    <a:lnTo>
                      <a:pt x="72" y="210"/>
                    </a:lnTo>
                    <a:lnTo>
                      <a:pt x="0" y="0"/>
                    </a:lnTo>
                    <a:lnTo>
                      <a:pt x="0" y="0"/>
                    </a:lnTo>
                    <a:lnTo>
                      <a:pt x="72" y="210"/>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6" name="Freeform 319"/>
              <p:cNvSpPr>
                <a:spLocks/>
              </p:cNvSpPr>
              <p:nvPr/>
            </p:nvSpPr>
            <p:spPr bwMode="auto">
              <a:xfrm>
                <a:off x="-12625388" y="-1217613"/>
                <a:ext cx="92075" cy="74613"/>
              </a:xfrm>
              <a:custGeom>
                <a:avLst/>
                <a:gdLst>
                  <a:gd name="T0" fmla="*/ 58 w 58"/>
                  <a:gd name="T1" fmla="*/ 47 h 47"/>
                  <a:gd name="T2" fmla="*/ 0 w 58"/>
                  <a:gd name="T3" fmla="*/ 0 h 47"/>
                  <a:gd name="T4" fmla="*/ 58 w 58"/>
                  <a:gd name="T5" fmla="*/ 47 h 47"/>
                </a:gdLst>
                <a:ahLst/>
                <a:cxnLst>
                  <a:cxn ang="0">
                    <a:pos x="T0" y="T1"/>
                  </a:cxn>
                  <a:cxn ang="0">
                    <a:pos x="T2" y="T3"/>
                  </a:cxn>
                  <a:cxn ang="0">
                    <a:pos x="T4" y="T5"/>
                  </a:cxn>
                </a:cxnLst>
                <a:rect l="0" t="0" r="r" b="b"/>
                <a:pathLst>
                  <a:path w="58" h="47">
                    <a:moveTo>
                      <a:pt x="58" y="47"/>
                    </a:moveTo>
                    <a:lnTo>
                      <a:pt x="0" y="0"/>
                    </a:lnTo>
                    <a:lnTo>
                      <a:pt x="58" y="4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0" name="Freeform 320"/>
              <p:cNvSpPr>
                <a:spLocks noEditPoints="1"/>
              </p:cNvSpPr>
              <p:nvPr/>
            </p:nvSpPr>
            <p:spPr bwMode="auto">
              <a:xfrm>
                <a:off x="-12533313" y="-3140076"/>
                <a:ext cx="1679575" cy="2711450"/>
              </a:xfrm>
              <a:custGeom>
                <a:avLst/>
                <a:gdLst>
                  <a:gd name="T0" fmla="*/ 2204 w 2204"/>
                  <a:gd name="T1" fmla="*/ 3558 h 3558"/>
                  <a:gd name="T2" fmla="*/ 0 w 2204"/>
                  <a:gd name="T3" fmla="*/ 2621 h 3558"/>
                  <a:gd name="T4" fmla="*/ 945 w 2204"/>
                  <a:gd name="T5" fmla="*/ 0 h 3558"/>
                  <a:gd name="T6" fmla="*/ 945 w 2204"/>
                  <a:gd name="T7" fmla="*/ 0 h 3558"/>
                  <a:gd name="T8" fmla="*/ 945 w 2204"/>
                  <a:gd name="T9" fmla="*/ 0 h 3558"/>
                  <a:gd name="T10" fmla="*/ 1285 w 2204"/>
                  <a:gd name="T11" fmla="*/ 960 h 3558"/>
                  <a:gd name="T12" fmla="*/ 2204 w 2204"/>
                  <a:gd name="T13" fmla="*/ 3558 h 3558"/>
                  <a:gd name="T14" fmla="*/ 2204 w 2204"/>
                  <a:gd name="T15" fmla="*/ 3558 h 3558"/>
                  <a:gd name="T16" fmla="*/ 2204 w 2204"/>
                  <a:gd name="T17" fmla="*/ 3558 h 3558"/>
                  <a:gd name="T18" fmla="*/ 2204 w 2204"/>
                  <a:gd name="T19" fmla="*/ 3558 h 3558"/>
                  <a:gd name="T20" fmla="*/ 945 w 2204"/>
                  <a:gd name="T21" fmla="*/ 0 h 3558"/>
                  <a:gd name="T22" fmla="*/ 945 w 2204"/>
                  <a:gd name="T23" fmla="*/ 0 h 3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4" h="3558">
                    <a:moveTo>
                      <a:pt x="2204" y="3558"/>
                    </a:moveTo>
                    <a:lnTo>
                      <a:pt x="0" y="2621"/>
                    </a:lnTo>
                    <a:lnTo>
                      <a:pt x="945" y="0"/>
                    </a:lnTo>
                    <a:lnTo>
                      <a:pt x="945" y="0"/>
                    </a:lnTo>
                    <a:lnTo>
                      <a:pt x="945" y="0"/>
                    </a:lnTo>
                    <a:lnTo>
                      <a:pt x="1285" y="960"/>
                    </a:lnTo>
                    <a:lnTo>
                      <a:pt x="2204" y="3558"/>
                    </a:lnTo>
                    <a:lnTo>
                      <a:pt x="2204" y="3558"/>
                    </a:lnTo>
                    <a:lnTo>
                      <a:pt x="2204" y="3558"/>
                    </a:lnTo>
                    <a:lnTo>
                      <a:pt x="2204" y="3558"/>
                    </a:lnTo>
                    <a:moveTo>
                      <a:pt x="945" y="0"/>
                    </a:moveTo>
                    <a:lnTo>
                      <a:pt x="945" y="0"/>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1" name="Rectangle 321"/>
              <p:cNvSpPr>
                <a:spLocks noChangeArrowheads="1"/>
              </p:cNvSpPr>
              <p:nvPr/>
            </p:nvSpPr>
            <p:spPr bwMode="auto">
              <a:xfrm>
                <a:off x="-10853738" y="-428626"/>
                <a:ext cx="1588" cy="1588"/>
              </a:xfrm>
              <a:prstGeom prst="rect">
                <a:avLst/>
              </a:prstGeom>
              <a:solidFill>
                <a:srgbClr val="518DB3"/>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2" name="Freeform 322"/>
              <p:cNvSpPr>
                <a:spLocks/>
              </p:cNvSpPr>
              <p:nvPr/>
            </p:nvSpPr>
            <p:spPr bwMode="auto">
              <a:xfrm>
                <a:off x="-10853738" y="-1984376"/>
                <a:ext cx="1397000" cy="1555750"/>
              </a:xfrm>
              <a:custGeom>
                <a:avLst/>
                <a:gdLst>
                  <a:gd name="T0" fmla="*/ 0 w 880"/>
                  <a:gd name="T1" fmla="*/ 980 h 980"/>
                  <a:gd name="T2" fmla="*/ 565 w 880"/>
                  <a:gd name="T3" fmla="*/ 0 h 980"/>
                  <a:gd name="T4" fmla="*/ 880 w 880"/>
                  <a:gd name="T5" fmla="*/ 633 h 980"/>
                  <a:gd name="T6" fmla="*/ 0 w 880"/>
                  <a:gd name="T7" fmla="*/ 980 h 980"/>
                </a:gdLst>
                <a:ahLst/>
                <a:cxnLst>
                  <a:cxn ang="0">
                    <a:pos x="T0" y="T1"/>
                  </a:cxn>
                  <a:cxn ang="0">
                    <a:pos x="T2" y="T3"/>
                  </a:cxn>
                  <a:cxn ang="0">
                    <a:pos x="T4" y="T5"/>
                  </a:cxn>
                  <a:cxn ang="0">
                    <a:pos x="T6" y="T7"/>
                  </a:cxn>
                </a:cxnLst>
                <a:rect l="0" t="0" r="r" b="b"/>
                <a:pathLst>
                  <a:path w="880" h="980">
                    <a:moveTo>
                      <a:pt x="0" y="980"/>
                    </a:moveTo>
                    <a:lnTo>
                      <a:pt x="565" y="0"/>
                    </a:lnTo>
                    <a:lnTo>
                      <a:pt x="880" y="633"/>
                    </a:lnTo>
                    <a:lnTo>
                      <a:pt x="0"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3" name="Freeform 323"/>
              <p:cNvSpPr>
                <a:spLocks/>
              </p:cNvSpPr>
              <p:nvPr/>
            </p:nvSpPr>
            <p:spPr bwMode="auto">
              <a:xfrm>
                <a:off x="-10853738" y="-3540126"/>
                <a:ext cx="1795463" cy="1555750"/>
              </a:xfrm>
              <a:custGeom>
                <a:avLst/>
                <a:gdLst>
                  <a:gd name="T0" fmla="*/ 565 w 1131"/>
                  <a:gd name="T1" fmla="*/ 980 h 980"/>
                  <a:gd name="T2" fmla="*/ 565 w 1131"/>
                  <a:gd name="T3" fmla="*/ 980 h 980"/>
                  <a:gd name="T4" fmla="*/ 0 w 1131"/>
                  <a:gd name="T5" fmla="*/ 0 h 980"/>
                  <a:gd name="T6" fmla="*/ 1131 w 1131"/>
                  <a:gd name="T7" fmla="*/ 0 h 980"/>
                  <a:gd name="T8" fmla="*/ 565 w 1131"/>
                  <a:gd name="T9" fmla="*/ 980 h 980"/>
                </a:gdLst>
                <a:ahLst/>
                <a:cxnLst>
                  <a:cxn ang="0">
                    <a:pos x="T0" y="T1"/>
                  </a:cxn>
                  <a:cxn ang="0">
                    <a:pos x="T2" y="T3"/>
                  </a:cxn>
                  <a:cxn ang="0">
                    <a:pos x="T4" y="T5"/>
                  </a:cxn>
                  <a:cxn ang="0">
                    <a:pos x="T6" y="T7"/>
                  </a:cxn>
                  <a:cxn ang="0">
                    <a:pos x="T8" y="T9"/>
                  </a:cxn>
                </a:cxnLst>
                <a:rect l="0" t="0" r="r" b="b"/>
                <a:pathLst>
                  <a:path w="1131" h="980">
                    <a:moveTo>
                      <a:pt x="565" y="980"/>
                    </a:moveTo>
                    <a:lnTo>
                      <a:pt x="565" y="980"/>
                    </a:lnTo>
                    <a:lnTo>
                      <a:pt x="0" y="0"/>
                    </a:lnTo>
                    <a:lnTo>
                      <a:pt x="1131" y="0"/>
                    </a:lnTo>
                    <a:lnTo>
                      <a:pt x="565"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4" name="Freeform 324"/>
              <p:cNvSpPr>
                <a:spLocks/>
              </p:cNvSpPr>
              <p:nvPr/>
            </p:nvSpPr>
            <p:spPr bwMode="auto">
              <a:xfrm>
                <a:off x="-9956800" y="-1984376"/>
                <a:ext cx="1797050" cy="1004888"/>
              </a:xfrm>
              <a:custGeom>
                <a:avLst/>
                <a:gdLst>
                  <a:gd name="T0" fmla="*/ 315 w 1132"/>
                  <a:gd name="T1" fmla="*/ 633 h 633"/>
                  <a:gd name="T2" fmla="*/ 315 w 1132"/>
                  <a:gd name="T3" fmla="*/ 633 h 633"/>
                  <a:gd name="T4" fmla="*/ 0 w 1132"/>
                  <a:gd name="T5" fmla="*/ 0 h 633"/>
                  <a:gd name="T6" fmla="*/ 0 w 1132"/>
                  <a:gd name="T7" fmla="*/ 0 h 633"/>
                  <a:gd name="T8" fmla="*/ 1132 w 1132"/>
                  <a:gd name="T9" fmla="*/ 0 h 633"/>
                  <a:gd name="T10" fmla="*/ 529 w 1132"/>
                  <a:gd name="T11" fmla="*/ 468 h 633"/>
                  <a:gd name="T12" fmla="*/ 315 w 1132"/>
                  <a:gd name="T13" fmla="*/ 633 h 633"/>
                  <a:gd name="T14" fmla="*/ 315 w 1132"/>
                  <a:gd name="T15" fmla="*/ 633 h 633"/>
                  <a:gd name="T16" fmla="*/ 315 w 1132"/>
                  <a:gd name="T17" fmla="*/ 633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2" h="633">
                    <a:moveTo>
                      <a:pt x="315" y="633"/>
                    </a:moveTo>
                    <a:lnTo>
                      <a:pt x="315" y="633"/>
                    </a:lnTo>
                    <a:lnTo>
                      <a:pt x="0" y="0"/>
                    </a:lnTo>
                    <a:lnTo>
                      <a:pt x="0" y="0"/>
                    </a:lnTo>
                    <a:lnTo>
                      <a:pt x="1132" y="0"/>
                    </a:lnTo>
                    <a:lnTo>
                      <a:pt x="529" y="468"/>
                    </a:lnTo>
                    <a:lnTo>
                      <a:pt x="315" y="633"/>
                    </a:lnTo>
                    <a:lnTo>
                      <a:pt x="315" y="633"/>
                    </a:lnTo>
                    <a:lnTo>
                      <a:pt x="315" y="633"/>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5" name="Freeform 325"/>
              <p:cNvSpPr>
                <a:spLocks/>
              </p:cNvSpPr>
              <p:nvPr/>
            </p:nvSpPr>
            <p:spPr bwMode="auto">
              <a:xfrm>
                <a:off x="-9956800" y="-1984376"/>
                <a:ext cx="500063" cy="1004888"/>
              </a:xfrm>
              <a:custGeom>
                <a:avLst/>
                <a:gdLst>
                  <a:gd name="T0" fmla="*/ 315 w 315"/>
                  <a:gd name="T1" fmla="*/ 633 h 633"/>
                  <a:gd name="T2" fmla="*/ 0 w 315"/>
                  <a:gd name="T3" fmla="*/ 0 h 633"/>
                  <a:gd name="T4" fmla="*/ 0 w 315"/>
                  <a:gd name="T5" fmla="*/ 0 h 633"/>
                  <a:gd name="T6" fmla="*/ 315 w 315"/>
                  <a:gd name="T7" fmla="*/ 633 h 633"/>
                </a:gdLst>
                <a:ahLst/>
                <a:cxnLst>
                  <a:cxn ang="0">
                    <a:pos x="T0" y="T1"/>
                  </a:cxn>
                  <a:cxn ang="0">
                    <a:pos x="T2" y="T3"/>
                  </a:cxn>
                  <a:cxn ang="0">
                    <a:pos x="T4" y="T5"/>
                  </a:cxn>
                  <a:cxn ang="0">
                    <a:pos x="T6" y="T7"/>
                  </a:cxn>
                </a:cxnLst>
                <a:rect l="0" t="0" r="r" b="b"/>
                <a:pathLst>
                  <a:path w="315" h="633">
                    <a:moveTo>
                      <a:pt x="315" y="633"/>
                    </a:moveTo>
                    <a:lnTo>
                      <a:pt x="0" y="0"/>
                    </a:lnTo>
                    <a:lnTo>
                      <a:pt x="0" y="0"/>
                    </a:lnTo>
                    <a:lnTo>
                      <a:pt x="315" y="63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6" name="Freeform 326"/>
              <p:cNvSpPr>
                <a:spLocks/>
              </p:cNvSpPr>
              <p:nvPr/>
            </p:nvSpPr>
            <p:spPr bwMode="auto">
              <a:xfrm>
                <a:off x="-11814175" y="-3540126"/>
                <a:ext cx="1857375" cy="1555750"/>
              </a:xfrm>
              <a:custGeom>
                <a:avLst/>
                <a:gdLst>
                  <a:gd name="T0" fmla="*/ 1170 w 1170"/>
                  <a:gd name="T1" fmla="*/ 980 h 980"/>
                  <a:gd name="T2" fmla="*/ 0 w 1170"/>
                  <a:gd name="T3" fmla="*/ 252 h 980"/>
                  <a:gd name="T4" fmla="*/ 605 w 1170"/>
                  <a:gd name="T5" fmla="*/ 0 h 980"/>
                  <a:gd name="T6" fmla="*/ 1170 w 1170"/>
                  <a:gd name="T7" fmla="*/ 980 h 980"/>
                </a:gdLst>
                <a:ahLst/>
                <a:cxnLst>
                  <a:cxn ang="0">
                    <a:pos x="T0" y="T1"/>
                  </a:cxn>
                  <a:cxn ang="0">
                    <a:pos x="T2" y="T3"/>
                  </a:cxn>
                  <a:cxn ang="0">
                    <a:pos x="T4" y="T5"/>
                  </a:cxn>
                  <a:cxn ang="0">
                    <a:pos x="T6" y="T7"/>
                  </a:cxn>
                </a:cxnLst>
                <a:rect l="0" t="0" r="r" b="b"/>
                <a:pathLst>
                  <a:path w="1170" h="980">
                    <a:moveTo>
                      <a:pt x="1170" y="980"/>
                    </a:moveTo>
                    <a:lnTo>
                      <a:pt x="0" y="252"/>
                    </a:lnTo>
                    <a:lnTo>
                      <a:pt x="605" y="0"/>
                    </a:lnTo>
                    <a:lnTo>
                      <a:pt x="1170"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7" name="Freeform 327"/>
              <p:cNvSpPr>
                <a:spLocks/>
              </p:cNvSpPr>
              <p:nvPr/>
            </p:nvSpPr>
            <p:spPr bwMode="auto">
              <a:xfrm>
                <a:off x="-9956800" y="-3540126"/>
                <a:ext cx="1797050" cy="1555750"/>
              </a:xfrm>
              <a:custGeom>
                <a:avLst/>
                <a:gdLst>
                  <a:gd name="T0" fmla="*/ 0 w 1132"/>
                  <a:gd name="T1" fmla="*/ 980 h 980"/>
                  <a:gd name="T2" fmla="*/ 0 w 1132"/>
                  <a:gd name="T3" fmla="*/ 980 h 980"/>
                  <a:gd name="T4" fmla="*/ 566 w 1132"/>
                  <a:gd name="T5" fmla="*/ 0 h 980"/>
                  <a:gd name="T6" fmla="*/ 1132 w 1132"/>
                  <a:gd name="T7" fmla="*/ 980 h 980"/>
                  <a:gd name="T8" fmla="*/ 1132 w 1132"/>
                  <a:gd name="T9" fmla="*/ 980 h 980"/>
                  <a:gd name="T10" fmla="*/ 1132 w 1132"/>
                  <a:gd name="T11" fmla="*/ 980 h 980"/>
                  <a:gd name="T12" fmla="*/ 1132 w 1132"/>
                  <a:gd name="T13" fmla="*/ 980 h 980"/>
                  <a:gd name="T14" fmla="*/ 0 w 1132"/>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980">
                    <a:moveTo>
                      <a:pt x="0" y="980"/>
                    </a:moveTo>
                    <a:lnTo>
                      <a:pt x="0" y="980"/>
                    </a:lnTo>
                    <a:lnTo>
                      <a:pt x="566" y="0"/>
                    </a:lnTo>
                    <a:lnTo>
                      <a:pt x="1132" y="980"/>
                    </a:lnTo>
                    <a:lnTo>
                      <a:pt x="1132" y="980"/>
                    </a:lnTo>
                    <a:lnTo>
                      <a:pt x="1132" y="980"/>
                    </a:lnTo>
                    <a:lnTo>
                      <a:pt x="1132" y="980"/>
                    </a:lnTo>
                    <a:lnTo>
                      <a:pt x="0" y="98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8" name="Freeform 328"/>
              <p:cNvSpPr>
                <a:spLocks/>
              </p:cNvSpPr>
              <p:nvPr/>
            </p:nvSpPr>
            <p:spPr bwMode="auto">
              <a:xfrm>
                <a:off x="-11814175" y="-3140076"/>
                <a:ext cx="1857375" cy="2711450"/>
              </a:xfrm>
              <a:custGeom>
                <a:avLst/>
                <a:gdLst>
                  <a:gd name="T0" fmla="*/ 605 w 1170"/>
                  <a:gd name="T1" fmla="*/ 1708 h 1708"/>
                  <a:gd name="T2" fmla="*/ 605 w 1170"/>
                  <a:gd name="T3" fmla="*/ 1708 h 1708"/>
                  <a:gd name="T4" fmla="*/ 605 w 1170"/>
                  <a:gd name="T5" fmla="*/ 1708 h 1708"/>
                  <a:gd name="T6" fmla="*/ 163 w 1170"/>
                  <a:gd name="T7" fmla="*/ 461 h 1708"/>
                  <a:gd name="T8" fmla="*/ 0 w 1170"/>
                  <a:gd name="T9" fmla="*/ 0 h 1708"/>
                  <a:gd name="T10" fmla="*/ 0 w 1170"/>
                  <a:gd name="T11" fmla="*/ 0 h 1708"/>
                  <a:gd name="T12" fmla="*/ 1170 w 1170"/>
                  <a:gd name="T13" fmla="*/ 728 h 1708"/>
                  <a:gd name="T14" fmla="*/ 1170 w 1170"/>
                  <a:gd name="T15" fmla="*/ 728 h 1708"/>
                  <a:gd name="T16" fmla="*/ 1170 w 1170"/>
                  <a:gd name="T17" fmla="*/ 728 h 1708"/>
                  <a:gd name="T18" fmla="*/ 1170 w 1170"/>
                  <a:gd name="T19" fmla="*/ 728 h 1708"/>
                  <a:gd name="T20" fmla="*/ 1170 w 1170"/>
                  <a:gd name="T21" fmla="*/ 728 h 1708"/>
                  <a:gd name="T22" fmla="*/ 1170 w 1170"/>
                  <a:gd name="T23" fmla="*/ 728 h 1708"/>
                  <a:gd name="T24" fmla="*/ 605 w 1170"/>
                  <a:gd name="T25" fmla="*/ 1708 h 1708"/>
                  <a:gd name="T26" fmla="*/ 605 w 1170"/>
                  <a:gd name="T27" fmla="*/ 1708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0" h="1708">
                    <a:moveTo>
                      <a:pt x="605" y="1708"/>
                    </a:moveTo>
                    <a:lnTo>
                      <a:pt x="605" y="1708"/>
                    </a:lnTo>
                    <a:lnTo>
                      <a:pt x="605" y="1708"/>
                    </a:lnTo>
                    <a:lnTo>
                      <a:pt x="163" y="461"/>
                    </a:lnTo>
                    <a:lnTo>
                      <a:pt x="0" y="0"/>
                    </a:lnTo>
                    <a:lnTo>
                      <a:pt x="0" y="0"/>
                    </a:lnTo>
                    <a:lnTo>
                      <a:pt x="1170" y="728"/>
                    </a:lnTo>
                    <a:lnTo>
                      <a:pt x="1170" y="728"/>
                    </a:lnTo>
                    <a:lnTo>
                      <a:pt x="1170" y="728"/>
                    </a:lnTo>
                    <a:lnTo>
                      <a:pt x="1170" y="728"/>
                    </a:lnTo>
                    <a:lnTo>
                      <a:pt x="1170" y="728"/>
                    </a:lnTo>
                    <a:lnTo>
                      <a:pt x="1170" y="728"/>
                    </a:lnTo>
                    <a:lnTo>
                      <a:pt x="605" y="1708"/>
                    </a:lnTo>
                    <a:lnTo>
                      <a:pt x="605" y="1708"/>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9" name="Freeform 329"/>
              <p:cNvSpPr>
                <a:spLocks/>
              </p:cNvSpPr>
              <p:nvPr/>
            </p:nvSpPr>
            <p:spPr bwMode="auto">
              <a:xfrm>
                <a:off x="-12625388" y="3949700"/>
                <a:ext cx="446088" cy="647700"/>
              </a:xfrm>
              <a:custGeom>
                <a:avLst/>
                <a:gdLst>
                  <a:gd name="T0" fmla="*/ 281 w 281"/>
                  <a:gd name="T1" fmla="*/ 408 h 408"/>
                  <a:gd name="T2" fmla="*/ 0 w 281"/>
                  <a:gd name="T3" fmla="*/ 334 h 408"/>
                  <a:gd name="T4" fmla="*/ 0 w 281"/>
                  <a:gd name="T5" fmla="*/ 0 h 408"/>
                  <a:gd name="T6" fmla="*/ 281 w 281"/>
                  <a:gd name="T7" fmla="*/ 408 h 408"/>
                </a:gdLst>
                <a:ahLst/>
                <a:cxnLst>
                  <a:cxn ang="0">
                    <a:pos x="T0" y="T1"/>
                  </a:cxn>
                  <a:cxn ang="0">
                    <a:pos x="T2" y="T3"/>
                  </a:cxn>
                  <a:cxn ang="0">
                    <a:pos x="T4" y="T5"/>
                  </a:cxn>
                  <a:cxn ang="0">
                    <a:pos x="T6" y="T7"/>
                  </a:cxn>
                </a:cxnLst>
                <a:rect l="0" t="0" r="r" b="b"/>
                <a:pathLst>
                  <a:path w="281" h="408">
                    <a:moveTo>
                      <a:pt x="281" y="408"/>
                    </a:moveTo>
                    <a:lnTo>
                      <a:pt x="0" y="334"/>
                    </a:lnTo>
                    <a:lnTo>
                      <a:pt x="0" y="0"/>
                    </a:lnTo>
                    <a:lnTo>
                      <a:pt x="281" y="408"/>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0" name="Freeform 330"/>
              <p:cNvSpPr>
                <a:spLocks/>
              </p:cNvSpPr>
              <p:nvPr/>
            </p:nvSpPr>
            <p:spPr bwMode="auto">
              <a:xfrm>
                <a:off x="-12625388" y="1152525"/>
                <a:ext cx="844550" cy="811213"/>
              </a:xfrm>
              <a:custGeom>
                <a:avLst/>
                <a:gdLst>
                  <a:gd name="T0" fmla="*/ 0 w 532"/>
                  <a:gd name="T1" fmla="*/ 511 h 511"/>
                  <a:gd name="T2" fmla="*/ 0 w 532"/>
                  <a:gd name="T3" fmla="*/ 511 h 511"/>
                  <a:gd name="T4" fmla="*/ 532 w 532"/>
                  <a:gd name="T5" fmla="*/ 0 h 511"/>
                  <a:gd name="T6" fmla="*/ 0 w 532"/>
                  <a:gd name="T7" fmla="*/ 511 h 511"/>
                </a:gdLst>
                <a:ahLst/>
                <a:cxnLst>
                  <a:cxn ang="0">
                    <a:pos x="T0" y="T1"/>
                  </a:cxn>
                  <a:cxn ang="0">
                    <a:pos x="T2" y="T3"/>
                  </a:cxn>
                  <a:cxn ang="0">
                    <a:pos x="T4" y="T5"/>
                  </a:cxn>
                  <a:cxn ang="0">
                    <a:pos x="T6" y="T7"/>
                  </a:cxn>
                </a:cxnLst>
                <a:rect l="0" t="0" r="r" b="b"/>
                <a:pathLst>
                  <a:path w="532" h="511">
                    <a:moveTo>
                      <a:pt x="0" y="511"/>
                    </a:moveTo>
                    <a:lnTo>
                      <a:pt x="0" y="511"/>
                    </a:lnTo>
                    <a:lnTo>
                      <a:pt x="532" y="0"/>
                    </a:lnTo>
                    <a:lnTo>
                      <a:pt x="0" y="51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1" name="Freeform 331"/>
              <p:cNvSpPr>
                <a:spLocks noEditPoints="1"/>
              </p:cNvSpPr>
              <p:nvPr/>
            </p:nvSpPr>
            <p:spPr bwMode="auto">
              <a:xfrm>
                <a:off x="-12625388" y="2682875"/>
                <a:ext cx="1771650" cy="1914525"/>
              </a:xfrm>
              <a:custGeom>
                <a:avLst/>
                <a:gdLst>
                  <a:gd name="T0" fmla="*/ 586 w 2324"/>
                  <a:gd name="T1" fmla="*/ 2514 h 2514"/>
                  <a:gd name="T2" fmla="*/ 586 w 2324"/>
                  <a:gd name="T3" fmla="*/ 2514 h 2514"/>
                  <a:gd name="T4" fmla="*/ 0 w 2324"/>
                  <a:gd name="T5" fmla="*/ 1664 h 2514"/>
                  <a:gd name="T6" fmla="*/ 0 w 2324"/>
                  <a:gd name="T7" fmla="*/ 64 h 2514"/>
                  <a:gd name="T8" fmla="*/ 2324 w 2324"/>
                  <a:gd name="T9" fmla="*/ 0 h 2514"/>
                  <a:gd name="T10" fmla="*/ 1542 w 2324"/>
                  <a:gd name="T11" fmla="*/ 1131 h 2514"/>
                  <a:gd name="T12" fmla="*/ 586 w 2324"/>
                  <a:gd name="T13" fmla="*/ 2514 h 2514"/>
                  <a:gd name="T14" fmla="*/ 2324 w 2324"/>
                  <a:gd name="T15" fmla="*/ 0 h 2514"/>
                  <a:gd name="T16" fmla="*/ 2324 w 2324"/>
                  <a:gd name="T17" fmla="*/ 0 h 2514"/>
                  <a:gd name="T18" fmla="*/ 2324 w 2324"/>
                  <a:gd name="T19"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4" h="2514">
                    <a:moveTo>
                      <a:pt x="586" y="2514"/>
                    </a:moveTo>
                    <a:lnTo>
                      <a:pt x="586" y="2514"/>
                    </a:lnTo>
                    <a:lnTo>
                      <a:pt x="0" y="1664"/>
                    </a:lnTo>
                    <a:lnTo>
                      <a:pt x="0" y="64"/>
                    </a:lnTo>
                    <a:lnTo>
                      <a:pt x="2324" y="0"/>
                    </a:lnTo>
                    <a:lnTo>
                      <a:pt x="1542" y="1131"/>
                    </a:lnTo>
                    <a:lnTo>
                      <a:pt x="586" y="2514"/>
                    </a:lnTo>
                    <a:moveTo>
                      <a:pt x="2324" y="0"/>
                    </a:moveTo>
                    <a:lnTo>
                      <a:pt x="2324" y="0"/>
                    </a:lnTo>
                    <a:lnTo>
                      <a:pt x="2324"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2" name="Freeform 332"/>
              <p:cNvSpPr>
                <a:spLocks/>
              </p:cNvSpPr>
              <p:nvPr/>
            </p:nvSpPr>
            <p:spPr bwMode="auto">
              <a:xfrm>
                <a:off x="-12625388" y="1125537"/>
                <a:ext cx="1771650" cy="1604963"/>
              </a:xfrm>
              <a:custGeom>
                <a:avLst/>
                <a:gdLst>
                  <a:gd name="T0" fmla="*/ 0 w 1116"/>
                  <a:gd name="T1" fmla="*/ 1011 h 1011"/>
                  <a:gd name="T2" fmla="*/ 0 w 1116"/>
                  <a:gd name="T3" fmla="*/ 528 h 1011"/>
                  <a:gd name="T4" fmla="*/ 532 w 1116"/>
                  <a:gd name="T5" fmla="*/ 17 h 1011"/>
                  <a:gd name="T6" fmla="*/ 550 w 1116"/>
                  <a:gd name="T7" fmla="*/ 0 h 1011"/>
                  <a:gd name="T8" fmla="*/ 532 w 1116"/>
                  <a:gd name="T9" fmla="*/ 17 h 1011"/>
                  <a:gd name="T10" fmla="*/ 550 w 1116"/>
                  <a:gd name="T11" fmla="*/ 0 h 1011"/>
                  <a:gd name="T12" fmla="*/ 550 w 1116"/>
                  <a:gd name="T13" fmla="*/ 0 h 1011"/>
                  <a:gd name="T14" fmla="*/ 550 w 1116"/>
                  <a:gd name="T15" fmla="*/ 0 h 1011"/>
                  <a:gd name="T16" fmla="*/ 1116 w 1116"/>
                  <a:gd name="T17" fmla="*/ 981 h 1011"/>
                  <a:gd name="T18" fmla="*/ 0 w 1116"/>
                  <a:gd name="T19" fmla="*/ 1011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6" h="1011">
                    <a:moveTo>
                      <a:pt x="0" y="1011"/>
                    </a:moveTo>
                    <a:lnTo>
                      <a:pt x="0" y="528"/>
                    </a:lnTo>
                    <a:lnTo>
                      <a:pt x="532" y="17"/>
                    </a:lnTo>
                    <a:lnTo>
                      <a:pt x="550" y="0"/>
                    </a:lnTo>
                    <a:lnTo>
                      <a:pt x="532" y="17"/>
                    </a:lnTo>
                    <a:lnTo>
                      <a:pt x="550" y="0"/>
                    </a:lnTo>
                    <a:lnTo>
                      <a:pt x="550" y="0"/>
                    </a:lnTo>
                    <a:lnTo>
                      <a:pt x="550" y="0"/>
                    </a:lnTo>
                    <a:lnTo>
                      <a:pt x="1116" y="981"/>
                    </a:lnTo>
                    <a:lnTo>
                      <a:pt x="0" y="101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3" name="Freeform 333"/>
              <p:cNvSpPr>
                <a:spLocks/>
              </p:cNvSpPr>
              <p:nvPr/>
            </p:nvSpPr>
            <p:spPr bwMode="auto">
              <a:xfrm>
                <a:off x="-11780838" y="1125537"/>
                <a:ext cx="28575" cy="26988"/>
              </a:xfrm>
              <a:custGeom>
                <a:avLst/>
                <a:gdLst>
                  <a:gd name="T0" fmla="*/ 0 w 18"/>
                  <a:gd name="T1" fmla="*/ 17 h 17"/>
                  <a:gd name="T2" fmla="*/ 0 w 18"/>
                  <a:gd name="T3" fmla="*/ 17 h 17"/>
                  <a:gd name="T4" fmla="*/ 18 w 18"/>
                  <a:gd name="T5" fmla="*/ 0 h 17"/>
                  <a:gd name="T6" fmla="*/ 0 w 18"/>
                  <a:gd name="T7" fmla="*/ 17 h 17"/>
                </a:gdLst>
                <a:ahLst/>
                <a:cxnLst>
                  <a:cxn ang="0">
                    <a:pos x="T0" y="T1"/>
                  </a:cxn>
                  <a:cxn ang="0">
                    <a:pos x="T2" y="T3"/>
                  </a:cxn>
                  <a:cxn ang="0">
                    <a:pos x="T4" y="T5"/>
                  </a:cxn>
                  <a:cxn ang="0">
                    <a:pos x="T6" y="T7"/>
                  </a:cxn>
                </a:cxnLst>
                <a:rect l="0" t="0" r="r" b="b"/>
                <a:pathLst>
                  <a:path w="18" h="17">
                    <a:moveTo>
                      <a:pt x="0" y="17"/>
                    </a:moveTo>
                    <a:lnTo>
                      <a:pt x="0" y="17"/>
                    </a:lnTo>
                    <a:lnTo>
                      <a:pt x="18" y="0"/>
                    </a:lnTo>
                    <a:lnTo>
                      <a:pt x="0" y="1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4" name="Freeform 334"/>
              <p:cNvSpPr>
                <a:spLocks noEditPoints="1"/>
              </p:cNvSpPr>
              <p:nvPr/>
            </p:nvSpPr>
            <p:spPr bwMode="auto">
              <a:xfrm>
                <a:off x="-10853738" y="1454150"/>
                <a:ext cx="1365250" cy="1757363"/>
              </a:xfrm>
              <a:custGeom>
                <a:avLst/>
                <a:gdLst>
                  <a:gd name="T0" fmla="*/ 1792 w 1792"/>
                  <a:gd name="T1" fmla="*/ 2307 h 2307"/>
                  <a:gd name="T2" fmla="*/ 0 w 1792"/>
                  <a:gd name="T3" fmla="*/ 1612 h 2307"/>
                  <a:gd name="T4" fmla="*/ 0 w 1792"/>
                  <a:gd name="T5" fmla="*/ 1612 h 2307"/>
                  <a:gd name="T6" fmla="*/ 0 w 1792"/>
                  <a:gd name="T7" fmla="*/ 1612 h 2307"/>
                  <a:gd name="T8" fmla="*/ 233 w 1792"/>
                  <a:gd name="T9" fmla="*/ 0 h 2307"/>
                  <a:gd name="T10" fmla="*/ 790 w 1792"/>
                  <a:gd name="T11" fmla="*/ 824 h 2307"/>
                  <a:gd name="T12" fmla="*/ 1792 w 1792"/>
                  <a:gd name="T13" fmla="*/ 2307 h 2307"/>
                  <a:gd name="T14" fmla="*/ 233 w 1792"/>
                  <a:gd name="T15" fmla="*/ 0 h 2307"/>
                  <a:gd name="T16" fmla="*/ 233 w 1792"/>
                  <a:gd name="T17" fmla="*/ 0 h 2307"/>
                  <a:gd name="T18" fmla="*/ 233 w 1792"/>
                  <a:gd name="T19" fmla="*/ 0 h 2307"/>
                  <a:gd name="T20" fmla="*/ 233 w 1792"/>
                  <a:gd name="T21" fmla="*/ 0 h 2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2" h="2307">
                    <a:moveTo>
                      <a:pt x="1792" y="2307"/>
                    </a:moveTo>
                    <a:lnTo>
                      <a:pt x="0" y="1612"/>
                    </a:lnTo>
                    <a:lnTo>
                      <a:pt x="0" y="1612"/>
                    </a:lnTo>
                    <a:lnTo>
                      <a:pt x="0" y="1612"/>
                    </a:lnTo>
                    <a:lnTo>
                      <a:pt x="233" y="0"/>
                    </a:lnTo>
                    <a:lnTo>
                      <a:pt x="790" y="824"/>
                    </a:lnTo>
                    <a:lnTo>
                      <a:pt x="1792" y="2307"/>
                    </a:lnTo>
                    <a:moveTo>
                      <a:pt x="233" y="0"/>
                    </a:moveTo>
                    <a:lnTo>
                      <a:pt x="233" y="0"/>
                    </a:lnTo>
                    <a:lnTo>
                      <a:pt x="233" y="0"/>
                    </a:lnTo>
                    <a:lnTo>
                      <a:pt x="233"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5" name="Freeform 335"/>
              <p:cNvSpPr>
                <a:spLocks/>
              </p:cNvSpPr>
              <p:nvPr/>
            </p:nvSpPr>
            <p:spPr bwMode="auto">
              <a:xfrm>
                <a:off x="-10853738" y="-979488"/>
                <a:ext cx="1397000" cy="2433638"/>
              </a:xfrm>
              <a:custGeom>
                <a:avLst/>
                <a:gdLst>
                  <a:gd name="T0" fmla="*/ 111 w 880"/>
                  <a:gd name="T1" fmla="*/ 1533 h 1533"/>
                  <a:gd name="T2" fmla="*/ 111 w 880"/>
                  <a:gd name="T3" fmla="*/ 1533 h 1533"/>
                  <a:gd name="T4" fmla="*/ 0 w 880"/>
                  <a:gd name="T5" fmla="*/ 347 h 1533"/>
                  <a:gd name="T6" fmla="*/ 0 w 880"/>
                  <a:gd name="T7" fmla="*/ 347 h 1533"/>
                  <a:gd name="T8" fmla="*/ 0 w 880"/>
                  <a:gd name="T9" fmla="*/ 347 h 1533"/>
                  <a:gd name="T10" fmla="*/ 880 w 880"/>
                  <a:gd name="T11" fmla="*/ 0 h 1533"/>
                  <a:gd name="T12" fmla="*/ 111 w 880"/>
                  <a:gd name="T13" fmla="*/ 1533 h 1533"/>
                </a:gdLst>
                <a:ahLst/>
                <a:cxnLst>
                  <a:cxn ang="0">
                    <a:pos x="T0" y="T1"/>
                  </a:cxn>
                  <a:cxn ang="0">
                    <a:pos x="T2" y="T3"/>
                  </a:cxn>
                  <a:cxn ang="0">
                    <a:pos x="T4" y="T5"/>
                  </a:cxn>
                  <a:cxn ang="0">
                    <a:pos x="T6" y="T7"/>
                  </a:cxn>
                  <a:cxn ang="0">
                    <a:pos x="T8" y="T9"/>
                  </a:cxn>
                  <a:cxn ang="0">
                    <a:pos x="T10" y="T11"/>
                  </a:cxn>
                  <a:cxn ang="0">
                    <a:pos x="T12" y="T13"/>
                  </a:cxn>
                </a:cxnLst>
                <a:rect l="0" t="0" r="r" b="b"/>
                <a:pathLst>
                  <a:path w="880" h="1533">
                    <a:moveTo>
                      <a:pt x="111" y="1533"/>
                    </a:moveTo>
                    <a:lnTo>
                      <a:pt x="111" y="1533"/>
                    </a:lnTo>
                    <a:lnTo>
                      <a:pt x="0" y="347"/>
                    </a:lnTo>
                    <a:lnTo>
                      <a:pt x="0" y="347"/>
                    </a:lnTo>
                    <a:lnTo>
                      <a:pt x="0" y="347"/>
                    </a:lnTo>
                    <a:lnTo>
                      <a:pt x="880" y="0"/>
                    </a:lnTo>
                    <a:lnTo>
                      <a:pt x="111" y="15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6" name="Freeform 336"/>
              <p:cNvSpPr>
                <a:spLocks/>
              </p:cNvSpPr>
              <p:nvPr/>
            </p:nvSpPr>
            <p:spPr bwMode="auto">
              <a:xfrm>
                <a:off x="-10677525" y="1125537"/>
                <a:ext cx="2517775" cy="2085975"/>
              </a:xfrm>
              <a:custGeom>
                <a:avLst/>
                <a:gdLst>
                  <a:gd name="T0" fmla="*/ 749 w 1586"/>
                  <a:gd name="T1" fmla="*/ 1314 h 1314"/>
                  <a:gd name="T2" fmla="*/ 268 w 1586"/>
                  <a:gd name="T3" fmla="*/ 602 h 1314"/>
                  <a:gd name="T4" fmla="*/ 0 w 1586"/>
                  <a:gd name="T5" fmla="*/ 207 h 1314"/>
                  <a:gd name="T6" fmla="*/ 0 w 1586"/>
                  <a:gd name="T7" fmla="*/ 207 h 1314"/>
                  <a:gd name="T8" fmla="*/ 0 w 1586"/>
                  <a:gd name="T9" fmla="*/ 207 h 1314"/>
                  <a:gd name="T10" fmla="*/ 0 w 1586"/>
                  <a:gd name="T11" fmla="*/ 207 h 1314"/>
                  <a:gd name="T12" fmla="*/ 169 w 1586"/>
                  <a:gd name="T13" fmla="*/ 185 h 1314"/>
                  <a:gd name="T14" fmla="*/ 1586 w 1586"/>
                  <a:gd name="T15" fmla="*/ 0 h 1314"/>
                  <a:gd name="T16" fmla="*/ 749 w 1586"/>
                  <a:gd name="T17" fmla="*/ 1314 h 1314"/>
                  <a:gd name="T18" fmla="*/ 749 w 1586"/>
                  <a:gd name="T19" fmla="*/ 1314 h 1314"/>
                  <a:gd name="T20" fmla="*/ 749 w 1586"/>
                  <a:gd name="T21" fmla="*/ 1314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6" h="1314">
                    <a:moveTo>
                      <a:pt x="749" y="1314"/>
                    </a:moveTo>
                    <a:lnTo>
                      <a:pt x="268" y="602"/>
                    </a:lnTo>
                    <a:lnTo>
                      <a:pt x="0" y="207"/>
                    </a:lnTo>
                    <a:lnTo>
                      <a:pt x="0" y="207"/>
                    </a:lnTo>
                    <a:lnTo>
                      <a:pt x="0" y="207"/>
                    </a:lnTo>
                    <a:lnTo>
                      <a:pt x="0" y="207"/>
                    </a:lnTo>
                    <a:lnTo>
                      <a:pt x="169" y="185"/>
                    </a:lnTo>
                    <a:lnTo>
                      <a:pt x="1586" y="0"/>
                    </a:lnTo>
                    <a:lnTo>
                      <a:pt x="749" y="1314"/>
                    </a:lnTo>
                    <a:lnTo>
                      <a:pt x="749" y="1314"/>
                    </a:lnTo>
                    <a:lnTo>
                      <a:pt x="749" y="1314"/>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7" name="Freeform 337"/>
              <p:cNvSpPr>
                <a:spLocks/>
              </p:cNvSpPr>
              <p:nvPr/>
            </p:nvSpPr>
            <p:spPr bwMode="auto">
              <a:xfrm>
                <a:off x="-10677525" y="1454150"/>
                <a:ext cx="425450" cy="627063"/>
              </a:xfrm>
              <a:custGeom>
                <a:avLst/>
                <a:gdLst>
                  <a:gd name="T0" fmla="*/ 268 w 268"/>
                  <a:gd name="T1" fmla="*/ 395 h 395"/>
                  <a:gd name="T2" fmla="*/ 0 w 268"/>
                  <a:gd name="T3" fmla="*/ 0 h 395"/>
                  <a:gd name="T4" fmla="*/ 0 w 268"/>
                  <a:gd name="T5" fmla="*/ 0 h 395"/>
                  <a:gd name="T6" fmla="*/ 268 w 268"/>
                  <a:gd name="T7" fmla="*/ 395 h 395"/>
                </a:gdLst>
                <a:ahLst/>
                <a:cxnLst>
                  <a:cxn ang="0">
                    <a:pos x="T0" y="T1"/>
                  </a:cxn>
                  <a:cxn ang="0">
                    <a:pos x="T2" y="T3"/>
                  </a:cxn>
                  <a:cxn ang="0">
                    <a:pos x="T4" y="T5"/>
                  </a:cxn>
                  <a:cxn ang="0">
                    <a:pos x="T6" y="T7"/>
                  </a:cxn>
                </a:cxnLst>
                <a:rect l="0" t="0" r="r" b="b"/>
                <a:pathLst>
                  <a:path w="268" h="395">
                    <a:moveTo>
                      <a:pt x="268" y="395"/>
                    </a:moveTo>
                    <a:lnTo>
                      <a:pt x="0" y="0"/>
                    </a:lnTo>
                    <a:lnTo>
                      <a:pt x="0" y="0"/>
                    </a:lnTo>
                    <a:lnTo>
                      <a:pt x="268" y="39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8" name="Freeform 338"/>
              <p:cNvSpPr>
                <a:spLocks/>
              </p:cNvSpPr>
              <p:nvPr/>
            </p:nvSpPr>
            <p:spPr bwMode="auto">
              <a:xfrm>
                <a:off x="-11752263" y="-428626"/>
                <a:ext cx="1074738" cy="1882775"/>
              </a:xfrm>
              <a:custGeom>
                <a:avLst/>
                <a:gdLst>
                  <a:gd name="T0" fmla="*/ 677 w 677"/>
                  <a:gd name="T1" fmla="*/ 1186 h 1186"/>
                  <a:gd name="T2" fmla="*/ 0 w 677"/>
                  <a:gd name="T3" fmla="*/ 979 h 1186"/>
                  <a:gd name="T4" fmla="*/ 452 w 677"/>
                  <a:gd name="T5" fmla="*/ 196 h 1186"/>
                  <a:gd name="T6" fmla="*/ 566 w 677"/>
                  <a:gd name="T7" fmla="*/ 0 h 1186"/>
                  <a:gd name="T8" fmla="*/ 677 w 677"/>
                  <a:gd name="T9" fmla="*/ 1186 h 1186"/>
                  <a:gd name="T10" fmla="*/ 677 w 677"/>
                  <a:gd name="T11" fmla="*/ 1186 h 1186"/>
                </a:gdLst>
                <a:ahLst/>
                <a:cxnLst>
                  <a:cxn ang="0">
                    <a:pos x="T0" y="T1"/>
                  </a:cxn>
                  <a:cxn ang="0">
                    <a:pos x="T2" y="T3"/>
                  </a:cxn>
                  <a:cxn ang="0">
                    <a:pos x="T4" y="T5"/>
                  </a:cxn>
                  <a:cxn ang="0">
                    <a:pos x="T6" y="T7"/>
                  </a:cxn>
                  <a:cxn ang="0">
                    <a:pos x="T8" y="T9"/>
                  </a:cxn>
                  <a:cxn ang="0">
                    <a:pos x="T10" y="T11"/>
                  </a:cxn>
                </a:cxnLst>
                <a:rect l="0" t="0" r="r" b="b"/>
                <a:pathLst>
                  <a:path w="677" h="1186">
                    <a:moveTo>
                      <a:pt x="677" y="1186"/>
                    </a:moveTo>
                    <a:lnTo>
                      <a:pt x="0" y="979"/>
                    </a:lnTo>
                    <a:lnTo>
                      <a:pt x="452" y="196"/>
                    </a:lnTo>
                    <a:lnTo>
                      <a:pt x="566" y="0"/>
                    </a:lnTo>
                    <a:lnTo>
                      <a:pt x="677" y="1186"/>
                    </a:lnTo>
                    <a:lnTo>
                      <a:pt x="677" y="118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9" name="Rectangle 339"/>
              <p:cNvSpPr>
                <a:spLocks noChangeArrowheads="1"/>
              </p:cNvSpPr>
              <p:nvPr/>
            </p:nvSpPr>
            <p:spPr bwMode="auto">
              <a:xfrm>
                <a:off x="-10677525" y="1454150"/>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0" name="Rectangle 340"/>
              <p:cNvSpPr>
                <a:spLocks noChangeArrowheads="1"/>
              </p:cNvSpPr>
              <p:nvPr/>
            </p:nvSpPr>
            <p:spPr bwMode="auto">
              <a:xfrm>
                <a:off x="-11752263" y="1125537"/>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1" name="Freeform 341"/>
              <p:cNvSpPr>
                <a:spLocks/>
              </p:cNvSpPr>
              <p:nvPr/>
            </p:nvSpPr>
            <p:spPr bwMode="auto">
              <a:xfrm>
                <a:off x="-10677525" y="-979488"/>
                <a:ext cx="2517775" cy="2433638"/>
              </a:xfrm>
              <a:custGeom>
                <a:avLst/>
                <a:gdLst>
                  <a:gd name="T0" fmla="*/ 0 w 1586"/>
                  <a:gd name="T1" fmla="*/ 1533 h 1533"/>
                  <a:gd name="T2" fmla="*/ 769 w 1586"/>
                  <a:gd name="T3" fmla="*/ 0 h 1533"/>
                  <a:gd name="T4" fmla="*/ 1586 w 1586"/>
                  <a:gd name="T5" fmla="*/ 1326 h 1533"/>
                  <a:gd name="T6" fmla="*/ 1586 w 1586"/>
                  <a:gd name="T7" fmla="*/ 1326 h 1533"/>
                  <a:gd name="T8" fmla="*/ 1586 w 1586"/>
                  <a:gd name="T9" fmla="*/ 1326 h 1533"/>
                  <a:gd name="T10" fmla="*/ 1586 w 1586"/>
                  <a:gd name="T11" fmla="*/ 1326 h 1533"/>
                  <a:gd name="T12" fmla="*/ 169 w 1586"/>
                  <a:gd name="T13" fmla="*/ 1511 h 1533"/>
                  <a:gd name="T14" fmla="*/ 0 w 1586"/>
                  <a:gd name="T15" fmla="*/ 1533 h 15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6" h="1533">
                    <a:moveTo>
                      <a:pt x="0" y="1533"/>
                    </a:moveTo>
                    <a:lnTo>
                      <a:pt x="769" y="0"/>
                    </a:lnTo>
                    <a:lnTo>
                      <a:pt x="1586" y="1326"/>
                    </a:lnTo>
                    <a:lnTo>
                      <a:pt x="1586" y="1326"/>
                    </a:lnTo>
                    <a:lnTo>
                      <a:pt x="1586" y="1326"/>
                    </a:lnTo>
                    <a:lnTo>
                      <a:pt x="1586" y="1326"/>
                    </a:lnTo>
                    <a:lnTo>
                      <a:pt x="169" y="1511"/>
                    </a:lnTo>
                    <a:lnTo>
                      <a:pt x="0" y="1533"/>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2" name="Freeform 342"/>
              <p:cNvSpPr>
                <a:spLocks noEditPoints="1"/>
              </p:cNvSpPr>
              <p:nvPr/>
            </p:nvSpPr>
            <p:spPr bwMode="auto">
              <a:xfrm>
                <a:off x="-11752263" y="1125537"/>
                <a:ext cx="1074738" cy="1557338"/>
              </a:xfrm>
              <a:custGeom>
                <a:avLst/>
                <a:gdLst>
                  <a:gd name="T0" fmla="*/ 1179 w 1412"/>
                  <a:gd name="T1" fmla="*/ 2042 h 2042"/>
                  <a:gd name="T2" fmla="*/ 0 w 1412"/>
                  <a:gd name="T3" fmla="*/ 0 h 2042"/>
                  <a:gd name="T4" fmla="*/ 1412 w 1412"/>
                  <a:gd name="T5" fmla="*/ 430 h 2042"/>
                  <a:gd name="T6" fmla="*/ 1179 w 1412"/>
                  <a:gd name="T7" fmla="*/ 2042 h 2042"/>
                  <a:gd name="T8" fmla="*/ 1412 w 1412"/>
                  <a:gd name="T9" fmla="*/ 430 h 2042"/>
                  <a:gd name="T10" fmla="*/ 1412 w 1412"/>
                  <a:gd name="T11" fmla="*/ 430 h 2042"/>
                  <a:gd name="T12" fmla="*/ 1412 w 1412"/>
                  <a:gd name="T13" fmla="*/ 430 h 2042"/>
                  <a:gd name="T14" fmla="*/ 1412 w 1412"/>
                  <a:gd name="T15" fmla="*/ 430 h 20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2042">
                    <a:moveTo>
                      <a:pt x="1179" y="2042"/>
                    </a:moveTo>
                    <a:lnTo>
                      <a:pt x="0" y="0"/>
                    </a:lnTo>
                    <a:lnTo>
                      <a:pt x="1412" y="430"/>
                    </a:lnTo>
                    <a:lnTo>
                      <a:pt x="1179" y="2042"/>
                    </a:lnTo>
                    <a:moveTo>
                      <a:pt x="1412" y="430"/>
                    </a:moveTo>
                    <a:lnTo>
                      <a:pt x="1412" y="430"/>
                    </a:lnTo>
                    <a:lnTo>
                      <a:pt x="1412" y="430"/>
                    </a:lnTo>
                    <a:lnTo>
                      <a:pt x="1412" y="430"/>
                    </a:lnTo>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3" name="Freeform 343"/>
              <p:cNvSpPr>
                <a:spLocks/>
              </p:cNvSpPr>
              <p:nvPr/>
            </p:nvSpPr>
            <p:spPr bwMode="auto">
              <a:xfrm>
                <a:off x="-10853738" y="1454150"/>
                <a:ext cx="176213" cy="1228725"/>
              </a:xfrm>
              <a:custGeom>
                <a:avLst/>
                <a:gdLst>
                  <a:gd name="T0" fmla="*/ 0 w 111"/>
                  <a:gd name="T1" fmla="*/ 774 h 774"/>
                  <a:gd name="T2" fmla="*/ 0 w 111"/>
                  <a:gd name="T3" fmla="*/ 774 h 774"/>
                  <a:gd name="T4" fmla="*/ 111 w 111"/>
                  <a:gd name="T5" fmla="*/ 0 h 774"/>
                  <a:gd name="T6" fmla="*/ 111 w 111"/>
                  <a:gd name="T7" fmla="*/ 0 h 774"/>
                  <a:gd name="T8" fmla="*/ 111 w 111"/>
                  <a:gd name="T9" fmla="*/ 0 h 774"/>
                  <a:gd name="T10" fmla="*/ 111 w 111"/>
                  <a:gd name="T11" fmla="*/ 0 h 774"/>
                  <a:gd name="T12" fmla="*/ 111 w 111"/>
                  <a:gd name="T13" fmla="*/ 0 h 774"/>
                  <a:gd name="T14" fmla="*/ 111 w 111"/>
                  <a:gd name="T15" fmla="*/ 0 h 774"/>
                  <a:gd name="T16" fmla="*/ 0 w 111"/>
                  <a:gd name="T17" fmla="*/ 77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74">
                    <a:moveTo>
                      <a:pt x="0" y="774"/>
                    </a:moveTo>
                    <a:lnTo>
                      <a:pt x="0" y="774"/>
                    </a:lnTo>
                    <a:lnTo>
                      <a:pt x="111" y="0"/>
                    </a:lnTo>
                    <a:lnTo>
                      <a:pt x="111" y="0"/>
                    </a:lnTo>
                    <a:lnTo>
                      <a:pt x="111" y="0"/>
                    </a:lnTo>
                    <a:lnTo>
                      <a:pt x="111" y="0"/>
                    </a:lnTo>
                    <a:lnTo>
                      <a:pt x="111" y="0"/>
                    </a:lnTo>
                    <a:lnTo>
                      <a:pt x="111" y="0"/>
                    </a:lnTo>
                    <a:lnTo>
                      <a:pt x="0" y="774"/>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4" name="Rectangle 344"/>
              <p:cNvSpPr>
                <a:spLocks noChangeArrowheads="1"/>
              </p:cNvSpPr>
              <p:nvPr/>
            </p:nvSpPr>
            <p:spPr bwMode="auto">
              <a:xfrm>
                <a:off x="-11752263" y="1125537"/>
                <a:ext cx="1588" cy="1588"/>
              </a:xfrm>
              <a:prstGeom prst="rect">
                <a:avLst/>
              </a:prstGeom>
              <a:solidFill>
                <a:srgbClr val="579ABA"/>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5" name="Rectangle 345"/>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6" name="Rectangle 346"/>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7" name="Freeform 347"/>
              <p:cNvSpPr>
                <a:spLocks/>
              </p:cNvSpPr>
              <p:nvPr/>
            </p:nvSpPr>
            <p:spPr bwMode="auto">
              <a:xfrm>
                <a:off x="-11752263" y="1125537"/>
                <a:ext cx="1074738" cy="328613"/>
              </a:xfrm>
              <a:custGeom>
                <a:avLst/>
                <a:gdLst>
                  <a:gd name="T0" fmla="*/ 677 w 677"/>
                  <a:gd name="T1" fmla="*/ 207 h 207"/>
                  <a:gd name="T2" fmla="*/ 0 w 677"/>
                  <a:gd name="T3" fmla="*/ 0 h 207"/>
                  <a:gd name="T4" fmla="*/ 0 w 677"/>
                  <a:gd name="T5" fmla="*/ 0 h 207"/>
                  <a:gd name="T6" fmla="*/ 0 w 677"/>
                  <a:gd name="T7" fmla="*/ 0 h 207"/>
                  <a:gd name="T8" fmla="*/ 677 w 677"/>
                  <a:gd name="T9" fmla="*/ 207 h 207"/>
                  <a:gd name="T10" fmla="*/ 677 w 677"/>
                  <a:gd name="T11" fmla="*/ 207 h 207"/>
                </a:gdLst>
                <a:ahLst/>
                <a:cxnLst>
                  <a:cxn ang="0">
                    <a:pos x="T0" y="T1"/>
                  </a:cxn>
                  <a:cxn ang="0">
                    <a:pos x="T2" y="T3"/>
                  </a:cxn>
                  <a:cxn ang="0">
                    <a:pos x="T4" y="T5"/>
                  </a:cxn>
                  <a:cxn ang="0">
                    <a:pos x="T6" y="T7"/>
                  </a:cxn>
                  <a:cxn ang="0">
                    <a:pos x="T8" y="T9"/>
                  </a:cxn>
                  <a:cxn ang="0">
                    <a:pos x="T10" y="T11"/>
                  </a:cxn>
                </a:cxnLst>
                <a:rect l="0" t="0" r="r" b="b"/>
                <a:pathLst>
                  <a:path w="677" h="207">
                    <a:moveTo>
                      <a:pt x="677" y="207"/>
                    </a:moveTo>
                    <a:lnTo>
                      <a:pt x="0" y="0"/>
                    </a:lnTo>
                    <a:lnTo>
                      <a:pt x="0" y="0"/>
                    </a:lnTo>
                    <a:lnTo>
                      <a:pt x="0" y="0"/>
                    </a:lnTo>
                    <a:lnTo>
                      <a:pt x="677" y="207"/>
                    </a:lnTo>
                    <a:lnTo>
                      <a:pt x="677" y="20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8" name="Rectangle 348"/>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9" name="Freeform 349"/>
              <p:cNvSpPr>
                <a:spLocks noEditPoints="1"/>
              </p:cNvSpPr>
              <p:nvPr/>
            </p:nvSpPr>
            <p:spPr bwMode="auto">
              <a:xfrm>
                <a:off x="-12625388" y="5602287"/>
                <a:ext cx="571500" cy="1801813"/>
              </a:xfrm>
              <a:custGeom>
                <a:avLst/>
                <a:gdLst>
                  <a:gd name="T0" fmla="*/ 0 w 750"/>
                  <a:gd name="T1" fmla="*/ 2365 h 2365"/>
                  <a:gd name="T2" fmla="*/ 0 w 750"/>
                  <a:gd name="T3" fmla="*/ 921 h 2365"/>
                  <a:gd name="T4" fmla="*/ 750 w 750"/>
                  <a:gd name="T5" fmla="*/ 0 h 2365"/>
                  <a:gd name="T6" fmla="*/ 371 w 750"/>
                  <a:gd name="T7" fmla="*/ 2264 h 2365"/>
                  <a:gd name="T8" fmla="*/ 0 w 750"/>
                  <a:gd name="T9" fmla="*/ 2365 h 2365"/>
                  <a:gd name="T10" fmla="*/ 0 w 750"/>
                  <a:gd name="T11" fmla="*/ 921 h 2365"/>
                  <a:gd name="T12" fmla="*/ 0 w 750"/>
                  <a:gd name="T13" fmla="*/ 921 h 2365"/>
                  <a:gd name="T14" fmla="*/ 750 w 750"/>
                  <a:gd name="T15" fmla="*/ 0 h 2365"/>
                  <a:gd name="T16" fmla="*/ 750 w 750"/>
                  <a:gd name="T17" fmla="*/ 0 h 2365"/>
                  <a:gd name="T18" fmla="*/ 750 w 750"/>
                  <a:gd name="T19" fmla="*/ 0 h 2365"/>
                  <a:gd name="T20" fmla="*/ 0 w 750"/>
                  <a:gd name="T21" fmla="*/ 921 h 2365"/>
                  <a:gd name="T22" fmla="*/ 750 w 750"/>
                  <a:gd name="T23" fmla="*/ 0 h 2365"/>
                  <a:gd name="T24" fmla="*/ 750 w 750"/>
                  <a:gd name="T25" fmla="*/ 0 h 2365"/>
                  <a:gd name="T26" fmla="*/ 750 w 750"/>
                  <a:gd name="T27" fmla="*/ 0 h 2365"/>
                  <a:gd name="T28" fmla="*/ 750 w 750"/>
                  <a:gd name="T29" fmla="*/ 0 h 2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0" h="2365">
                    <a:moveTo>
                      <a:pt x="0" y="2365"/>
                    </a:moveTo>
                    <a:lnTo>
                      <a:pt x="0" y="921"/>
                    </a:lnTo>
                    <a:lnTo>
                      <a:pt x="750" y="0"/>
                    </a:lnTo>
                    <a:lnTo>
                      <a:pt x="371" y="2264"/>
                    </a:lnTo>
                    <a:lnTo>
                      <a:pt x="0" y="2365"/>
                    </a:lnTo>
                    <a:moveTo>
                      <a:pt x="0" y="921"/>
                    </a:moveTo>
                    <a:lnTo>
                      <a:pt x="0" y="921"/>
                    </a:lnTo>
                    <a:lnTo>
                      <a:pt x="750" y="0"/>
                    </a:lnTo>
                    <a:lnTo>
                      <a:pt x="750" y="0"/>
                    </a:lnTo>
                    <a:lnTo>
                      <a:pt x="750" y="0"/>
                    </a:lnTo>
                    <a:lnTo>
                      <a:pt x="0" y="921"/>
                    </a:lnTo>
                    <a:moveTo>
                      <a:pt x="750" y="0"/>
                    </a:moveTo>
                    <a:lnTo>
                      <a:pt x="750" y="0"/>
                    </a:lnTo>
                    <a:lnTo>
                      <a:pt x="750" y="0"/>
                    </a:lnTo>
                    <a:lnTo>
                      <a:pt x="750" y="0"/>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0" name="Freeform 350"/>
              <p:cNvSpPr>
                <a:spLocks/>
              </p:cNvSpPr>
              <p:nvPr/>
            </p:nvSpPr>
            <p:spPr bwMode="auto">
              <a:xfrm>
                <a:off x="-12625388" y="4479925"/>
                <a:ext cx="571500" cy="1122363"/>
              </a:xfrm>
              <a:custGeom>
                <a:avLst/>
                <a:gdLst>
                  <a:gd name="T0" fmla="*/ 360 w 360"/>
                  <a:gd name="T1" fmla="*/ 707 h 707"/>
                  <a:gd name="T2" fmla="*/ 0 w 360"/>
                  <a:gd name="T3" fmla="*/ 379 h 707"/>
                  <a:gd name="T4" fmla="*/ 0 w 360"/>
                  <a:gd name="T5" fmla="*/ 0 h 707"/>
                  <a:gd name="T6" fmla="*/ 281 w 360"/>
                  <a:gd name="T7" fmla="*/ 74 h 707"/>
                  <a:gd name="T8" fmla="*/ 360 w 360"/>
                  <a:gd name="T9" fmla="*/ 707 h 707"/>
                </a:gdLst>
                <a:ahLst/>
                <a:cxnLst>
                  <a:cxn ang="0">
                    <a:pos x="T0" y="T1"/>
                  </a:cxn>
                  <a:cxn ang="0">
                    <a:pos x="T2" y="T3"/>
                  </a:cxn>
                  <a:cxn ang="0">
                    <a:pos x="T4" y="T5"/>
                  </a:cxn>
                  <a:cxn ang="0">
                    <a:pos x="T6" y="T7"/>
                  </a:cxn>
                  <a:cxn ang="0">
                    <a:pos x="T8" y="T9"/>
                  </a:cxn>
                </a:cxnLst>
                <a:rect l="0" t="0" r="r" b="b"/>
                <a:pathLst>
                  <a:path w="360" h="707">
                    <a:moveTo>
                      <a:pt x="360" y="707"/>
                    </a:moveTo>
                    <a:lnTo>
                      <a:pt x="0" y="379"/>
                    </a:lnTo>
                    <a:lnTo>
                      <a:pt x="0" y="0"/>
                    </a:lnTo>
                    <a:lnTo>
                      <a:pt x="281" y="74"/>
                    </a:lnTo>
                    <a:lnTo>
                      <a:pt x="360" y="707"/>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1" name="Freeform 351"/>
              <p:cNvSpPr>
                <a:spLocks noEditPoints="1"/>
              </p:cNvSpPr>
              <p:nvPr/>
            </p:nvSpPr>
            <p:spPr bwMode="auto">
              <a:xfrm>
                <a:off x="-12341225" y="5602287"/>
                <a:ext cx="1487488" cy="1725613"/>
              </a:xfrm>
              <a:custGeom>
                <a:avLst/>
                <a:gdLst>
                  <a:gd name="T0" fmla="*/ 0 w 1952"/>
                  <a:gd name="T1" fmla="*/ 2264 h 2264"/>
                  <a:gd name="T2" fmla="*/ 378 w 1952"/>
                  <a:gd name="T3" fmla="*/ 0 h 2264"/>
                  <a:gd name="T4" fmla="*/ 378 w 1952"/>
                  <a:gd name="T5" fmla="*/ 0 h 2264"/>
                  <a:gd name="T6" fmla="*/ 1952 w 1952"/>
                  <a:gd name="T7" fmla="*/ 251 h 2264"/>
                  <a:gd name="T8" fmla="*/ 1952 w 1952"/>
                  <a:gd name="T9" fmla="*/ 251 h 2264"/>
                  <a:gd name="T10" fmla="*/ 1952 w 1952"/>
                  <a:gd name="T11" fmla="*/ 251 h 2264"/>
                  <a:gd name="T12" fmla="*/ 1952 w 1952"/>
                  <a:gd name="T13" fmla="*/ 251 h 2264"/>
                  <a:gd name="T14" fmla="*/ 780 w 1952"/>
                  <a:gd name="T15" fmla="*/ 1459 h 2264"/>
                  <a:gd name="T16" fmla="*/ 0 w 1952"/>
                  <a:gd name="T17" fmla="*/ 2264 h 2264"/>
                  <a:gd name="T18" fmla="*/ 378 w 1952"/>
                  <a:gd name="T19" fmla="*/ 0 h 2264"/>
                  <a:gd name="T20" fmla="*/ 378 w 1952"/>
                  <a:gd name="T21" fmla="*/ 0 h 2264"/>
                  <a:gd name="T22" fmla="*/ 378 w 1952"/>
                  <a:gd name="T23" fmla="*/ 0 h 2264"/>
                  <a:gd name="T24" fmla="*/ 378 w 1952"/>
                  <a:gd name="T25" fmla="*/ 0 h 2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52" h="2264">
                    <a:moveTo>
                      <a:pt x="0" y="2264"/>
                    </a:moveTo>
                    <a:lnTo>
                      <a:pt x="378" y="0"/>
                    </a:lnTo>
                    <a:lnTo>
                      <a:pt x="378" y="0"/>
                    </a:lnTo>
                    <a:lnTo>
                      <a:pt x="1952" y="251"/>
                    </a:lnTo>
                    <a:lnTo>
                      <a:pt x="1952" y="251"/>
                    </a:lnTo>
                    <a:lnTo>
                      <a:pt x="1952" y="251"/>
                    </a:lnTo>
                    <a:lnTo>
                      <a:pt x="1952" y="251"/>
                    </a:lnTo>
                    <a:lnTo>
                      <a:pt x="780" y="1459"/>
                    </a:lnTo>
                    <a:lnTo>
                      <a:pt x="0" y="2264"/>
                    </a:lnTo>
                    <a:moveTo>
                      <a:pt x="378" y="0"/>
                    </a:moveTo>
                    <a:lnTo>
                      <a:pt x="378" y="0"/>
                    </a:lnTo>
                    <a:lnTo>
                      <a:pt x="378" y="0"/>
                    </a:lnTo>
                    <a:lnTo>
                      <a:pt x="378"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2" name="Freeform 352"/>
              <p:cNvSpPr>
                <a:spLocks noEditPoints="1"/>
              </p:cNvSpPr>
              <p:nvPr/>
            </p:nvSpPr>
            <p:spPr bwMode="auto">
              <a:xfrm>
                <a:off x="-12625388" y="5081587"/>
                <a:ext cx="571500" cy="520700"/>
              </a:xfrm>
              <a:custGeom>
                <a:avLst/>
                <a:gdLst>
                  <a:gd name="T0" fmla="*/ 750 w 750"/>
                  <a:gd name="T1" fmla="*/ 684 h 684"/>
                  <a:gd name="T2" fmla="*/ 750 w 750"/>
                  <a:gd name="T3" fmla="*/ 684 h 684"/>
                  <a:gd name="T4" fmla="*/ 750 w 750"/>
                  <a:gd name="T5" fmla="*/ 684 h 684"/>
                  <a:gd name="T6" fmla="*/ 750 w 750"/>
                  <a:gd name="T7" fmla="*/ 684 h 684"/>
                  <a:gd name="T8" fmla="*/ 750 w 750"/>
                  <a:gd name="T9" fmla="*/ 684 h 684"/>
                  <a:gd name="T10" fmla="*/ 0 w 750"/>
                  <a:gd name="T11" fmla="*/ 0 h 684"/>
                  <a:gd name="T12" fmla="*/ 750 w 750"/>
                  <a:gd name="T13" fmla="*/ 684 h 684"/>
                </a:gdLst>
                <a:ahLst/>
                <a:cxnLst>
                  <a:cxn ang="0">
                    <a:pos x="T0" y="T1"/>
                  </a:cxn>
                  <a:cxn ang="0">
                    <a:pos x="T2" y="T3"/>
                  </a:cxn>
                  <a:cxn ang="0">
                    <a:pos x="T4" y="T5"/>
                  </a:cxn>
                  <a:cxn ang="0">
                    <a:pos x="T6" y="T7"/>
                  </a:cxn>
                  <a:cxn ang="0">
                    <a:pos x="T8" y="T9"/>
                  </a:cxn>
                  <a:cxn ang="0">
                    <a:pos x="T10" y="T11"/>
                  </a:cxn>
                  <a:cxn ang="0">
                    <a:pos x="T12" y="T13"/>
                  </a:cxn>
                </a:cxnLst>
                <a:rect l="0" t="0" r="r" b="b"/>
                <a:pathLst>
                  <a:path w="750" h="684">
                    <a:moveTo>
                      <a:pt x="750" y="684"/>
                    </a:moveTo>
                    <a:lnTo>
                      <a:pt x="750" y="684"/>
                    </a:lnTo>
                    <a:lnTo>
                      <a:pt x="750" y="684"/>
                    </a:lnTo>
                    <a:lnTo>
                      <a:pt x="750" y="684"/>
                    </a:lnTo>
                    <a:moveTo>
                      <a:pt x="750" y="684"/>
                    </a:moveTo>
                    <a:lnTo>
                      <a:pt x="0" y="0"/>
                    </a:lnTo>
                    <a:lnTo>
                      <a:pt x="750" y="684"/>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3" name="Rectangle 353"/>
              <p:cNvSpPr>
                <a:spLocks noChangeArrowheads="1"/>
              </p:cNvSpPr>
              <p:nvPr/>
            </p:nvSpPr>
            <p:spPr bwMode="auto">
              <a:xfrm>
                <a:off x="-12053888" y="5602287"/>
                <a:ext cx="1588" cy="1588"/>
              </a:xfrm>
              <a:prstGeom prst="rect">
                <a:avLst/>
              </a:prstGeom>
              <a:solidFill>
                <a:srgbClr val="599DBC"/>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4" name="Line 354"/>
              <p:cNvSpPr>
                <a:spLocks noChangeShapeType="1"/>
              </p:cNvSpPr>
              <p:nvPr/>
            </p:nvSpPr>
            <p:spPr bwMode="auto">
              <a:xfrm>
                <a:off x="-12053888" y="56022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5" name="Freeform 355"/>
              <p:cNvSpPr>
                <a:spLocks/>
              </p:cNvSpPr>
              <p:nvPr/>
            </p:nvSpPr>
            <p:spPr bwMode="auto">
              <a:xfrm>
                <a:off x="-12179300" y="4597400"/>
                <a:ext cx="1325563" cy="1195388"/>
              </a:xfrm>
              <a:custGeom>
                <a:avLst/>
                <a:gdLst>
                  <a:gd name="T0" fmla="*/ 835 w 835"/>
                  <a:gd name="T1" fmla="*/ 753 h 753"/>
                  <a:gd name="T2" fmla="*/ 79 w 835"/>
                  <a:gd name="T3" fmla="*/ 633 h 753"/>
                  <a:gd name="T4" fmla="*/ 0 w 835"/>
                  <a:gd name="T5" fmla="*/ 0 h 753"/>
                  <a:gd name="T6" fmla="*/ 835 w 835"/>
                  <a:gd name="T7" fmla="*/ 753 h 753"/>
                  <a:gd name="T8" fmla="*/ 835 w 835"/>
                  <a:gd name="T9" fmla="*/ 753 h 753"/>
                </a:gdLst>
                <a:ahLst/>
                <a:cxnLst>
                  <a:cxn ang="0">
                    <a:pos x="T0" y="T1"/>
                  </a:cxn>
                  <a:cxn ang="0">
                    <a:pos x="T2" y="T3"/>
                  </a:cxn>
                  <a:cxn ang="0">
                    <a:pos x="T4" y="T5"/>
                  </a:cxn>
                  <a:cxn ang="0">
                    <a:pos x="T6" y="T7"/>
                  </a:cxn>
                  <a:cxn ang="0">
                    <a:pos x="T8" y="T9"/>
                  </a:cxn>
                </a:cxnLst>
                <a:rect l="0" t="0" r="r" b="b"/>
                <a:pathLst>
                  <a:path w="835" h="753">
                    <a:moveTo>
                      <a:pt x="835" y="753"/>
                    </a:moveTo>
                    <a:lnTo>
                      <a:pt x="79" y="633"/>
                    </a:lnTo>
                    <a:lnTo>
                      <a:pt x="0" y="0"/>
                    </a:lnTo>
                    <a:lnTo>
                      <a:pt x="835" y="753"/>
                    </a:lnTo>
                    <a:lnTo>
                      <a:pt x="835" y="753"/>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6" name="Freeform 356"/>
              <p:cNvSpPr>
                <a:spLocks/>
              </p:cNvSpPr>
              <p:nvPr/>
            </p:nvSpPr>
            <p:spPr bwMode="auto">
              <a:xfrm>
                <a:off x="-12625388" y="5602287"/>
                <a:ext cx="571500" cy="701675"/>
              </a:xfrm>
              <a:custGeom>
                <a:avLst/>
                <a:gdLst>
                  <a:gd name="T0" fmla="*/ 0 w 360"/>
                  <a:gd name="T1" fmla="*/ 442 h 442"/>
                  <a:gd name="T2" fmla="*/ 0 w 360"/>
                  <a:gd name="T3" fmla="*/ 442 h 442"/>
                  <a:gd name="T4" fmla="*/ 360 w 360"/>
                  <a:gd name="T5" fmla="*/ 0 h 442"/>
                  <a:gd name="T6" fmla="*/ 360 w 360"/>
                  <a:gd name="T7" fmla="*/ 0 h 442"/>
                  <a:gd name="T8" fmla="*/ 360 w 360"/>
                  <a:gd name="T9" fmla="*/ 0 h 442"/>
                  <a:gd name="T10" fmla="*/ 360 w 360"/>
                  <a:gd name="T11" fmla="*/ 0 h 442"/>
                  <a:gd name="T12" fmla="*/ 360 w 360"/>
                  <a:gd name="T13" fmla="*/ 0 h 442"/>
                  <a:gd name="T14" fmla="*/ 0 w 36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442">
                    <a:moveTo>
                      <a:pt x="0" y="442"/>
                    </a:moveTo>
                    <a:lnTo>
                      <a:pt x="0" y="442"/>
                    </a:lnTo>
                    <a:lnTo>
                      <a:pt x="360" y="0"/>
                    </a:lnTo>
                    <a:lnTo>
                      <a:pt x="360" y="0"/>
                    </a:lnTo>
                    <a:lnTo>
                      <a:pt x="360" y="0"/>
                    </a:lnTo>
                    <a:lnTo>
                      <a:pt x="360" y="0"/>
                    </a:lnTo>
                    <a:lnTo>
                      <a:pt x="360" y="0"/>
                    </a:lnTo>
                    <a:lnTo>
                      <a:pt x="0" y="4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7" name="Freeform 357"/>
              <p:cNvSpPr>
                <a:spLocks noEditPoints="1"/>
              </p:cNvSpPr>
              <p:nvPr/>
            </p:nvSpPr>
            <p:spPr bwMode="auto">
              <a:xfrm>
                <a:off x="-10853738" y="4237037"/>
                <a:ext cx="944563" cy="2341563"/>
              </a:xfrm>
              <a:custGeom>
                <a:avLst/>
                <a:gdLst>
                  <a:gd name="T0" fmla="*/ 1240 w 1240"/>
                  <a:gd name="T1" fmla="*/ 3073 h 3073"/>
                  <a:gd name="T2" fmla="*/ 0 w 1240"/>
                  <a:gd name="T3" fmla="*/ 2042 h 3073"/>
                  <a:gd name="T4" fmla="*/ 0 w 1240"/>
                  <a:gd name="T5" fmla="*/ 2042 h 3073"/>
                  <a:gd name="T6" fmla="*/ 0 w 1240"/>
                  <a:gd name="T7" fmla="*/ 2042 h 3073"/>
                  <a:gd name="T8" fmla="*/ 0 w 1240"/>
                  <a:gd name="T9" fmla="*/ 2042 h 3073"/>
                  <a:gd name="T10" fmla="*/ 1178 w 1240"/>
                  <a:gd name="T11" fmla="*/ 1 h 3073"/>
                  <a:gd name="T12" fmla="*/ 1240 w 1240"/>
                  <a:gd name="T13" fmla="*/ 3073 h 3073"/>
                  <a:gd name="T14" fmla="*/ 1178 w 1240"/>
                  <a:gd name="T15" fmla="*/ 0 h 3073"/>
                  <a:gd name="T16" fmla="*/ 1178 w 1240"/>
                  <a:gd name="T17" fmla="*/ 0 h 3073"/>
                  <a:gd name="T18" fmla="*/ 1178 w 1240"/>
                  <a:gd name="T19" fmla="*/ 0 h 3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0" h="3073">
                    <a:moveTo>
                      <a:pt x="1240" y="3073"/>
                    </a:moveTo>
                    <a:lnTo>
                      <a:pt x="0" y="2042"/>
                    </a:lnTo>
                    <a:lnTo>
                      <a:pt x="0" y="2042"/>
                    </a:lnTo>
                    <a:lnTo>
                      <a:pt x="0" y="2042"/>
                    </a:lnTo>
                    <a:lnTo>
                      <a:pt x="0" y="2042"/>
                    </a:lnTo>
                    <a:lnTo>
                      <a:pt x="1178" y="1"/>
                    </a:lnTo>
                    <a:lnTo>
                      <a:pt x="1240" y="3073"/>
                    </a:lnTo>
                    <a:moveTo>
                      <a:pt x="1178" y="0"/>
                    </a:moveTo>
                    <a:lnTo>
                      <a:pt x="1178" y="0"/>
                    </a:lnTo>
                    <a:lnTo>
                      <a:pt x="1178" y="0"/>
                    </a:lnTo>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8" name="Rectangle 358"/>
              <p:cNvSpPr>
                <a:spLocks noChangeArrowheads="1"/>
              </p:cNvSpPr>
              <p:nvPr/>
            </p:nvSpPr>
            <p:spPr bwMode="auto">
              <a:xfrm>
                <a:off x="-10853738" y="5792787"/>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9" name="Freeform 359"/>
              <p:cNvSpPr>
                <a:spLocks/>
              </p:cNvSpPr>
              <p:nvPr/>
            </p:nvSpPr>
            <p:spPr bwMode="auto">
              <a:xfrm>
                <a:off x="-10853738" y="2682875"/>
                <a:ext cx="1365250" cy="1554163"/>
              </a:xfrm>
              <a:custGeom>
                <a:avLst/>
                <a:gdLst>
                  <a:gd name="T0" fmla="*/ 565 w 860"/>
                  <a:gd name="T1" fmla="*/ 979 h 979"/>
                  <a:gd name="T2" fmla="*/ 565 w 860"/>
                  <a:gd name="T3" fmla="*/ 979 h 979"/>
                  <a:gd name="T4" fmla="*/ 0 w 860"/>
                  <a:gd name="T5" fmla="*/ 0 h 979"/>
                  <a:gd name="T6" fmla="*/ 0 w 860"/>
                  <a:gd name="T7" fmla="*/ 0 h 979"/>
                  <a:gd name="T8" fmla="*/ 860 w 860"/>
                  <a:gd name="T9" fmla="*/ 333 h 979"/>
                  <a:gd name="T10" fmla="*/ 565 w 860"/>
                  <a:gd name="T11" fmla="*/ 979 h 979"/>
                </a:gdLst>
                <a:ahLst/>
                <a:cxnLst>
                  <a:cxn ang="0">
                    <a:pos x="T0" y="T1"/>
                  </a:cxn>
                  <a:cxn ang="0">
                    <a:pos x="T2" y="T3"/>
                  </a:cxn>
                  <a:cxn ang="0">
                    <a:pos x="T4" y="T5"/>
                  </a:cxn>
                  <a:cxn ang="0">
                    <a:pos x="T6" y="T7"/>
                  </a:cxn>
                  <a:cxn ang="0">
                    <a:pos x="T8" y="T9"/>
                  </a:cxn>
                  <a:cxn ang="0">
                    <a:pos x="T10" y="T11"/>
                  </a:cxn>
                </a:cxnLst>
                <a:rect l="0" t="0" r="r" b="b"/>
                <a:pathLst>
                  <a:path w="860" h="979">
                    <a:moveTo>
                      <a:pt x="565" y="979"/>
                    </a:moveTo>
                    <a:lnTo>
                      <a:pt x="565" y="979"/>
                    </a:lnTo>
                    <a:lnTo>
                      <a:pt x="0" y="0"/>
                    </a:lnTo>
                    <a:lnTo>
                      <a:pt x="0" y="0"/>
                    </a:lnTo>
                    <a:lnTo>
                      <a:pt x="860" y="333"/>
                    </a:lnTo>
                    <a:lnTo>
                      <a:pt x="565"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0" name="Freeform 360"/>
              <p:cNvSpPr>
                <a:spLocks/>
              </p:cNvSpPr>
              <p:nvPr/>
            </p:nvSpPr>
            <p:spPr bwMode="auto">
              <a:xfrm>
                <a:off x="-9956800" y="4237037"/>
                <a:ext cx="1797050" cy="2341563"/>
              </a:xfrm>
              <a:custGeom>
                <a:avLst/>
                <a:gdLst>
                  <a:gd name="T0" fmla="*/ 30 w 1132"/>
                  <a:gd name="T1" fmla="*/ 1475 h 1475"/>
                  <a:gd name="T2" fmla="*/ 0 w 1132"/>
                  <a:gd name="T3" fmla="*/ 1 h 1475"/>
                  <a:gd name="T4" fmla="*/ 0 w 1132"/>
                  <a:gd name="T5" fmla="*/ 0 h 1475"/>
                  <a:gd name="T6" fmla="*/ 0 w 1132"/>
                  <a:gd name="T7" fmla="*/ 0 h 1475"/>
                  <a:gd name="T8" fmla="*/ 0 w 1132"/>
                  <a:gd name="T9" fmla="*/ 0 h 1475"/>
                  <a:gd name="T10" fmla="*/ 1132 w 1132"/>
                  <a:gd name="T11" fmla="*/ 0 h 1475"/>
                  <a:gd name="T12" fmla="*/ 1132 w 1132"/>
                  <a:gd name="T13" fmla="*/ 1 h 1475"/>
                  <a:gd name="T14" fmla="*/ 30 w 1132"/>
                  <a:gd name="T15" fmla="*/ 1475 h 14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1475">
                    <a:moveTo>
                      <a:pt x="30" y="1475"/>
                    </a:moveTo>
                    <a:lnTo>
                      <a:pt x="0" y="1"/>
                    </a:lnTo>
                    <a:lnTo>
                      <a:pt x="0" y="0"/>
                    </a:lnTo>
                    <a:lnTo>
                      <a:pt x="0" y="0"/>
                    </a:lnTo>
                    <a:lnTo>
                      <a:pt x="0" y="0"/>
                    </a:lnTo>
                    <a:lnTo>
                      <a:pt x="1132" y="0"/>
                    </a:lnTo>
                    <a:lnTo>
                      <a:pt x="1132" y="1"/>
                    </a:lnTo>
                    <a:lnTo>
                      <a:pt x="30" y="147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1" name="Freeform 361"/>
              <p:cNvSpPr>
                <a:spLocks noEditPoints="1"/>
              </p:cNvSpPr>
              <p:nvPr/>
            </p:nvSpPr>
            <p:spPr bwMode="auto">
              <a:xfrm>
                <a:off x="-12179300" y="2682875"/>
                <a:ext cx="2222500" cy="1914525"/>
              </a:xfrm>
              <a:custGeom>
                <a:avLst/>
                <a:gdLst>
                  <a:gd name="T0" fmla="*/ 0 w 2916"/>
                  <a:gd name="T1" fmla="*/ 2514 h 2514"/>
                  <a:gd name="T2" fmla="*/ 956 w 2916"/>
                  <a:gd name="T3" fmla="*/ 1131 h 2514"/>
                  <a:gd name="T4" fmla="*/ 1738 w 2916"/>
                  <a:gd name="T5" fmla="*/ 0 h 2514"/>
                  <a:gd name="T6" fmla="*/ 2916 w 2916"/>
                  <a:gd name="T7" fmla="*/ 2041 h 2514"/>
                  <a:gd name="T8" fmla="*/ 0 w 2916"/>
                  <a:gd name="T9" fmla="*/ 2514 h 2514"/>
                  <a:gd name="T10" fmla="*/ 1738 w 2916"/>
                  <a:gd name="T11" fmla="*/ 0 h 2514"/>
                  <a:gd name="T12" fmla="*/ 1738 w 2916"/>
                  <a:gd name="T13" fmla="*/ 0 h 2514"/>
                </a:gdLst>
                <a:ahLst/>
                <a:cxnLst>
                  <a:cxn ang="0">
                    <a:pos x="T0" y="T1"/>
                  </a:cxn>
                  <a:cxn ang="0">
                    <a:pos x="T2" y="T3"/>
                  </a:cxn>
                  <a:cxn ang="0">
                    <a:pos x="T4" y="T5"/>
                  </a:cxn>
                  <a:cxn ang="0">
                    <a:pos x="T6" y="T7"/>
                  </a:cxn>
                  <a:cxn ang="0">
                    <a:pos x="T8" y="T9"/>
                  </a:cxn>
                  <a:cxn ang="0">
                    <a:pos x="T10" y="T11"/>
                  </a:cxn>
                  <a:cxn ang="0">
                    <a:pos x="T12" y="T13"/>
                  </a:cxn>
                </a:cxnLst>
                <a:rect l="0" t="0" r="r" b="b"/>
                <a:pathLst>
                  <a:path w="2916" h="2514">
                    <a:moveTo>
                      <a:pt x="0" y="2514"/>
                    </a:moveTo>
                    <a:lnTo>
                      <a:pt x="956" y="1131"/>
                    </a:lnTo>
                    <a:lnTo>
                      <a:pt x="1738" y="0"/>
                    </a:lnTo>
                    <a:lnTo>
                      <a:pt x="2916" y="2041"/>
                    </a:lnTo>
                    <a:lnTo>
                      <a:pt x="0" y="2514"/>
                    </a:lnTo>
                    <a:moveTo>
                      <a:pt x="1738" y="0"/>
                    </a:moveTo>
                    <a:lnTo>
                      <a:pt x="1738"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2" name="Freeform 362"/>
              <p:cNvSpPr>
                <a:spLocks/>
              </p:cNvSpPr>
              <p:nvPr/>
            </p:nvSpPr>
            <p:spPr bwMode="auto">
              <a:xfrm>
                <a:off x="-9956800" y="3211512"/>
                <a:ext cx="1797050" cy="1025525"/>
              </a:xfrm>
              <a:custGeom>
                <a:avLst/>
                <a:gdLst>
                  <a:gd name="T0" fmla="*/ 2358 w 2358"/>
                  <a:gd name="T1" fmla="*/ 1346 h 1346"/>
                  <a:gd name="T2" fmla="*/ 0 w 2358"/>
                  <a:gd name="T3" fmla="*/ 1346 h 1346"/>
                  <a:gd name="T4" fmla="*/ 614 w 2358"/>
                  <a:gd name="T5" fmla="*/ 0 h 1346"/>
                  <a:gd name="T6" fmla="*/ 2358 w 2358"/>
                  <a:gd name="T7" fmla="*/ 1346 h 1346"/>
                  <a:gd name="T8" fmla="*/ 2357 w 2358"/>
                  <a:gd name="T9" fmla="*/ 1346 h 1346"/>
                  <a:gd name="T10" fmla="*/ 2358 w 2358"/>
                  <a:gd name="T11" fmla="*/ 1346 h 1346"/>
                  <a:gd name="T12" fmla="*/ 2358 w 2358"/>
                  <a:gd name="T13" fmla="*/ 1346 h 1346"/>
                  <a:gd name="T14" fmla="*/ 2357 w 2358"/>
                  <a:gd name="T15" fmla="*/ 1346 h 13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8" h="1346">
                    <a:moveTo>
                      <a:pt x="2358" y="1346"/>
                    </a:moveTo>
                    <a:lnTo>
                      <a:pt x="0" y="1346"/>
                    </a:lnTo>
                    <a:lnTo>
                      <a:pt x="614" y="0"/>
                    </a:lnTo>
                    <a:lnTo>
                      <a:pt x="2358" y="1346"/>
                    </a:lnTo>
                    <a:lnTo>
                      <a:pt x="2357" y="1346"/>
                    </a:lnTo>
                    <a:lnTo>
                      <a:pt x="2358" y="1346"/>
                    </a:lnTo>
                    <a:lnTo>
                      <a:pt x="2358" y="1346"/>
                    </a:lnTo>
                    <a:lnTo>
                      <a:pt x="2357" y="1346"/>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3" name="Freeform 363"/>
              <p:cNvSpPr>
                <a:spLocks noEditPoints="1"/>
              </p:cNvSpPr>
              <p:nvPr/>
            </p:nvSpPr>
            <p:spPr bwMode="auto">
              <a:xfrm>
                <a:off x="-12179300" y="4237037"/>
                <a:ext cx="2222500" cy="1555750"/>
              </a:xfrm>
              <a:custGeom>
                <a:avLst/>
                <a:gdLst>
                  <a:gd name="T0" fmla="*/ 1738 w 2916"/>
                  <a:gd name="T1" fmla="*/ 2042 h 2042"/>
                  <a:gd name="T2" fmla="*/ 0 w 2916"/>
                  <a:gd name="T3" fmla="*/ 473 h 2042"/>
                  <a:gd name="T4" fmla="*/ 2916 w 2916"/>
                  <a:gd name="T5" fmla="*/ 0 h 2042"/>
                  <a:gd name="T6" fmla="*/ 1738 w 2916"/>
                  <a:gd name="T7" fmla="*/ 2042 h 2042"/>
                  <a:gd name="T8" fmla="*/ 2916 w 2916"/>
                  <a:gd name="T9" fmla="*/ 1 h 2042"/>
                  <a:gd name="T10" fmla="*/ 2916 w 2916"/>
                  <a:gd name="T11" fmla="*/ 0 h 2042"/>
                  <a:gd name="T12" fmla="*/ 2916 w 2916"/>
                  <a:gd name="T13" fmla="*/ 1 h 2042"/>
                </a:gdLst>
                <a:ahLst/>
                <a:cxnLst>
                  <a:cxn ang="0">
                    <a:pos x="T0" y="T1"/>
                  </a:cxn>
                  <a:cxn ang="0">
                    <a:pos x="T2" y="T3"/>
                  </a:cxn>
                  <a:cxn ang="0">
                    <a:pos x="T4" y="T5"/>
                  </a:cxn>
                  <a:cxn ang="0">
                    <a:pos x="T6" y="T7"/>
                  </a:cxn>
                  <a:cxn ang="0">
                    <a:pos x="T8" y="T9"/>
                  </a:cxn>
                  <a:cxn ang="0">
                    <a:pos x="T10" y="T11"/>
                  </a:cxn>
                  <a:cxn ang="0">
                    <a:pos x="T12" y="T13"/>
                  </a:cxn>
                </a:cxnLst>
                <a:rect l="0" t="0" r="r" b="b"/>
                <a:pathLst>
                  <a:path w="2916" h="2042">
                    <a:moveTo>
                      <a:pt x="1738" y="2042"/>
                    </a:moveTo>
                    <a:lnTo>
                      <a:pt x="0" y="473"/>
                    </a:lnTo>
                    <a:lnTo>
                      <a:pt x="2916" y="0"/>
                    </a:lnTo>
                    <a:lnTo>
                      <a:pt x="1738" y="2042"/>
                    </a:lnTo>
                    <a:moveTo>
                      <a:pt x="2916" y="1"/>
                    </a:moveTo>
                    <a:lnTo>
                      <a:pt x="2916" y="0"/>
                    </a:lnTo>
                    <a:lnTo>
                      <a:pt x="2916" y="1"/>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4" name="Freeform 364"/>
              <p:cNvSpPr>
                <a:spLocks/>
              </p:cNvSpPr>
              <p:nvPr/>
            </p:nvSpPr>
            <p:spPr bwMode="auto">
              <a:xfrm>
                <a:off x="-10853738" y="4237037"/>
                <a:ext cx="896938" cy="1555750"/>
              </a:xfrm>
              <a:custGeom>
                <a:avLst/>
                <a:gdLst>
                  <a:gd name="T0" fmla="*/ 0 w 565"/>
                  <a:gd name="T1" fmla="*/ 980 h 980"/>
                  <a:gd name="T2" fmla="*/ 0 w 565"/>
                  <a:gd name="T3" fmla="*/ 980 h 980"/>
                  <a:gd name="T4" fmla="*/ 565 w 565"/>
                  <a:gd name="T5" fmla="*/ 0 h 980"/>
                  <a:gd name="T6" fmla="*/ 565 w 565"/>
                  <a:gd name="T7" fmla="*/ 1 h 980"/>
                  <a:gd name="T8" fmla="*/ 0 w 565"/>
                  <a:gd name="T9" fmla="*/ 980 h 980"/>
                </a:gdLst>
                <a:ahLst/>
                <a:cxnLst>
                  <a:cxn ang="0">
                    <a:pos x="T0" y="T1"/>
                  </a:cxn>
                  <a:cxn ang="0">
                    <a:pos x="T2" y="T3"/>
                  </a:cxn>
                  <a:cxn ang="0">
                    <a:pos x="T4" y="T5"/>
                  </a:cxn>
                  <a:cxn ang="0">
                    <a:pos x="T6" y="T7"/>
                  </a:cxn>
                  <a:cxn ang="0">
                    <a:pos x="T8" y="T9"/>
                  </a:cxn>
                </a:cxnLst>
                <a:rect l="0" t="0" r="r" b="b"/>
                <a:pathLst>
                  <a:path w="565" h="980">
                    <a:moveTo>
                      <a:pt x="0" y="980"/>
                    </a:moveTo>
                    <a:lnTo>
                      <a:pt x="0" y="980"/>
                    </a:lnTo>
                    <a:lnTo>
                      <a:pt x="565" y="0"/>
                    </a:lnTo>
                    <a:lnTo>
                      <a:pt x="565" y="1"/>
                    </a:lnTo>
                    <a:lnTo>
                      <a:pt x="0" y="980"/>
                    </a:lnTo>
                    <a:close/>
                  </a:path>
                </a:pathLst>
              </a:custGeom>
              <a:solidFill>
                <a:srgbClr val="599FB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5" name="Rectangle 365"/>
              <p:cNvSpPr>
                <a:spLocks noChangeArrowheads="1"/>
              </p:cNvSpPr>
              <p:nvPr/>
            </p:nvSpPr>
            <p:spPr bwMode="auto">
              <a:xfrm>
                <a:off x="-9956800" y="4237037"/>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6" name="Freeform 366"/>
              <p:cNvSpPr>
                <a:spLocks/>
              </p:cNvSpPr>
              <p:nvPr/>
            </p:nvSpPr>
            <p:spPr bwMode="auto">
              <a:xfrm>
                <a:off x="-12625388" y="7327900"/>
                <a:ext cx="366713" cy="331788"/>
              </a:xfrm>
              <a:custGeom>
                <a:avLst/>
                <a:gdLst>
                  <a:gd name="T0" fmla="*/ 231 w 231"/>
                  <a:gd name="T1" fmla="*/ 209 h 209"/>
                  <a:gd name="T2" fmla="*/ 0 w 231"/>
                  <a:gd name="T3" fmla="*/ 209 h 209"/>
                  <a:gd name="T4" fmla="*/ 0 w 231"/>
                  <a:gd name="T5" fmla="*/ 48 h 209"/>
                  <a:gd name="T6" fmla="*/ 178 w 231"/>
                  <a:gd name="T7" fmla="*/ 0 h 209"/>
                  <a:gd name="T8" fmla="*/ 231 w 231"/>
                  <a:gd name="T9" fmla="*/ 209 h 209"/>
                </a:gdLst>
                <a:ahLst/>
                <a:cxnLst>
                  <a:cxn ang="0">
                    <a:pos x="T0" y="T1"/>
                  </a:cxn>
                  <a:cxn ang="0">
                    <a:pos x="T2" y="T3"/>
                  </a:cxn>
                  <a:cxn ang="0">
                    <a:pos x="T4" y="T5"/>
                  </a:cxn>
                  <a:cxn ang="0">
                    <a:pos x="T6" y="T7"/>
                  </a:cxn>
                  <a:cxn ang="0">
                    <a:pos x="T8" y="T9"/>
                  </a:cxn>
                </a:cxnLst>
                <a:rect l="0" t="0" r="r" b="b"/>
                <a:pathLst>
                  <a:path w="231" h="209">
                    <a:moveTo>
                      <a:pt x="231" y="209"/>
                    </a:moveTo>
                    <a:lnTo>
                      <a:pt x="0" y="209"/>
                    </a:lnTo>
                    <a:lnTo>
                      <a:pt x="0" y="48"/>
                    </a:lnTo>
                    <a:lnTo>
                      <a:pt x="178" y="0"/>
                    </a:lnTo>
                    <a:lnTo>
                      <a:pt x="231" y="20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7" name="Freeform 367"/>
              <p:cNvSpPr>
                <a:spLocks/>
              </p:cNvSpPr>
              <p:nvPr/>
            </p:nvSpPr>
            <p:spPr bwMode="auto">
              <a:xfrm>
                <a:off x="-12341225" y="7327900"/>
                <a:ext cx="534988" cy="331788"/>
              </a:xfrm>
              <a:custGeom>
                <a:avLst/>
                <a:gdLst>
                  <a:gd name="T0" fmla="*/ 337 w 337"/>
                  <a:gd name="T1" fmla="*/ 209 h 209"/>
                  <a:gd name="T2" fmla="*/ 52 w 337"/>
                  <a:gd name="T3" fmla="*/ 209 h 209"/>
                  <a:gd name="T4" fmla="*/ 0 w 337"/>
                  <a:gd name="T5" fmla="*/ 0 h 209"/>
                  <a:gd name="T6" fmla="*/ 205 w 337"/>
                  <a:gd name="T7" fmla="*/ 127 h 209"/>
                  <a:gd name="T8" fmla="*/ 337 w 337"/>
                  <a:gd name="T9" fmla="*/ 209 h 209"/>
                </a:gdLst>
                <a:ahLst/>
                <a:cxnLst>
                  <a:cxn ang="0">
                    <a:pos x="T0" y="T1"/>
                  </a:cxn>
                  <a:cxn ang="0">
                    <a:pos x="T2" y="T3"/>
                  </a:cxn>
                  <a:cxn ang="0">
                    <a:pos x="T4" y="T5"/>
                  </a:cxn>
                  <a:cxn ang="0">
                    <a:pos x="T6" y="T7"/>
                  </a:cxn>
                  <a:cxn ang="0">
                    <a:pos x="T8" y="T9"/>
                  </a:cxn>
                </a:cxnLst>
                <a:rect l="0" t="0" r="r" b="b"/>
                <a:pathLst>
                  <a:path w="337" h="209">
                    <a:moveTo>
                      <a:pt x="337" y="209"/>
                    </a:moveTo>
                    <a:lnTo>
                      <a:pt x="52" y="209"/>
                    </a:lnTo>
                    <a:lnTo>
                      <a:pt x="0" y="0"/>
                    </a:lnTo>
                    <a:lnTo>
                      <a:pt x="205" y="127"/>
                    </a:lnTo>
                    <a:lnTo>
                      <a:pt x="337" y="20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8" name="Freeform 368"/>
              <p:cNvSpPr>
                <a:spLocks/>
              </p:cNvSpPr>
              <p:nvPr/>
            </p:nvSpPr>
            <p:spPr bwMode="auto">
              <a:xfrm>
                <a:off x="-10125075" y="7350125"/>
                <a:ext cx="347663" cy="309563"/>
              </a:xfrm>
              <a:custGeom>
                <a:avLst/>
                <a:gdLst>
                  <a:gd name="T0" fmla="*/ 219 w 219"/>
                  <a:gd name="T1" fmla="*/ 195 h 195"/>
                  <a:gd name="T2" fmla="*/ 0 w 219"/>
                  <a:gd name="T3" fmla="*/ 195 h 195"/>
                  <a:gd name="T4" fmla="*/ 106 w 219"/>
                  <a:gd name="T5" fmla="*/ 0 h 195"/>
                  <a:gd name="T6" fmla="*/ 219 w 219"/>
                  <a:gd name="T7" fmla="*/ 195 h 195"/>
                </a:gdLst>
                <a:ahLst/>
                <a:cxnLst>
                  <a:cxn ang="0">
                    <a:pos x="T0" y="T1"/>
                  </a:cxn>
                  <a:cxn ang="0">
                    <a:pos x="T2" y="T3"/>
                  </a:cxn>
                  <a:cxn ang="0">
                    <a:pos x="T4" y="T5"/>
                  </a:cxn>
                  <a:cxn ang="0">
                    <a:pos x="T6" y="T7"/>
                  </a:cxn>
                </a:cxnLst>
                <a:rect l="0" t="0" r="r" b="b"/>
                <a:pathLst>
                  <a:path w="219" h="195">
                    <a:moveTo>
                      <a:pt x="219" y="195"/>
                    </a:moveTo>
                    <a:lnTo>
                      <a:pt x="0" y="195"/>
                    </a:lnTo>
                    <a:lnTo>
                      <a:pt x="106" y="0"/>
                    </a:lnTo>
                    <a:lnTo>
                      <a:pt x="219"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9" name="Freeform 369"/>
              <p:cNvSpPr>
                <a:spLocks/>
              </p:cNvSpPr>
              <p:nvPr/>
            </p:nvSpPr>
            <p:spPr bwMode="auto">
              <a:xfrm>
                <a:off x="-10853738" y="5792787"/>
                <a:ext cx="944563" cy="1557338"/>
              </a:xfrm>
              <a:custGeom>
                <a:avLst/>
                <a:gdLst>
                  <a:gd name="T0" fmla="*/ 565 w 595"/>
                  <a:gd name="T1" fmla="*/ 981 h 981"/>
                  <a:gd name="T2" fmla="*/ 565 w 595"/>
                  <a:gd name="T3" fmla="*/ 981 h 981"/>
                  <a:gd name="T4" fmla="*/ 0 w 595"/>
                  <a:gd name="T5" fmla="*/ 0 h 981"/>
                  <a:gd name="T6" fmla="*/ 0 w 595"/>
                  <a:gd name="T7" fmla="*/ 0 h 981"/>
                  <a:gd name="T8" fmla="*/ 595 w 595"/>
                  <a:gd name="T9" fmla="*/ 495 h 981"/>
                  <a:gd name="T10" fmla="*/ 565 w 595"/>
                  <a:gd name="T11" fmla="*/ 981 h 981"/>
                </a:gdLst>
                <a:ahLst/>
                <a:cxnLst>
                  <a:cxn ang="0">
                    <a:pos x="T0" y="T1"/>
                  </a:cxn>
                  <a:cxn ang="0">
                    <a:pos x="T2" y="T3"/>
                  </a:cxn>
                  <a:cxn ang="0">
                    <a:pos x="T4" y="T5"/>
                  </a:cxn>
                  <a:cxn ang="0">
                    <a:pos x="T6" y="T7"/>
                  </a:cxn>
                  <a:cxn ang="0">
                    <a:pos x="T8" y="T9"/>
                  </a:cxn>
                  <a:cxn ang="0">
                    <a:pos x="T10" y="T11"/>
                  </a:cxn>
                </a:cxnLst>
                <a:rect l="0" t="0" r="r" b="b"/>
                <a:pathLst>
                  <a:path w="595" h="981">
                    <a:moveTo>
                      <a:pt x="565" y="981"/>
                    </a:moveTo>
                    <a:lnTo>
                      <a:pt x="565" y="981"/>
                    </a:lnTo>
                    <a:lnTo>
                      <a:pt x="0" y="0"/>
                    </a:lnTo>
                    <a:lnTo>
                      <a:pt x="0" y="0"/>
                    </a:lnTo>
                    <a:lnTo>
                      <a:pt x="595" y="495"/>
                    </a:lnTo>
                    <a:lnTo>
                      <a:pt x="565"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0" name="Freeform 370"/>
              <p:cNvSpPr>
                <a:spLocks/>
              </p:cNvSpPr>
              <p:nvPr/>
            </p:nvSpPr>
            <p:spPr bwMode="auto">
              <a:xfrm>
                <a:off x="-9956800" y="7350125"/>
                <a:ext cx="608013" cy="309563"/>
              </a:xfrm>
              <a:custGeom>
                <a:avLst/>
                <a:gdLst>
                  <a:gd name="T0" fmla="*/ 383 w 383"/>
                  <a:gd name="T1" fmla="*/ 195 h 195"/>
                  <a:gd name="T2" fmla="*/ 113 w 383"/>
                  <a:gd name="T3" fmla="*/ 195 h 195"/>
                  <a:gd name="T4" fmla="*/ 0 w 383"/>
                  <a:gd name="T5" fmla="*/ 0 h 195"/>
                  <a:gd name="T6" fmla="*/ 0 w 383"/>
                  <a:gd name="T7" fmla="*/ 0 h 195"/>
                  <a:gd name="T8" fmla="*/ 383 w 383"/>
                  <a:gd name="T9" fmla="*/ 195 h 195"/>
                </a:gdLst>
                <a:ahLst/>
                <a:cxnLst>
                  <a:cxn ang="0">
                    <a:pos x="T0" y="T1"/>
                  </a:cxn>
                  <a:cxn ang="0">
                    <a:pos x="T2" y="T3"/>
                  </a:cxn>
                  <a:cxn ang="0">
                    <a:pos x="T4" y="T5"/>
                  </a:cxn>
                  <a:cxn ang="0">
                    <a:pos x="T6" y="T7"/>
                  </a:cxn>
                  <a:cxn ang="0">
                    <a:pos x="T8" y="T9"/>
                  </a:cxn>
                </a:cxnLst>
                <a:rect l="0" t="0" r="r" b="b"/>
                <a:pathLst>
                  <a:path w="383" h="195">
                    <a:moveTo>
                      <a:pt x="383" y="195"/>
                    </a:moveTo>
                    <a:lnTo>
                      <a:pt x="113" y="195"/>
                    </a:lnTo>
                    <a:lnTo>
                      <a:pt x="0" y="0"/>
                    </a:lnTo>
                    <a:lnTo>
                      <a:pt x="0" y="0"/>
                    </a:lnTo>
                    <a:lnTo>
                      <a:pt x="383"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1" name="Freeform 371"/>
              <p:cNvSpPr>
                <a:spLocks/>
              </p:cNvSpPr>
              <p:nvPr/>
            </p:nvSpPr>
            <p:spPr bwMode="auto">
              <a:xfrm>
                <a:off x="-12341225" y="5792787"/>
                <a:ext cx="2384425" cy="1557338"/>
              </a:xfrm>
              <a:custGeom>
                <a:avLst/>
                <a:gdLst>
                  <a:gd name="T0" fmla="*/ 1502 w 1502"/>
                  <a:gd name="T1" fmla="*/ 981 h 981"/>
                  <a:gd name="T2" fmla="*/ 0 w 1502"/>
                  <a:gd name="T3" fmla="*/ 967 h 981"/>
                  <a:gd name="T4" fmla="*/ 0 w 1502"/>
                  <a:gd name="T5" fmla="*/ 967 h 981"/>
                  <a:gd name="T6" fmla="*/ 0 w 1502"/>
                  <a:gd name="T7" fmla="*/ 967 h 981"/>
                  <a:gd name="T8" fmla="*/ 374 w 1502"/>
                  <a:gd name="T9" fmla="*/ 580 h 981"/>
                  <a:gd name="T10" fmla="*/ 937 w 1502"/>
                  <a:gd name="T11" fmla="*/ 0 h 981"/>
                  <a:gd name="T12" fmla="*/ 1502 w 1502"/>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502" h="981">
                    <a:moveTo>
                      <a:pt x="1502" y="981"/>
                    </a:moveTo>
                    <a:lnTo>
                      <a:pt x="0" y="967"/>
                    </a:lnTo>
                    <a:lnTo>
                      <a:pt x="0" y="967"/>
                    </a:lnTo>
                    <a:lnTo>
                      <a:pt x="0" y="967"/>
                    </a:lnTo>
                    <a:lnTo>
                      <a:pt x="374" y="580"/>
                    </a:lnTo>
                    <a:lnTo>
                      <a:pt x="937" y="0"/>
                    </a:lnTo>
                    <a:lnTo>
                      <a:pt x="1502" y="981"/>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2" name="Freeform 372"/>
              <p:cNvSpPr>
                <a:spLocks/>
              </p:cNvSpPr>
              <p:nvPr/>
            </p:nvSpPr>
            <p:spPr bwMode="auto">
              <a:xfrm>
                <a:off x="-9956800" y="6578600"/>
                <a:ext cx="1098550" cy="1081088"/>
              </a:xfrm>
              <a:custGeom>
                <a:avLst/>
                <a:gdLst>
                  <a:gd name="T0" fmla="*/ 692 w 692"/>
                  <a:gd name="T1" fmla="*/ 681 h 681"/>
                  <a:gd name="T2" fmla="*/ 383 w 692"/>
                  <a:gd name="T3" fmla="*/ 681 h 681"/>
                  <a:gd name="T4" fmla="*/ 0 w 692"/>
                  <a:gd name="T5" fmla="*/ 486 h 681"/>
                  <a:gd name="T6" fmla="*/ 30 w 692"/>
                  <a:gd name="T7" fmla="*/ 0 h 681"/>
                  <a:gd name="T8" fmla="*/ 692 w 692"/>
                  <a:gd name="T9" fmla="*/ 681 h 681"/>
                </a:gdLst>
                <a:ahLst/>
                <a:cxnLst>
                  <a:cxn ang="0">
                    <a:pos x="T0" y="T1"/>
                  </a:cxn>
                  <a:cxn ang="0">
                    <a:pos x="T2" y="T3"/>
                  </a:cxn>
                  <a:cxn ang="0">
                    <a:pos x="T4" y="T5"/>
                  </a:cxn>
                  <a:cxn ang="0">
                    <a:pos x="T6" y="T7"/>
                  </a:cxn>
                  <a:cxn ang="0">
                    <a:pos x="T8" y="T9"/>
                  </a:cxn>
                </a:cxnLst>
                <a:rect l="0" t="0" r="r" b="b"/>
                <a:pathLst>
                  <a:path w="692" h="681">
                    <a:moveTo>
                      <a:pt x="692" y="681"/>
                    </a:moveTo>
                    <a:lnTo>
                      <a:pt x="383" y="681"/>
                    </a:lnTo>
                    <a:lnTo>
                      <a:pt x="0" y="486"/>
                    </a:lnTo>
                    <a:lnTo>
                      <a:pt x="30" y="0"/>
                    </a:lnTo>
                    <a:lnTo>
                      <a:pt x="692" y="68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3" name="Freeform 373"/>
              <p:cNvSpPr>
                <a:spLocks noEditPoints="1"/>
              </p:cNvSpPr>
              <p:nvPr/>
            </p:nvSpPr>
            <p:spPr bwMode="auto">
              <a:xfrm>
                <a:off x="-12341225" y="7327900"/>
                <a:ext cx="2384425" cy="331788"/>
              </a:xfrm>
              <a:custGeom>
                <a:avLst/>
                <a:gdLst>
                  <a:gd name="T0" fmla="*/ 2910 w 3130"/>
                  <a:gd name="T1" fmla="*/ 436 h 436"/>
                  <a:gd name="T2" fmla="*/ 702 w 3130"/>
                  <a:gd name="T3" fmla="*/ 436 h 436"/>
                  <a:gd name="T4" fmla="*/ 428 w 3130"/>
                  <a:gd name="T5" fmla="*/ 265 h 436"/>
                  <a:gd name="T6" fmla="*/ 0 w 3130"/>
                  <a:gd name="T7" fmla="*/ 0 h 436"/>
                  <a:gd name="T8" fmla="*/ 3130 w 3130"/>
                  <a:gd name="T9" fmla="*/ 29 h 436"/>
                  <a:gd name="T10" fmla="*/ 2910 w 3130"/>
                  <a:gd name="T11" fmla="*/ 436 h 436"/>
                  <a:gd name="T12" fmla="*/ 3130 w 3130"/>
                  <a:gd name="T13" fmla="*/ 29 h 436"/>
                  <a:gd name="T14" fmla="*/ 3130 w 3130"/>
                  <a:gd name="T15" fmla="*/ 29 h 436"/>
                  <a:gd name="T16" fmla="*/ 3130 w 3130"/>
                  <a:gd name="T17" fmla="*/ 29 h 436"/>
                  <a:gd name="T18" fmla="*/ 3130 w 3130"/>
                  <a:gd name="T19" fmla="*/ 29 h 436"/>
                  <a:gd name="T20" fmla="*/ 3130 w 3130"/>
                  <a:gd name="T21" fmla="*/ 29 h 436"/>
                  <a:gd name="T22" fmla="*/ 3130 w 3130"/>
                  <a:gd name="T23" fmla="*/ 29 h 436"/>
                  <a:gd name="T24" fmla="*/ 0 w 3130"/>
                  <a:gd name="T25" fmla="*/ 0 h 436"/>
                  <a:gd name="T26" fmla="*/ 0 w 3130"/>
                  <a:gd name="T27" fmla="*/ 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30" h="436">
                    <a:moveTo>
                      <a:pt x="2910" y="436"/>
                    </a:moveTo>
                    <a:lnTo>
                      <a:pt x="702" y="436"/>
                    </a:lnTo>
                    <a:lnTo>
                      <a:pt x="428" y="265"/>
                    </a:lnTo>
                    <a:lnTo>
                      <a:pt x="0" y="0"/>
                    </a:lnTo>
                    <a:lnTo>
                      <a:pt x="3130" y="29"/>
                    </a:lnTo>
                    <a:lnTo>
                      <a:pt x="2910" y="436"/>
                    </a:lnTo>
                    <a:moveTo>
                      <a:pt x="3130" y="29"/>
                    </a:moveTo>
                    <a:lnTo>
                      <a:pt x="3130" y="29"/>
                    </a:lnTo>
                    <a:lnTo>
                      <a:pt x="3130" y="29"/>
                    </a:lnTo>
                    <a:lnTo>
                      <a:pt x="3130" y="29"/>
                    </a:lnTo>
                    <a:lnTo>
                      <a:pt x="3130" y="29"/>
                    </a:lnTo>
                    <a:lnTo>
                      <a:pt x="3130" y="29"/>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4" name="Freeform 374"/>
              <p:cNvSpPr>
                <a:spLocks/>
              </p:cNvSpPr>
              <p:nvPr/>
            </p:nvSpPr>
            <p:spPr bwMode="auto">
              <a:xfrm>
                <a:off x="-10125075" y="7350125"/>
                <a:ext cx="168275" cy="309563"/>
              </a:xfrm>
              <a:custGeom>
                <a:avLst/>
                <a:gdLst>
                  <a:gd name="T0" fmla="*/ 0 w 106"/>
                  <a:gd name="T1" fmla="*/ 195 h 195"/>
                  <a:gd name="T2" fmla="*/ 0 w 106"/>
                  <a:gd name="T3" fmla="*/ 195 h 195"/>
                  <a:gd name="T4" fmla="*/ 106 w 106"/>
                  <a:gd name="T5" fmla="*/ 0 h 195"/>
                  <a:gd name="T6" fmla="*/ 106 w 106"/>
                  <a:gd name="T7" fmla="*/ 0 h 195"/>
                  <a:gd name="T8" fmla="*/ 0 w 106"/>
                  <a:gd name="T9" fmla="*/ 195 h 195"/>
                </a:gdLst>
                <a:ahLst/>
                <a:cxnLst>
                  <a:cxn ang="0">
                    <a:pos x="T0" y="T1"/>
                  </a:cxn>
                  <a:cxn ang="0">
                    <a:pos x="T2" y="T3"/>
                  </a:cxn>
                  <a:cxn ang="0">
                    <a:pos x="T4" y="T5"/>
                  </a:cxn>
                  <a:cxn ang="0">
                    <a:pos x="T6" y="T7"/>
                  </a:cxn>
                  <a:cxn ang="0">
                    <a:pos x="T8" y="T9"/>
                  </a:cxn>
                </a:cxnLst>
                <a:rect l="0" t="0" r="r" b="b"/>
                <a:pathLst>
                  <a:path w="106" h="195">
                    <a:moveTo>
                      <a:pt x="0" y="195"/>
                    </a:moveTo>
                    <a:lnTo>
                      <a:pt x="0" y="195"/>
                    </a:lnTo>
                    <a:lnTo>
                      <a:pt x="106" y="0"/>
                    </a:lnTo>
                    <a:lnTo>
                      <a:pt x="106" y="0"/>
                    </a:lnTo>
                    <a:lnTo>
                      <a:pt x="0"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5" name="Rectangle 375"/>
              <p:cNvSpPr>
                <a:spLocks noChangeArrowheads="1"/>
              </p:cNvSpPr>
              <p:nvPr/>
            </p:nvSpPr>
            <p:spPr bwMode="auto">
              <a:xfrm>
                <a:off x="-9956800" y="7350125"/>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6" name="Freeform 376"/>
              <p:cNvSpPr>
                <a:spLocks noEditPoints="1"/>
              </p:cNvSpPr>
              <p:nvPr/>
            </p:nvSpPr>
            <p:spPr bwMode="auto">
              <a:xfrm>
                <a:off x="-12341225" y="7327900"/>
                <a:ext cx="2384425" cy="22225"/>
              </a:xfrm>
              <a:custGeom>
                <a:avLst/>
                <a:gdLst>
                  <a:gd name="T0" fmla="*/ 3130 w 3130"/>
                  <a:gd name="T1" fmla="*/ 29 h 29"/>
                  <a:gd name="T2" fmla="*/ 0 w 3130"/>
                  <a:gd name="T3" fmla="*/ 0 h 29"/>
                  <a:gd name="T4" fmla="*/ 0 w 3130"/>
                  <a:gd name="T5" fmla="*/ 0 h 29"/>
                  <a:gd name="T6" fmla="*/ 3130 w 3130"/>
                  <a:gd name="T7" fmla="*/ 29 h 29"/>
                  <a:gd name="T8" fmla="*/ 3130 w 3130"/>
                  <a:gd name="T9" fmla="*/ 29 h 29"/>
                  <a:gd name="T10" fmla="*/ 0 w 3130"/>
                  <a:gd name="T11" fmla="*/ 0 h 29"/>
                  <a:gd name="T12" fmla="*/ 0 w 3130"/>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130" h="29">
                    <a:moveTo>
                      <a:pt x="3130" y="29"/>
                    </a:moveTo>
                    <a:lnTo>
                      <a:pt x="0" y="0"/>
                    </a:lnTo>
                    <a:lnTo>
                      <a:pt x="0" y="0"/>
                    </a:lnTo>
                    <a:lnTo>
                      <a:pt x="3130" y="29"/>
                    </a:lnTo>
                    <a:lnTo>
                      <a:pt x="3130" y="29"/>
                    </a:lnTo>
                    <a:moveTo>
                      <a:pt x="0" y="0"/>
                    </a:moveTo>
                    <a:lnTo>
                      <a:pt x="0" y="0"/>
                    </a:lnTo>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7" name="Freeform 377"/>
              <p:cNvSpPr>
                <a:spLocks/>
              </p:cNvSpPr>
              <p:nvPr/>
            </p:nvSpPr>
            <p:spPr bwMode="auto">
              <a:xfrm>
                <a:off x="-8159750" y="-2909888"/>
                <a:ext cx="2633663" cy="1504950"/>
              </a:xfrm>
              <a:custGeom>
                <a:avLst/>
                <a:gdLst>
                  <a:gd name="T0" fmla="*/ 1659 w 1659"/>
                  <a:gd name="T1" fmla="*/ 948 h 948"/>
                  <a:gd name="T2" fmla="*/ 0 w 1659"/>
                  <a:gd name="T3" fmla="*/ 583 h 948"/>
                  <a:gd name="T4" fmla="*/ 0 w 1659"/>
                  <a:gd name="T5" fmla="*/ 583 h 948"/>
                  <a:gd name="T6" fmla="*/ 0 w 1659"/>
                  <a:gd name="T7" fmla="*/ 583 h 948"/>
                  <a:gd name="T8" fmla="*/ 0 w 1659"/>
                  <a:gd name="T9" fmla="*/ 583 h 948"/>
                  <a:gd name="T10" fmla="*/ 772 w 1659"/>
                  <a:gd name="T11" fmla="*/ 0 h 948"/>
                  <a:gd name="T12" fmla="*/ 772 w 1659"/>
                  <a:gd name="T13" fmla="*/ 0 h 948"/>
                  <a:gd name="T14" fmla="*/ 772 w 1659"/>
                  <a:gd name="T15" fmla="*/ 0 h 948"/>
                  <a:gd name="T16" fmla="*/ 772 w 1659"/>
                  <a:gd name="T17" fmla="*/ 0 h 948"/>
                  <a:gd name="T18" fmla="*/ 772 w 1659"/>
                  <a:gd name="T19" fmla="*/ 0 h 948"/>
                  <a:gd name="T20" fmla="*/ 1224 w 1659"/>
                  <a:gd name="T21" fmla="*/ 483 h 948"/>
                  <a:gd name="T22" fmla="*/ 1659 w 1659"/>
                  <a:gd name="T23" fmla="*/ 948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9" h="948">
                    <a:moveTo>
                      <a:pt x="1659" y="948"/>
                    </a:moveTo>
                    <a:lnTo>
                      <a:pt x="0" y="583"/>
                    </a:lnTo>
                    <a:lnTo>
                      <a:pt x="0" y="583"/>
                    </a:lnTo>
                    <a:lnTo>
                      <a:pt x="0" y="583"/>
                    </a:lnTo>
                    <a:lnTo>
                      <a:pt x="0" y="583"/>
                    </a:lnTo>
                    <a:lnTo>
                      <a:pt x="772" y="0"/>
                    </a:lnTo>
                    <a:lnTo>
                      <a:pt x="772" y="0"/>
                    </a:lnTo>
                    <a:lnTo>
                      <a:pt x="772" y="0"/>
                    </a:lnTo>
                    <a:lnTo>
                      <a:pt x="772" y="0"/>
                    </a:lnTo>
                    <a:lnTo>
                      <a:pt x="772" y="0"/>
                    </a:lnTo>
                    <a:lnTo>
                      <a:pt x="1224" y="483"/>
                    </a:lnTo>
                    <a:lnTo>
                      <a:pt x="1659" y="948"/>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8" name="Freeform 378"/>
              <p:cNvSpPr>
                <a:spLocks/>
              </p:cNvSpPr>
              <p:nvPr/>
            </p:nvSpPr>
            <p:spPr bwMode="auto">
              <a:xfrm>
                <a:off x="-7967663" y="-4110038"/>
                <a:ext cx="1346200" cy="1200150"/>
              </a:xfrm>
              <a:custGeom>
                <a:avLst/>
                <a:gdLst>
                  <a:gd name="T0" fmla="*/ 651 w 848"/>
                  <a:gd name="T1" fmla="*/ 756 h 756"/>
                  <a:gd name="T2" fmla="*/ 0 w 848"/>
                  <a:gd name="T3" fmla="*/ 0 h 756"/>
                  <a:gd name="T4" fmla="*/ 848 w 848"/>
                  <a:gd name="T5" fmla="*/ 0 h 756"/>
                  <a:gd name="T6" fmla="*/ 651 w 848"/>
                  <a:gd name="T7" fmla="*/ 756 h 756"/>
                </a:gdLst>
                <a:ahLst/>
                <a:cxnLst>
                  <a:cxn ang="0">
                    <a:pos x="T0" y="T1"/>
                  </a:cxn>
                  <a:cxn ang="0">
                    <a:pos x="T2" y="T3"/>
                  </a:cxn>
                  <a:cxn ang="0">
                    <a:pos x="T4" y="T5"/>
                  </a:cxn>
                  <a:cxn ang="0">
                    <a:pos x="T6" y="T7"/>
                  </a:cxn>
                </a:cxnLst>
                <a:rect l="0" t="0" r="r" b="b"/>
                <a:pathLst>
                  <a:path w="848" h="756">
                    <a:moveTo>
                      <a:pt x="651" y="756"/>
                    </a:moveTo>
                    <a:lnTo>
                      <a:pt x="0" y="0"/>
                    </a:lnTo>
                    <a:lnTo>
                      <a:pt x="848" y="0"/>
                    </a:lnTo>
                    <a:lnTo>
                      <a:pt x="651" y="756"/>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9" name="Freeform 379"/>
              <p:cNvSpPr>
                <a:spLocks/>
              </p:cNvSpPr>
              <p:nvPr/>
            </p:nvSpPr>
            <p:spPr bwMode="auto">
              <a:xfrm>
                <a:off x="-6934200" y="-3540126"/>
                <a:ext cx="1468438" cy="2135188"/>
              </a:xfrm>
              <a:custGeom>
                <a:avLst/>
                <a:gdLst>
                  <a:gd name="T0" fmla="*/ 887 w 925"/>
                  <a:gd name="T1" fmla="*/ 1345 h 1345"/>
                  <a:gd name="T2" fmla="*/ 452 w 925"/>
                  <a:gd name="T3" fmla="*/ 880 h 1345"/>
                  <a:gd name="T4" fmla="*/ 0 w 925"/>
                  <a:gd name="T5" fmla="*/ 397 h 1345"/>
                  <a:gd name="T6" fmla="*/ 925 w 925"/>
                  <a:gd name="T7" fmla="*/ 0 h 1345"/>
                  <a:gd name="T8" fmla="*/ 925 w 925"/>
                  <a:gd name="T9" fmla="*/ 0 h 1345"/>
                  <a:gd name="T10" fmla="*/ 888 w 925"/>
                  <a:gd name="T11" fmla="*/ 1294 h 1345"/>
                  <a:gd name="T12" fmla="*/ 887 w 925"/>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925" h="1345">
                    <a:moveTo>
                      <a:pt x="887" y="1345"/>
                    </a:moveTo>
                    <a:lnTo>
                      <a:pt x="452" y="880"/>
                    </a:lnTo>
                    <a:lnTo>
                      <a:pt x="0" y="397"/>
                    </a:lnTo>
                    <a:lnTo>
                      <a:pt x="925" y="0"/>
                    </a:lnTo>
                    <a:lnTo>
                      <a:pt x="925" y="0"/>
                    </a:lnTo>
                    <a:lnTo>
                      <a:pt x="888" y="1294"/>
                    </a:lnTo>
                    <a:lnTo>
                      <a:pt x="887" y="1345"/>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0" name="Freeform 380"/>
              <p:cNvSpPr>
                <a:spLocks/>
              </p:cNvSpPr>
              <p:nvPr/>
            </p:nvSpPr>
            <p:spPr bwMode="auto">
              <a:xfrm>
                <a:off x="-9058275" y="-4110038"/>
                <a:ext cx="2124075" cy="1200150"/>
              </a:xfrm>
              <a:custGeom>
                <a:avLst/>
                <a:gdLst>
                  <a:gd name="T0" fmla="*/ 1338 w 1338"/>
                  <a:gd name="T1" fmla="*/ 756 h 756"/>
                  <a:gd name="T2" fmla="*/ 1338 w 1338"/>
                  <a:gd name="T3" fmla="*/ 756 h 756"/>
                  <a:gd name="T4" fmla="*/ 0 w 1338"/>
                  <a:gd name="T5" fmla="*/ 359 h 756"/>
                  <a:gd name="T6" fmla="*/ 338 w 1338"/>
                  <a:gd name="T7" fmla="*/ 0 h 756"/>
                  <a:gd name="T8" fmla="*/ 687 w 1338"/>
                  <a:gd name="T9" fmla="*/ 0 h 756"/>
                  <a:gd name="T10" fmla="*/ 1338 w 1338"/>
                  <a:gd name="T11" fmla="*/ 756 h 756"/>
                </a:gdLst>
                <a:ahLst/>
                <a:cxnLst>
                  <a:cxn ang="0">
                    <a:pos x="T0" y="T1"/>
                  </a:cxn>
                  <a:cxn ang="0">
                    <a:pos x="T2" y="T3"/>
                  </a:cxn>
                  <a:cxn ang="0">
                    <a:pos x="T4" y="T5"/>
                  </a:cxn>
                  <a:cxn ang="0">
                    <a:pos x="T6" y="T7"/>
                  </a:cxn>
                  <a:cxn ang="0">
                    <a:pos x="T8" y="T9"/>
                  </a:cxn>
                  <a:cxn ang="0">
                    <a:pos x="T10" y="T11"/>
                  </a:cxn>
                </a:cxnLst>
                <a:rect l="0" t="0" r="r" b="b"/>
                <a:pathLst>
                  <a:path w="1338" h="756">
                    <a:moveTo>
                      <a:pt x="1338" y="756"/>
                    </a:moveTo>
                    <a:lnTo>
                      <a:pt x="1338" y="756"/>
                    </a:lnTo>
                    <a:lnTo>
                      <a:pt x="0" y="359"/>
                    </a:lnTo>
                    <a:lnTo>
                      <a:pt x="338" y="0"/>
                    </a:lnTo>
                    <a:lnTo>
                      <a:pt x="687" y="0"/>
                    </a:lnTo>
                    <a:lnTo>
                      <a:pt x="1338"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1" name="Freeform 381"/>
              <p:cNvSpPr>
                <a:spLocks/>
              </p:cNvSpPr>
              <p:nvPr/>
            </p:nvSpPr>
            <p:spPr bwMode="auto">
              <a:xfrm>
                <a:off x="-6934200" y="-4110038"/>
                <a:ext cx="1468438" cy="1200150"/>
              </a:xfrm>
              <a:custGeom>
                <a:avLst/>
                <a:gdLst>
                  <a:gd name="T0" fmla="*/ 0 w 925"/>
                  <a:gd name="T1" fmla="*/ 756 h 756"/>
                  <a:gd name="T2" fmla="*/ 0 w 925"/>
                  <a:gd name="T3" fmla="*/ 756 h 756"/>
                  <a:gd name="T4" fmla="*/ 197 w 925"/>
                  <a:gd name="T5" fmla="*/ 0 h 756"/>
                  <a:gd name="T6" fmla="*/ 718 w 925"/>
                  <a:gd name="T7" fmla="*/ 0 h 756"/>
                  <a:gd name="T8" fmla="*/ 925 w 925"/>
                  <a:gd name="T9" fmla="*/ 359 h 756"/>
                  <a:gd name="T10" fmla="*/ 925 w 925"/>
                  <a:gd name="T11" fmla="*/ 359 h 756"/>
                  <a:gd name="T12" fmla="*/ 925 w 925"/>
                  <a:gd name="T13" fmla="*/ 359 h 756"/>
                  <a:gd name="T14" fmla="*/ 925 w 925"/>
                  <a:gd name="T15" fmla="*/ 359 h 756"/>
                  <a:gd name="T16" fmla="*/ 925 w 925"/>
                  <a:gd name="T17" fmla="*/ 359 h 756"/>
                  <a:gd name="T18" fmla="*/ 925 w 925"/>
                  <a:gd name="T19" fmla="*/ 359 h 756"/>
                  <a:gd name="T20" fmla="*/ 0 w 925"/>
                  <a:gd name="T21" fmla="*/ 756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5" h="756">
                    <a:moveTo>
                      <a:pt x="0" y="756"/>
                    </a:moveTo>
                    <a:lnTo>
                      <a:pt x="0" y="756"/>
                    </a:lnTo>
                    <a:lnTo>
                      <a:pt x="197" y="0"/>
                    </a:lnTo>
                    <a:lnTo>
                      <a:pt x="718" y="0"/>
                    </a:lnTo>
                    <a:lnTo>
                      <a:pt x="925" y="359"/>
                    </a:lnTo>
                    <a:lnTo>
                      <a:pt x="925" y="359"/>
                    </a:lnTo>
                    <a:lnTo>
                      <a:pt x="925" y="359"/>
                    </a:lnTo>
                    <a:lnTo>
                      <a:pt x="925" y="359"/>
                    </a:lnTo>
                    <a:lnTo>
                      <a:pt x="925" y="359"/>
                    </a:lnTo>
                    <a:lnTo>
                      <a:pt x="925" y="359"/>
                    </a:lnTo>
                    <a:lnTo>
                      <a:pt x="0"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2" name="Freeform 382"/>
              <p:cNvSpPr>
                <a:spLocks/>
              </p:cNvSpPr>
              <p:nvPr/>
            </p:nvSpPr>
            <p:spPr bwMode="auto">
              <a:xfrm>
                <a:off x="-9058275" y="-3540126"/>
                <a:ext cx="2124075" cy="1555750"/>
              </a:xfrm>
              <a:custGeom>
                <a:avLst/>
                <a:gdLst>
                  <a:gd name="T0" fmla="*/ 566 w 1338"/>
                  <a:gd name="T1" fmla="*/ 980 h 980"/>
                  <a:gd name="T2" fmla="*/ 0 w 1338"/>
                  <a:gd name="T3" fmla="*/ 0 h 980"/>
                  <a:gd name="T4" fmla="*/ 1338 w 1338"/>
                  <a:gd name="T5" fmla="*/ 397 h 980"/>
                  <a:gd name="T6" fmla="*/ 566 w 1338"/>
                  <a:gd name="T7" fmla="*/ 980 h 980"/>
                </a:gdLst>
                <a:ahLst/>
                <a:cxnLst>
                  <a:cxn ang="0">
                    <a:pos x="T0" y="T1"/>
                  </a:cxn>
                  <a:cxn ang="0">
                    <a:pos x="T2" y="T3"/>
                  </a:cxn>
                  <a:cxn ang="0">
                    <a:pos x="T4" y="T5"/>
                  </a:cxn>
                  <a:cxn ang="0">
                    <a:pos x="T6" y="T7"/>
                  </a:cxn>
                </a:cxnLst>
                <a:rect l="0" t="0" r="r" b="b"/>
                <a:pathLst>
                  <a:path w="1338" h="980">
                    <a:moveTo>
                      <a:pt x="566" y="980"/>
                    </a:moveTo>
                    <a:lnTo>
                      <a:pt x="0" y="0"/>
                    </a:lnTo>
                    <a:lnTo>
                      <a:pt x="1338" y="397"/>
                    </a:lnTo>
                    <a:lnTo>
                      <a:pt x="566"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3" name="Freeform 383"/>
              <p:cNvSpPr>
                <a:spLocks/>
              </p:cNvSpPr>
              <p:nvPr/>
            </p:nvSpPr>
            <p:spPr bwMode="auto">
              <a:xfrm>
                <a:off x="-8159750" y="-2909888"/>
                <a:ext cx="1225550" cy="925513"/>
              </a:xfrm>
              <a:custGeom>
                <a:avLst/>
                <a:gdLst>
                  <a:gd name="T0" fmla="*/ 0 w 772"/>
                  <a:gd name="T1" fmla="*/ 583 h 583"/>
                  <a:gd name="T2" fmla="*/ 0 w 772"/>
                  <a:gd name="T3" fmla="*/ 583 h 583"/>
                  <a:gd name="T4" fmla="*/ 772 w 772"/>
                  <a:gd name="T5" fmla="*/ 0 h 583"/>
                  <a:gd name="T6" fmla="*/ 772 w 772"/>
                  <a:gd name="T7" fmla="*/ 0 h 583"/>
                  <a:gd name="T8" fmla="*/ 0 w 772"/>
                  <a:gd name="T9" fmla="*/ 583 h 583"/>
                </a:gdLst>
                <a:ahLst/>
                <a:cxnLst>
                  <a:cxn ang="0">
                    <a:pos x="T0" y="T1"/>
                  </a:cxn>
                  <a:cxn ang="0">
                    <a:pos x="T2" y="T3"/>
                  </a:cxn>
                  <a:cxn ang="0">
                    <a:pos x="T4" y="T5"/>
                  </a:cxn>
                  <a:cxn ang="0">
                    <a:pos x="T6" y="T7"/>
                  </a:cxn>
                  <a:cxn ang="0">
                    <a:pos x="T8" y="T9"/>
                  </a:cxn>
                </a:cxnLst>
                <a:rect l="0" t="0" r="r" b="b"/>
                <a:pathLst>
                  <a:path w="772" h="583">
                    <a:moveTo>
                      <a:pt x="0" y="583"/>
                    </a:moveTo>
                    <a:lnTo>
                      <a:pt x="0" y="583"/>
                    </a:lnTo>
                    <a:lnTo>
                      <a:pt x="772" y="0"/>
                    </a:lnTo>
                    <a:lnTo>
                      <a:pt x="772" y="0"/>
                    </a:lnTo>
                    <a:lnTo>
                      <a:pt x="0" y="58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4" name="Freeform 384"/>
              <p:cNvSpPr>
                <a:spLocks noEditPoints="1"/>
              </p:cNvSpPr>
              <p:nvPr/>
            </p:nvSpPr>
            <p:spPr bwMode="auto">
              <a:xfrm>
                <a:off x="-5465763" y="-4110038"/>
                <a:ext cx="1797050" cy="569913"/>
              </a:xfrm>
              <a:custGeom>
                <a:avLst/>
                <a:gdLst>
                  <a:gd name="T0" fmla="*/ 2358 w 2358"/>
                  <a:gd name="T1" fmla="*/ 748 h 748"/>
                  <a:gd name="T2" fmla="*/ 1 w 2358"/>
                  <a:gd name="T3" fmla="*/ 748 h 748"/>
                  <a:gd name="T4" fmla="*/ 247 w 2358"/>
                  <a:gd name="T5" fmla="*/ 0 h 748"/>
                  <a:gd name="T6" fmla="*/ 1489 w 2358"/>
                  <a:gd name="T7" fmla="*/ 0 h 748"/>
                  <a:gd name="T8" fmla="*/ 2358 w 2358"/>
                  <a:gd name="T9" fmla="*/ 748 h 748"/>
                  <a:gd name="T10" fmla="*/ 1 w 2358"/>
                  <a:gd name="T11" fmla="*/ 748 h 748"/>
                  <a:gd name="T12" fmla="*/ 0 w 2358"/>
                  <a:gd name="T13" fmla="*/ 748 h 748"/>
                  <a:gd name="T14" fmla="*/ 0 w 2358"/>
                  <a:gd name="T15" fmla="*/ 747 h 748"/>
                  <a:gd name="T16" fmla="*/ 0 w 2358"/>
                  <a:gd name="T17" fmla="*/ 747 h 748"/>
                  <a:gd name="T18" fmla="*/ 1 w 2358"/>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8" h="748">
                    <a:moveTo>
                      <a:pt x="2358" y="748"/>
                    </a:moveTo>
                    <a:lnTo>
                      <a:pt x="1" y="748"/>
                    </a:lnTo>
                    <a:lnTo>
                      <a:pt x="247" y="0"/>
                    </a:lnTo>
                    <a:lnTo>
                      <a:pt x="1489" y="0"/>
                    </a:lnTo>
                    <a:lnTo>
                      <a:pt x="2358" y="748"/>
                    </a:lnTo>
                    <a:moveTo>
                      <a:pt x="1" y="748"/>
                    </a:moveTo>
                    <a:lnTo>
                      <a:pt x="0" y="748"/>
                    </a:lnTo>
                    <a:lnTo>
                      <a:pt x="0" y="747"/>
                    </a:lnTo>
                    <a:lnTo>
                      <a:pt x="0" y="747"/>
                    </a:lnTo>
                    <a:lnTo>
                      <a:pt x="1"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5" name="Freeform 385"/>
              <p:cNvSpPr>
                <a:spLocks/>
              </p:cNvSpPr>
              <p:nvPr/>
            </p:nvSpPr>
            <p:spPr bwMode="auto">
              <a:xfrm>
                <a:off x="-4330700" y="-4110038"/>
                <a:ext cx="1114425" cy="569913"/>
              </a:xfrm>
              <a:custGeom>
                <a:avLst/>
                <a:gdLst>
                  <a:gd name="T0" fmla="*/ 417 w 702"/>
                  <a:gd name="T1" fmla="*/ 359 h 359"/>
                  <a:gd name="T2" fmla="*/ 417 w 702"/>
                  <a:gd name="T3" fmla="*/ 359 h 359"/>
                  <a:gd name="T4" fmla="*/ 417 w 702"/>
                  <a:gd name="T5" fmla="*/ 359 h 359"/>
                  <a:gd name="T6" fmla="*/ 0 w 702"/>
                  <a:gd name="T7" fmla="*/ 0 h 359"/>
                  <a:gd name="T8" fmla="*/ 702 w 702"/>
                  <a:gd name="T9" fmla="*/ 0 h 359"/>
                  <a:gd name="T10" fmla="*/ 417 w 702"/>
                  <a:gd name="T11" fmla="*/ 359 h 359"/>
                  <a:gd name="T12" fmla="*/ 417 w 702"/>
                  <a:gd name="T13" fmla="*/ 359 h 359"/>
                  <a:gd name="T14" fmla="*/ 417 w 702"/>
                  <a:gd name="T15" fmla="*/ 359 h 359"/>
                  <a:gd name="T16" fmla="*/ 417 w 702"/>
                  <a:gd name="T17"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2" h="359">
                    <a:moveTo>
                      <a:pt x="417" y="359"/>
                    </a:moveTo>
                    <a:lnTo>
                      <a:pt x="417" y="359"/>
                    </a:lnTo>
                    <a:lnTo>
                      <a:pt x="417" y="359"/>
                    </a:lnTo>
                    <a:lnTo>
                      <a:pt x="0" y="0"/>
                    </a:lnTo>
                    <a:lnTo>
                      <a:pt x="702" y="0"/>
                    </a:lnTo>
                    <a:lnTo>
                      <a:pt x="417" y="359"/>
                    </a:lnTo>
                    <a:lnTo>
                      <a:pt x="417" y="359"/>
                    </a:lnTo>
                    <a:lnTo>
                      <a:pt x="417" y="359"/>
                    </a:lnTo>
                    <a:lnTo>
                      <a:pt x="417"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6" name="Freeform 386"/>
              <p:cNvSpPr>
                <a:spLocks/>
              </p:cNvSpPr>
              <p:nvPr/>
            </p:nvSpPr>
            <p:spPr bwMode="auto">
              <a:xfrm>
                <a:off x="-4330700" y="-4110038"/>
                <a:ext cx="661988" cy="569913"/>
              </a:xfrm>
              <a:custGeom>
                <a:avLst/>
                <a:gdLst>
                  <a:gd name="T0" fmla="*/ 417 w 417"/>
                  <a:gd name="T1" fmla="*/ 359 h 359"/>
                  <a:gd name="T2" fmla="*/ 417 w 417"/>
                  <a:gd name="T3" fmla="*/ 359 h 359"/>
                  <a:gd name="T4" fmla="*/ 0 w 417"/>
                  <a:gd name="T5" fmla="*/ 0 h 359"/>
                  <a:gd name="T6" fmla="*/ 0 w 417"/>
                  <a:gd name="T7" fmla="*/ 0 h 359"/>
                  <a:gd name="T8" fmla="*/ 417 w 417"/>
                  <a:gd name="T9" fmla="*/ 359 h 359"/>
                </a:gdLst>
                <a:ahLst/>
                <a:cxnLst>
                  <a:cxn ang="0">
                    <a:pos x="T0" y="T1"/>
                  </a:cxn>
                  <a:cxn ang="0">
                    <a:pos x="T2" y="T3"/>
                  </a:cxn>
                  <a:cxn ang="0">
                    <a:pos x="T4" y="T5"/>
                  </a:cxn>
                  <a:cxn ang="0">
                    <a:pos x="T6" y="T7"/>
                  </a:cxn>
                  <a:cxn ang="0">
                    <a:pos x="T8" y="T9"/>
                  </a:cxn>
                </a:cxnLst>
                <a:rect l="0" t="0" r="r" b="b"/>
                <a:pathLst>
                  <a:path w="417" h="359">
                    <a:moveTo>
                      <a:pt x="417" y="359"/>
                    </a:moveTo>
                    <a:lnTo>
                      <a:pt x="417" y="359"/>
                    </a:lnTo>
                    <a:lnTo>
                      <a:pt x="0" y="0"/>
                    </a:lnTo>
                    <a:lnTo>
                      <a:pt x="0" y="0"/>
                    </a:lnTo>
                    <a:lnTo>
                      <a:pt x="417"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7" name="Freeform 387"/>
              <p:cNvSpPr>
                <a:spLocks/>
              </p:cNvSpPr>
              <p:nvPr/>
            </p:nvSpPr>
            <p:spPr bwMode="auto">
              <a:xfrm>
                <a:off x="-5794375" y="-4110038"/>
                <a:ext cx="517525" cy="569913"/>
              </a:xfrm>
              <a:custGeom>
                <a:avLst/>
                <a:gdLst>
                  <a:gd name="T0" fmla="*/ 207 w 326"/>
                  <a:gd name="T1" fmla="*/ 359 h 359"/>
                  <a:gd name="T2" fmla="*/ 0 w 326"/>
                  <a:gd name="T3" fmla="*/ 0 h 359"/>
                  <a:gd name="T4" fmla="*/ 326 w 326"/>
                  <a:gd name="T5" fmla="*/ 0 h 359"/>
                  <a:gd name="T6" fmla="*/ 207 w 326"/>
                  <a:gd name="T7" fmla="*/ 359 h 359"/>
                </a:gdLst>
                <a:ahLst/>
                <a:cxnLst>
                  <a:cxn ang="0">
                    <a:pos x="T0" y="T1"/>
                  </a:cxn>
                  <a:cxn ang="0">
                    <a:pos x="T2" y="T3"/>
                  </a:cxn>
                  <a:cxn ang="0">
                    <a:pos x="T4" y="T5"/>
                  </a:cxn>
                  <a:cxn ang="0">
                    <a:pos x="T6" y="T7"/>
                  </a:cxn>
                </a:cxnLst>
                <a:rect l="0" t="0" r="r" b="b"/>
                <a:pathLst>
                  <a:path w="326" h="359">
                    <a:moveTo>
                      <a:pt x="207" y="359"/>
                    </a:moveTo>
                    <a:lnTo>
                      <a:pt x="0" y="0"/>
                    </a:lnTo>
                    <a:lnTo>
                      <a:pt x="326" y="0"/>
                    </a:lnTo>
                    <a:lnTo>
                      <a:pt x="207" y="35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8" name="Freeform 388"/>
              <p:cNvSpPr>
                <a:spLocks/>
              </p:cNvSpPr>
              <p:nvPr/>
            </p:nvSpPr>
            <p:spPr bwMode="auto">
              <a:xfrm>
                <a:off x="-5465763" y="-4110038"/>
                <a:ext cx="188913" cy="569913"/>
              </a:xfrm>
              <a:custGeom>
                <a:avLst/>
                <a:gdLst>
                  <a:gd name="T0" fmla="*/ 0 w 119"/>
                  <a:gd name="T1" fmla="*/ 359 h 359"/>
                  <a:gd name="T2" fmla="*/ 0 w 119"/>
                  <a:gd name="T3" fmla="*/ 359 h 359"/>
                  <a:gd name="T4" fmla="*/ 0 w 119"/>
                  <a:gd name="T5" fmla="*/ 359 h 359"/>
                  <a:gd name="T6" fmla="*/ 119 w 119"/>
                  <a:gd name="T7" fmla="*/ 0 h 359"/>
                  <a:gd name="T8" fmla="*/ 119 w 119"/>
                  <a:gd name="T9" fmla="*/ 0 h 359"/>
                  <a:gd name="T10" fmla="*/ 0 w 119"/>
                  <a:gd name="T11" fmla="*/ 359 h 359"/>
                </a:gdLst>
                <a:ahLst/>
                <a:cxnLst>
                  <a:cxn ang="0">
                    <a:pos x="T0" y="T1"/>
                  </a:cxn>
                  <a:cxn ang="0">
                    <a:pos x="T2" y="T3"/>
                  </a:cxn>
                  <a:cxn ang="0">
                    <a:pos x="T4" y="T5"/>
                  </a:cxn>
                  <a:cxn ang="0">
                    <a:pos x="T6" y="T7"/>
                  </a:cxn>
                  <a:cxn ang="0">
                    <a:pos x="T8" y="T9"/>
                  </a:cxn>
                  <a:cxn ang="0">
                    <a:pos x="T10" y="T11"/>
                  </a:cxn>
                </a:cxnLst>
                <a:rect l="0" t="0" r="r" b="b"/>
                <a:pathLst>
                  <a:path w="119" h="359">
                    <a:moveTo>
                      <a:pt x="0" y="359"/>
                    </a:moveTo>
                    <a:lnTo>
                      <a:pt x="0" y="359"/>
                    </a:lnTo>
                    <a:lnTo>
                      <a:pt x="0" y="359"/>
                    </a:lnTo>
                    <a:lnTo>
                      <a:pt x="119" y="0"/>
                    </a:lnTo>
                    <a:lnTo>
                      <a:pt x="119"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9" name="Freeform 389"/>
              <p:cNvSpPr>
                <a:spLocks noEditPoints="1"/>
              </p:cNvSpPr>
              <p:nvPr/>
            </p:nvSpPr>
            <p:spPr bwMode="auto">
              <a:xfrm>
                <a:off x="-8159750" y="-428626"/>
                <a:ext cx="1795463" cy="1554163"/>
              </a:xfrm>
              <a:custGeom>
                <a:avLst/>
                <a:gdLst>
                  <a:gd name="T0" fmla="*/ 2358 w 2358"/>
                  <a:gd name="T1" fmla="*/ 2041 h 2041"/>
                  <a:gd name="T2" fmla="*/ 1 w 2358"/>
                  <a:gd name="T3" fmla="*/ 2041 h 2041"/>
                  <a:gd name="T4" fmla="*/ 1179 w 2358"/>
                  <a:gd name="T5" fmla="*/ 0 h 2041"/>
                  <a:gd name="T6" fmla="*/ 1179 w 2358"/>
                  <a:gd name="T7" fmla="*/ 0 h 2041"/>
                  <a:gd name="T8" fmla="*/ 1179 w 2358"/>
                  <a:gd name="T9" fmla="*/ 0 h 2041"/>
                  <a:gd name="T10" fmla="*/ 1507 w 2358"/>
                  <a:gd name="T11" fmla="*/ 567 h 2041"/>
                  <a:gd name="T12" fmla="*/ 2358 w 2358"/>
                  <a:gd name="T13" fmla="*/ 2041 h 2041"/>
                  <a:gd name="T14" fmla="*/ 1 w 2358"/>
                  <a:gd name="T15" fmla="*/ 2041 h 2041"/>
                  <a:gd name="T16" fmla="*/ 0 w 2358"/>
                  <a:gd name="T17" fmla="*/ 2041 h 2041"/>
                  <a:gd name="T18" fmla="*/ 1 w 2358"/>
                  <a:gd name="T19" fmla="*/ 2041 h 2041"/>
                  <a:gd name="T20" fmla="*/ 1 w 2358"/>
                  <a:gd name="T21" fmla="*/ 2041 h 2041"/>
                  <a:gd name="T22" fmla="*/ 1179 w 2358"/>
                  <a:gd name="T23" fmla="*/ 0 h 2041"/>
                  <a:gd name="T24" fmla="*/ 1179 w 2358"/>
                  <a:gd name="T25" fmla="*/ 0 h 2041"/>
                  <a:gd name="T26" fmla="*/ 1179 w 2358"/>
                  <a:gd name="T27" fmla="*/ 0 h 2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8" h="2041">
                    <a:moveTo>
                      <a:pt x="2358" y="2041"/>
                    </a:moveTo>
                    <a:lnTo>
                      <a:pt x="1" y="2041"/>
                    </a:lnTo>
                    <a:lnTo>
                      <a:pt x="1179" y="0"/>
                    </a:lnTo>
                    <a:lnTo>
                      <a:pt x="1179" y="0"/>
                    </a:lnTo>
                    <a:lnTo>
                      <a:pt x="1179" y="0"/>
                    </a:lnTo>
                    <a:lnTo>
                      <a:pt x="1507" y="567"/>
                    </a:lnTo>
                    <a:lnTo>
                      <a:pt x="2358" y="2041"/>
                    </a:lnTo>
                    <a:moveTo>
                      <a:pt x="1" y="2041"/>
                    </a:moveTo>
                    <a:lnTo>
                      <a:pt x="0" y="2041"/>
                    </a:lnTo>
                    <a:lnTo>
                      <a:pt x="1" y="2041"/>
                    </a:lnTo>
                    <a:lnTo>
                      <a:pt x="1" y="2041"/>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0" name="Freeform 390"/>
              <p:cNvSpPr>
                <a:spLocks/>
              </p:cNvSpPr>
              <p:nvPr/>
            </p:nvSpPr>
            <p:spPr bwMode="auto">
              <a:xfrm>
                <a:off x="-8159750" y="-1984376"/>
                <a:ext cx="2633663" cy="1555750"/>
              </a:xfrm>
              <a:custGeom>
                <a:avLst/>
                <a:gdLst>
                  <a:gd name="T0" fmla="*/ 566 w 1659"/>
                  <a:gd name="T1" fmla="*/ 980 h 980"/>
                  <a:gd name="T2" fmla="*/ 566 w 1659"/>
                  <a:gd name="T3" fmla="*/ 980 h 980"/>
                  <a:gd name="T4" fmla="*/ 307 w 1659"/>
                  <a:gd name="T5" fmla="*/ 532 h 980"/>
                  <a:gd name="T6" fmla="*/ 0 w 1659"/>
                  <a:gd name="T7" fmla="*/ 0 h 980"/>
                  <a:gd name="T8" fmla="*/ 0 w 1659"/>
                  <a:gd name="T9" fmla="*/ 0 h 980"/>
                  <a:gd name="T10" fmla="*/ 1659 w 1659"/>
                  <a:gd name="T11" fmla="*/ 365 h 980"/>
                  <a:gd name="T12" fmla="*/ 566 w 1659"/>
                  <a:gd name="T13" fmla="*/ 980 h 980"/>
                </a:gdLst>
                <a:ahLst/>
                <a:cxnLst>
                  <a:cxn ang="0">
                    <a:pos x="T0" y="T1"/>
                  </a:cxn>
                  <a:cxn ang="0">
                    <a:pos x="T2" y="T3"/>
                  </a:cxn>
                  <a:cxn ang="0">
                    <a:pos x="T4" y="T5"/>
                  </a:cxn>
                  <a:cxn ang="0">
                    <a:pos x="T6" y="T7"/>
                  </a:cxn>
                  <a:cxn ang="0">
                    <a:pos x="T8" y="T9"/>
                  </a:cxn>
                  <a:cxn ang="0">
                    <a:pos x="T10" y="T11"/>
                  </a:cxn>
                  <a:cxn ang="0">
                    <a:pos x="T12" y="T13"/>
                  </a:cxn>
                </a:cxnLst>
                <a:rect l="0" t="0" r="r" b="b"/>
                <a:pathLst>
                  <a:path w="1659" h="980">
                    <a:moveTo>
                      <a:pt x="566" y="980"/>
                    </a:moveTo>
                    <a:lnTo>
                      <a:pt x="566" y="980"/>
                    </a:lnTo>
                    <a:lnTo>
                      <a:pt x="307" y="532"/>
                    </a:lnTo>
                    <a:lnTo>
                      <a:pt x="0" y="0"/>
                    </a:lnTo>
                    <a:lnTo>
                      <a:pt x="0" y="0"/>
                    </a:lnTo>
                    <a:lnTo>
                      <a:pt x="1659" y="36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1" name="Freeform 391"/>
              <p:cNvSpPr>
                <a:spLocks/>
              </p:cNvSpPr>
              <p:nvPr/>
            </p:nvSpPr>
            <p:spPr bwMode="auto">
              <a:xfrm>
                <a:off x="-7261225" y="-428626"/>
                <a:ext cx="1735138" cy="1554163"/>
              </a:xfrm>
              <a:custGeom>
                <a:avLst/>
                <a:gdLst>
                  <a:gd name="T0" fmla="*/ 565 w 1093"/>
                  <a:gd name="T1" fmla="*/ 979 h 979"/>
                  <a:gd name="T2" fmla="*/ 157 w 1093"/>
                  <a:gd name="T3" fmla="*/ 272 h 979"/>
                  <a:gd name="T4" fmla="*/ 0 w 1093"/>
                  <a:gd name="T5" fmla="*/ 0 h 979"/>
                  <a:gd name="T6" fmla="*/ 1093 w 1093"/>
                  <a:gd name="T7" fmla="*/ 684 h 979"/>
                  <a:gd name="T8" fmla="*/ 1093 w 1093"/>
                  <a:gd name="T9" fmla="*/ 684 h 979"/>
                  <a:gd name="T10" fmla="*/ 1093 w 1093"/>
                  <a:gd name="T11" fmla="*/ 684 h 979"/>
                  <a:gd name="T12" fmla="*/ 1093 w 1093"/>
                  <a:gd name="T13" fmla="*/ 684 h 979"/>
                  <a:gd name="T14" fmla="*/ 1093 w 1093"/>
                  <a:gd name="T15" fmla="*/ 684 h 979"/>
                  <a:gd name="T16" fmla="*/ 965 w 1093"/>
                  <a:gd name="T17" fmla="*/ 756 h 979"/>
                  <a:gd name="T18" fmla="*/ 565 w 1093"/>
                  <a:gd name="T19" fmla="*/ 979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3" h="979">
                    <a:moveTo>
                      <a:pt x="565" y="979"/>
                    </a:moveTo>
                    <a:lnTo>
                      <a:pt x="157" y="272"/>
                    </a:lnTo>
                    <a:lnTo>
                      <a:pt x="0" y="0"/>
                    </a:lnTo>
                    <a:lnTo>
                      <a:pt x="1093" y="684"/>
                    </a:lnTo>
                    <a:lnTo>
                      <a:pt x="1093" y="684"/>
                    </a:lnTo>
                    <a:lnTo>
                      <a:pt x="1093" y="684"/>
                    </a:lnTo>
                    <a:lnTo>
                      <a:pt x="1093" y="684"/>
                    </a:lnTo>
                    <a:lnTo>
                      <a:pt x="1093" y="684"/>
                    </a:lnTo>
                    <a:lnTo>
                      <a:pt x="965" y="756"/>
                    </a:lnTo>
                    <a:lnTo>
                      <a:pt x="565" y="97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2" name="Freeform 392"/>
              <p:cNvSpPr>
                <a:spLocks noEditPoints="1"/>
              </p:cNvSpPr>
              <p:nvPr/>
            </p:nvSpPr>
            <p:spPr bwMode="auto">
              <a:xfrm>
                <a:off x="-9456738" y="-1984376"/>
                <a:ext cx="2195513" cy="1555750"/>
              </a:xfrm>
              <a:custGeom>
                <a:avLst/>
                <a:gdLst>
                  <a:gd name="T0" fmla="*/ 2879 w 2879"/>
                  <a:gd name="T1" fmla="*/ 2042 h 2042"/>
                  <a:gd name="T2" fmla="*/ 0 w 2879"/>
                  <a:gd name="T3" fmla="*/ 1320 h 2042"/>
                  <a:gd name="T4" fmla="*/ 444 w 2879"/>
                  <a:gd name="T5" fmla="*/ 976 h 2042"/>
                  <a:gd name="T6" fmla="*/ 1701 w 2879"/>
                  <a:gd name="T7" fmla="*/ 1 h 2042"/>
                  <a:gd name="T8" fmla="*/ 2340 w 2879"/>
                  <a:gd name="T9" fmla="*/ 1109 h 2042"/>
                  <a:gd name="T10" fmla="*/ 2879 w 2879"/>
                  <a:gd name="T11" fmla="*/ 2042 h 2042"/>
                  <a:gd name="T12" fmla="*/ 2879 w 2879"/>
                  <a:gd name="T13" fmla="*/ 2042 h 2042"/>
                  <a:gd name="T14" fmla="*/ 1701 w 2879"/>
                  <a:gd name="T15" fmla="*/ 1 h 2042"/>
                  <a:gd name="T16" fmla="*/ 1700 w 2879"/>
                  <a:gd name="T17" fmla="*/ 1 h 2042"/>
                  <a:gd name="T18" fmla="*/ 1701 w 2879"/>
                  <a:gd name="T19" fmla="*/ 0 h 2042"/>
                  <a:gd name="T20" fmla="*/ 1701 w 2879"/>
                  <a:gd name="T21" fmla="*/ 1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9" h="2042">
                    <a:moveTo>
                      <a:pt x="2879" y="2042"/>
                    </a:moveTo>
                    <a:lnTo>
                      <a:pt x="0" y="1320"/>
                    </a:lnTo>
                    <a:lnTo>
                      <a:pt x="444" y="976"/>
                    </a:lnTo>
                    <a:lnTo>
                      <a:pt x="1701" y="1"/>
                    </a:lnTo>
                    <a:lnTo>
                      <a:pt x="2340" y="1109"/>
                    </a:lnTo>
                    <a:lnTo>
                      <a:pt x="2879" y="2042"/>
                    </a:lnTo>
                    <a:lnTo>
                      <a:pt x="2879" y="2042"/>
                    </a:lnTo>
                    <a:moveTo>
                      <a:pt x="1701" y="1"/>
                    </a:moveTo>
                    <a:lnTo>
                      <a:pt x="1700" y="1"/>
                    </a:lnTo>
                    <a:lnTo>
                      <a:pt x="1701" y="0"/>
                    </a:lnTo>
                    <a:lnTo>
                      <a:pt x="170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3" name="Freeform 393"/>
              <p:cNvSpPr>
                <a:spLocks/>
              </p:cNvSpPr>
              <p:nvPr/>
            </p:nvSpPr>
            <p:spPr bwMode="auto">
              <a:xfrm>
                <a:off x="-9117013" y="-1984376"/>
                <a:ext cx="957263" cy="742950"/>
              </a:xfrm>
              <a:custGeom>
                <a:avLst/>
                <a:gdLst>
                  <a:gd name="T0" fmla="*/ 0 w 603"/>
                  <a:gd name="T1" fmla="*/ 468 h 468"/>
                  <a:gd name="T2" fmla="*/ 603 w 603"/>
                  <a:gd name="T3" fmla="*/ 0 h 468"/>
                  <a:gd name="T4" fmla="*/ 603 w 603"/>
                  <a:gd name="T5" fmla="*/ 0 h 468"/>
                  <a:gd name="T6" fmla="*/ 603 w 603"/>
                  <a:gd name="T7" fmla="*/ 0 h 468"/>
                  <a:gd name="T8" fmla="*/ 0 w 603"/>
                  <a:gd name="T9" fmla="*/ 468 h 468"/>
                </a:gdLst>
                <a:ahLst/>
                <a:cxnLst>
                  <a:cxn ang="0">
                    <a:pos x="T0" y="T1"/>
                  </a:cxn>
                  <a:cxn ang="0">
                    <a:pos x="T2" y="T3"/>
                  </a:cxn>
                  <a:cxn ang="0">
                    <a:pos x="T4" y="T5"/>
                  </a:cxn>
                  <a:cxn ang="0">
                    <a:pos x="T6" y="T7"/>
                  </a:cxn>
                  <a:cxn ang="0">
                    <a:pos x="T8" y="T9"/>
                  </a:cxn>
                </a:cxnLst>
                <a:rect l="0" t="0" r="r" b="b"/>
                <a:pathLst>
                  <a:path w="603" h="468">
                    <a:moveTo>
                      <a:pt x="0" y="468"/>
                    </a:moveTo>
                    <a:lnTo>
                      <a:pt x="603" y="0"/>
                    </a:lnTo>
                    <a:lnTo>
                      <a:pt x="603" y="0"/>
                    </a:lnTo>
                    <a:lnTo>
                      <a:pt x="603" y="0"/>
                    </a:lnTo>
                    <a:lnTo>
                      <a:pt x="0" y="468"/>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4" name="Freeform 394"/>
              <p:cNvSpPr>
                <a:spLocks/>
              </p:cNvSpPr>
              <p:nvPr/>
            </p:nvSpPr>
            <p:spPr bwMode="auto">
              <a:xfrm>
                <a:off x="-8159750" y="-1984376"/>
                <a:ext cx="487363" cy="844550"/>
              </a:xfrm>
              <a:custGeom>
                <a:avLst/>
                <a:gdLst>
                  <a:gd name="T0" fmla="*/ 307 w 307"/>
                  <a:gd name="T1" fmla="*/ 532 h 532"/>
                  <a:gd name="T2" fmla="*/ 0 w 307"/>
                  <a:gd name="T3" fmla="*/ 0 h 532"/>
                  <a:gd name="T4" fmla="*/ 0 w 307"/>
                  <a:gd name="T5" fmla="*/ 0 h 532"/>
                  <a:gd name="T6" fmla="*/ 0 w 307"/>
                  <a:gd name="T7" fmla="*/ 0 h 532"/>
                  <a:gd name="T8" fmla="*/ 0 w 307"/>
                  <a:gd name="T9" fmla="*/ 0 h 532"/>
                  <a:gd name="T10" fmla="*/ 307 w 307"/>
                  <a:gd name="T11" fmla="*/ 532 h 532"/>
                </a:gdLst>
                <a:ahLst/>
                <a:cxnLst>
                  <a:cxn ang="0">
                    <a:pos x="T0" y="T1"/>
                  </a:cxn>
                  <a:cxn ang="0">
                    <a:pos x="T2" y="T3"/>
                  </a:cxn>
                  <a:cxn ang="0">
                    <a:pos x="T4" y="T5"/>
                  </a:cxn>
                  <a:cxn ang="0">
                    <a:pos x="T6" y="T7"/>
                  </a:cxn>
                  <a:cxn ang="0">
                    <a:pos x="T8" y="T9"/>
                  </a:cxn>
                  <a:cxn ang="0">
                    <a:pos x="T10" y="T11"/>
                  </a:cxn>
                </a:cxnLst>
                <a:rect l="0" t="0" r="r" b="b"/>
                <a:pathLst>
                  <a:path w="307" h="532">
                    <a:moveTo>
                      <a:pt x="307" y="532"/>
                    </a:moveTo>
                    <a:lnTo>
                      <a:pt x="0" y="0"/>
                    </a:lnTo>
                    <a:lnTo>
                      <a:pt x="0" y="0"/>
                    </a:lnTo>
                    <a:lnTo>
                      <a:pt x="0" y="0"/>
                    </a:lnTo>
                    <a:lnTo>
                      <a:pt x="0" y="0"/>
                    </a:lnTo>
                    <a:lnTo>
                      <a:pt x="307" y="5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5" name="Freeform 395"/>
              <p:cNvSpPr>
                <a:spLocks noEditPoints="1"/>
              </p:cNvSpPr>
              <p:nvPr/>
            </p:nvSpPr>
            <p:spPr bwMode="auto">
              <a:xfrm>
                <a:off x="-7261225" y="-1404938"/>
                <a:ext cx="1735138" cy="2062163"/>
              </a:xfrm>
              <a:custGeom>
                <a:avLst/>
                <a:gdLst>
                  <a:gd name="T0" fmla="*/ 2278 w 2278"/>
                  <a:gd name="T1" fmla="*/ 2707 h 2707"/>
                  <a:gd name="T2" fmla="*/ 2278 w 2278"/>
                  <a:gd name="T3" fmla="*/ 2707 h 2707"/>
                  <a:gd name="T4" fmla="*/ 2278 w 2278"/>
                  <a:gd name="T5" fmla="*/ 2707 h 2707"/>
                  <a:gd name="T6" fmla="*/ 2278 w 2278"/>
                  <a:gd name="T7" fmla="*/ 2707 h 2707"/>
                  <a:gd name="T8" fmla="*/ 2278 w 2278"/>
                  <a:gd name="T9" fmla="*/ 2707 h 2707"/>
                  <a:gd name="T10" fmla="*/ 0 w 2278"/>
                  <a:gd name="T11" fmla="*/ 1281 h 2707"/>
                  <a:gd name="T12" fmla="*/ 0 w 2278"/>
                  <a:gd name="T13" fmla="*/ 1281 h 2707"/>
                  <a:gd name="T14" fmla="*/ 2278 w 2278"/>
                  <a:gd name="T15" fmla="*/ 0 h 2707"/>
                  <a:gd name="T16" fmla="*/ 2278 w 2278"/>
                  <a:gd name="T17" fmla="*/ 2707 h 2707"/>
                  <a:gd name="T18" fmla="*/ 2278 w 2278"/>
                  <a:gd name="T19" fmla="*/ 2707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8" h="2707">
                    <a:moveTo>
                      <a:pt x="2278" y="2707"/>
                    </a:moveTo>
                    <a:lnTo>
                      <a:pt x="2278" y="2707"/>
                    </a:lnTo>
                    <a:lnTo>
                      <a:pt x="2278" y="2707"/>
                    </a:lnTo>
                    <a:lnTo>
                      <a:pt x="2278" y="2707"/>
                    </a:lnTo>
                    <a:moveTo>
                      <a:pt x="2278" y="2707"/>
                    </a:moveTo>
                    <a:lnTo>
                      <a:pt x="0" y="1281"/>
                    </a:lnTo>
                    <a:lnTo>
                      <a:pt x="0" y="1281"/>
                    </a:lnTo>
                    <a:lnTo>
                      <a:pt x="2278" y="0"/>
                    </a:lnTo>
                    <a:lnTo>
                      <a:pt x="2278" y="2707"/>
                    </a:lnTo>
                    <a:lnTo>
                      <a:pt x="2278" y="2707"/>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6" name="Freeform 396"/>
              <p:cNvSpPr>
                <a:spLocks/>
              </p:cNvSpPr>
              <p:nvPr/>
            </p:nvSpPr>
            <p:spPr bwMode="auto">
              <a:xfrm>
                <a:off x="-9456738" y="-979488"/>
                <a:ext cx="2195513" cy="2105025"/>
              </a:xfrm>
              <a:custGeom>
                <a:avLst/>
                <a:gdLst>
                  <a:gd name="T0" fmla="*/ 817 w 1383"/>
                  <a:gd name="T1" fmla="*/ 1326 h 1326"/>
                  <a:gd name="T2" fmla="*/ 0 w 1383"/>
                  <a:gd name="T3" fmla="*/ 0 h 1326"/>
                  <a:gd name="T4" fmla="*/ 1383 w 1383"/>
                  <a:gd name="T5" fmla="*/ 347 h 1326"/>
                  <a:gd name="T6" fmla="*/ 817 w 1383"/>
                  <a:gd name="T7" fmla="*/ 1326 h 1326"/>
                </a:gdLst>
                <a:ahLst/>
                <a:cxnLst>
                  <a:cxn ang="0">
                    <a:pos x="T0" y="T1"/>
                  </a:cxn>
                  <a:cxn ang="0">
                    <a:pos x="T2" y="T3"/>
                  </a:cxn>
                  <a:cxn ang="0">
                    <a:pos x="T4" y="T5"/>
                  </a:cxn>
                  <a:cxn ang="0">
                    <a:pos x="T6" y="T7"/>
                  </a:cxn>
                </a:cxnLst>
                <a:rect l="0" t="0" r="r" b="b"/>
                <a:pathLst>
                  <a:path w="1383" h="1326">
                    <a:moveTo>
                      <a:pt x="817" y="1326"/>
                    </a:moveTo>
                    <a:lnTo>
                      <a:pt x="0" y="0"/>
                    </a:lnTo>
                    <a:lnTo>
                      <a:pt x="1383" y="347"/>
                    </a:lnTo>
                    <a:lnTo>
                      <a:pt x="817" y="132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7" name="Freeform 397"/>
              <p:cNvSpPr>
                <a:spLocks/>
              </p:cNvSpPr>
              <p:nvPr/>
            </p:nvSpPr>
            <p:spPr bwMode="auto">
              <a:xfrm>
                <a:off x="-8159750" y="-428626"/>
                <a:ext cx="898525" cy="1554163"/>
              </a:xfrm>
              <a:custGeom>
                <a:avLst/>
                <a:gdLst>
                  <a:gd name="T0" fmla="*/ 0 w 566"/>
                  <a:gd name="T1" fmla="*/ 979 h 979"/>
                  <a:gd name="T2" fmla="*/ 0 w 566"/>
                  <a:gd name="T3" fmla="*/ 979 h 979"/>
                  <a:gd name="T4" fmla="*/ 0 w 566"/>
                  <a:gd name="T5" fmla="*/ 979 h 979"/>
                  <a:gd name="T6" fmla="*/ 566 w 566"/>
                  <a:gd name="T7" fmla="*/ 0 h 979"/>
                  <a:gd name="T8" fmla="*/ 566 w 566"/>
                  <a:gd name="T9" fmla="*/ 0 h 979"/>
                  <a:gd name="T10" fmla="*/ 0 w 566"/>
                  <a:gd name="T11" fmla="*/ 979 h 979"/>
                </a:gdLst>
                <a:ahLst/>
                <a:cxnLst>
                  <a:cxn ang="0">
                    <a:pos x="T0" y="T1"/>
                  </a:cxn>
                  <a:cxn ang="0">
                    <a:pos x="T2" y="T3"/>
                  </a:cxn>
                  <a:cxn ang="0">
                    <a:pos x="T4" y="T5"/>
                  </a:cxn>
                  <a:cxn ang="0">
                    <a:pos x="T6" y="T7"/>
                  </a:cxn>
                  <a:cxn ang="0">
                    <a:pos x="T8" y="T9"/>
                  </a:cxn>
                  <a:cxn ang="0">
                    <a:pos x="T10" y="T11"/>
                  </a:cxn>
                </a:cxnLst>
                <a:rect l="0" t="0" r="r" b="b"/>
                <a:pathLst>
                  <a:path w="566" h="979">
                    <a:moveTo>
                      <a:pt x="0" y="979"/>
                    </a:moveTo>
                    <a:lnTo>
                      <a:pt x="0" y="979"/>
                    </a:ln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8" name="Freeform 398"/>
              <p:cNvSpPr>
                <a:spLocks noEditPoints="1"/>
              </p:cNvSpPr>
              <p:nvPr/>
            </p:nvSpPr>
            <p:spPr bwMode="auto">
              <a:xfrm>
                <a:off x="-5526088" y="-1984376"/>
                <a:ext cx="2544763" cy="2641600"/>
              </a:xfrm>
              <a:custGeom>
                <a:avLst/>
                <a:gdLst>
                  <a:gd name="T0" fmla="*/ 0 w 3339"/>
                  <a:gd name="T1" fmla="*/ 3468 h 3468"/>
                  <a:gd name="T2" fmla="*/ 0 w 3339"/>
                  <a:gd name="T3" fmla="*/ 3468 h 3468"/>
                  <a:gd name="T4" fmla="*/ 0 w 3339"/>
                  <a:gd name="T5" fmla="*/ 3468 h 3468"/>
                  <a:gd name="T6" fmla="*/ 0 w 3339"/>
                  <a:gd name="T7" fmla="*/ 3468 h 3468"/>
                  <a:gd name="T8" fmla="*/ 0 w 3339"/>
                  <a:gd name="T9" fmla="*/ 3468 h 3468"/>
                  <a:gd name="T10" fmla="*/ 0 w 3339"/>
                  <a:gd name="T11" fmla="*/ 3468 h 3468"/>
                  <a:gd name="T12" fmla="*/ 0 w 3339"/>
                  <a:gd name="T13" fmla="*/ 3468 h 3468"/>
                  <a:gd name="T14" fmla="*/ 0 w 3339"/>
                  <a:gd name="T15" fmla="*/ 3468 h 3468"/>
                  <a:gd name="T16" fmla="*/ 1258 w 3339"/>
                  <a:gd name="T17" fmla="*/ 0 h 3468"/>
                  <a:gd name="T18" fmla="*/ 3339 w 3339"/>
                  <a:gd name="T19" fmla="*/ 2815 h 3468"/>
                  <a:gd name="T20" fmla="*/ 0 w 3339"/>
                  <a:gd name="T21" fmla="*/ 3468 h 3468"/>
                  <a:gd name="T22" fmla="*/ 3339 w 3339"/>
                  <a:gd name="T23" fmla="*/ 2815 h 3468"/>
                  <a:gd name="T24" fmla="*/ 3339 w 3339"/>
                  <a:gd name="T25" fmla="*/ 2815 h 3468"/>
                  <a:gd name="T26" fmla="*/ 3339 w 3339"/>
                  <a:gd name="T27" fmla="*/ 2815 h 3468"/>
                  <a:gd name="T28" fmla="*/ 1258 w 3339"/>
                  <a:gd name="T29" fmla="*/ 0 h 3468"/>
                  <a:gd name="T30" fmla="*/ 1258 w 3339"/>
                  <a:gd name="T31" fmla="*/ 0 h 3468"/>
                  <a:gd name="T32" fmla="*/ 1258 w 3339"/>
                  <a:gd name="T33" fmla="*/ 1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39" h="3468">
                    <a:moveTo>
                      <a:pt x="0" y="3468"/>
                    </a:moveTo>
                    <a:lnTo>
                      <a:pt x="0" y="3468"/>
                    </a:lnTo>
                    <a:lnTo>
                      <a:pt x="0" y="3468"/>
                    </a:lnTo>
                    <a:lnTo>
                      <a:pt x="0" y="3468"/>
                    </a:lnTo>
                    <a:lnTo>
                      <a:pt x="0" y="3468"/>
                    </a:lnTo>
                    <a:lnTo>
                      <a:pt x="0" y="3468"/>
                    </a:lnTo>
                    <a:lnTo>
                      <a:pt x="0" y="3468"/>
                    </a:lnTo>
                    <a:moveTo>
                      <a:pt x="0" y="3468"/>
                    </a:moveTo>
                    <a:lnTo>
                      <a:pt x="1258" y="0"/>
                    </a:lnTo>
                    <a:lnTo>
                      <a:pt x="3339" y="2815"/>
                    </a:lnTo>
                    <a:lnTo>
                      <a:pt x="0" y="3468"/>
                    </a:lnTo>
                    <a:moveTo>
                      <a:pt x="3339" y="2815"/>
                    </a:moveTo>
                    <a:lnTo>
                      <a:pt x="3339" y="2815"/>
                    </a:lnTo>
                    <a:lnTo>
                      <a:pt x="3339" y="2815"/>
                    </a:lnTo>
                    <a:moveTo>
                      <a:pt x="1258" y="0"/>
                    </a:moveTo>
                    <a:lnTo>
                      <a:pt x="1258" y="0"/>
                    </a:lnTo>
                    <a:lnTo>
                      <a:pt x="1258" y="1"/>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9" name="Freeform 399"/>
              <p:cNvSpPr>
                <a:spLocks/>
              </p:cNvSpPr>
              <p:nvPr/>
            </p:nvSpPr>
            <p:spPr bwMode="auto">
              <a:xfrm>
                <a:off x="-5465763" y="-3540126"/>
                <a:ext cx="1797050" cy="1555750"/>
              </a:xfrm>
              <a:custGeom>
                <a:avLst/>
                <a:gdLst>
                  <a:gd name="T0" fmla="*/ 566 w 1132"/>
                  <a:gd name="T1" fmla="*/ 980 h 980"/>
                  <a:gd name="T2" fmla="*/ 566 w 1132"/>
                  <a:gd name="T3" fmla="*/ 980 h 980"/>
                  <a:gd name="T4" fmla="*/ 0 w 1132"/>
                  <a:gd name="T5" fmla="*/ 0 h 980"/>
                  <a:gd name="T6" fmla="*/ 0 w 1132"/>
                  <a:gd name="T7" fmla="*/ 0 h 980"/>
                  <a:gd name="T8" fmla="*/ 1132 w 1132"/>
                  <a:gd name="T9" fmla="*/ 0 h 980"/>
                  <a:gd name="T10" fmla="*/ 566 w 1132"/>
                  <a:gd name="T11" fmla="*/ 980 h 980"/>
                </a:gdLst>
                <a:ahLst/>
                <a:cxnLst>
                  <a:cxn ang="0">
                    <a:pos x="T0" y="T1"/>
                  </a:cxn>
                  <a:cxn ang="0">
                    <a:pos x="T2" y="T3"/>
                  </a:cxn>
                  <a:cxn ang="0">
                    <a:pos x="T4" y="T5"/>
                  </a:cxn>
                  <a:cxn ang="0">
                    <a:pos x="T6" y="T7"/>
                  </a:cxn>
                  <a:cxn ang="0">
                    <a:pos x="T8" y="T9"/>
                  </a:cxn>
                  <a:cxn ang="0">
                    <a:pos x="T10" y="T11"/>
                  </a:cxn>
                </a:cxnLst>
                <a:rect l="0" t="0" r="r" b="b"/>
                <a:pathLst>
                  <a:path w="1132" h="980">
                    <a:moveTo>
                      <a:pt x="566" y="980"/>
                    </a:moveTo>
                    <a:lnTo>
                      <a:pt x="566" y="980"/>
                    </a:lnTo>
                    <a:lnTo>
                      <a:pt x="0" y="0"/>
                    </a:lnTo>
                    <a:lnTo>
                      <a:pt x="0" y="0"/>
                    </a:lnTo>
                    <a:lnTo>
                      <a:pt x="1132" y="0"/>
                    </a:lnTo>
                    <a:lnTo>
                      <a:pt x="566"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0" name="Freeform 400"/>
              <p:cNvSpPr>
                <a:spLocks/>
              </p:cNvSpPr>
              <p:nvPr/>
            </p:nvSpPr>
            <p:spPr bwMode="auto">
              <a:xfrm>
                <a:off x="-5465763" y="-354012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99D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1" name="Rectangle 401"/>
              <p:cNvSpPr>
                <a:spLocks noChangeArrowheads="1"/>
              </p:cNvSpPr>
              <p:nvPr/>
            </p:nvSpPr>
            <p:spPr bwMode="auto">
              <a:xfrm>
                <a:off x="-5465763" y="-3540126"/>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2" name="Freeform 402"/>
              <p:cNvSpPr>
                <a:spLocks noEditPoints="1"/>
              </p:cNvSpPr>
              <p:nvPr/>
            </p:nvSpPr>
            <p:spPr bwMode="auto">
              <a:xfrm>
                <a:off x="-4567238" y="-1984376"/>
                <a:ext cx="1585913" cy="2144713"/>
              </a:xfrm>
              <a:custGeom>
                <a:avLst/>
                <a:gdLst>
                  <a:gd name="T0" fmla="*/ 2081 w 2081"/>
                  <a:gd name="T1" fmla="*/ 2815 h 2815"/>
                  <a:gd name="T2" fmla="*/ 2081 w 2081"/>
                  <a:gd name="T3" fmla="*/ 2815 h 2815"/>
                  <a:gd name="T4" fmla="*/ 2081 w 2081"/>
                  <a:gd name="T5" fmla="*/ 2815 h 2815"/>
                  <a:gd name="T6" fmla="*/ 2081 w 2081"/>
                  <a:gd name="T7" fmla="*/ 2815 h 2815"/>
                  <a:gd name="T8" fmla="*/ 0 w 2081"/>
                  <a:gd name="T9" fmla="*/ 0 h 2815"/>
                  <a:gd name="T10" fmla="*/ 0 w 2081"/>
                  <a:gd name="T11" fmla="*/ 0 h 2815"/>
                  <a:gd name="T12" fmla="*/ 1627 w 2081"/>
                  <a:gd name="T13" fmla="*/ 645 h 2815"/>
                  <a:gd name="T14" fmla="*/ 2081 w 2081"/>
                  <a:gd name="T15" fmla="*/ 2815 h 28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1" h="2815">
                    <a:moveTo>
                      <a:pt x="2081" y="2815"/>
                    </a:moveTo>
                    <a:lnTo>
                      <a:pt x="2081" y="2815"/>
                    </a:lnTo>
                    <a:lnTo>
                      <a:pt x="2081" y="2815"/>
                    </a:lnTo>
                    <a:moveTo>
                      <a:pt x="2081" y="2815"/>
                    </a:moveTo>
                    <a:lnTo>
                      <a:pt x="0" y="0"/>
                    </a:lnTo>
                    <a:lnTo>
                      <a:pt x="0" y="0"/>
                    </a:lnTo>
                    <a:lnTo>
                      <a:pt x="1627" y="645"/>
                    </a:lnTo>
                    <a:lnTo>
                      <a:pt x="2081" y="2815"/>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3" name="Freeform 403"/>
              <p:cNvSpPr>
                <a:spLocks/>
              </p:cNvSpPr>
              <p:nvPr/>
            </p:nvSpPr>
            <p:spPr bwMode="auto">
              <a:xfrm>
                <a:off x="-4567238" y="-1984376"/>
                <a:ext cx="1585913" cy="2144713"/>
              </a:xfrm>
              <a:custGeom>
                <a:avLst/>
                <a:gdLst>
                  <a:gd name="T0" fmla="*/ 999 w 999"/>
                  <a:gd name="T1" fmla="*/ 1351 h 1351"/>
                  <a:gd name="T2" fmla="*/ 0 w 999"/>
                  <a:gd name="T3" fmla="*/ 0 h 1351"/>
                  <a:gd name="T4" fmla="*/ 0 w 999"/>
                  <a:gd name="T5" fmla="*/ 0 h 1351"/>
                  <a:gd name="T6" fmla="*/ 999 w 999"/>
                  <a:gd name="T7" fmla="*/ 1351 h 1351"/>
                  <a:gd name="T8" fmla="*/ 999 w 999"/>
                  <a:gd name="T9" fmla="*/ 1351 h 1351"/>
                  <a:gd name="T10" fmla="*/ 999 w 999"/>
                  <a:gd name="T11" fmla="*/ 1351 h 1351"/>
                </a:gdLst>
                <a:ahLst/>
                <a:cxnLst>
                  <a:cxn ang="0">
                    <a:pos x="T0" y="T1"/>
                  </a:cxn>
                  <a:cxn ang="0">
                    <a:pos x="T2" y="T3"/>
                  </a:cxn>
                  <a:cxn ang="0">
                    <a:pos x="T4" y="T5"/>
                  </a:cxn>
                  <a:cxn ang="0">
                    <a:pos x="T6" y="T7"/>
                  </a:cxn>
                  <a:cxn ang="0">
                    <a:pos x="T8" y="T9"/>
                  </a:cxn>
                  <a:cxn ang="0">
                    <a:pos x="T10" y="T11"/>
                  </a:cxn>
                </a:cxnLst>
                <a:rect l="0" t="0" r="r" b="b"/>
                <a:pathLst>
                  <a:path w="999" h="1351">
                    <a:moveTo>
                      <a:pt x="999" y="1351"/>
                    </a:moveTo>
                    <a:lnTo>
                      <a:pt x="0" y="0"/>
                    </a:lnTo>
                    <a:lnTo>
                      <a:pt x="0" y="0"/>
                    </a:lnTo>
                    <a:lnTo>
                      <a:pt x="999" y="1351"/>
                    </a:lnTo>
                    <a:lnTo>
                      <a:pt x="999" y="1351"/>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4" name="Rectangle 404"/>
              <p:cNvSpPr>
                <a:spLocks noChangeArrowheads="1"/>
              </p:cNvSpPr>
              <p:nvPr/>
            </p:nvSpPr>
            <p:spPr bwMode="auto">
              <a:xfrm>
                <a:off x="-4567238" y="-1984376"/>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5" name="Freeform 405"/>
              <p:cNvSpPr>
                <a:spLocks/>
              </p:cNvSpPr>
              <p:nvPr/>
            </p:nvSpPr>
            <p:spPr bwMode="auto">
              <a:xfrm>
                <a:off x="-5526088" y="-3540126"/>
                <a:ext cx="958850" cy="2135188"/>
              </a:xfrm>
              <a:custGeom>
                <a:avLst/>
                <a:gdLst>
                  <a:gd name="T0" fmla="*/ 0 w 604"/>
                  <a:gd name="T1" fmla="*/ 1345 h 1345"/>
                  <a:gd name="T2" fmla="*/ 1 w 604"/>
                  <a:gd name="T3" fmla="*/ 1294 h 1345"/>
                  <a:gd name="T4" fmla="*/ 38 w 604"/>
                  <a:gd name="T5" fmla="*/ 0 h 1345"/>
                  <a:gd name="T6" fmla="*/ 38 w 604"/>
                  <a:gd name="T7" fmla="*/ 0 h 1345"/>
                  <a:gd name="T8" fmla="*/ 38 w 604"/>
                  <a:gd name="T9" fmla="*/ 0 h 1345"/>
                  <a:gd name="T10" fmla="*/ 604 w 604"/>
                  <a:gd name="T11" fmla="*/ 980 h 1345"/>
                  <a:gd name="T12" fmla="*/ 0 w 604"/>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604" h="1345">
                    <a:moveTo>
                      <a:pt x="0" y="1345"/>
                    </a:moveTo>
                    <a:lnTo>
                      <a:pt x="1" y="1294"/>
                    </a:lnTo>
                    <a:lnTo>
                      <a:pt x="38" y="0"/>
                    </a:lnTo>
                    <a:lnTo>
                      <a:pt x="38" y="0"/>
                    </a:lnTo>
                    <a:lnTo>
                      <a:pt x="38" y="0"/>
                    </a:lnTo>
                    <a:lnTo>
                      <a:pt x="604" y="980"/>
                    </a:lnTo>
                    <a:lnTo>
                      <a:pt x="0" y="134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6" name="Freeform 406"/>
              <p:cNvSpPr>
                <a:spLocks/>
              </p:cNvSpPr>
              <p:nvPr/>
            </p:nvSpPr>
            <p:spPr bwMode="auto">
              <a:xfrm>
                <a:off x="-4567238" y="-3540126"/>
                <a:ext cx="1239838" cy="2046288"/>
              </a:xfrm>
              <a:custGeom>
                <a:avLst/>
                <a:gdLst>
                  <a:gd name="T0" fmla="*/ 781 w 781"/>
                  <a:gd name="T1" fmla="*/ 1289 h 1289"/>
                  <a:gd name="T2" fmla="*/ 0 w 781"/>
                  <a:gd name="T3" fmla="*/ 980 h 1289"/>
                  <a:gd name="T4" fmla="*/ 566 w 781"/>
                  <a:gd name="T5" fmla="*/ 0 h 1289"/>
                  <a:gd name="T6" fmla="*/ 716 w 781"/>
                  <a:gd name="T7" fmla="*/ 902 h 1289"/>
                  <a:gd name="T8" fmla="*/ 781 w 781"/>
                  <a:gd name="T9" fmla="*/ 1289 h 1289"/>
                </a:gdLst>
                <a:ahLst/>
                <a:cxnLst>
                  <a:cxn ang="0">
                    <a:pos x="T0" y="T1"/>
                  </a:cxn>
                  <a:cxn ang="0">
                    <a:pos x="T2" y="T3"/>
                  </a:cxn>
                  <a:cxn ang="0">
                    <a:pos x="T4" y="T5"/>
                  </a:cxn>
                  <a:cxn ang="0">
                    <a:pos x="T6" y="T7"/>
                  </a:cxn>
                  <a:cxn ang="0">
                    <a:pos x="T8" y="T9"/>
                  </a:cxn>
                </a:cxnLst>
                <a:rect l="0" t="0" r="r" b="b"/>
                <a:pathLst>
                  <a:path w="781" h="1289">
                    <a:moveTo>
                      <a:pt x="781" y="1289"/>
                    </a:moveTo>
                    <a:lnTo>
                      <a:pt x="0" y="980"/>
                    </a:lnTo>
                    <a:lnTo>
                      <a:pt x="566" y="0"/>
                    </a:lnTo>
                    <a:lnTo>
                      <a:pt x="716" y="902"/>
                    </a:lnTo>
                    <a:lnTo>
                      <a:pt x="781" y="128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7" name="Freeform 407"/>
              <p:cNvSpPr>
                <a:spLocks noEditPoints="1"/>
              </p:cNvSpPr>
              <p:nvPr/>
            </p:nvSpPr>
            <p:spPr bwMode="auto">
              <a:xfrm>
                <a:off x="-5526088" y="-1984376"/>
                <a:ext cx="958850" cy="2641600"/>
              </a:xfrm>
              <a:custGeom>
                <a:avLst/>
                <a:gdLst>
                  <a:gd name="T0" fmla="*/ 0 w 1258"/>
                  <a:gd name="T1" fmla="*/ 3467 h 3467"/>
                  <a:gd name="T2" fmla="*/ 0 w 1258"/>
                  <a:gd name="T3" fmla="*/ 3467 h 3467"/>
                  <a:gd name="T4" fmla="*/ 0 w 1258"/>
                  <a:gd name="T5" fmla="*/ 3467 h 3467"/>
                  <a:gd name="T6" fmla="*/ 0 w 1258"/>
                  <a:gd name="T7" fmla="*/ 3467 h 3467"/>
                  <a:gd name="T8" fmla="*/ 0 w 1258"/>
                  <a:gd name="T9" fmla="*/ 3467 h 3467"/>
                  <a:gd name="T10" fmla="*/ 0 w 1258"/>
                  <a:gd name="T11" fmla="*/ 760 h 3467"/>
                  <a:gd name="T12" fmla="*/ 1258 w 1258"/>
                  <a:gd name="T13" fmla="*/ 0 h 3467"/>
                  <a:gd name="T14" fmla="*/ 0 w 1258"/>
                  <a:gd name="T15" fmla="*/ 3467 h 3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8" h="3467">
                    <a:moveTo>
                      <a:pt x="0" y="3467"/>
                    </a:moveTo>
                    <a:lnTo>
                      <a:pt x="0" y="3467"/>
                    </a:lnTo>
                    <a:lnTo>
                      <a:pt x="0" y="3467"/>
                    </a:lnTo>
                    <a:lnTo>
                      <a:pt x="0" y="3467"/>
                    </a:lnTo>
                    <a:moveTo>
                      <a:pt x="0" y="3467"/>
                    </a:moveTo>
                    <a:lnTo>
                      <a:pt x="0" y="760"/>
                    </a:lnTo>
                    <a:lnTo>
                      <a:pt x="1258" y="0"/>
                    </a:lnTo>
                    <a:lnTo>
                      <a:pt x="0" y="3467"/>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8" name="Freeform 408"/>
              <p:cNvSpPr>
                <a:spLocks/>
              </p:cNvSpPr>
              <p:nvPr/>
            </p:nvSpPr>
            <p:spPr bwMode="auto">
              <a:xfrm>
                <a:off x="-5526088" y="-1984376"/>
                <a:ext cx="958850" cy="2641600"/>
              </a:xfrm>
              <a:custGeom>
                <a:avLst/>
                <a:gdLst>
                  <a:gd name="T0" fmla="*/ 0 w 604"/>
                  <a:gd name="T1" fmla="*/ 1664 h 1664"/>
                  <a:gd name="T2" fmla="*/ 0 w 604"/>
                  <a:gd name="T3" fmla="*/ 1664 h 1664"/>
                  <a:gd name="T4" fmla="*/ 604 w 604"/>
                  <a:gd name="T5" fmla="*/ 0 h 1664"/>
                  <a:gd name="T6" fmla="*/ 604 w 604"/>
                  <a:gd name="T7" fmla="*/ 0 h 1664"/>
                  <a:gd name="T8" fmla="*/ 604 w 604"/>
                  <a:gd name="T9" fmla="*/ 0 h 1664"/>
                  <a:gd name="T10" fmla="*/ 0 w 604"/>
                  <a:gd name="T11" fmla="*/ 1664 h 1664"/>
                  <a:gd name="T12" fmla="*/ 0 w 604"/>
                  <a:gd name="T13" fmla="*/ 1664 h 1664"/>
                </a:gdLst>
                <a:ahLst/>
                <a:cxnLst>
                  <a:cxn ang="0">
                    <a:pos x="T0" y="T1"/>
                  </a:cxn>
                  <a:cxn ang="0">
                    <a:pos x="T2" y="T3"/>
                  </a:cxn>
                  <a:cxn ang="0">
                    <a:pos x="T4" y="T5"/>
                  </a:cxn>
                  <a:cxn ang="0">
                    <a:pos x="T6" y="T7"/>
                  </a:cxn>
                  <a:cxn ang="0">
                    <a:pos x="T8" y="T9"/>
                  </a:cxn>
                  <a:cxn ang="0">
                    <a:pos x="T10" y="T11"/>
                  </a:cxn>
                  <a:cxn ang="0">
                    <a:pos x="T12" y="T13"/>
                  </a:cxn>
                </a:cxnLst>
                <a:rect l="0" t="0" r="r" b="b"/>
                <a:pathLst>
                  <a:path w="604" h="1664">
                    <a:moveTo>
                      <a:pt x="0" y="1664"/>
                    </a:moveTo>
                    <a:lnTo>
                      <a:pt x="0" y="1664"/>
                    </a:lnTo>
                    <a:lnTo>
                      <a:pt x="604" y="0"/>
                    </a:lnTo>
                    <a:lnTo>
                      <a:pt x="604" y="0"/>
                    </a:lnTo>
                    <a:lnTo>
                      <a:pt x="604" y="0"/>
                    </a:lnTo>
                    <a:lnTo>
                      <a:pt x="0" y="1664"/>
                    </a:lnTo>
                    <a:lnTo>
                      <a:pt x="0" y="166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9" name="Freeform 409"/>
              <p:cNvSpPr>
                <a:spLocks/>
              </p:cNvSpPr>
              <p:nvPr/>
            </p:nvSpPr>
            <p:spPr bwMode="auto">
              <a:xfrm>
                <a:off x="-4567238" y="-19843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0" name="Freeform 410"/>
              <p:cNvSpPr>
                <a:spLocks noEditPoints="1"/>
              </p:cNvSpPr>
              <p:nvPr/>
            </p:nvSpPr>
            <p:spPr bwMode="auto">
              <a:xfrm>
                <a:off x="-8159750" y="2682875"/>
                <a:ext cx="1141413" cy="1914525"/>
              </a:xfrm>
              <a:custGeom>
                <a:avLst/>
                <a:gdLst>
                  <a:gd name="T0" fmla="*/ 1498 w 1498"/>
                  <a:gd name="T1" fmla="*/ 2514 h 2514"/>
                  <a:gd name="T2" fmla="*/ 1 w 1498"/>
                  <a:gd name="T3" fmla="*/ 2041 h 2514"/>
                  <a:gd name="T4" fmla="*/ 0 w 1498"/>
                  <a:gd name="T5" fmla="*/ 2041 h 2514"/>
                  <a:gd name="T6" fmla="*/ 1 w 1498"/>
                  <a:gd name="T7" fmla="*/ 2041 h 2514"/>
                  <a:gd name="T8" fmla="*/ 1179 w 1498"/>
                  <a:gd name="T9" fmla="*/ 0 h 2514"/>
                  <a:gd name="T10" fmla="*/ 1179 w 1498"/>
                  <a:gd name="T11" fmla="*/ 0 h 2514"/>
                  <a:gd name="T12" fmla="*/ 1179 w 1498"/>
                  <a:gd name="T13" fmla="*/ 0 h 2514"/>
                  <a:gd name="T14" fmla="*/ 1179 w 1498"/>
                  <a:gd name="T15" fmla="*/ 0 h 2514"/>
                  <a:gd name="T16" fmla="*/ 1179 w 1498"/>
                  <a:gd name="T17" fmla="*/ 0 h 2514"/>
                  <a:gd name="T18" fmla="*/ 1234 w 1498"/>
                  <a:gd name="T19" fmla="*/ 432 h 2514"/>
                  <a:gd name="T20" fmla="*/ 1498 w 1498"/>
                  <a:gd name="T21" fmla="*/ 2514 h 2514"/>
                  <a:gd name="T22" fmla="*/ 1179 w 1498"/>
                  <a:gd name="T23" fmla="*/ 0 h 2514"/>
                  <a:gd name="T24" fmla="*/ 1179 w 1498"/>
                  <a:gd name="T25" fmla="*/ 0 h 2514"/>
                  <a:gd name="T26" fmla="*/ 1179 w 1498"/>
                  <a:gd name="T27"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8" h="2514">
                    <a:moveTo>
                      <a:pt x="1498" y="2514"/>
                    </a:moveTo>
                    <a:lnTo>
                      <a:pt x="1" y="2041"/>
                    </a:lnTo>
                    <a:lnTo>
                      <a:pt x="0" y="2041"/>
                    </a:lnTo>
                    <a:lnTo>
                      <a:pt x="1" y="2041"/>
                    </a:lnTo>
                    <a:lnTo>
                      <a:pt x="1179" y="0"/>
                    </a:lnTo>
                    <a:lnTo>
                      <a:pt x="1179" y="0"/>
                    </a:lnTo>
                    <a:lnTo>
                      <a:pt x="1179" y="0"/>
                    </a:lnTo>
                    <a:lnTo>
                      <a:pt x="1179" y="0"/>
                    </a:lnTo>
                    <a:lnTo>
                      <a:pt x="1179" y="0"/>
                    </a:lnTo>
                    <a:lnTo>
                      <a:pt x="1234" y="432"/>
                    </a:lnTo>
                    <a:lnTo>
                      <a:pt x="1498" y="2514"/>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1" name="Freeform 411"/>
              <p:cNvSpPr>
                <a:spLocks/>
              </p:cNvSpPr>
              <p:nvPr/>
            </p:nvSpPr>
            <p:spPr bwMode="auto">
              <a:xfrm>
                <a:off x="-8159750" y="1125537"/>
                <a:ext cx="1795463" cy="1557338"/>
              </a:xfrm>
              <a:custGeom>
                <a:avLst/>
                <a:gdLst>
                  <a:gd name="T0" fmla="*/ 566 w 1131"/>
                  <a:gd name="T1" fmla="*/ 981 h 981"/>
                  <a:gd name="T2" fmla="*/ 4 w 1131"/>
                  <a:gd name="T3" fmla="*/ 7 h 981"/>
                  <a:gd name="T4" fmla="*/ 0 w 1131"/>
                  <a:gd name="T5" fmla="*/ 0 h 981"/>
                  <a:gd name="T6" fmla="*/ 0 w 1131"/>
                  <a:gd name="T7" fmla="*/ 0 h 981"/>
                  <a:gd name="T8" fmla="*/ 0 w 1131"/>
                  <a:gd name="T9" fmla="*/ 0 h 981"/>
                  <a:gd name="T10" fmla="*/ 0 w 1131"/>
                  <a:gd name="T11" fmla="*/ 0 h 981"/>
                  <a:gd name="T12" fmla="*/ 1131 w 1131"/>
                  <a:gd name="T13" fmla="*/ 0 h 981"/>
                  <a:gd name="T14" fmla="*/ 566 w 1131"/>
                  <a:gd name="T15" fmla="*/ 981 h 9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981">
                    <a:moveTo>
                      <a:pt x="566" y="981"/>
                    </a:moveTo>
                    <a:lnTo>
                      <a:pt x="4" y="7"/>
                    </a:lnTo>
                    <a:lnTo>
                      <a:pt x="0" y="0"/>
                    </a:lnTo>
                    <a:lnTo>
                      <a:pt x="0" y="0"/>
                    </a:lnTo>
                    <a:lnTo>
                      <a:pt x="0" y="0"/>
                    </a:lnTo>
                    <a:lnTo>
                      <a:pt x="0" y="0"/>
                    </a:lnTo>
                    <a:lnTo>
                      <a:pt x="1131" y="0"/>
                    </a:lnTo>
                    <a:lnTo>
                      <a:pt x="566" y="98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2" name="Freeform 412"/>
              <p:cNvSpPr>
                <a:spLocks noEditPoints="1"/>
              </p:cNvSpPr>
              <p:nvPr/>
            </p:nvSpPr>
            <p:spPr bwMode="auto">
              <a:xfrm>
                <a:off x="-7261225" y="2655887"/>
                <a:ext cx="1047750" cy="1941513"/>
              </a:xfrm>
              <a:custGeom>
                <a:avLst/>
                <a:gdLst>
                  <a:gd name="T0" fmla="*/ 319 w 1375"/>
                  <a:gd name="T1" fmla="*/ 2549 h 2549"/>
                  <a:gd name="T2" fmla="*/ 55 w 1375"/>
                  <a:gd name="T3" fmla="*/ 467 h 2549"/>
                  <a:gd name="T4" fmla="*/ 0 w 1375"/>
                  <a:gd name="T5" fmla="*/ 35 h 2549"/>
                  <a:gd name="T6" fmla="*/ 1375 w 1375"/>
                  <a:gd name="T7" fmla="*/ 0 h 2549"/>
                  <a:gd name="T8" fmla="*/ 1375 w 1375"/>
                  <a:gd name="T9" fmla="*/ 0 h 2549"/>
                  <a:gd name="T10" fmla="*/ 319 w 1375"/>
                  <a:gd name="T11" fmla="*/ 2549 h 2549"/>
                  <a:gd name="T12" fmla="*/ 1375 w 1375"/>
                  <a:gd name="T13" fmla="*/ 0 h 2549"/>
                  <a:gd name="T14" fmla="*/ 1375 w 1375"/>
                  <a:gd name="T15" fmla="*/ 0 h 2549"/>
                  <a:gd name="T16" fmla="*/ 1375 w 1375"/>
                  <a:gd name="T17" fmla="*/ 0 h 2549"/>
                  <a:gd name="T18" fmla="*/ 1375 w 1375"/>
                  <a:gd name="T19" fmla="*/ 0 h 2549"/>
                  <a:gd name="T20" fmla="*/ 1375 w 1375"/>
                  <a:gd name="T21" fmla="*/ 0 h 2549"/>
                  <a:gd name="T22" fmla="*/ 1375 w 1375"/>
                  <a:gd name="T23" fmla="*/ 0 h 2549"/>
                  <a:gd name="T24" fmla="*/ 1375 w 1375"/>
                  <a:gd name="T25" fmla="*/ 0 h 2549"/>
                  <a:gd name="T26" fmla="*/ 1375 w 1375"/>
                  <a:gd name="T27" fmla="*/ 0 h 2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5" h="2549">
                    <a:moveTo>
                      <a:pt x="319" y="2549"/>
                    </a:moveTo>
                    <a:lnTo>
                      <a:pt x="55" y="467"/>
                    </a:lnTo>
                    <a:lnTo>
                      <a:pt x="0" y="35"/>
                    </a:lnTo>
                    <a:lnTo>
                      <a:pt x="1375" y="0"/>
                    </a:lnTo>
                    <a:lnTo>
                      <a:pt x="1375" y="0"/>
                    </a:lnTo>
                    <a:lnTo>
                      <a:pt x="319" y="2549"/>
                    </a:lnTo>
                    <a:moveTo>
                      <a:pt x="1375" y="0"/>
                    </a:moveTo>
                    <a:lnTo>
                      <a:pt x="1375" y="0"/>
                    </a:lnTo>
                    <a:lnTo>
                      <a:pt x="1375" y="0"/>
                    </a:lnTo>
                    <a:lnTo>
                      <a:pt x="1375" y="0"/>
                    </a:lnTo>
                    <a:moveTo>
                      <a:pt x="1375" y="0"/>
                    </a:moveTo>
                    <a:lnTo>
                      <a:pt x="1375" y="0"/>
                    </a:lnTo>
                    <a:lnTo>
                      <a:pt x="1375" y="0"/>
                    </a:lnTo>
                    <a:lnTo>
                      <a:pt x="1375"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3" name="Freeform 413"/>
              <p:cNvSpPr>
                <a:spLocks noEditPoints="1"/>
              </p:cNvSpPr>
              <p:nvPr/>
            </p:nvSpPr>
            <p:spPr bwMode="auto">
              <a:xfrm>
                <a:off x="-9488488" y="1125537"/>
                <a:ext cx="2227263" cy="2085975"/>
              </a:xfrm>
              <a:custGeom>
                <a:avLst/>
                <a:gdLst>
                  <a:gd name="T0" fmla="*/ 0 w 2922"/>
                  <a:gd name="T1" fmla="*/ 2737 h 2737"/>
                  <a:gd name="T2" fmla="*/ 0 w 2922"/>
                  <a:gd name="T3" fmla="*/ 2737 h 2737"/>
                  <a:gd name="T4" fmla="*/ 0 w 2922"/>
                  <a:gd name="T5" fmla="*/ 2737 h 2737"/>
                  <a:gd name="T6" fmla="*/ 0 w 2922"/>
                  <a:gd name="T7" fmla="*/ 2737 h 2737"/>
                  <a:gd name="T8" fmla="*/ 1744 w 2922"/>
                  <a:gd name="T9" fmla="*/ 0 h 2737"/>
                  <a:gd name="T10" fmla="*/ 1752 w 2922"/>
                  <a:gd name="T11" fmla="*/ 14 h 2737"/>
                  <a:gd name="T12" fmla="*/ 2922 w 2922"/>
                  <a:gd name="T13" fmla="*/ 2042 h 2737"/>
                  <a:gd name="T14" fmla="*/ 2922 w 2922"/>
                  <a:gd name="T15" fmla="*/ 2042 h 2737"/>
                  <a:gd name="T16" fmla="*/ 0 w 2922"/>
                  <a:gd name="T17" fmla="*/ 2737 h 2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22" h="2737">
                    <a:moveTo>
                      <a:pt x="0" y="2737"/>
                    </a:moveTo>
                    <a:lnTo>
                      <a:pt x="0" y="2737"/>
                    </a:lnTo>
                    <a:lnTo>
                      <a:pt x="0" y="2737"/>
                    </a:lnTo>
                    <a:moveTo>
                      <a:pt x="0" y="2737"/>
                    </a:moveTo>
                    <a:lnTo>
                      <a:pt x="1744" y="0"/>
                    </a:lnTo>
                    <a:lnTo>
                      <a:pt x="1752" y="14"/>
                    </a:lnTo>
                    <a:lnTo>
                      <a:pt x="2922" y="2042"/>
                    </a:lnTo>
                    <a:lnTo>
                      <a:pt x="2922" y="2042"/>
                    </a:lnTo>
                    <a:lnTo>
                      <a:pt x="0" y="2737"/>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4" name="Freeform 414"/>
              <p:cNvSpPr>
                <a:spLocks/>
              </p:cNvSpPr>
              <p:nvPr/>
            </p:nvSpPr>
            <p:spPr bwMode="auto">
              <a:xfrm>
                <a:off x="-7261225" y="1125537"/>
                <a:ext cx="1047750" cy="1557338"/>
              </a:xfrm>
              <a:custGeom>
                <a:avLst/>
                <a:gdLst>
                  <a:gd name="T0" fmla="*/ 0 w 660"/>
                  <a:gd name="T1" fmla="*/ 981 h 981"/>
                  <a:gd name="T2" fmla="*/ 0 w 660"/>
                  <a:gd name="T3" fmla="*/ 981 h 981"/>
                  <a:gd name="T4" fmla="*/ 565 w 660"/>
                  <a:gd name="T5" fmla="*/ 0 h 981"/>
                  <a:gd name="T6" fmla="*/ 565 w 660"/>
                  <a:gd name="T7" fmla="*/ 0 h 981"/>
                  <a:gd name="T8" fmla="*/ 565 w 660"/>
                  <a:gd name="T9" fmla="*/ 0 h 981"/>
                  <a:gd name="T10" fmla="*/ 660 w 660"/>
                  <a:gd name="T11" fmla="*/ 963 h 981"/>
                  <a:gd name="T12" fmla="*/ 660 w 660"/>
                  <a:gd name="T13" fmla="*/ 963 h 981"/>
                  <a:gd name="T14" fmla="*/ 660 w 660"/>
                  <a:gd name="T15" fmla="*/ 964 h 981"/>
                  <a:gd name="T16" fmla="*/ 660 w 660"/>
                  <a:gd name="T17" fmla="*/ 964 h 981"/>
                  <a:gd name="T18" fmla="*/ 0 w 660"/>
                  <a:gd name="T19" fmla="*/ 981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0" h="981">
                    <a:moveTo>
                      <a:pt x="0" y="981"/>
                    </a:moveTo>
                    <a:lnTo>
                      <a:pt x="0" y="981"/>
                    </a:lnTo>
                    <a:lnTo>
                      <a:pt x="565" y="0"/>
                    </a:lnTo>
                    <a:lnTo>
                      <a:pt x="565" y="0"/>
                    </a:lnTo>
                    <a:lnTo>
                      <a:pt x="565" y="0"/>
                    </a:lnTo>
                    <a:lnTo>
                      <a:pt x="660" y="963"/>
                    </a:lnTo>
                    <a:lnTo>
                      <a:pt x="660" y="963"/>
                    </a:lnTo>
                    <a:lnTo>
                      <a:pt x="660" y="964"/>
                    </a:lnTo>
                    <a:lnTo>
                      <a:pt x="660" y="964"/>
                    </a:lnTo>
                    <a:lnTo>
                      <a:pt x="0"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5" name="Freeform 415"/>
              <p:cNvSpPr>
                <a:spLocks/>
              </p:cNvSpPr>
              <p:nvPr/>
            </p:nvSpPr>
            <p:spPr bwMode="auto">
              <a:xfrm>
                <a:off x="-9488488" y="2682875"/>
                <a:ext cx="2227263" cy="1554163"/>
              </a:xfrm>
              <a:custGeom>
                <a:avLst/>
                <a:gdLst>
                  <a:gd name="T0" fmla="*/ 1744 w 2922"/>
                  <a:gd name="T1" fmla="*/ 2041 h 2041"/>
                  <a:gd name="T2" fmla="*/ 0 w 2922"/>
                  <a:gd name="T3" fmla="*/ 695 h 2041"/>
                  <a:gd name="T4" fmla="*/ 2922 w 2922"/>
                  <a:gd name="T5" fmla="*/ 0 h 2041"/>
                  <a:gd name="T6" fmla="*/ 1743 w 2922"/>
                  <a:gd name="T7" fmla="*/ 2041 h 2041"/>
                </a:gdLst>
                <a:ahLst/>
                <a:cxnLst>
                  <a:cxn ang="0">
                    <a:pos x="T0" y="T1"/>
                  </a:cxn>
                  <a:cxn ang="0">
                    <a:pos x="T2" y="T3"/>
                  </a:cxn>
                  <a:cxn ang="0">
                    <a:pos x="T4" y="T5"/>
                  </a:cxn>
                  <a:cxn ang="0">
                    <a:pos x="T6" y="T7"/>
                  </a:cxn>
                </a:cxnLst>
                <a:rect l="0" t="0" r="r" b="b"/>
                <a:pathLst>
                  <a:path w="2922" h="2041">
                    <a:moveTo>
                      <a:pt x="1744" y="2041"/>
                    </a:moveTo>
                    <a:lnTo>
                      <a:pt x="0" y="695"/>
                    </a:lnTo>
                    <a:lnTo>
                      <a:pt x="2922" y="0"/>
                    </a:lnTo>
                    <a:lnTo>
                      <a:pt x="1743" y="204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6" name="Freeform 416"/>
              <p:cNvSpPr>
                <a:spLocks/>
              </p:cNvSpPr>
              <p:nvPr/>
            </p:nvSpPr>
            <p:spPr bwMode="auto">
              <a:xfrm>
                <a:off x="-8159750" y="2682875"/>
                <a:ext cx="898525" cy="1554163"/>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7" name="Freeform 417"/>
              <p:cNvSpPr>
                <a:spLocks/>
              </p:cNvSpPr>
              <p:nvPr/>
            </p:nvSpPr>
            <p:spPr bwMode="auto">
              <a:xfrm>
                <a:off x="-9488488" y="2682875"/>
                <a:ext cx="2227263" cy="528638"/>
              </a:xfrm>
              <a:custGeom>
                <a:avLst/>
                <a:gdLst>
                  <a:gd name="T0" fmla="*/ 0 w 1403"/>
                  <a:gd name="T1" fmla="*/ 333 h 333"/>
                  <a:gd name="T2" fmla="*/ 0 w 1403"/>
                  <a:gd name="T3" fmla="*/ 333 h 333"/>
                  <a:gd name="T4" fmla="*/ 1403 w 1403"/>
                  <a:gd name="T5" fmla="*/ 0 h 333"/>
                  <a:gd name="T6" fmla="*/ 1403 w 1403"/>
                  <a:gd name="T7" fmla="*/ 0 h 333"/>
                  <a:gd name="T8" fmla="*/ 0 w 1403"/>
                  <a:gd name="T9" fmla="*/ 333 h 333"/>
                </a:gdLst>
                <a:ahLst/>
                <a:cxnLst>
                  <a:cxn ang="0">
                    <a:pos x="T0" y="T1"/>
                  </a:cxn>
                  <a:cxn ang="0">
                    <a:pos x="T2" y="T3"/>
                  </a:cxn>
                  <a:cxn ang="0">
                    <a:pos x="T4" y="T5"/>
                  </a:cxn>
                  <a:cxn ang="0">
                    <a:pos x="T6" y="T7"/>
                  </a:cxn>
                  <a:cxn ang="0">
                    <a:pos x="T8" y="T9"/>
                  </a:cxn>
                </a:cxnLst>
                <a:rect l="0" t="0" r="r" b="b"/>
                <a:pathLst>
                  <a:path w="1403" h="333">
                    <a:moveTo>
                      <a:pt x="0" y="333"/>
                    </a:moveTo>
                    <a:lnTo>
                      <a:pt x="0" y="333"/>
                    </a:lnTo>
                    <a:lnTo>
                      <a:pt x="1403" y="0"/>
                    </a:lnTo>
                    <a:lnTo>
                      <a:pt x="1403" y="0"/>
                    </a:lnTo>
                    <a:lnTo>
                      <a:pt x="0" y="3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8" name="Freeform 418"/>
              <p:cNvSpPr>
                <a:spLocks noEditPoints="1"/>
              </p:cNvSpPr>
              <p:nvPr/>
            </p:nvSpPr>
            <p:spPr bwMode="auto">
              <a:xfrm>
                <a:off x="-6213475" y="1125537"/>
                <a:ext cx="1800225" cy="1987550"/>
              </a:xfrm>
              <a:custGeom>
                <a:avLst/>
                <a:gdLst>
                  <a:gd name="T0" fmla="*/ 2364 w 2364"/>
                  <a:gd name="T1" fmla="*/ 2608 h 2608"/>
                  <a:gd name="T2" fmla="*/ 0 w 2364"/>
                  <a:gd name="T3" fmla="*/ 2007 h 2608"/>
                  <a:gd name="T4" fmla="*/ 0 w 2364"/>
                  <a:gd name="T5" fmla="*/ 2006 h 2608"/>
                  <a:gd name="T6" fmla="*/ 0 w 2364"/>
                  <a:gd name="T7" fmla="*/ 2006 h 2608"/>
                  <a:gd name="T8" fmla="*/ 0 w 2364"/>
                  <a:gd name="T9" fmla="*/ 2006 h 2608"/>
                  <a:gd name="T10" fmla="*/ 2161 w 2364"/>
                  <a:gd name="T11" fmla="*/ 0 h 2608"/>
                  <a:gd name="T12" fmla="*/ 2364 w 2364"/>
                  <a:gd name="T13" fmla="*/ 2608 h 2608"/>
                  <a:gd name="T14" fmla="*/ 2161 w 2364"/>
                  <a:gd name="T15" fmla="*/ 0 h 2608"/>
                  <a:gd name="T16" fmla="*/ 2161 w 2364"/>
                  <a:gd name="T17" fmla="*/ 0 h 2608"/>
                  <a:gd name="T18" fmla="*/ 2161 w 2364"/>
                  <a:gd name="T19" fmla="*/ 0 h 2608"/>
                  <a:gd name="T20" fmla="*/ 2161 w 2364"/>
                  <a:gd name="T21" fmla="*/ 0 h 2608"/>
                  <a:gd name="T22" fmla="*/ 2161 w 2364"/>
                  <a:gd name="T23" fmla="*/ 0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64" h="2608">
                    <a:moveTo>
                      <a:pt x="2364" y="2608"/>
                    </a:moveTo>
                    <a:lnTo>
                      <a:pt x="0" y="2007"/>
                    </a:lnTo>
                    <a:lnTo>
                      <a:pt x="0" y="2006"/>
                    </a:lnTo>
                    <a:lnTo>
                      <a:pt x="0" y="2006"/>
                    </a:lnTo>
                    <a:lnTo>
                      <a:pt x="0" y="2006"/>
                    </a:lnTo>
                    <a:lnTo>
                      <a:pt x="2161" y="0"/>
                    </a:lnTo>
                    <a:lnTo>
                      <a:pt x="2364" y="2608"/>
                    </a:lnTo>
                    <a:moveTo>
                      <a:pt x="2161" y="0"/>
                    </a:moveTo>
                    <a:lnTo>
                      <a:pt x="2161" y="0"/>
                    </a:lnTo>
                    <a:lnTo>
                      <a:pt x="2161" y="0"/>
                    </a:lnTo>
                    <a:lnTo>
                      <a:pt x="2161" y="0"/>
                    </a:lnTo>
                    <a:lnTo>
                      <a:pt x="2161" y="0"/>
                    </a:lnTo>
                  </a:path>
                </a:pathLst>
              </a:custGeom>
              <a:solidFill>
                <a:srgbClr val="59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9" name="Rectangle 419"/>
              <p:cNvSpPr>
                <a:spLocks noChangeArrowheads="1"/>
              </p:cNvSpPr>
              <p:nvPr/>
            </p:nvSpPr>
            <p:spPr bwMode="auto">
              <a:xfrm>
                <a:off x="-6213475" y="2654300"/>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0" name="Freeform 420"/>
              <p:cNvSpPr>
                <a:spLocks/>
              </p:cNvSpPr>
              <p:nvPr/>
            </p:nvSpPr>
            <p:spPr bwMode="auto">
              <a:xfrm>
                <a:off x="-5526088" y="160337"/>
                <a:ext cx="2544763" cy="965200"/>
              </a:xfrm>
              <a:custGeom>
                <a:avLst/>
                <a:gdLst>
                  <a:gd name="T0" fmla="*/ 604 w 1603"/>
                  <a:gd name="T1" fmla="*/ 608 h 608"/>
                  <a:gd name="T2" fmla="*/ 62 w 1603"/>
                  <a:gd name="T3" fmla="*/ 344 h 608"/>
                  <a:gd name="T4" fmla="*/ 0 w 1603"/>
                  <a:gd name="T5" fmla="*/ 313 h 608"/>
                  <a:gd name="T6" fmla="*/ 0 w 1603"/>
                  <a:gd name="T7" fmla="*/ 313 h 608"/>
                  <a:gd name="T8" fmla="*/ 1603 w 1603"/>
                  <a:gd name="T9" fmla="*/ 0 h 608"/>
                  <a:gd name="T10" fmla="*/ 1508 w 1603"/>
                  <a:gd name="T11" fmla="*/ 57 h 608"/>
                  <a:gd name="T12" fmla="*/ 604 w 1603"/>
                  <a:gd name="T13" fmla="*/ 608 h 608"/>
                </a:gdLst>
                <a:ahLst/>
                <a:cxnLst>
                  <a:cxn ang="0">
                    <a:pos x="T0" y="T1"/>
                  </a:cxn>
                  <a:cxn ang="0">
                    <a:pos x="T2" y="T3"/>
                  </a:cxn>
                  <a:cxn ang="0">
                    <a:pos x="T4" y="T5"/>
                  </a:cxn>
                  <a:cxn ang="0">
                    <a:pos x="T6" y="T7"/>
                  </a:cxn>
                  <a:cxn ang="0">
                    <a:pos x="T8" y="T9"/>
                  </a:cxn>
                  <a:cxn ang="0">
                    <a:pos x="T10" y="T11"/>
                  </a:cxn>
                  <a:cxn ang="0">
                    <a:pos x="T12" y="T13"/>
                  </a:cxn>
                </a:cxnLst>
                <a:rect l="0" t="0" r="r" b="b"/>
                <a:pathLst>
                  <a:path w="1603" h="608">
                    <a:moveTo>
                      <a:pt x="604" y="608"/>
                    </a:moveTo>
                    <a:lnTo>
                      <a:pt x="62" y="344"/>
                    </a:lnTo>
                    <a:lnTo>
                      <a:pt x="0" y="313"/>
                    </a:lnTo>
                    <a:lnTo>
                      <a:pt x="0" y="313"/>
                    </a:lnTo>
                    <a:lnTo>
                      <a:pt x="1603" y="0"/>
                    </a:lnTo>
                    <a:lnTo>
                      <a:pt x="1508" y="57"/>
                    </a:lnTo>
                    <a:lnTo>
                      <a:pt x="604" y="608"/>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1" name="Freeform 421"/>
              <p:cNvSpPr>
                <a:spLocks/>
              </p:cNvSpPr>
              <p:nvPr/>
            </p:nvSpPr>
            <p:spPr bwMode="auto">
              <a:xfrm>
                <a:off x="-5526088" y="65722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89C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2" name="Freeform 422"/>
              <p:cNvSpPr>
                <a:spLocks/>
              </p:cNvSpPr>
              <p:nvPr/>
            </p:nvSpPr>
            <p:spPr bwMode="auto">
              <a:xfrm>
                <a:off x="-4567238" y="1125537"/>
                <a:ext cx="1795463" cy="1987550"/>
              </a:xfrm>
              <a:custGeom>
                <a:avLst/>
                <a:gdLst>
                  <a:gd name="T0" fmla="*/ 97 w 1131"/>
                  <a:gd name="T1" fmla="*/ 1252 h 1252"/>
                  <a:gd name="T2" fmla="*/ 97 w 1131"/>
                  <a:gd name="T3" fmla="*/ 1252 h 1252"/>
                  <a:gd name="T4" fmla="*/ 0 w 1131"/>
                  <a:gd name="T5" fmla="*/ 0 h 1252"/>
                  <a:gd name="T6" fmla="*/ 0 w 1131"/>
                  <a:gd name="T7" fmla="*/ 0 h 1252"/>
                  <a:gd name="T8" fmla="*/ 1131 w 1131"/>
                  <a:gd name="T9" fmla="*/ 0 h 1252"/>
                  <a:gd name="T10" fmla="*/ 97 w 1131"/>
                  <a:gd name="T11" fmla="*/ 1252 h 1252"/>
                  <a:gd name="T12" fmla="*/ 97 w 1131"/>
                  <a:gd name="T13" fmla="*/ 1252 h 1252"/>
                  <a:gd name="T14" fmla="*/ 97 w 1131"/>
                  <a:gd name="T15" fmla="*/ 1252 h 1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1252">
                    <a:moveTo>
                      <a:pt x="97" y="1252"/>
                    </a:moveTo>
                    <a:lnTo>
                      <a:pt x="97" y="1252"/>
                    </a:lnTo>
                    <a:lnTo>
                      <a:pt x="0" y="0"/>
                    </a:lnTo>
                    <a:lnTo>
                      <a:pt x="0" y="0"/>
                    </a:lnTo>
                    <a:lnTo>
                      <a:pt x="1131" y="0"/>
                    </a:lnTo>
                    <a:lnTo>
                      <a:pt x="97" y="1252"/>
                    </a:lnTo>
                    <a:lnTo>
                      <a:pt x="97" y="1252"/>
                    </a:lnTo>
                    <a:lnTo>
                      <a:pt x="97" y="1252"/>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3" name="Freeform 423"/>
              <p:cNvSpPr>
                <a:spLocks/>
              </p:cNvSpPr>
              <p:nvPr/>
            </p:nvSpPr>
            <p:spPr bwMode="auto">
              <a:xfrm>
                <a:off x="-4567238" y="1125537"/>
                <a:ext cx="153988" cy="1987550"/>
              </a:xfrm>
              <a:custGeom>
                <a:avLst/>
                <a:gdLst>
                  <a:gd name="T0" fmla="*/ 97 w 97"/>
                  <a:gd name="T1" fmla="*/ 1252 h 1252"/>
                  <a:gd name="T2" fmla="*/ 97 w 97"/>
                  <a:gd name="T3" fmla="*/ 1252 h 1252"/>
                  <a:gd name="T4" fmla="*/ 0 w 97"/>
                  <a:gd name="T5" fmla="*/ 0 h 1252"/>
                  <a:gd name="T6" fmla="*/ 0 w 97"/>
                  <a:gd name="T7" fmla="*/ 0 h 1252"/>
                  <a:gd name="T8" fmla="*/ 97 w 97"/>
                  <a:gd name="T9" fmla="*/ 1252 h 1252"/>
                </a:gdLst>
                <a:ahLst/>
                <a:cxnLst>
                  <a:cxn ang="0">
                    <a:pos x="T0" y="T1"/>
                  </a:cxn>
                  <a:cxn ang="0">
                    <a:pos x="T2" y="T3"/>
                  </a:cxn>
                  <a:cxn ang="0">
                    <a:pos x="T4" y="T5"/>
                  </a:cxn>
                  <a:cxn ang="0">
                    <a:pos x="T6" y="T7"/>
                  </a:cxn>
                  <a:cxn ang="0">
                    <a:pos x="T8" y="T9"/>
                  </a:cxn>
                </a:cxnLst>
                <a:rect l="0" t="0" r="r" b="b"/>
                <a:pathLst>
                  <a:path w="97" h="1252">
                    <a:moveTo>
                      <a:pt x="97" y="1252"/>
                    </a:moveTo>
                    <a:lnTo>
                      <a:pt x="97" y="1252"/>
                    </a:lnTo>
                    <a:lnTo>
                      <a:pt x="0" y="0"/>
                    </a:lnTo>
                    <a:lnTo>
                      <a:pt x="0" y="0"/>
                    </a:lnTo>
                    <a:lnTo>
                      <a:pt x="97" y="1252"/>
                    </a:lnTo>
                    <a:close/>
                  </a:path>
                </a:pathLst>
              </a:custGeom>
              <a:solidFill>
                <a:srgbClr val="5BA2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4" name="Freeform 424"/>
              <p:cNvSpPr>
                <a:spLocks noEditPoints="1"/>
              </p:cNvSpPr>
              <p:nvPr/>
            </p:nvSpPr>
            <p:spPr bwMode="auto">
              <a:xfrm>
                <a:off x="-6364288" y="657225"/>
                <a:ext cx="1797050" cy="468313"/>
              </a:xfrm>
              <a:custGeom>
                <a:avLst/>
                <a:gdLst>
                  <a:gd name="T0" fmla="*/ 0 w 2357"/>
                  <a:gd name="T1" fmla="*/ 615 h 615"/>
                  <a:gd name="T2" fmla="*/ 0 w 2357"/>
                  <a:gd name="T3" fmla="*/ 615 h 615"/>
                  <a:gd name="T4" fmla="*/ 0 w 2357"/>
                  <a:gd name="T5" fmla="*/ 615 h 615"/>
                  <a:gd name="T6" fmla="*/ 0 w 2357"/>
                  <a:gd name="T7" fmla="*/ 615 h 615"/>
                  <a:gd name="T8" fmla="*/ 0 w 2357"/>
                  <a:gd name="T9" fmla="*/ 615 h 615"/>
                  <a:gd name="T10" fmla="*/ 2357 w 2357"/>
                  <a:gd name="T11" fmla="*/ 615 h 615"/>
                  <a:gd name="T12" fmla="*/ 0 w 2357"/>
                  <a:gd name="T13" fmla="*/ 615 h 615"/>
                  <a:gd name="T14" fmla="*/ 833 w 2357"/>
                  <a:gd name="T15" fmla="*/ 149 h 615"/>
                  <a:gd name="T16" fmla="*/ 1099 w 2357"/>
                  <a:gd name="T17" fmla="*/ 0 h 615"/>
                  <a:gd name="T18" fmla="*/ 1228 w 2357"/>
                  <a:gd name="T19" fmla="*/ 64 h 615"/>
                  <a:gd name="T20" fmla="*/ 2357 w 2357"/>
                  <a:gd name="T21" fmla="*/ 615 h 615"/>
                  <a:gd name="T22" fmla="*/ 2357 w 2357"/>
                  <a:gd name="T23"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7" h="615">
                    <a:moveTo>
                      <a:pt x="0" y="615"/>
                    </a:moveTo>
                    <a:lnTo>
                      <a:pt x="0" y="615"/>
                    </a:lnTo>
                    <a:lnTo>
                      <a:pt x="0" y="615"/>
                    </a:lnTo>
                    <a:lnTo>
                      <a:pt x="0" y="615"/>
                    </a:lnTo>
                    <a:lnTo>
                      <a:pt x="0" y="615"/>
                    </a:lnTo>
                    <a:moveTo>
                      <a:pt x="2357" y="615"/>
                    </a:moveTo>
                    <a:lnTo>
                      <a:pt x="0" y="615"/>
                    </a:lnTo>
                    <a:lnTo>
                      <a:pt x="833" y="149"/>
                    </a:lnTo>
                    <a:lnTo>
                      <a:pt x="1099" y="0"/>
                    </a:lnTo>
                    <a:lnTo>
                      <a:pt x="1228" y="64"/>
                    </a:lnTo>
                    <a:lnTo>
                      <a:pt x="2357" y="615"/>
                    </a:lnTo>
                    <a:lnTo>
                      <a:pt x="2357" y="615"/>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5" name="Freeform 425"/>
              <p:cNvSpPr>
                <a:spLocks/>
              </p:cNvSpPr>
              <p:nvPr/>
            </p:nvSpPr>
            <p:spPr bwMode="auto">
              <a:xfrm>
                <a:off x="-5729288" y="657225"/>
                <a:ext cx="203200" cy="114300"/>
              </a:xfrm>
              <a:custGeom>
                <a:avLst/>
                <a:gdLst>
                  <a:gd name="T0" fmla="*/ 0 w 128"/>
                  <a:gd name="T1" fmla="*/ 72 h 72"/>
                  <a:gd name="T2" fmla="*/ 128 w 128"/>
                  <a:gd name="T3" fmla="*/ 0 h 72"/>
                  <a:gd name="T4" fmla="*/ 128 w 128"/>
                  <a:gd name="T5" fmla="*/ 0 h 72"/>
                  <a:gd name="T6" fmla="*/ 0 w 128"/>
                  <a:gd name="T7" fmla="*/ 72 h 72"/>
                </a:gdLst>
                <a:ahLst/>
                <a:cxnLst>
                  <a:cxn ang="0">
                    <a:pos x="T0" y="T1"/>
                  </a:cxn>
                  <a:cxn ang="0">
                    <a:pos x="T2" y="T3"/>
                  </a:cxn>
                  <a:cxn ang="0">
                    <a:pos x="T4" y="T5"/>
                  </a:cxn>
                  <a:cxn ang="0">
                    <a:pos x="T6" y="T7"/>
                  </a:cxn>
                </a:cxnLst>
                <a:rect l="0" t="0" r="r" b="b"/>
                <a:pathLst>
                  <a:path w="128" h="72">
                    <a:moveTo>
                      <a:pt x="0" y="72"/>
                    </a:moveTo>
                    <a:lnTo>
                      <a:pt x="128" y="0"/>
                    </a:lnTo>
                    <a:lnTo>
                      <a:pt x="128" y="0"/>
                    </a:lnTo>
                    <a:lnTo>
                      <a:pt x="0" y="72"/>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6" name="Freeform 426"/>
              <p:cNvSpPr>
                <a:spLocks/>
              </p:cNvSpPr>
              <p:nvPr/>
            </p:nvSpPr>
            <p:spPr bwMode="auto">
              <a:xfrm>
                <a:off x="-5526088" y="657225"/>
                <a:ext cx="98425" cy="49213"/>
              </a:xfrm>
              <a:custGeom>
                <a:avLst/>
                <a:gdLst>
                  <a:gd name="T0" fmla="*/ 62 w 62"/>
                  <a:gd name="T1" fmla="*/ 31 h 31"/>
                  <a:gd name="T2" fmla="*/ 0 w 62"/>
                  <a:gd name="T3" fmla="*/ 0 h 31"/>
                  <a:gd name="T4" fmla="*/ 0 w 62"/>
                  <a:gd name="T5" fmla="*/ 0 h 31"/>
                  <a:gd name="T6" fmla="*/ 62 w 62"/>
                  <a:gd name="T7" fmla="*/ 31 h 31"/>
                </a:gdLst>
                <a:ahLst/>
                <a:cxnLst>
                  <a:cxn ang="0">
                    <a:pos x="T0" y="T1"/>
                  </a:cxn>
                  <a:cxn ang="0">
                    <a:pos x="T2" y="T3"/>
                  </a:cxn>
                  <a:cxn ang="0">
                    <a:pos x="T4" y="T5"/>
                  </a:cxn>
                  <a:cxn ang="0">
                    <a:pos x="T6" y="T7"/>
                  </a:cxn>
                </a:cxnLst>
                <a:rect l="0" t="0" r="r" b="b"/>
                <a:pathLst>
                  <a:path w="62" h="31">
                    <a:moveTo>
                      <a:pt x="62" y="31"/>
                    </a:moveTo>
                    <a:lnTo>
                      <a:pt x="0" y="0"/>
                    </a:lnTo>
                    <a:lnTo>
                      <a:pt x="0" y="0"/>
                    </a:lnTo>
                    <a:lnTo>
                      <a:pt x="62" y="31"/>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7" name="Rectangle 427"/>
              <p:cNvSpPr>
                <a:spLocks noChangeArrowheads="1"/>
              </p:cNvSpPr>
              <p:nvPr/>
            </p:nvSpPr>
            <p:spPr bwMode="auto">
              <a:xfrm>
                <a:off x="-5526088" y="657225"/>
                <a:ext cx="1588" cy="1588"/>
              </a:xfrm>
              <a:prstGeom prst="rect">
                <a:avLst/>
              </a:prstGeom>
              <a:solidFill>
                <a:srgbClr val="589CBB"/>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8" name="Freeform 428"/>
              <p:cNvSpPr>
                <a:spLocks/>
              </p:cNvSpPr>
              <p:nvPr/>
            </p:nvSpPr>
            <p:spPr bwMode="auto">
              <a:xfrm>
                <a:off x="-4567238" y="160337"/>
                <a:ext cx="1795463" cy="965200"/>
              </a:xfrm>
              <a:custGeom>
                <a:avLst/>
                <a:gdLst>
                  <a:gd name="T0" fmla="*/ 0 w 1131"/>
                  <a:gd name="T1" fmla="*/ 608 h 608"/>
                  <a:gd name="T2" fmla="*/ 0 w 1131"/>
                  <a:gd name="T3" fmla="*/ 608 h 608"/>
                  <a:gd name="T4" fmla="*/ 904 w 1131"/>
                  <a:gd name="T5" fmla="*/ 57 h 608"/>
                  <a:gd name="T6" fmla="*/ 999 w 1131"/>
                  <a:gd name="T7" fmla="*/ 0 h 608"/>
                  <a:gd name="T8" fmla="*/ 999 w 1131"/>
                  <a:gd name="T9" fmla="*/ 0 h 608"/>
                  <a:gd name="T10" fmla="*/ 1077 w 1131"/>
                  <a:gd name="T11" fmla="*/ 359 h 608"/>
                  <a:gd name="T12" fmla="*/ 1131 w 1131"/>
                  <a:gd name="T13" fmla="*/ 608 h 608"/>
                  <a:gd name="T14" fmla="*/ 0 w 1131"/>
                  <a:gd name="T15" fmla="*/ 608 h 6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608">
                    <a:moveTo>
                      <a:pt x="0" y="608"/>
                    </a:moveTo>
                    <a:lnTo>
                      <a:pt x="0" y="608"/>
                    </a:lnTo>
                    <a:lnTo>
                      <a:pt x="904" y="57"/>
                    </a:lnTo>
                    <a:lnTo>
                      <a:pt x="999" y="0"/>
                    </a:lnTo>
                    <a:lnTo>
                      <a:pt x="999" y="0"/>
                    </a:lnTo>
                    <a:lnTo>
                      <a:pt x="1077" y="359"/>
                    </a:lnTo>
                    <a:lnTo>
                      <a:pt x="1131" y="608"/>
                    </a:lnTo>
                    <a:lnTo>
                      <a:pt x="0" y="608"/>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9" name="Freeform 429"/>
              <p:cNvSpPr>
                <a:spLocks/>
              </p:cNvSpPr>
              <p:nvPr/>
            </p:nvSpPr>
            <p:spPr bwMode="auto">
              <a:xfrm>
                <a:off x="-3132138" y="160337"/>
                <a:ext cx="150813" cy="90488"/>
              </a:xfrm>
              <a:custGeom>
                <a:avLst/>
                <a:gdLst>
                  <a:gd name="T0" fmla="*/ 0 w 95"/>
                  <a:gd name="T1" fmla="*/ 57 h 57"/>
                  <a:gd name="T2" fmla="*/ 95 w 95"/>
                  <a:gd name="T3" fmla="*/ 0 h 57"/>
                  <a:gd name="T4" fmla="*/ 95 w 95"/>
                  <a:gd name="T5" fmla="*/ 0 h 57"/>
                  <a:gd name="T6" fmla="*/ 0 w 95"/>
                  <a:gd name="T7" fmla="*/ 57 h 57"/>
                </a:gdLst>
                <a:ahLst/>
                <a:cxnLst>
                  <a:cxn ang="0">
                    <a:pos x="T0" y="T1"/>
                  </a:cxn>
                  <a:cxn ang="0">
                    <a:pos x="T2" y="T3"/>
                  </a:cxn>
                  <a:cxn ang="0">
                    <a:pos x="T4" y="T5"/>
                  </a:cxn>
                  <a:cxn ang="0">
                    <a:pos x="T6" y="T7"/>
                  </a:cxn>
                </a:cxnLst>
                <a:rect l="0" t="0" r="r" b="b"/>
                <a:pathLst>
                  <a:path w="95" h="57">
                    <a:moveTo>
                      <a:pt x="0" y="57"/>
                    </a:moveTo>
                    <a:lnTo>
                      <a:pt x="95" y="0"/>
                    </a:lnTo>
                    <a:lnTo>
                      <a:pt x="95" y="0"/>
                    </a:lnTo>
                    <a:lnTo>
                      <a:pt x="0" y="5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0" name="Freeform 430"/>
              <p:cNvSpPr>
                <a:spLocks noEditPoints="1"/>
              </p:cNvSpPr>
              <p:nvPr/>
            </p:nvSpPr>
            <p:spPr bwMode="auto">
              <a:xfrm>
                <a:off x="-6364288" y="1125537"/>
                <a:ext cx="1797050" cy="1528763"/>
              </a:xfrm>
              <a:custGeom>
                <a:avLst/>
                <a:gdLst>
                  <a:gd name="T0" fmla="*/ 196 w 2357"/>
                  <a:gd name="T1" fmla="*/ 2006 h 2006"/>
                  <a:gd name="T2" fmla="*/ 0 w 2357"/>
                  <a:gd name="T3" fmla="*/ 0 h 2006"/>
                  <a:gd name="T4" fmla="*/ 2357 w 2357"/>
                  <a:gd name="T5" fmla="*/ 0 h 2006"/>
                  <a:gd name="T6" fmla="*/ 196 w 2357"/>
                  <a:gd name="T7" fmla="*/ 2006 h 2006"/>
                  <a:gd name="T8" fmla="*/ 2357 w 2357"/>
                  <a:gd name="T9" fmla="*/ 0 h 2006"/>
                  <a:gd name="T10" fmla="*/ 2357 w 2357"/>
                  <a:gd name="T11" fmla="*/ 0 h 2006"/>
                  <a:gd name="T12" fmla="*/ 2357 w 2357"/>
                  <a:gd name="T13" fmla="*/ 0 h 2006"/>
                  <a:gd name="T14" fmla="*/ 0 w 2357"/>
                  <a:gd name="T15" fmla="*/ 0 h 2006"/>
                  <a:gd name="T16" fmla="*/ 0 w 2357"/>
                  <a:gd name="T17" fmla="*/ 0 h 2006"/>
                  <a:gd name="T18" fmla="*/ 0 w 2357"/>
                  <a:gd name="T19" fmla="*/ 0 h 2006"/>
                  <a:gd name="T20" fmla="*/ 0 w 2357"/>
                  <a:gd name="T21" fmla="*/ 0 h 2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7" h="2006">
                    <a:moveTo>
                      <a:pt x="196" y="2006"/>
                    </a:moveTo>
                    <a:lnTo>
                      <a:pt x="0" y="0"/>
                    </a:lnTo>
                    <a:lnTo>
                      <a:pt x="2357" y="0"/>
                    </a:lnTo>
                    <a:lnTo>
                      <a:pt x="196" y="2006"/>
                    </a:lnTo>
                    <a:moveTo>
                      <a:pt x="2357" y="0"/>
                    </a:moveTo>
                    <a:lnTo>
                      <a:pt x="2357" y="0"/>
                    </a:lnTo>
                    <a:lnTo>
                      <a:pt x="2357" y="0"/>
                    </a:lnTo>
                    <a:moveTo>
                      <a:pt x="0" y="0"/>
                    </a:moveTo>
                    <a:lnTo>
                      <a:pt x="0" y="0"/>
                    </a:lnTo>
                    <a:lnTo>
                      <a:pt x="0" y="0"/>
                    </a:ln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1" name="Freeform 431"/>
              <p:cNvSpPr>
                <a:spLocks/>
              </p:cNvSpPr>
              <p:nvPr/>
            </p:nvSpPr>
            <p:spPr bwMode="auto">
              <a:xfrm>
                <a:off x="-6213475" y="1125537"/>
                <a:ext cx="1646238" cy="1528763"/>
              </a:xfrm>
              <a:custGeom>
                <a:avLst/>
                <a:gdLst>
                  <a:gd name="T0" fmla="*/ 0 w 1037"/>
                  <a:gd name="T1" fmla="*/ 963 h 963"/>
                  <a:gd name="T2" fmla="*/ 0 w 1037"/>
                  <a:gd name="T3" fmla="*/ 963 h 963"/>
                  <a:gd name="T4" fmla="*/ 1037 w 1037"/>
                  <a:gd name="T5" fmla="*/ 0 h 963"/>
                  <a:gd name="T6" fmla="*/ 1037 w 1037"/>
                  <a:gd name="T7" fmla="*/ 0 h 963"/>
                  <a:gd name="T8" fmla="*/ 1037 w 1037"/>
                  <a:gd name="T9" fmla="*/ 0 h 963"/>
                  <a:gd name="T10" fmla="*/ 1037 w 1037"/>
                  <a:gd name="T11" fmla="*/ 0 h 963"/>
                  <a:gd name="T12" fmla="*/ 0 w 1037"/>
                  <a:gd name="T13" fmla="*/ 963 h 963"/>
                </a:gdLst>
                <a:ahLst/>
                <a:cxnLst>
                  <a:cxn ang="0">
                    <a:pos x="T0" y="T1"/>
                  </a:cxn>
                  <a:cxn ang="0">
                    <a:pos x="T2" y="T3"/>
                  </a:cxn>
                  <a:cxn ang="0">
                    <a:pos x="T4" y="T5"/>
                  </a:cxn>
                  <a:cxn ang="0">
                    <a:pos x="T6" y="T7"/>
                  </a:cxn>
                  <a:cxn ang="0">
                    <a:pos x="T8" y="T9"/>
                  </a:cxn>
                  <a:cxn ang="0">
                    <a:pos x="T10" y="T11"/>
                  </a:cxn>
                  <a:cxn ang="0">
                    <a:pos x="T12" y="T13"/>
                  </a:cxn>
                </a:cxnLst>
                <a:rect l="0" t="0" r="r" b="b"/>
                <a:pathLst>
                  <a:path w="1037" h="963">
                    <a:moveTo>
                      <a:pt x="0" y="963"/>
                    </a:moveTo>
                    <a:lnTo>
                      <a:pt x="0" y="963"/>
                    </a:lnTo>
                    <a:lnTo>
                      <a:pt x="1037" y="0"/>
                    </a:lnTo>
                    <a:lnTo>
                      <a:pt x="1037" y="0"/>
                    </a:lnTo>
                    <a:lnTo>
                      <a:pt x="1037" y="0"/>
                    </a:lnTo>
                    <a:lnTo>
                      <a:pt x="1037" y="0"/>
                    </a:lnTo>
                    <a:lnTo>
                      <a:pt x="0" y="963"/>
                    </a:lnTo>
                    <a:close/>
                  </a:path>
                </a:pathLst>
              </a:custGeom>
              <a:solidFill>
                <a:srgbClr val="5AA1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2" name="Freeform 432"/>
              <p:cNvSpPr>
                <a:spLocks noEditPoints="1"/>
              </p:cNvSpPr>
              <p:nvPr/>
            </p:nvSpPr>
            <p:spPr bwMode="auto">
              <a:xfrm>
                <a:off x="-8323263" y="5514975"/>
                <a:ext cx="1782763" cy="2144713"/>
              </a:xfrm>
              <a:custGeom>
                <a:avLst/>
                <a:gdLst>
                  <a:gd name="T0" fmla="*/ 893 w 2339"/>
                  <a:gd name="T1" fmla="*/ 2815 h 2815"/>
                  <a:gd name="T2" fmla="*/ 0 w 2339"/>
                  <a:gd name="T3" fmla="*/ 2815 h 2815"/>
                  <a:gd name="T4" fmla="*/ 290 w 2339"/>
                  <a:gd name="T5" fmla="*/ 1 h 2815"/>
                  <a:gd name="T6" fmla="*/ 290 w 2339"/>
                  <a:gd name="T7" fmla="*/ 0 h 2815"/>
                  <a:gd name="T8" fmla="*/ 291 w 2339"/>
                  <a:gd name="T9" fmla="*/ 1 h 2815"/>
                  <a:gd name="T10" fmla="*/ 290 w 2339"/>
                  <a:gd name="T11" fmla="*/ 1 h 2815"/>
                  <a:gd name="T12" fmla="*/ 1731 w 2339"/>
                  <a:gd name="T13" fmla="*/ 1291 h 2815"/>
                  <a:gd name="T14" fmla="*/ 2339 w 2339"/>
                  <a:gd name="T15" fmla="*/ 1834 h 2815"/>
                  <a:gd name="T16" fmla="*/ 893 w 2339"/>
                  <a:gd name="T17" fmla="*/ 2815 h 2815"/>
                  <a:gd name="T18" fmla="*/ 291 w 2339"/>
                  <a:gd name="T19" fmla="*/ 1 h 2815"/>
                  <a:gd name="T20" fmla="*/ 290 w 2339"/>
                  <a:gd name="T21" fmla="*/ 1 h 2815"/>
                  <a:gd name="T22" fmla="*/ 291 w 2339"/>
                  <a:gd name="T23" fmla="*/ 1 h 2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39" h="2815">
                    <a:moveTo>
                      <a:pt x="893" y="2815"/>
                    </a:moveTo>
                    <a:lnTo>
                      <a:pt x="0" y="2815"/>
                    </a:lnTo>
                    <a:lnTo>
                      <a:pt x="290" y="1"/>
                    </a:lnTo>
                    <a:lnTo>
                      <a:pt x="290" y="0"/>
                    </a:lnTo>
                    <a:lnTo>
                      <a:pt x="291" y="1"/>
                    </a:lnTo>
                    <a:lnTo>
                      <a:pt x="290" y="1"/>
                    </a:lnTo>
                    <a:lnTo>
                      <a:pt x="1731" y="1291"/>
                    </a:lnTo>
                    <a:lnTo>
                      <a:pt x="2339" y="1834"/>
                    </a:lnTo>
                    <a:lnTo>
                      <a:pt x="893" y="2815"/>
                    </a:lnTo>
                    <a:moveTo>
                      <a:pt x="291" y="1"/>
                    </a:moveTo>
                    <a:lnTo>
                      <a:pt x="290" y="1"/>
                    </a:lnTo>
                    <a:lnTo>
                      <a:pt x="29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3" name="Freeform 433"/>
              <p:cNvSpPr>
                <a:spLocks/>
              </p:cNvSpPr>
              <p:nvPr/>
            </p:nvSpPr>
            <p:spPr bwMode="auto">
              <a:xfrm>
                <a:off x="-8159750" y="4237037"/>
                <a:ext cx="1141413" cy="1277938"/>
              </a:xfrm>
              <a:custGeom>
                <a:avLst/>
                <a:gdLst>
                  <a:gd name="T0" fmla="*/ 36 w 719"/>
                  <a:gd name="T1" fmla="*/ 805 h 805"/>
                  <a:gd name="T2" fmla="*/ 36 w 719"/>
                  <a:gd name="T3" fmla="*/ 805 h 805"/>
                  <a:gd name="T4" fmla="*/ 32 w 719"/>
                  <a:gd name="T5" fmla="*/ 713 h 805"/>
                  <a:gd name="T6" fmla="*/ 0 w 719"/>
                  <a:gd name="T7" fmla="*/ 1 h 805"/>
                  <a:gd name="T8" fmla="*/ 0 w 719"/>
                  <a:gd name="T9" fmla="*/ 1 h 805"/>
                  <a:gd name="T10" fmla="*/ 0 w 719"/>
                  <a:gd name="T11" fmla="*/ 0 h 805"/>
                  <a:gd name="T12" fmla="*/ 0 w 719"/>
                  <a:gd name="T13" fmla="*/ 0 h 805"/>
                  <a:gd name="T14" fmla="*/ 719 w 719"/>
                  <a:gd name="T15" fmla="*/ 227 h 805"/>
                  <a:gd name="T16" fmla="*/ 36 w 719"/>
                  <a:gd name="T17" fmla="*/ 805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9" h="805">
                    <a:moveTo>
                      <a:pt x="36" y="805"/>
                    </a:moveTo>
                    <a:lnTo>
                      <a:pt x="36" y="805"/>
                    </a:lnTo>
                    <a:lnTo>
                      <a:pt x="32" y="713"/>
                    </a:lnTo>
                    <a:lnTo>
                      <a:pt x="0" y="1"/>
                    </a:lnTo>
                    <a:lnTo>
                      <a:pt x="0" y="1"/>
                    </a:lnTo>
                    <a:lnTo>
                      <a:pt x="0" y="0"/>
                    </a:lnTo>
                    <a:lnTo>
                      <a:pt x="0" y="0"/>
                    </a:lnTo>
                    <a:lnTo>
                      <a:pt x="719" y="227"/>
                    </a:lnTo>
                    <a:lnTo>
                      <a:pt x="36" y="80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4" name="Freeform 434"/>
              <p:cNvSpPr>
                <a:spLocks/>
              </p:cNvSpPr>
              <p:nvPr/>
            </p:nvSpPr>
            <p:spPr bwMode="auto">
              <a:xfrm>
                <a:off x="-8101013" y="5514975"/>
                <a:ext cx="2635250" cy="1397000"/>
              </a:xfrm>
              <a:custGeom>
                <a:avLst/>
                <a:gdLst>
                  <a:gd name="T0" fmla="*/ 983 w 1660"/>
                  <a:gd name="T1" fmla="*/ 880 h 880"/>
                  <a:gd name="T2" fmla="*/ 691 w 1660"/>
                  <a:gd name="T3" fmla="*/ 619 h 880"/>
                  <a:gd name="T4" fmla="*/ 0 w 1660"/>
                  <a:gd name="T5" fmla="*/ 0 h 880"/>
                  <a:gd name="T6" fmla="*/ 1660 w 1660"/>
                  <a:gd name="T7" fmla="*/ 175 h 880"/>
                  <a:gd name="T8" fmla="*/ 1660 w 1660"/>
                  <a:gd name="T9" fmla="*/ 175 h 880"/>
                  <a:gd name="T10" fmla="*/ 1660 w 1660"/>
                  <a:gd name="T11" fmla="*/ 175 h 880"/>
                  <a:gd name="T12" fmla="*/ 1660 w 1660"/>
                  <a:gd name="T13" fmla="*/ 175 h 880"/>
                  <a:gd name="T14" fmla="*/ 983 w 1660"/>
                  <a:gd name="T15" fmla="*/ 880 h 8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0" h="880">
                    <a:moveTo>
                      <a:pt x="983" y="880"/>
                    </a:moveTo>
                    <a:lnTo>
                      <a:pt x="691" y="619"/>
                    </a:lnTo>
                    <a:lnTo>
                      <a:pt x="0" y="0"/>
                    </a:lnTo>
                    <a:lnTo>
                      <a:pt x="1660" y="175"/>
                    </a:lnTo>
                    <a:lnTo>
                      <a:pt x="1660" y="175"/>
                    </a:lnTo>
                    <a:lnTo>
                      <a:pt x="1660" y="175"/>
                    </a:lnTo>
                    <a:lnTo>
                      <a:pt x="1660" y="175"/>
                    </a:lnTo>
                    <a:lnTo>
                      <a:pt x="983" y="8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5" name="Freeform 435"/>
              <p:cNvSpPr>
                <a:spLocks/>
              </p:cNvSpPr>
              <p:nvPr/>
            </p:nvSpPr>
            <p:spPr bwMode="auto">
              <a:xfrm>
                <a:off x="-8102600" y="5514975"/>
                <a:ext cx="1098550" cy="982663"/>
              </a:xfrm>
              <a:custGeom>
                <a:avLst/>
                <a:gdLst>
                  <a:gd name="T0" fmla="*/ 692 w 692"/>
                  <a:gd name="T1" fmla="*/ 619 h 619"/>
                  <a:gd name="T2" fmla="*/ 0 w 692"/>
                  <a:gd name="T3" fmla="*/ 0 h 619"/>
                  <a:gd name="T4" fmla="*/ 1 w 692"/>
                  <a:gd name="T5" fmla="*/ 0 h 619"/>
                  <a:gd name="T6" fmla="*/ 692 w 692"/>
                  <a:gd name="T7" fmla="*/ 619 h 619"/>
                </a:gdLst>
                <a:ahLst/>
                <a:cxnLst>
                  <a:cxn ang="0">
                    <a:pos x="T0" y="T1"/>
                  </a:cxn>
                  <a:cxn ang="0">
                    <a:pos x="T2" y="T3"/>
                  </a:cxn>
                  <a:cxn ang="0">
                    <a:pos x="T4" y="T5"/>
                  </a:cxn>
                  <a:cxn ang="0">
                    <a:pos x="T6" y="T7"/>
                  </a:cxn>
                </a:cxnLst>
                <a:rect l="0" t="0" r="r" b="b"/>
                <a:pathLst>
                  <a:path w="692" h="619">
                    <a:moveTo>
                      <a:pt x="692" y="619"/>
                    </a:moveTo>
                    <a:lnTo>
                      <a:pt x="0" y="0"/>
                    </a:lnTo>
                    <a:lnTo>
                      <a:pt x="1" y="0"/>
                    </a:lnTo>
                    <a:lnTo>
                      <a:pt x="692" y="61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6" name="Freeform 436"/>
              <p:cNvSpPr>
                <a:spLocks noEditPoints="1"/>
              </p:cNvSpPr>
              <p:nvPr/>
            </p:nvSpPr>
            <p:spPr bwMode="auto">
              <a:xfrm>
                <a:off x="-9909175" y="4238625"/>
                <a:ext cx="1806575" cy="2339975"/>
              </a:xfrm>
              <a:custGeom>
                <a:avLst/>
                <a:gdLst>
                  <a:gd name="T0" fmla="*/ 0 w 2371"/>
                  <a:gd name="T1" fmla="*/ 3072 h 3072"/>
                  <a:gd name="T2" fmla="*/ 0 w 2371"/>
                  <a:gd name="T3" fmla="*/ 3072 h 3072"/>
                  <a:gd name="T4" fmla="*/ 0 w 2371"/>
                  <a:gd name="T5" fmla="*/ 3072 h 3072"/>
                  <a:gd name="T6" fmla="*/ 0 w 2371"/>
                  <a:gd name="T7" fmla="*/ 3072 h 3072"/>
                  <a:gd name="T8" fmla="*/ 2296 w 2371"/>
                  <a:gd name="T9" fmla="*/ 0 h 3072"/>
                  <a:gd name="T10" fmla="*/ 2363 w 2371"/>
                  <a:gd name="T11" fmla="*/ 1484 h 3072"/>
                  <a:gd name="T12" fmla="*/ 2371 w 2371"/>
                  <a:gd name="T13" fmla="*/ 1676 h 3072"/>
                  <a:gd name="T14" fmla="*/ 2371 w 2371"/>
                  <a:gd name="T15" fmla="*/ 1676 h 3072"/>
                  <a:gd name="T16" fmla="*/ 0 w 2371"/>
                  <a:gd name="T17" fmla="*/ 3072 h 3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1" h="3072">
                    <a:moveTo>
                      <a:pt x="0" y="3072"/>
                    </a:moveTo>
                    <a:lnTo>
                      <a:pt x="0" y="3072"/>
                    </a:lnTo>
                    <a:lnTo>
                      <a:pt x="0" y="3072"/>
                    </a:lnTo>
                    <a:moveTo>
                      <a:pt x="0" y="3072"/>
                    </a:moveTo>
                    <a:lnTo>
                      <a:pt x="2296" y="0"/>
                    </a:lnTo>
                    <a:lnTo>
                      <a:pt x="2363" y="1484"/>
                    </a:lnTo>
                    <a:lnTo>
                      <a:pt x="2371" y="1676"/>
                    </a:lnTo>
                    <a:lnTo>
                      <a:pt x="2371" y="1676"/>
                    </a:lnTo>
                    <a:lnTo>
                      <a:pt x="0" y="3072"/>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7" name="Freeform 437"/>
              <p:cNvSpPr>
                <a:spLocks/>
              </p:cNvSpPr>
              <p:nvPr/>
            </p:nvSpPr>
            <p:spPr bwMode="auto">
              <a:xfrm>
                <a:off x="-8102600" y="551497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8" name="Freeform 438"/>
              <p:cNvSpPr>
                <a:spLocks/>
              </p:cNvSpPr>
              <p:nvPr/>
            </p:nvSpPr>
            <p:spPr bwMode="auto">
              <a:xfrm>
                <a:off x="-8159750" y="4238625"/>
                <a:ext cx="50800" cy="1130300"/>
              </a:xfrm>
              <a:custGeom>
                <a:avLst/>
                <a:gdLst>
                  <a:gd name="T0" fmla="*/ 32 w 32"/>
                  <a:gd name="T1" fmla="*/ 712 h 712"/>
                  <a:gd name="T2" fmla="*/ 0 w 32"/>
                  <a:gd name="T3" fmla="*/ 0 h 712"/>
                  <a:gd name="T4" fmla="*/ 0 w 32"/>
                  <a:gd name="T5" fmla="*/ 0 h 712"/>
                  <a:gd name="T6" fmla="*/ 32 w 32"/>
                  <a:gd name="T7" fmla="*/ 712 h 712"/>
                </a:gdLst>
                <a:ahLst/>
                <a:cxnLst>
                  <a:cxn ang="0">
                    <a:pos x="T0" y="T1"/>
                  </a:cxn>
                  <a:cxn ang="0">
                    <a:pos x="T2" y="T3"/>
                  </a:cxn>
                  <a:cxn ang="0">
                    <a:pos x="T4" y="T5"/>
                  </a:cxn>
                  <a:cxn ang="0">
                    <a:pos x="T6" y="T7"/>
                  </a:cxn>
                </a:cxnLst>
                <a:rect l="0" t="0" r="r" b="b"/>
                <a:pathLst>
                  <a:path w="32" h="712">
                    <a:moveTo>
                      <a:pt x="32" y="712"/>
                    </a:moveTo>
                    <a:lnTo>
                      <a:pt x="0" y="0"/>
                    </a:lnTo>
                    <a:lnTo>
                      <a:pt x="0" y="0"/>
                    </a:lnTo>
                    <a:lnTo>
                      <a:pt x="32" y="71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9" name="Freeform 439"/>
              <p:cNvSpPr>
                <a:spLocks/>
              </p:cNvSpPr>
              <p:nvPr/>
            </p:nvSpPr>
            <p:spPr bwMode="auto">
              <a:xfrm>
                <a:off x="-8101013" y="4597400"/>
                <a:ext cx="2635250" cy="1195388"/>
              </a:xfrm>
              <a:custGeom>
                <a:avLst/>
                <a:gdLst>
                  <a:gd name="T0" fmla="*/ 1660 w 1660"/>
                  <a:gd name="T1" fmla="*/ 753 h 753"/>
                  <a:gd name="T2" fmla="*/ 0 w 1660"/>
                  <a:gd name="T3" fmla="*/ 578 h 753"/>
                  <a:gd name="T4" fmla="*/ 0 w 1660"/>
                  <a:gd name="T5" fmla="*/ 578 h 753"/>
                  <a:gd name="T6" fmla="*/ 682 w 1660"/>
                  <a:gd name="T7" fmla="*/ 0 h 753"/>
                  <a:gd name="T8" fmla="*/ 1660 w 1660"/>
                  <a:gd name="T9" fmla="*/ 753 h 753"/>
                  <a:gd name="T10" fmla="*/ 1660 w 1660"/>
                  <a:gd name="T11" fmla="*/ 753 h 753"/>
                </a:gdLst>
                <a:ahLst/>
                <a:cxnLst>
                  <a:cxn ang="0">
                    <a:pos x="T0" y="T1"/>
                  </a:cxn>
                  <a:cxn ang="0">
                    <a:pos x="T2" y="T3"/>
                  </a:cxn>
                  <a:cxn ang="0">
                    <a:pos x="T4" y="T5"/>
                  </a:cxn>
                  <a:cxn ang="0">
                    <a:pos x="T6" y="T7"/>
                  </a:cxn>
                  <a:cxn ang="0">
                    <a:pos x="T8" y="T9"/>
                  </a:cxn>
                  <a:cxn ang="0">
                    <a:pos x="T10" y="T11"/>
                  </a:cxn>
                </a:cxnLst>
                <a:rect l="0" t="0" r="r" b="b"/>
                <a:pathLst>
                  <a:path w="1660" h="753">
                    <a:moveTo>
                      <a:pt x="1660" y="753"/>
                    </a:moveTo>
                    <a:lnTo>
                      <a:pt x="0" y="578"/>
                    </a:lnTo>
                    <a:lnTo>
                      <a:pt x="0" y="578"/>
                    </a:lnTo>
                    <a:lnTo>
                      <a:pt x="682" y="0"/>
                    </a:lnTo>
                    <a:lnTo>
                      <a:pt x="1660" y="753"/>
                    </a:lnTo>
                    <a:lnTo>
                      <a:pt x="1660" y="753"/>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20" name="Freeform 440"/>
              <p:cNvSpPr>
                <a:spLocks/>
              </p:cNvSpPr>
              <p:nvPr/>
            </p:nvSpPr>
            <p:spPr bwMode="auto">
              <a:xfrm>
                <a:off x="-8102600" y="5514975"/>
                <a:ext cx="1588"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21" name="Freeform 441"/>
              <p:cNvSpPr>
                <a:spLocks/>
              </p:cNvSpPr>
              <p:nvPr/>
            </p:nvSpPr>
            <p:spPr bwMode="auto">
              <a:xfrm>
                <a:off x="-9909175" y="5514975"/>
                <a:ext cx="1806575" cy="2144713"/>
              </a:xfrm>
              <a:custGeom>
                <a:avLst/>
                <a:gdLst>
                  <a:gd name="T0" fmla="*/ 999 w 1138"/>
                  <a:gd name="T1" fmla="*/ 1351 h 1351"/>
                  <a:gd name="T2" fmla="*/ 662 w 1138"/>
                  <a:gd name="T3" fmla="*/ 1351 h 1351"/>
                  <a:gd name="T4" fmla="*/ 0 w 1138"/>
                  <a:gd name="T5" fmla="*/ 670 h 1351"/>
                  <a:gd name="T6" fmla="*/ 0 w 1138"/>
                  <a:gd name="T7" fmla="*/ 670 h 1351"/>
                  <a:gd name="T8" fmla="*/ 1138 w 1138"/>
                  <a:gd name="T9" fmla="*/ 0 h 1351"/>
                  <a:gd name="T10" fmla="*/ 999 w 1138"/>
                  <a:gd name="T11" fmla="*/ 1351 h 1351"/>
                </a:gdLst>
                <a:ahLst/>
                <a:cxnLst>
                  <a:cxn ang="0">
                    <a:pos x="T0" y="T1"/>
                  </a:cxn>
                  <a:cxn ang="0">
                    <a:pos x="T2" y="T3"/>
                  </a:cxn>
                  <a:cxn ang="0">
                    <a:pos x="T4" y="T5"/>
                  </a:cxn>
                  <a:cxn ang="0">
                    <a:pos x="T6" y="T7"/>
                  </a:cxn>
                  <a:cxn ang="0">
                    <a:pos x="T8" y="T9"/>
                  </a:cxn>
                  <a:cxn ang="0">
                    <a:pos x="T10" y="T11"/>
                  </a:cxn>
                </a:cxnLst>
                <a:rect l="0" t="0" r="r" b="b"/>
                <a:pathLst>
                  <a:path w="1138" h="1351">
                    <a:moveTo>
                      <a:pt x="999" y="1351"/>
                    </a:moveTo>
                    <a:lnTo>
                      <a:pt x="662" y="1351"/>
                    </a:lnTo>
                    <a:lnTo>
                      <a:pt x="0" y="670"/>
                    </a:lnTo>
                    <a:lnTo>
                      <a:pt x="0" y="670"/>
                    </a:lnTo>
                    <a:lnTo>
                      <a:pt x="1138" y="0"/>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22" name="Freeform 442"/>
              <p:cNvSpPr>
                <a:spLocks/>
              </p:cNvSpPr>
              <p:nvPr/>
            </p:nvSpPr>
            <p:spPr bwMode="auto">
              <a:xfrm>
                <a:off x="-5465763" y="4816475"/>
                <a:ext cx="1250950" cy="1479550"/>
              </a:xfrm>
              <a:custGeom>
                <a:avLst/>
                <a:gdLst>
                  <a:gd name="T0" fmla="*/ 788 w 788"/>
                  <a:gd name="T1" fmla="*/ 932 h 932"/>
                  <a:gd name="T2" fmla="*/ 0 w 788"/>
                  <a:gd name="T3" fmla="*/ 615 h 932"/>
                  <a:gd name="T4" fmla="*/ 0 w 788"/>
                  <a:gd name="T5" fmla="*/ 615 h 932"/>
                  <a:gd name="T6" fmla="*/ 0 w 788"/>
                  <a:gd name="T7" fmla="*/ 615 h 932"/>
                  <a:gd name="T8" fmla="*/ 498 w 788"/>
                  <a:gd name="T9" fmla="*/ 0 h 932"/>
                  <a:gd name="T10" fmla="*/ 788 w 788"/>
                  <a:gd name="T11" fmla="*/ 932 h 932"/>
                </a:gdLst>
                <a:ahLst/>
                <a:cxnLst>
                  <a:cxn ang="0">
                    <a:pos x="T0" y="T1"/>
                  </a:cxn>
                  <a:cxn ang="0">
                    <a:pos x="T2" y="T3"/>
                  </a:cxn>
                  <a:cxn ang="0">
                    <a:pos x="T4" y="T5"/>
                  </a:cxn>
                  <a:cxn ang="0">
                    <a:pos x="T6" y="T7"/>
                  </a:cxn>
                  <a:cxn ang="0">
                    <a:pos x="T8" y="T9"/>
                  </a:cxn>
                  <a:cxn ang="0">
                    <a:pos x="T10" y="T11"/>
                  </a:cxn>
                </a:cxnLst>
                <a:rect l="0" t="0" r="r" b="b"/>
                <a:pathLst>
                  <a:path w="788" h="932">
                    <a:moveTo>
                      <a:pt x="788" y="932"/>
                    </a:moveTo>
                    <a:lnTo>
                      <a:pt x="0" y="615"/>
                    </a:lnTo>
                    <a:lnTo>
                      <a:pt x="0" y="615"/>
                    </a:lnTo>
                    <a:lnTo>
                      <a:pt x="0" y="615"/>
                    </a:lnTo>
                    <a:lnTo>
                      <a:pt x="498" y="0"/>
                    </a:lnTo>
                    <a:lnTo>
                      <a:pt x="788"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23" name="Freeform 443"/>
              <p:cNvSpPr>
                <a:spLocks/>
              </p:cNvSpPr>
              <p:nvPr/>
            </p:nvSpPr>
            <p:spPr bwMode="auto">
              <a:xfrm>
                <a:off x="-6213475" y="2655887"/>
                <a:ext cx="1800225" cy="2160588"/>
              </a:xfrm>
              <a:custGeom>
                <a:avLst/>
                <a:gdLst>
                  <a:gd name="T0" fmla="*/ 969 w 1134"/>
                  <a:gd name="T1" fmla="*/ 1361 h 1361"/>
                  <a:gd name="T2" fmla="*/ 969 w 1134"/>
                  <a:gd name="T3" fmla="*/ 1361 h 1361"/>
                  <a:gd name="T4" fmla="*/ 0 w 1134"/>
                  <a:gd name="T5" fmla="*/ 0 h 1361"/>
                  <a:gd name="T6" fmla="*/ 0 w 1134"/>
                  <a:gd name="T7" fmla="*/ 0 h 1361"/>
                  <a:gd name="T8" fmla="*/ 1134 w 1134"/>
                  <a:gd name="T9" fmla="*/ 288 h 1361"/>
                  <a:gd name="T10" fmla="*/ 969 w 1134"/>
                  <a:gd name="T11" fmla="*/ 1361 h 1361"/>
                </a:gdLst>
                <a:ahLst/>
                <a:cxnLst>
                  <a:cxn ang="0">
                    <a:pos x="T0" y="T1"/>
                  </a:cxn>
                  <a:cxn ang="0">
                    <a:pos x="T2" y="T3"/>
                  </a:cxn>
                  <a:cxn ang="0">
                    <a:pos x="T4" y="T5"/>
                  </a:cxn>
                  <a:cxn ang="0">
                    <a:pos x="T6" y="T7"/>
                  </a:cxn>
                  <a:cxn ang="0">
                    <a:pos x="T8" y="T9"/>
                  </a:cxn>
                  <a:cxn ang="0">
                    <a:pos x="T10" y="T11"/>
                  </a:cxn>
                </a:cxnLst>
                <a:rect l="0" t="0" r="r" b="b"/>
                <a:pathLst>
                  <a:path w="1134" h="1361">
                    <a:moveTo>
                      <a:pt x="969" y="1361"/>
                    </a:moveTo>
                    <a:lnTo>
                      <a:pt x="969" y="1361"/>
                    </a:lnTo>
                    <a:lnTo>
                      <a:pt x="0" y="0"/>
                    </a:lnTo>
                    <a:lnTo>
                      <a:pt x="0" y="0"/>
                    </a:lnTo>
                    <a:lnTo>
                      <a:pt x="1134" y="288"/>
                    </a:lnTo>
                    <a:lnTo>
                      <a:pt x="969" y="1361"/>
                    </a:lnTo>
                    <a:close/>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24" name="Rectangle 444"/>
              <p:cNvSpPr>
                <a:spLocks noChangeArrowheads="1"/>
              </p:cNvSpPr>
              <p:nvPr/>
            </p:nvSpPr>
            <p:spPr bwMode="auto">
              <a:xfrm>
                <a:off x="-6213475" y="2655887"/>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25" name="Rectangle 445"/>
              <p:cNvSpPr>
                <a:spLocks noChangeArrowheads="1"/>
              </p:cNvSpPr>
              <p:nvPr/>
            </p:nvSpPr>
            <p:spPr bwMode="auto">
              <a:xfrm>
                <a:off x="-6213475" y="2655887"/>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26" name="Freeform 446"/>
              <p:cNvSpPr>
                <a:spLocks/>
              </p:cNvSpPr>
              <p:nvPr/>
            </p:nvSpPr>
            <p:spPr bwMode="auto">
              <a:xfrm>
                <a:off x="-4675188" y="4237037"/>
                <a:ext cx="1903413" cy="2058988"/>
              </a:xfrm>
              <a:custGeom>
                <a:avLst/>
                <a:gdLst>
                  <a:gd name="T0" fmla="*/ 290 w 1199"/>
                  <a:gd name="T1" fmla="*/ 1297 h 1297"/>
                  <a:gd name="T2" fmla="*/ 290 w 1199"/>
                  <a:gd name="T3" fmla="*/ 1297 h 1297"/>
                  <a:gd name="T4" fmla="*/ 0 w 1199"/>
                  <a:gd name="T5" fmla="*/ 365 h 1297"/>
                  <a:gd name="T6" fmla="*/ 0 w 1199"/>
                  <a:gd name="T7" fmla="*/ 365 h 1297"/>
                  <a:gd name="T8" fmla="*/ 0 w 1199"/>
                  <a:gd name="T9" fmla="*/ 365 h 1297"/>
                  <a:gd name="T10" fmla="*/ 0 w 1199"/>
                  <a:gd name="T11" fmla="*/ 365 h 1297"/>
                  <a:gd name="T12" fmla="*/ 1199 w 1199"/>
                  <a:gd name="T13" fmla="*/ 0 h 1297"/>
                  <a:gd name="T14" fmla="*/ 290 w 1199"/>
                  <a:gd name="T15" fmla="*/ 1297 h 1297"/>
                  <a:gd name="T16" fmla="*/ 290 w 1199"/>
                  <a:gd name="T17" fmla="*/ 1297 h 1297"/>
                  <a:gd name="T18" fmla="*/ 290 w 1199"/>
                  <a:gd name="T19" fmla="*/ 129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9" h="1297">
                    <a:moveTo>
                      <a:pt x="290" y="1297"/>
                    </a:moveTo>
                    <a:lnTo>
                      <a:pt x="290" y="1297"/>
                    </a:lnTo>
                    <a:lnTo>
                      <a:pt x="0" y="365"/>
                    </a:lnTo>
                    <a:lnTo>
                      <a:pt x="0" y="365"/>
                    </a:lnTo>
                    <a:lnTo>
                      <a:pt x="0" y="365"/>
                    </a:lnTo>
                    <a:lnTo>
                      <a:pt x="0" y="365"/>
                    </a:lnTo>
                    <a:lnTo>
                      <a:pt x="1199" y="0"/>
                    </a:lnTo>
                    <a:lnTo>
                      <a:pt x="290" y="1297"/>
                    </a:lnTo>
                    <a:lnTo>
                      <a:pt x="290" y="1297"/>
                    </a:lnTo>
                    <a:lnTo>
                      <a:pt x="290" y="1297"/>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27" name="Freeform 447"/>
              <p:cNvSpPr>
                <a:spLocks/>
              </p:cNvSpPr>
              <p:nvPr/>
            </p:nvSpPr>
            <p:spPr bwMode="auto">
              <a:xfrm>
                <a:off x="-4675188" y="4816475"/>
                <a:ext cx="460375" cy="1479550"/>
              </a:xfrm>
              <a:custGeom>
                <a:avLst/>
                <a:gdLst>
                  <a:gd name="T0" fmla="*/ 290 w 290"/>
                  <a:gd name="T1" fmla="*/ 932 h 932"/>
                  <a:gd name="T2" fmla="*/ 290 w 290"/>
                  <a:gd name="T3" fmla="*/ 932 h 932"/>
                  <a:gd name="T4" fmla="*/ 0 w 290"/>
                  <a:gd name="T5" fmla="*/ 0 h 932"/>
                  <a:gd name="T6" fmla="*/ 0 w 290"/>
                  <a:gd name="T7" fmla="*/ 0 h 932"/>
                  <a:gd name="T8" fmla="*/ 290 w 290"/>
                  <a:gd name="T9" fmla="*/ 932 h 932"/>
                </a:gdLst>
                <a:ahLst/>
                <a:cxnLst>
                  <a:cxn ang="0">
                    <a:pos x="T0" y="T1"/>
                  </a:cxn>
                  <a:cxn ang="0">
                    <a:pos x="T2" y="T3"/>
                  </a:cxn>
                  <a:cxn ang="0">
                    <a:pos x="T4" y="T5"/>
                  </a:cxn>
                  <a:cxn ang="0">
                    <a:pos x="T6" y="T7"/>
                  </a:cxn>
                  <a:cxn ang="0">
                    <a:pos x="T8" y="T9"/>
                  </a:cxn>
                </a:cxnLst>
                <a:rect l="0" t="0" r="r" b="b"/>
                <a:pathLst>
                  <a:path w="290" h="932">
                    <a:moveTo>
                      <a:pt x="290" y="932"/>
                    </a:moveTo>
                    <a:lnTo>
                      <a:pt x="290" y="932"/>
                    </a:lnTo>
                    <a:lnTo>
                      <a:pt x="0" y="0"/>
                    </a:lnTo>
                    <a:lnTo>
                      <a:pt x="0" y="0"/>
                    </a:lnTo>
                    <a:lnTo>
                      <a:pt x="290"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28" name="Freeform 448"/>
              <p:cNvSpPr>
                <a:spLocks/>
              </p:cNvSpPr>
              <p:nvPr/>
            </p:nvSpPr>
            <p:spPr bwMode="auto">
              <a:xfrm>
                <a:off x="-7018338" y="2655887"/>
                <a:ext cx="2343150" cy="2160588"/>
              </a:xfrm>
              <a:custGeom>
                <a:avLst/>
                <a:gdLst>
                  <a:gd name="T0" fmla="*/ 1476 w 1476"/>
                  <a:gd name="T1" fmla="*/ 1361 h 1361"/>
                  <a:gd name="T2" fmla="*/ 0 w 1476"/>
                  <a:gd name="T3" fmla="*/ 1223 h 1361"/>
                  <a:gd name="T4" fmla="*/ 507 w 1476"/>
                  <a:gd name="T5" fmla="*/ 0 h 1361"/>
                  <a:gd name="T6" fmla="*/ 1476 w 1476"/>
                  <a:gd name="T7" fmla="*/ 1361 h 1361"/>
                </a:gdLst>
                <a:ahLst/>
                <a:cxnLst>
                  <a:cxn ang="0">
                    <a:pos x="T0" y="T1"/>
                  </a:cxn>
                  <a:cxn ang="0">
                    <a:pos x="T2" y="T3"/>
                  </a:cxn>
                  <a:cxn ang="0">
                    <a:pos x="T4" y="T5"/>
                  </a:cxn>
                  <a:cxn ang="0">
                    <a:pos x="T6" y="T7"/>
                  </a:cxn>
                </a:cxnLst>
                <a:rect l="0" t="0" r="r" b="b"/>
                <a:pathLst>
                  <a:path w="1476" h="1361">
                    <a:moveTo>
                      <a:pt x="1476" y="1361"/>
                    </a:moveTo>
                    <a:lnTo>
                      <a:pt x="0" y="1223"/>
                    </a:lnTo>
                    <a:lnTo>
                      <a:pt x="507" y="0"/>
                    </a:lnTo>
                    <a:lnTo>
                      <a:pt x="1476" y="136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29" name="Freeform 449"/>
              <p:cNvSpPr>
                <a:spLocks/>
              </p:cNvSpPr>
              <p:nvPr/>
            </p:nvSpPr>
            <p:spPr bwMode="auto">
              <a:xfrm>
                <a:off x="-7018338" y="2655887"/>
                <a:ext cx="804863" cy="1941513"/>
              </a:xfrm>
              <a:custGeom>
                <a:avLst/>
                <a:gdLst>
                  <a:gd name="T0" fmla="*/ 0 w 507"/>
                  <a:gd name="T1" fmla="*/ 1223 h 1223"/>
                  <a:gd name="T2" fmla="*/ 507 w 507"/>
                  <a:gd name="T3" fmla="*/ 0 h 1223"/>
                  <a:gd name="T4" fmla="*/ 507 w 507"/>
                  <a:gd name="T5" fmla="*/ 0 h 1223"/>
                  <a:gd name="T6" fmla="*/ 0 w 507"/>
                  <a:gd name="T7" fmla="*/ 1223 h 1223"/>
                </a:gdLst>
                <a:ahLst/>
                <a:cxnLst>
                  <a:cxn ang="0">
                    <a:pos x="T0" y="T1"/>
                  </a:cxn>
                  <a:cxn ang="0">
                    <a:pos x="T2" y="T3"/>
                  </a:cxn>
                  <a:cxn ang="0">
                    <a:pos x="T4" y="T5"/>
                  </a:cxn>
                  <a:cxn ang="0">
                    <a:pos x="T6" y="T7"/>
                  </a:cxn>
                </a:cxnLst>
                <a:rect l="0" t="0" r="r" b="b"/>
                <a:pathLst>
                  <a:path w="507" h="1223">
                    <a:moveTo>
                      <a:pt x="0" y="1223"/>
                    </a:moveTo>
                    <a:lnTo>
                      <a:pt x="507" y="0"/>
                    </a:lnTo>
                    <a:lnTo>
                      <a:pt x="507" y="0"/>
                    </a:lnTo>
                    <a:lnTo>
                      <a:pt x="0" y="122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30" name="Rectangle 450"/>
              <p:cNvSpPr>
                <a:spLocks noChangeArrowheads="1"/>
              </p:cNvSpPr>
              <p:nvPr/>
            </p:nvSpPr>
            <p:spPr bwMode="auto">
              <a:xfrm>
                <a:off x="-6213475" y="2655887"/>
                <a:ext cx="1588" cy="1588"/>
              </a:xfrm>
              <a:prstGeom prst="rect">
                <a:avLst/>
              </a:prstGeom>
              <a:solidFill>
                <a:srgbClr val="5698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31" name="Freeform 451"/>
              <p:cNvSpPr>
                <a:spLocks/>
              </p:cNvSpPr>
              <p:nvPr/>
            </p:nvSpPr>
            <p:spPr bwMode="auto">
              <a:xfrm>
                <a:off x="-6213475" y="2655887"/>
                <a:ext cx="1538288" cy="2160588"/>
              </a:xfrm>
              <a:custGeom>
                <a:avLst/>
                <a:gdLst>
                  <a:gd name="T0" fmla="*/ 969 w 969"/>
                  <a:gd name="T1" fmla="*/ 1361 h 1361"/>
                  <a:gd name="T2" fmla="*/ 969 w 969"/>
                  <a:gd name="T3" fmla="*/ 1361 h 1361"/>
                  <a:gd name="T4" fmla="*/ 0 w 969"/>
                  <a:gd name="T5" fmla="*/ 0 h 1361"/>
                  <a:gd name="T6" fmla="*/ 0 w 969"/>
                  <a:gd name="T7" fmla="*/ 0 h 1361"/>
                  <a:gd name="T8" fmla="*/ 969 w 969"/>
                  <a:gd name="T9" fmla="*/ 1361 h 1361"/>
                </a:gdLst>
                <a:ahLst/>
                <a:cxnLst>
                  <a:cxn ang="0">
                    <a:pos x="T0" y="T1"/>
                  </a:cxn>
                  <a:cxn ang="0">
                    <a:pos x="T2" y="T3"/>
                  </a:cxn>
                  <a:cxn ang="0">
                    <a:pos x="T4" y="T5"/>
                  </a:cxn>
                  <a:cxn ang="0">
                    <a:pos x="T6" y="T7"/>
                  </a:cxn>
                  <a:cxn ang="0">
                    <a:pos x="T8" y="T9"/>
                  </a:cxn>
                </a:cxnLst>
                <a:rect l="0" t="0" r="r" b="b"/>
                <a:pathLst>
                  <a:path w="969" h="1361">
                    <a:moveTo>
                      <a:pt x="969" y="1361"/>
                    </a:moveTo>
                    <a:lnTo>
                      <a:pt x="969" y="1361"/>
                    </a:lnTo>
                    <a:lnTo>
                      <a:pt x="0" y="0"/>
                    </a:lnTo>
                    <a:lnTo>
                      <a:pt x="0" y="0"/>
                    </a:lnTo>
                    <a:lnTo>
                      <a:pt x="969" y="1361"/>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32" name="Freeform 452"/>
              <p:cNvSpPr>
                <a:spLocks/>
              </p:cNvSpPr>
              <p:nvPr/>
            </p:nvSpPr>
            <p:spPr bwMode="auto">
              <a:xfrm>
                <a:off x="-6213475" y="2655887"/>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33" name="Freeform 453"/>
              <p:cNvSpPr>
                <a:spLocks/>
              </p:cNvSpPr>
              <p:nvPr/>
            </p:nvSpPr>
            <p:spPr bwMode="auto">
              <a:xfrm>
                <a:off x="-4675188" y="3113087"/>
                <a:ext cx="1903413" cy="1703388"/>
              </a:xfrm>
              <a:custGeom>
                <a:avLst/>
                <a:gdLst>
                  <a:gd name="T0" fmla="*/ 0 w 1199"/>
                  <a:gd name="T1" fmla="*/ 1073 h 1073"/>
                  <a:gd name="T2" fmla="*/ 165 w 1199"/>
                  <a:gd name="T3" fmla="*/ 0 h 1073"/>
                  <a:gd name="T4" fmla="*/ 1199 w 1199"/>
                  <a:gd name="T5" fmla="*/ 708 h 1073"/>
                  <a:gd name="T6" fmla="*/ 0 w 1199"/>
                  <a:gd name="T7" fmla="*/ 1073 h 1073"/>
                </a:gdLst>
                <a:ahLst/>
                <a:cxnLst>
                  <a:cxn ang="0">
                    <a:pos x="T0" y="T1"/>
                  </a:cxn>
                  <a:cxn ang="0">
                    <a:pos x="T2" y="T3"/>
                  </a:cxn>
                  <a:cxn ang="0">
                    <a:pos x="T4" y="T5"/>
                  </a:cxn>
                  <a:cxn ang="0">
                    <a:pos x="T6" y="T7"/>
                  </a:cxn>
                </a:cxnLst>
                <a:rect l="0" t="0" r="r" b="b"/>
                <a:pathLst>
                  <a:path w="1199" h="1073">
                    <a:moveTo>
                      <a:pt x="0" y="1073"/>
                    </a:moveTo>
                    <a:lnTo>
                      <a:pt x="165" y="0"/>
                    </a:lnTo>
                    <a:lnTo>
                      <a:pt x="1199" y="708"/>
                    </a:lnTo>
                    <a:lnTo>
                      <a:pt x="0" y="1073"/>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34" name="Freeform 454"/>
              <p:cNvSpPr>
                <a:spLocks/>
              </p:cNvSpPr>
              <p:nvPr/>
            </p:nvSpPr>
            <p:spPr bwMode="auto">
              <a:xfrm>
                <a:off x="-7018338" y="4597400"/>
                <a:ext cx="2343150" cy="1195388"/>
              </a:xfrm>
              <a:custGeom>
                <a:avLst/>
                <a:gdLst>
                  <a:gd name="T0" fmla="*/ 978 w 1476"/>
                  <a:gd name="T1" fmla="*/ 753 h 753"/>
                  <a:gd name="T2" fmla="*/ 978 w 1476"/>
                  <a:gd name="T3" fmla="*/ 753 h 753"/>
                  <a:gd name="T4" fmla="*/ 0 w 1476"/>
                  <a:gd name="T5" fmla="*/ 0 h 753"/>
                  <a:gd name="T6" fmla="*/ 1476 w 1476"/>
                  <a:gd name="T7" fmla="*/ 138 h 753"/>
                  <a:gd name="T8" fmla="*/ 978 w 1476"/>
                  <a:gd name="T9" fmla="*/ 753 h 753"/>
                </a:gdLst>
                <a:ahLst/>
                <a:cxnLst>
                  <a:cxn ang="0">
                    <a:pos x="T0" y="T1"/>
                  </a:cxn>
                  <a:cxn ang="0">
                    <a:pos x="T2" y="T3"/>
                  </a:cxn>
                  <a:cxn ang="0">
                    <a:pos x="T4" y="T5"/>
                  </a:cxn>
                  <a:cxn ang="0">
                    <a:pos x="T6" y="T7"/>
                  </a:cxn>
                  <a:cxn ang="0">
                    <a:pos x="T8" y="T9"/>
                  </a:cxn>
                </a:cxnLst>
                <a:rect l="0" t="0" r="r" b="b"/>
                <a:pathLst>
                  <a:path w="1476" h="753">
                    <a:moveTo>
                      <a:pt x="978" y="753"/>
                    </a:moveTo>
                    <a:lnTo>
                      <a:pt x="978" y="753"/>
                    </a:lnTo>
                    <a:lnTo>
                      <a:pt x="0" y="0"/>
                    </a:lnTo>
                    <a:lnTo>
                      <a:pt x="1476" y="138"/>
                    </a:lnTo>
                    <a:lnTo>
                      <a:pt x="978" y="7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35" name="Line 455"/>
              <p:cNvSpPr>
                <a:spLocks noChangeShapeType="1"/>
              </p:cNvSpPr>
              <p:nvPr/>
            </p:nvSpPr>
            <p:spPr bwMode="auto">
              <a:xfrm>
                <a:off x="-7643813" y="76596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36" name="Freeform 456"/>
              <p:cNvSpPr>
                <a:spLocks/>
              </p:cNvSpPr>
              <p:nvPr/>
            </p:nvSpPr>
            <p:spPr bwMode="auto">
              <a:xfrm>
                <a:off x="-7643813" y="6911975"/>
                <a:ext cx="1103313" cy="747713"/>
              </a:xfrm>
              <a:custGeom>
                <a:avLst/>
                <a:gdLst>
                  <a:gd name="T0" fmla="*/ 0 w 695"/>
                  <a:gd name="T1" fmla="*/ 471 h 471"/>
                  <a:gd name="T2" fmla="*/ 0 w 695"/>
                  <a:gd name="T3" fmla="*/ 471 h 471"/>
                  <a:gd name="T4" fmla="*/ 695 w 695"/>
                  <a:gd name="T5" fmla="*/ 0 h 471"/>
                  <a:gd name="T6" fmla="*/ 0 w 695"/>
                  <a:gd name="T7" fmla="*/ 471 h 471"/>
                </a:gdLst>
                <a:ahLst/>
                <a:cxnLst>
                  <a:cxn ang="0">
                    <a:pos x="T0" y="T1"/>
                  </a:cxn>
                  <a:cxn ang="0">
                    <a:pos x="T2" y="T3"/>
                  </a:cxn>
                  <a:cxn ang="0">
                    <a:pos x="T4" y="T5"/>
                  </a:cxn>
                  <a:cxn ang="0">
                    <a:pos x="T6" y="T7"/>
                  </a:cxn>
                </a:cxnLst>
                <a:rect l="0" t="0" r="r" b="b"/>
                <a:pathLst>
                  <a:path w="695" h="471">
                    <a:moveTo>
                      <a:pt x="0" y="471"/>
                    </a:moveTo>
                    <a:lnTo>
                      <a:pt x="0" y="471"/>
                    </a:lnTo>
                    <a:lnTo>
                      <a:pt x="695" y="0"/>
                    </a:lnTo>
                    <a:lnTo>
                      <a:pt x="0" y="47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37" name="Freeform 457"/>
              <p:cNvSpPr>
                <a:spLocks/>
              </p:cNvSpPr>
              <p:nvPr/>
            </p:nvSpPr>
            <p:spPr bwMode="auto">
              <a:xfrm>
                <a:off x="-5465763" y="5792787"/>
                <a:ext cx="1524000" cy="1866900"/>
              </a:xfrm>
              <a:custGeom>
                <a:avLst/>
                <a:gdLst>
                  <a:gd name="T0" fmla="*/ 960 w 960"/>
                  <a:gd name="T1" fmla="*/ 1176 h 1176"/>
                  <a:gd name="T2" fmla="*/ 823 w 960"/>
                  <a:gd name="T3" fmla="*/ 1176 h 1176"/>
                  <a:gd name="T4" fmla="*/ 0 w 960"/>
                  <a:gd name="T5" fmla="*/ 0 h 1176"/>
                  <a:gd name="T6" fmla="*/ 788 w 960"/>
                  <a:gd name="T7" fmla="*/ 317 h 1176"/>
                  <a:gd name="T8" fmla="*/ 960 w 960"/>
                  <a:gd name="T9" fmla="*/ 1176 h 1176"/>
                </a:gdLst>
                <a:ahLst/>
                <a:cxnLst>
                  <a:cxn ang="0">
                    <a:pos x="T0" y="T1"/>
                  </a:cxn>
                  <a:cxn ang="0">
                    <a:pos x="T2" y="T3"/>
                  </a:cxn>
                  <a:cxn ang="0">
                    <a:pos x="T4" y="T5"/>
                  </a:cxn>
                  <a:cxn ang="0">
                    <a:pos x="T6" y="T7"/>
                  </a:cxn>
                  <a:cxn ang="0">
                    <a:pos x="T8" y="T9"/>
                  </a:cxn>
                </a:cxnLst>
                <a:rect l="0" t="0" r="r" b="b"/>
                <a:pathLst>
                  <a:path w="960" h="1176">
                    <a:moveTo>
                      <a:pt x="960" y="1176"/>
                    </a:moveTo>
                    <a:lnTo>
                      <a:pt x="823" y="1176"/>
                    </a:lnTo>
                    <a:lnTo>
                      <a:pt x="0" y="0"/>
                    </a:lnTo>
                    <a:lnTo>
                      <a:pt x="788" y="317"/>
                    </a:lnTo>
                    <a:lnTo>
                      <a:pt x="960" y="117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38" name="Rectangle 458"/>
              <p:cNvSpPr>
                <a:spLocks noChangeArrowheads="1"/>
              </p:cNvSpPr>
              <p:nvPr/>
            </p:nvSpPr>
            <p:spPr bwMode="auto">
              <a:xfrm>
                <a:off x="-5465763" y="5792787"/>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39" name="Freeform 459"/>
              <p:cNvSpPr>
                <a:spLocks/>
              </p:cNvSpPr>
              <p:nvPr/>
            </p:nvSpPr>
            <p:spPr bwMode="auto">
              <a:xfrm>
                <a:off x="-6540500" y="5792787"/>
                <a:ext cx="2381250" cy="1866900"/>
              </a:xfrm>
              <a:custGeom>
                <a:avLst/>
                <a:gdLst>
                  <a:gd name="T0" fmla="*/ 1500 w 1500"/>
                  <a:gd name="T1" fmla="*/ 1176 h 1176"/>
                  <a:gd name="T2" fmla="*/ 1072 w 1500"/>
                  <a:gd name="T3" fmla="*/ 1176 h 1176"/>
                  <a:gd name="T4" fmla="*/ 0 w 1500"/>
                  <a:gd name="T5" fmla="*/ 705 h 1176"/>
                  <a:gd name="T6" fmla="*/ 677 w 1500"/>
                  <a:gd name="T7" fmla="*/ 0 h 1176"/>
                  <a:gd name="T8" fmla="*/ 677 w 1500"/>
                  <a:gd name="T9" fmla="*/ 0 h 1176"/>
                  <a:gd name="T10" fmla="*/ 1500 w 1500"/>
                  <a:gd name="T11" fmla="*/ 1176 h 1176"/>
                </a:gdLst>
                <a:ahLst/>
                <a:cxnLst>
                  <a:cxn ang="0">
                    <a:pos x="T0" y="T1"/>
                  </a:cxn>
                  <a:cxn ang="0">
                    <a:pos x="T2" y="T3"/>
                  </a:cxn>
                  <a:cxn ang="0">
                    <a:pos x="T4" y="T5"/>
                  </a:cxn>
                  <a:cxn ang="0">
                    <a:pos x="T6" y="T7"/>
                  </a:cxn>
                  <a:cxn ang="0">
                    <a:pos x="T8" y="T9"/>
                  </a:cxn>
                  <a:cxn ang="0">
                    <a:pos x="T10" y="T11"/>
                  </a:cxn>
                </a:cxnLst>
                <a:rect l="0" t="0" r="r" b="b"/>
                <a:pathLst>
                  <a:path w="1500" h="1176">
                    <a:moveTo>
                      <a:pt x="1500" y="1176"/>
                    </a:moveTo>
                    <a:lnTo>
                      <a:pt x="1072" y="1176"/>
                    </a:lnTo>
                    <a:lnTo>
                      <a:pt x="0" y="705"/>
                    </a:lnTo>
                    <a:lnTo>
                      <a:pt x="677" y="0"/>
                    </a:lnTo>
                    <a:lnTo>
                      <a:pt x="677" y="0"/>
                    </a:lnTo>
                    <a:lnTo>
                      <a:pt x="150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40" name="Freeform 460"/>
              <p:cNvSpPr>
                <a:spLocks/>
              </p:cNvSpPr>
              <p:nvPr/>
            </p:nvSpPr>
            <p:spPr bwMode="auto">
              <a:xfrm>
                <a:off x="-4214813" y="6296025"/>
                <a:ext cx="1620838" cy="1363663"/>
              </a:xfrm>
              <a:custGeom>
                <a:avLst/>
                <a:gdLst>
                  <a:gd name="T0" fmla="*/ 1021 w 1021"/>
                  <a:gd name="T1" fmla="*/ 859 h 859"/>
                  <a:gd name="T2" fmla="*/ 172 w 1021"/>
                  <a:gd name="T3" fmla="*/ 859 h 859"/>
                  <a:gd name="T4" fmla="*/ 0 w 1021"/>
                  <a:gd name="T5" fmla="*/ 0 h 859"/>
                  <a:gd name="T6" fmla="*/ 1021 w 1021"/>
                  <a:gd name="T7" fmla="*/ 859 h 859"/>
                </a:gdLst>
                <a:ahLst/>
                <a:cxnLst>
                  <a:cxn ang="0">
                    <a:pos x="T0" y="T1"/>
                  </a:cxn>
                  <a:cxn ang="0">
                    <a:pos x="T2" y="T3"/>
                  </a:cxn>
                  <a:cxn ang="0">
                    <a:pos x="T4" y="T5"/>
                  </a:cxn>
                  <a:cxn ang="0">
                    <a:pos x="T6" y="T7"/>
                  </a:cxn>
                </a:cxnLst>
                <a:rect l="0" t="0" r="r" b="b"/>
                <a:pathLst>
                  <a:path w="1021" h="859">
                    <a:moveTo>
                      <a:pt x="1021" y="859"/>
                    </a:moveTo>
                    <a:lnTo>
                      <a:pt x="172" y="859"/>
                    </a:lnTo>
                    <a:lnTo>
                      <a:pt x="0" y="0"/>
                    </a:lnTo>
                    <a:lnTo>
                      <a:pt x="1021" y="8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41" name="Freeform 461"/>
              <p:cNvSpPr>
                <a:spLocks/>
              </p:cNvSpPr>
              <p:nvPr/>
            </p:nvSpPr>
            <p:spPr bwMode="auto">
              <a:xfrm>
                <a:off x="-6540500" y="6911975"/>
                <a:ext cx="1701800" cy="747713"/>
              </a:xfrm>
              <a:custGeom>
                <a:avLst/>
                <a:gdLst>
                  <a:gd name="T0" fmla="*/ 1072 w 1072"/>
                  <a:gd name="T1" fmla="*/ 471 h 471"/>
                  <a:gd name="T2" fmla="*/ 254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254" y="471"/>
                    </a:lnTo>
                    <a:lnTo>
                      <a:pt x="0" y="0"/>
                    </a:lnTo>
                    <a:lnTo>
                      <a:pt x="1072" y="471"/>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42" name="Line 462"/>
              <p:cNvSpPr>
                <a:spLocks noChangeShapeType="1"/>
              </p:cNvSpPr>
              <p:nvPr/>
            </p:nvSpPr>
            <p:spPr bwMode="auto">
              <a:xfrm>
                <a:off x="-6137275" y="76596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43" name="Freeform 463"/>
              <p:cNvSpPr>
                <a:spLocks/>
              </p:cNvSpPr>
              <p:nvPr/>
            </p:nvSpPr>
            <p:spPr bwMode="auto">
              <a:xfrm>
                <a:off x="-6540500" y="6911975"/>
                <a:ext cx="403225" cy="747713"/>
              </a:xfrm>
              <a:custGeom>
                <a:avLst/>
                <a:gdLst>
                  <a:gd name="T0" fmla="*/ 254 w 254"/>
                  <a:gd name="T1" fmla="*/ 471 h 471"/>
                  <a:gd name="T2" fmla="*/ 254 w 254"/>
                  <a:gd name="T3" fmla="*/ 471 h 471"/>
                  <a:gd name="T4" fmla="*/ 0 w 254"/>
                  <a:gd name="T5" fmla="*/ 0 h 471"/>
                  <a:gd name="T6" fmla="*/ 254 w 254"/>
                  <a:gd name="T7" fmla="*/ 471 h 471"/>
                </a:gdLst>
                <a:ahLst/>
                <a:cxnLst>
                  <a:cxn ang="0">
                    <a:pos x="T0" y="T1"/>
                  </a:cxn>
                  <a:cxn ang="0">
                    <a:pos x="T2" y="T3"/>
                  </a:cxn>
                  <a:cxn ang="0">
                    <a:pos x="T4" y="T5"/>
                  </a:cxn>
                  <a:cxn ang="0">
                    <a:pos x="T6" y="T7"/>
                  </a:cxn>
                </a:cxnLst>
                <a:rect l="0" t="0" r="r" b="b"/>
                <a:pathLst>
                  <a:path w="254" h="471">
                    <a:moveTo>
                      <a:pt x="254" y="471"/>
                    </a:moveTo>
                    <a:lnTo>
                      <a:pt x="254" y="471"/>
                    </a:lnTo>
                    <a:lnTo>
                      <a:pt x="0" y="0"/>
                    </a:lnTo>
                    <a:lnTo>
                      <a:pt x="254" y="471"/>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44" name="Freeform 464"/>
              <p:cNvSpPr>
                <a:spLocks/>
              </p:cNvSpPr>
              <p:nvPr/>
            </p:nvSpPr>
            <p:spPr bwMode="auto">
              <a:xfrm>
                <a:off x="-6540500" y="6911975"/>
                <a:ext cx="1701800" cy="747713"/>
              </a:xfrm>
              <a:custGeom>
                <a:avLst/>
                <a:gdLst>
                  <a:gd name="T0" fmla="*/ 1072 w 1072"/>
                  <a:gd name="T1" fmla="*/ 471 h 471"/>
                  <a:gd name="T2" fmla="*/ 1072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1072" y="471"/>
                    </a:lnTo>
                    <a:lnTo>
                      <a:pt x="0" y="0"/>
                    </a:lnTo>
                    <a:lnTo>
                      <a:pt x="1072" y="47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45" name="Freeform 465"/>
              <p:cNvSpPr>
                <a:spLocks/>
              </p:cNvSpPr>
              <p:nvPr/>
            </p:nvSpPr>
            <p:spPr bwMode="auto">
              <a:xfrm>
                <a:off x="-3327400" y="-3540126"/>
                <a:ext cx="2473325" cy="2046288"/>
              </a:xfrm>
              <a:custGeom>
                <a:avLst/>
                <a:gdLst>
                  <a:gd name="T0" fmla="*/ 0 w 1558"/>
                  <a:gd name="T1" fmla="*/ 1289 h 1289"/>
                  <a:gd name="T2" fmla="*/ 916 w 1558"/>
                  <a:gd name="T3" fmla="*/ 0 h 1289"/>
                  <a:gd name="T4" fmla="*/ 1558 w 1558"/>
                  <a:gd name="T5" fmla="*/ 541 h 1289"/>
                  <a:gd name="T6" fmla="*/ 1558 w 1558"/>
                  <a:gd name="T7" fmla="*/ 890 h 1289"/>
                  <a:gd name="T8" fmla="*/ 0 w 1558"/>
                  <a:gd name="T9" fmla="*/ 1289 h 1289"/>
                </a:gdLst>
                <a:ahLst/>
                <a:cxnLst>
                  <a:cxn ang="0">
                    <a:pos x="T0" y="T1"/>
                  </a:cxn>
                  <a:cxn ang="0">
                    <a:pos x="T2" y="T3"/>
                  </a:cxn>
                  <a:cxn ang="0">
                    <a:pos x="T4" y="T5"/>
                  </a:cxn>
                  <a:cxn ang="0">
                    <a:pos x="T6" y="T7"/>
                  </a:cxn>
                  <a:cxn ang="0">
                    <a:pos x="T8" y="T9"/>
                  </a:cxn>
                </a:cxnLst>
                <a:rect l="0" t="0" r="r" b="b"/>
                <a:pathLst>
                  <a:path w="1558" h="1289">
                    <a:moveTo>
                      <a:pt x="0" y="1289"/>
                    </a:moveTo>
                    <a:lnTo>
                      <a:pt x="916" y="0"/>
                    </a:lnTo>
                    <a:lnTo>
                      <a:pt x="1558" y="541"/>
                    </a:lnTo>
                    <a:lnTo>
                      <a:pt x="1558" y="890"/>
                    </a:lnTo>
                    <a:lnTo>
                      <a:pt x="0" y="128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46" name="Freeform 466"/>
              <p:cNvSpPr>
                <a:spLocks/>
              </p:cNvSpPr>
              <p:nvPr/>
            </p:nvSpPr>
            <p:spPr bwMode="auto">
              <a:xfrm>
                <a:off x="-2697163" y="-4110038"/>
                <a:ext cx="1154113" cy="569913"/>
              </a:xfrm>
              <a:custGeom>
                <a:avLst/>
                <a:gdLst>
                  <a:gd name="T0" fmla="*/ 519 w 727"/>
                  <a:gd name="T1" fmla="*/ 359 h 359"/>
                  <a:gd name="T2" fmla="*/ 519 w 727"/>
                  <a:gd name="T3" fmla="*/ 359 h 359"/>
                  <a:gd name="T4" fmla="*/ 0 w 727"/>
                  <a:gd name="T5" fmla="*/ 0 h 359"/>
                  <a:gd name="T6" fmla="*/ 727 w 727"/>
                  <a:gd name="T7" fmla="*/ 0 h 359"/>
                  <a:gd name="T8" fmla="*/ 519 w 727"/>
                  <a:gd name="T9" fmla="*/ 359 h 359"/>
                </a:gdLst>
                <a:ahLst/>
                <a:cxnLst>
                  <a:cxn ang="0">
                    <a:pos x="T0" y="T1"/>
                  </a:cxn>
                  <a:cxn ang="0">
                    <a:pos x="T2" y="T3"/>
                  </a:cxn>
                  <a:cxn ang="0">
                    <a:pos x="T4" y="T5"/>
                  </a:cxn>
                  <a:cxn ang="0">
                    <a:pos x="T6" y="T7"/>
                  </a:cxn>
                  <a:cxn ang="0">
                    <a:pos x="T8" y="T9"/>
                  </a:cxn>
                </a:cxnLst>
                <a:rect l="0" t="0" r="r" b="b"/>
                <a:pathLst>
                  <a:path w="727" h="359">
                    <a:moveTo>
                      <a:pt x="519" y="359"/>
                    </a:moveTo>
                    <a:lnTo>
                      <a:pt x="519" y="359"/>
                    </a:lnTo>
                    <a:lnTo>
                      <a:pt x="0" y="0"/>
                    </a:lnTo>
                    <a:lnTo>
                      <a:pt x="727" y="0"/>
                    </a:lnTo>
                    <a:lnTo>
                      <a:pt x="519"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47" name="Freeform 467"/>
              <p:cNvSpPr>
                <a:spLocks/>
              </p:cNvSpPr>
              <p:nvPr/>
            </p:nvSpPr>
            <p:spPr bwMode="auto">
              <a:xfrm>
                <a:off x="-1873250" y="-3540126"/>
                <a:ext cx="1019175" cy="858838"/>
              </a:xfrm>
              <a:custGeom>
                <a:avLst/>
                <a:gdLst>
                  <a:gd name="T0" fmla="*/ 642 w 642"/>
                  <a:gd name="T1" fmla="*/ 541 h 541"/>
                  <a:gd name="T2" fmla="*/ 0 w 642"/>
                  <a:gd name="T3" fmla="*/ 0 h 541"/>
                  <a:gd name="T4" fmla="*/ 642 w 642"/>
                  <a:gd name="T5" fmla="*/ 0 h 541"/>
                  <a:gd name="T6" fmla="*/ 642 w 642"/>
                  <a:gd name="T7" fmla="*/ 541 h 541"/>
                </a:gdLst>
                <a:ahLst/>
                <a:cxnLst>
                  <a:cxn ang="0">
                    <a:pos x="T0" y="T1"/>
                  </a:cxn>
                  <a:cxn ang="0">
                    <a:pos x="T2" y="T3"/>
                  </a:cxn>
                  <a:cxn ang="0">
                    <a:pos x="T4" y="T5"/>
                  </a:cxn>
                  <a:cxn ang="0">
                    <a:pos x="T6" y="T7"/>
                  </a:cxn>
                </a:cxnLst>
                <a:rect l="0" t="0" r="r" b="b"/>
                <a:pathLst>
                  <a:path w="642" h="541">
                    <a:moveTo>
                      <a:pt x="642" y="541"/>
                    </a:moveTo>
                    <a:lnTo>
                      <a:pt x="0" y="0"/>
                    </a:lnTo>
                    <a:lnTo>
                      <a:pt x="642" y="0"/>
                    </a:lnTo>
                    <a:lnTo>
                      <a:pt x="642" y="541"/>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48" name="Freeform 468"/>
              <p:cNvSpPr>
                <a:spLocks/>
              </p:cNvSpPr>
              <p:nvPr/>
            </p:nvSpPr>
            <p:spPr bwMode="auto">
              <a:xfrm>
                <a:off x="-3668713" y="-4110038"/>
                <a:ext cx="1795463" cy="569913"/>
              </a:xfrm>
              <a:custGeom>
                <a:avLst/>
                <a:gdLst>
                  <a:gd name="T0" fmla="*/ 1131 w 1131"/>
                  <a:gd name="T1" fmla="*/ 359 h 359"/>
                  <a:gd name="T2" fmla="*/ 0 w 1131"/>
                  <a:gd name="T3" fmla="*/ 359 h 359"/>
                  <a:gd name="T4" fmla="*/ 285 w 1131"/>
                  <a:gd name="T5" fmla="*/ 0 h 359"/>
                  <a:gd name="T6" fmla="*/ 612 w 1131"/>
                  <a:gd name="T7" fmla="*/ 0 h 359"/>
                  <a:gd name="T8" fmla="*/ 1131 w 1131"/>
                  <a:gd name="T9" fmla="*/ 359 h 359"/>
                </a:gdLst>
                <a:ahLst/>
                <a:cxnLst>
                  <a:cxn ang="0">
                    <a:pos x="T0" y="T1"/>
                  </a:cxn>
                  <a:cxn ang="0">
                    <a:pos x="T2" y="T3"/>
                  </a:cxn>
                  <a:cxn ang="0">
                    <a:pos x="T4" y="T5"/>
                  </a:cxn>
                  <a:cxn ang="0">
                    <a:pos x="T6" y="T7"/>
                  </a:cxn>
                  <a:cxn ang="0">
                    <a:pos x="T8" y="T9"/>
                  </a:cxn>
                </a:cxnLst>
                <a:rect l="0" t="0" r="r" b="b"/>
                <a:pathLst>
                  <a:path w="1131" h="359">
                    <a:moveTo>
                      <a:pt x="1131" y="359"/>
                    </a:moveTo>
                    <a:lnTo>
                      <a:pt x="0" y="359"/>
                    </a:lnTo>
                    <a:lnTo>
                      <a:pt x="285" y="0"/>
                    </a:lnTo>
                    <a:lnTo>
                      <a:pt x="612" y="0"/>
                    </a:lnTo>
                    <a:lnTo>
                      <a:pt x="1131"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49" name="Freeform 469"/>
              <p:cNvSpPr>
                <a:spLocks/>
              </p:cNvSpPr>
              <p:nvPr/>
            </p:nvSpPr>
            <p:spPr bwMode="auto">
              <a:xfrm>
                <a:off x="-1873250" y="-4110038"/>
                <a:ext cx="1019175" cy="569913"/>
              </a:xfrm>
              <a:custGeom>
                <a:avLst/>
                <a:gdLst>
                  <a:gd name="T0" fmla="*/ 642 w 642"/>
                  <a:gd name="T1" fmla="*/ 359 h 359"/>
                  <a:gd name="T2" fmla="*/ 0 w 642"/>
                  <a:gd name="T3" fmla="*/ 359 h 359"/>
                  <a:gd name="T4" fmla="*/ 208 w 642"/>
                  <a:gd name="T5" fmla="*/ 0 h 359"/>
                  <a:gd name="T6" fmla="*/ 642 w 642"/>
                  <a:gd name="T7" fmla="*/ 0 h 359"/>
                  <a:gd name="T8" fmla="*/ 642 w 642"/>
                  <a:gd name="T9" fmla="*/ 359 h 359"/>
                </a:gdLst>
                <a:ahLst/>
                <a:cxnLst>
                  <a:cxn ang="0">
                    <a:pos x="T0" y="T1"/>
                  </a:cxn>
                  <a:cxn ang="0">
                    <a:pos x="T2" y="T3"/>
                  </a:cxn>
                  <a:cxn ang="0">
                    <a:pos x="T4" y="T5"/>
                  </a:cxn>
                  <a:cxn ang="0">
                    <a:pos x="T6" y="T7"/>
                  </a:cxn>
                  <a:cxn ang="0">
                    <a:pos x="T8" y="T9"/>
                  </a:cxn>
                </a:cxnLst>
                <a:rect l="0" t="0" r="r" b="b"/>
                <a:pathLst>
                  <a:path w="642" h="359">
                    <a:moveTo>
                      <a:pt x="642" y="359"/>
                    </a:moveTo>
                    <a:lnTo>
                      <a:pt x="0" y="359"/>
                    </a:lnTo>
                    <a:lnTo>
                      <a:pt x="208" y="0"/>
                    </a:lnTo>
                    <a:lnTo>
                      <a:pt x="642" y="0"/>
                    </a:lnTo>
                    <a:lnTo>
                      <a:pt x="642"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50" name="Freeform 470"/>
              <p:cNvSpPr>
                <a:spLocks/>
              </p:cNvSpPr>
              <p:nvPr/>
            </p:nvSpPr>
            <p:spPr bwMode="auto">
              <a:xfrm>
                <a:off x="-3668713" y="-3540126"/>
                <a:ext cx="1795463" cy="2046288"/>
              </a:xfrm>
              <a:custGeom>
                <a:avLst/>
                <a:gdLst>
                  <a:gd name="T0" fmla="*/ 215 w 1131"/>
                  <a:gd name="T1" fmla="*/ 1289 h 1289"/>
                  <a:gd name="T2" fmla="*/ 150 w 1131"/>
                  <a:gd name="T3" fmla="*/ 902 h 1289"/>
                  <a:gd name="T4" fmla="*/ 0 w 1131"/>
                  <a:gd name="T5" fmla="*/ 0 h 1289"/>
                  <a:gd name="T6" fmla="*/ 0 w 1131"/>
                  <a:gd name="T7" fmla="*/ 0 h 1289"/>
                  <a:gd name="T8" fmla="*/ 0 w 1131"/>
                  <a:gd name="T9" fmla="*/ 0 h 1289"/>
                  <a:gd name="T10" fmla="*/ 1131 w 1131"/>
                  <a:gd name="T11" fmla="*/ 0 h 1289"/>
                  <a:gd name="T12" fmla="*/ 215 w 1131"/>
                  <a:gd name="T13" fmla="*/ 1289 h 1289"/>
                </a:gdLst>
                <a:ahLst/>
                <a:cxnLst>
                  <a:cxn ang="0">
                    <a:pos x="T0" y="T1"/>
                  </a:cxn>
                  <a:cxn ang="0">
                    <a:pos x="T2" y="T3"/>
                  </a:cxn>
                  <a:cxn ang="0">
                    <a:pos x="T4" y="T5"/>
                  </a:cxn>
                  <a:cxn ang="0">
                    <a:pos x="T6" y="T7"/>
                  </a:cxn>
                  <a:cxn ang="0">
                    <a:pos x="T8" y="T9"/>
                  </a:cxn>
                  <a:cxn ang="0">
                    <a:pos x="T10" y="T11"/>
                  </a:cxn>
                  <a:cxn ang="0">
                    <a:pos x="T12" y="T13"/>
                  </a:cxn>
                </a:cxnLst>
                <a:rect l="0" t="0" r="r" b="b"/>
                <a:pathLst>
                  <a:path w="1131" h="1289">
                    <a:moveTo>
                      <a:pt x="215" y="1289"/>
                    </a:moveTo>
                    <a:lnTo>
                      <a:pt x="150" y="902"/>
                    </a:lnTo>
                    <a:lnTo>
                      <a:pt x="0" y="0"/>
                    </a:lnTo>
                    <a:lnTo>
                      <a:pt x="0" y="0"/>
                    </a:lnTo>
                    <a:lnTo>
                      <a:pt x="0" y="0"/>
                    </a:lnTo>
                    <a:lnTo>
                      <a:pt x="1131" y="0"/>
                    </a:lnTo>
                    <a:lnTo>
                      <a:pt x="215" y="128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51" name="Freeform 471"/>
              <p:cNvSpPr>
                <a:spLocks/>
              </p:cNvSpPr>
              <p:nvPr/>
            </p:nvSpPr>
            <p:spPr bwMode="auto">
              <a:xfrm>
                <a:off x="-3668713" y="-35401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52" name="Freeform 472"/>
              <p:cNvSpPr>
                <a:spLocks/>
              </p:cNvSpPr>
              <p:nvPr/>
            </p:nvSpPr>
            <p:spPr bwMode="auto">
              <a:xfrm>
                <a:off x="-3668713" y="-3540126"/>
                <a:ext cx="238125" cy="1431925"/>
              </a:xfrm>
              <a:custGeom>
                <a:avLst/>
                <a:gdLst>
                  <a:gd name="T0" fmla="*/ 150 w 150"/>
                  <a:gd name="T1" fmla="*/ 902 h 902"/>
                  <a:gd name="T2" fmla="*/ 0 w 150"/>
                  <a:gd name="T3" fmla="*/ 0 h 902"/>
                  <a:gd name="T4" fmla="*/ 0 w 150"/>
                  <a:gd name="T5" fmla="*/ 0 h 902"/>
                  <a:gd name="T6" fmla="*/ 150 w 150"/>
                  <a:gd name="T7" fmla="*/ 902 h 902"/>
                </a:gdLst>
                <a:ahLst/>
                <a:cxnLst>
                  <a:cxn ang="0">
                    <a:pos x="T0" y="T1"/>
                  </a:cxn>
                  <a:cxn ang="0">
                    <a:pos x="T2" y="T3"/>
                  </a:cxn>
                  <a:cxn ang="0">
                    <a:pos x="T4" y="T5"/>
                  </a:cxn>
                  <a:cxn ang="0">
                    <a:pos x="T6" y="T7"/>
                  </a:cxn>
                </a:cxnLst>
                <a:rect l="0" t="0" r="r" b="b"/>
                <a:pathLst>
                  <a:path w="150" h="902">
                    <a:moveTo>
                      <a:pt x="150" y="902"/>
                    </a:moveTo>
                    <a:lnTo>
                      <a:pt x="0" y="0"/>
                    </a:lnTo>
                    <a:lnTo>
                      <a:pt x="0" y="0"/>
                    </a:lnTo>
                    <a:lnTo>
                      <a:pt x="150" y="902"/>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53" name="Freeform 473"/>
              <p:cNvSpPr>
                <a:spLocks/>
              </p:cNvSpPr>
              <p:nvPr/>
            </p:nvSpPr>
            <p:spPr bwMode="auto">
              <a:xfrm>
                <a:off x="-2771775" y="-428626"/>
                <a:ext cx="1917700" cy="2205038"/>
              </a:xfrm>
              <a:custGeom>
                <a:avLst/>
                <a:gdLst>
                  <a:gd name="T0" fmla="*/ 1208 w 1208"/>
                  <a:gd name="T1" fmla="*/ 1389 h 1389"/>
                  <a:gd name="T2" fmla="*/ 0 w 1208"/>
                  <a:gd name="T3" fmla="*/ 979 h 1389"/>
                  <a:gd name="T4" fmla="*/ 566 w 1208"/>
                  <a:gd name="T5" fmla="*/ 0 h 1389"/>
                  <a:gd name="T6" fmla="*/ 566 w 1208"/>
                  <a:gd name="T7" fmla="*/ 0 h 1389"/>
                  <a:gd name="T8" fmla="*/ 566 w 1208"/>
                  <a:gd name="T9" fmla="*/ 0 h 1389"/>
                  <a:gd name="T10" fmla="*/ 566 w 1208"/>
                  <a:gd name="T11" fmla="*/ 0 h 1389"/>
                  <a:gd name="T12" fmla="*/ 566 w 1208"/>
                  <a:gd name="T13" fmla="*/ 0 h 1389"/>
                  <a:gd name="T14" fmla="*/ 1104 w 1208"/>
                  <a:gd name="T15" fmla="*/ 901 h 1389"/>
                  <a:gd name="T16" fmla="*/ 1208 w 1208"/>
                  <a:gd name="T17" fmla="*/ 1075 h 1389"/>
                  <a:gd name="T18" fmla="*/ 1208 w 1208"/>
                  <a:gd name="T19" fmla="*/ 1389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8" h="1389">
                    <a:moveTo>
                      <a:pt x="1208" y="1389"/>
                    </a:moveTo>
                    <a:lnTo>
                      <a:pt x="0" y="979"/>
                    </a:lnTo>
                    <a:lnTo>
                      <a:pt x="566" y="0"/>
                    </a:lnTo>
                    <a:lnTo>
                      <a:pt x="566" y="0"/>
                    </a:lnTo>
                    <a:lnTo>
                      <a:pt x="566" y="0"/>
                    </a:lnTo>
                    <a:lnTo>
                      <a:pt x="566" y="0"/>
                    </a:lnTo>
                    <a:lnTo>
                      <a:pt x="566" y="0"/>
                    </a:lnTo>
                    <a:lnTo>
                      <a:pt x="1104" y="901"/>
                    </a:lnTo>
                    <a:lnTo>
                      <a:pt x="1208" y="1075"/>
                    </a:lnTo>
                    <a:lnTo>
                      <a:pt x="1208" y="138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54" name="Freeform 474"/>
              <p:cNvSpPr>
                <a:spLocks/>
              </p:cNvSpPr>
              <p:nvPr/>
            </p:nvSpPr>
            <p:spPr bwMode="auto">
              <a:xfrm>
                <a:off x="-3327400" y="-2127251"/>
                <a:ext cx="2473325" cy="1698625"/>
              </a:xfrm>
              <a:custGeom>
                <a:avLst/>
                <a:gdLst>
                  <a:gd name="T0" fmla="*/ 916 w 1558"/>
                  <a:gd name="T1" fmla="*/ 1070 h 1070"/>
                  <a:gd name="T2" fmla="*/ 916 w 1558"/>
                  <a:gd name="T3" fmla="*/ 1070 h 1070"/>
                  <a:gd name="T4" fmla="*/ 0 w 1558"/>
                  <a:gd name="T5" fmla="*/ 399 h 1070"/>
                  <a:gd name="T6" fmla="*/ 1558 w 1558"/>
                  <a:gd name="T7" fmla="*/ 0 h 1070"/>
                  <a:gd name="T8" fmla="*/ 1558 w 1558"/>
                  <a:gd name="T9" fmla="*/ 299 h 1070"/>
                  <a:gd name="T10" fmla="*/ 1515 w 1558"/>
                  <a:gd name="T11" fmla="*/ 350 h 1070"/>
                  <a:gd name="T12" fmla="*/ 916 w 1558"/>
                  <a:gd name="T13" fmla="*/ 1070 h 1070"/>
                </a:gdLst>
                <a:ahLst/>
                <a:cxnLst>
                  <a:cxn ang="0">
                    <a:pos x="T0" y="T1"/>
                  </a:cxn>
                  <a:cxn ang="0">
                    <a:pos x="T2" y="T3"/>
                  </a:cxn>
                  <a:cxn ang="0">
                    <a:pos x="T4" y="T5"/>
                  </a:cxn>
                  <a:cxn ang="0">
                    <a:pos x="T6" y="T7"/>
                  </a:cxn>
                  <a:cxn ang="0">
                    <a:pos x="T8" y="T9"/>
                  </a:cxn>
                  <a:cxn ang="0">
                    <a:pos x="T10" y="T11"/>
                  </a:cxn>
                  <a:cxn ang="0">
                    <a:pos x="T12" y="T13"/>
                  </a:cxn>
                </a:cxnLst>
                <a:rect l="0" t="0" r="r" b="b"/>
                <a:pathLst>
                  <a:path w="1558" h="1070">
                    <a:moveTo>
                      <a:pt x="916" y="1070"/>
                    </a:moveTo>
                    <a:lnTo>
                      <a:pt x="916" y="1070"/>
                    </a:lnTo>
                    <a:lnTo>
                      <a:pt x="0" y="399"/>
                    </a:lnTo>
                    <a:lnTo>
                      <a:pt x="1558" y="0"/>
                    </a:lnTo>
                    <a:lnTo>
                      <a:pt x="1558" y="299"/>
                    </a:lnTo>
                    <a:lnTo>
                      <a:pt x="1515" y="350"/>
                    </a:lnTo>
                    <a:lnTo>
                      <a:pt x="916" y="107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55" name="Freeform 475"/>
              <p:cNvSpPr>
                <a:spLocks/>
              </p:cNvSpPr>
              <p:nvPr/>
            </p:nvSpPr>
            <p:spPr bwMode="auto">
              <a:xfrm>
                <a:off x="-1873250" y="-428626"/>
                <a:ext cx="1019175" cy="1706563"/>
              </a:xfrm>
              <a:custGeom>
                <a:avLst/>
                <a:gdLst>
                  <a:gd name="T0" fmla="*/ 642 w 642"/>
                  <a:gd name="T1" fmla="*/ 1075 h 1075"/>
                  <a:gd name="T2" fmla="*/ 538 w 642"/>
                  <a:gd name="T3" fmla="*/ 901 h 1075"/>
                  <a:gd name="T4" fmla="*/ 0 w 642"/>
                  <a:gd name="T5" fmla="*/ 0 h 1075"/>
                  <a:gd name="T6" fmla="*/ 642 w 642"/>
                  <a:gd name="T7" fmla="*/ 193 h 1075"/>
                  <a:gd name="T8" fmla="*/ 642 w 642"/>
                  <a:gd name="T9" fmla="*/ 1075 h 1075"/>
                </a:gdLst>
                <a:ahLst/>
                <a:cxnLst>
                  <a:cxn ang="0">
                    <a:pos x="T0" y="T1"/>
                  </a:cxn>
                  <a:cxn ang="0">
                    <a:pos x="T2" y="T3"/>
                  </a:cxn>
                  <a:cxn ang="0">
                    <a:pos x="T4" y="T5"/>
                  </a:cxn>
                  <a:cxn ang="0">
                    <a:pos x="T6" y="T7"/>
                  </a:cxn>
                  <a:cxn ang="0">
                    <a:pos x="T8" y="T9"/>
                  </a:cxn>
                </a:cxnLst>
                <a:rect l="0" t="0" r="r" b="b"/>
                <a:pathLst>
                  <a:path w="642" h="1075">
                    <a:moveTo>
                      <a:pt x="642" y="1075"/>
                    </a:moveTo>
                    <a:lnTo>
                      <a:pt x="538" y="901"/>
                    </a:lnTo>
                    <a:lnTo>
                      <a:pt x="0" y="0"/>
                    </a:lnTo>
                    <a:lnTo>
                      <a:pt x="642" y="193"/>
                    </a:lnTo>
                    <a:lnTo>
                      <a:pt x="642" y="107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56" name="Freeform 476"/>
              <p:cNvSpPr>
                <a:spLocks/>
              </p:cNvSpPr>
              <p:nvPr/>
            </p:nvSpPr>
            <p:spPr bwMode="auto">
              <a:xfrm>
                <a:off x="-3327400" y="-1493838"/>
                <a:ext cx="1454150" cy="1654175"/>
              </a:xfrm>
              <a:custGeom>
                <a:avLst/>
                <a:gdLst>
                  <a:gd name="T0" fmla="*/ 218 w 916"/>
                  <a:gd name="T1" fmla="*/ 1042 h 1042"/>
                  <a:gd name="T2" fmla="*/ 218 w 916"/>
                  <a:gd name="T3" fmla="*/ 1042 h 1042"/>
                  <a:gd name="T4" fmla="*/ 0 w 916"/>
                  <a:gd name="T5" fmla="*/ 0 h 1042"/>
                  <a:gd name="T6" fmla="*/ 916 w 916"/>
                  <a:gd name="T7" fmla="*/ 671 h 1042"/>
                  <a:gd name="T8" fmla="*/ 916 w 916"/>
                  <a:gd name="T9" fmla="*/ 671 h 1042"/>
                  <a:gd name="T10" fmla="*/ 218 w 916"/>
                  <a:gd name="T11" fmla="*/ 1042 h 1042"/>
                </a:gdLst>
                <a:ahLst/>
                <a:cxnLst>
                  <a:cxn ang="0">
                    <a:pos x="T0" y="T1"/>
                  </a:cxn>
                  <a:cxn ang="0">
                    <a:pos x="T2" y="T3"/>
                  </a:cxn>
                  <a:cxn ang="0">
                    <a:pos x="T4" y="T5"/>
                  </a:cxn>
                  <a:cxn ang="0">
                    <a:pos x="T6" y="T7"/>
                  </a:cxn>
                  <a:cxn ang="0">
                    <a:pos x="T8" y="T9"/>
                  </a:cxn>
                  <a:cxn ang="0">
                    <a:pos x="T10" y="T11"/>
                  </a:cxn>
                </a:cxnLst>
                <a:rect l="0" t="0" r="r" b="b"/>
                <a:pathLst>
                  <a:path w="916" h="1042">
                    <a:moveTo>
                      <a:pt x="218" y="1042"/>
                    </a:moveTo>
                    <a:lnTo>
                      <a:pt x="218" y="1042"/>
                    </a:lnTo>
                    <a:lnTo>
                      <a:pt x="0" y="0"/>
                    </a:lnTo>
                    <a:lnTo>
                      <a:pt x="916" y="671"/>
                    </a:lnTo>
                    <a:lnTo>
                      <a:pt x="916" y="671"/>
                    </a:lnTo>
                    <a:lnTo>
                      <a:pt x="218" y="10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57" name="Freeform 477"/>
              <p:cNvSpPr>
                <a:spLocks/>
              </p:cNvSpPr>
              <p:nvPr/>
            </p:nvSpPr>
            <p:spPr bwMode="auto">
              <a:xfrm>
                <a:off x="-1873250" y="-1652588"/>
                <a:ext cx="1019175" cy="1530350"/>
              </a:xfrm>
              <a:custGeom>
                <a:avLst/>
                <a:gdLst>
                  <a:gd name="T0" fmla="*/ 642 w 642"/>
                  <a:gd name="T1" fmla="*/ 964 h 964"/>
                  <a:gd name="T2" fmla="*/ 0 w 642"/>
                  <a:gd name="T3" fmla="*/ 771 h 964"/>
                  <a:gd name="T4" fmla="*/ 0 w 642"/>
                  <a:gd name="T5" fmla="*/ 771 h 964"/>
                  <a:gd name="T6" fmla="*/ 599 w 642"/>
                  <a:gd name="T7" fmla="*/ 51 h 964"/>
                  <a:gd name="T8" fmla="*/ 642 w 642"/>
                  <a:gd name="T9" fmla="*/ 0 h 964"/>
                  <a:gd name="T10" fmla="*/ 642 w 642"/>
                  <a:gd name="T11" fmla="*/ 964 h 964"/>
                </a:gdLst>
                <a:ahLst/>
                <a:cxnLst>
                  <a:cxn ang="0">
                    <a:pos x="T0" y="T1"/>
                  </a:cxn>
                  <a:cxn ang="0">
                    <a:pos x="T2" y="T3"/>
                  </a:cxn>
                  <a:cxn ang="0">
                    <a:pos x="T4" y="T5"/>
                  </a:cxn>
                  <a:cxn ang="0">
                    <a:pos x="T6" y="T7"/>
                  </a:cxn>
                  <a:cxn ang="0">
                    <a:pos x="T8" y="T9"/>
                  </a:cxn>
                  <a:cxn ang="0">
                    <a:pos x="T10" y="T11"/>
                  </a:cxn>
                </a:cxnLst>
                <a:rect l="0" t="0" r="r" b="b"/>
                <a:pathLst>
                  <a:path w="642" h="964">
                    <a:moveTo>
                      <a:pt x="642" y="964"/>
                    </a:moveTo>
                    <a:lnTo>
                      <a:pt x="0" y="771"/>
                    </a:lnTo>
                    <a:lnTo>
                      <a:pt x="0" y="771"/>
                    </a:lnTo>
                    <a:lnTo>
                      <a:pt x="599" y="51"/>
                    </a:lnTo>
                    <a:lnTo>
                      <a:pt x="642" y="0"/>
                    </a:lnTo>
                    <a:lnTo>
                      <a:pt x="642" y="964"/>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58" name="Freeform 478"/>
              <p:cNvSpPr>
                <a:spLocks/>
              </p:cNvSpPr>
              <p:nvPr/>
            </p:nvSpPr>
            <p:spPr bwMode="auto">
              <a:xfrm>
                <a:off x="-922338" y="-1652588"/>
                <a:ext cx="68263" cy="80963"/>
              </a:xfrm>
              <a:custGeom>
                <a:avLst/>
                <a:gdLst>
                  <a:gd name="T0" fmla="*/ 0 w 43"/>
                  <a:gd name="T1" fmla="*/ 51 h 51"/>
                  <a:gd name="T2" fmla="*/ 43 w 43"/>
                  <a:gd name="T3" fmla="*/ 0 h 51"/>
                  <a:gd name="T4" fmla="*/ 43 w 43"/>
                  <a:gd name="T5" fmla="*/ 0 h 51"/>
                  <a:gd name="T6" fmla="*/ 0 w 43"/>
                  <a:gd name="T7" fmla="*/ 51 h 51"/>
                </a:gdLst>
                <a:ahLst/>
                <a:cxnLst>
                  <a:cxn ang="0">
                    <a:pos x="T0" y="T1"/>
                  </a:cxn>
                  <a:cxn ang="0">
                    <a:pos x="T2" y="T3"/>
                  </a:cxn>
                  <a:cxn ang="0">
                    <a:pos x="T4" y="T5"/>
                  </a:cxn>
                  <a:cxn ang="0">
                    <a:pos x="T6" y="T7"/>
                  </a:cxn>
                </a:cxnLst>
                <a:rect l="0" t="0" r="r" b="b"/>
                <a:pathLst>
                  <a:path w="43" h="51">
                    <a:moveTo>
                      <a:pt x="0" y="51"/>
                    </a:moveTo>
                    <a:lnTo>
                      <a:pt x="43" y="0"/>
                    </a:lnTo>
                    <a:lnTo>
                      <a:pt x="43" y="0"/>
                    </a:lnTo>
                    <a:lnTo>
                      <a:pt x="0" y="51"/>
                    </a:lnTo>
                    <a:close/>
                  </a:path>
                </a:pathLst>
              </a:custGeom>
              <a:solidFill>
                <a:srgbClr val="5A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59" name="Freeform 479"/>
              <p:cNvSpPr>
                <a:spLocks/>
              </p:cNvSpPr>
              <p:nvPr/>
            </p:nvSpPr>
            <p:spPr bwMode="auto">
              <a:xfrm>
                <a:off x="-2981325" y="-428626"/>
                <a:ext cx="1108075" cy="1554163"/>
              </a:xfrm>
              <a:custGeom>
                <a:avLst/>
                <a:gdLst>
                  <a:gd name="T0" fmla="*/ 132 w 698"/>
                  <a:gd name="T1" fmla="*/ 979 h 979"/>
                  <a:gd name="T2" fmla="*/ 78 w 698"/>
                  <a:gd name="T3" fmla="*/ 730 h 979"/>
                  <a:gd name="T4" fmla="*/ 0 w 698"/>
                  <a:gd name="T5" fmla="*/ 371 h 979"/>
                  <a:gd name="T6" fmla="*/ 0 w 698"/>
                  <a:gd name="T7" fmla="*/ 371 h 979"/>
                  <a:gd name="T8" fmla="*/ 698 w 698"/>
                  <a:gd name="T9" fmla="*/ 0 h 979"/>
                  <a:gd name="T10" fmla="*/ 132 w 698"/>
                  <a:gd name="T11" fmla="*/ 979 h 979"/>
                </a:gdLst>
                <a:ahLst/>
                <a:cxnLst>
                  <a:cxn ang="0">
                    <a:pos x="T0" y="T1"/>
                  </a:cxn>
                  <a:cxn ang="0">
                    <a:pos x="T2" y="T3"/>
                  </a:cxn>
                  <a:cxn ang="0">
                    <a:pos x="T4" y="T5"/>
                  </a:cxn>
                  <a:cxn ang="0">
                    <a:pos x="T6" y="T7"/>
                  </a:cxn>
                  <a:cxn ang="0">
                    <a:pos x="T8" y="T9"/>
                  </a:cxn>
                  <a:cxn ang="0">
                    <a:pos x="T10" y="T11"/>
                  </a:cxn>
                </a:cxnLst>
                <a:rect l="0" t="0" r="r" b="b"/>
                <a:pathLst>
                  <a:path w="698" h="979">
                    <a:moveTo>
                      <a:pt x="132" y="979"/>
                    </a:moveTo>
                    <a:lnTo>
                      <a:pt x="78" y="730"/>
                    </a:lnTo>
                    <a:lnTo>
                      <a:pt x="0" y="371"/>
                    </a:lnTo>
                    <a:lnTo>
                      <a:pt x="0" y="371"/>
                    </a:lnTo>
                    <a:lnTo>
                      <a:pt x="698" y="0"/>
                    </a:lnTo>
                    <a:lnTo>
                      <a:pt x="132" y="97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60" name="Freeform 480"/>
              <p:cNvSpPr>
                <a:spLocks/>
              </p:cNvSpPr>
              <p:nvPr/>
            </p:nvSpPr>
            <p:spPr bwMode="auto">
              <a:xfrm>
                <a:off x="-2981325" y="160337"/>
                <a:ext cx="123825" cy="569913"/>
              </a:xfrm>
              <a:custGeom>
                <a:avLst/>
                <a:gdLst>
                  <a:gd name="T0" fmla="*/ 78 w 78"/>
                  <a:gd name="T1" fmla="*/ 359 h 359"/>
                  <a:gd name="T2" fmla="*/ 0 w 78"/>
                  <a:gd name="T3" fmla="*/ 0 h 359"/>
                  <a:gd name="T4" fmla="*/ 0 w 78"/>
                  <a:gd name="T5" fmla="*/ 0 h 359"/>
                  <a:gd name="T6" fmla="*/ 78 w 78"/>
                  <a:gd name="T7" fmla="*/ 359 h 359"/>
                </a:gdLst>
                <a:ahLst/>
                <a:cxnLst>
                  <a:cxn ang="0">
                    <a:pos x="T0" y="T1"/>
                  </a:cxn>
                  <a:cxn ang="0">
                    <a:pos x="T2" y="T3"/>
                  </a:cxn>
                  <a:cxn ang="0">
                    <a:pos x="T4" y="T5"/>
                  </a:cxn>
                  <a:cxn ang="0">
                    <a:pos x="T6" y="T7"/>
                  </a:cxn>
                </a:cxnLst>
                <a:rect l="0" t="0" r="r" b="b"/>
                <a:pathLst>
                  <a:path w="78" h="359">
                    <a:moveTo>
                      <a:pt x="78" y="359"/>
                    </a:moveTo>
                    <a:lnTo>
                      <a:pt x="0" y="0"/>
                    </a:lnTo>
                    <a:lnTo>
                      <a:pt x="0" y="0"/>
                    </a:lnTo>
                    <a:lnTo>
                      <a:pt x="78" y="359"/>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61" name="Freeform 481"/>
              <p:cNvSpPr>
                <a:spLocks/>
              </p:cNvSpPr>
              <p:nvPr/>
            </p:nvSpPr>
            <p:spPr bwMode="auto">
              <a:xfrm>
                <a:off x="-2771775" y="-428626"/>
                <a:ext cx="898525" cy="1554163"/>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62" name="Freeform 482"/>
              <p:cNvSpPr>
                <a:spLocks noEditPoints="1"/>
              </p:cNvSpPr>
              <p:nvPr/>
            </p:nvSpPr>
            <p:spPr bwMode="auto">
              <a:xfrm>
                <a:off x="-2771775" y="2682875"/>
                <a:ext cx="898525" cy="2232025"/>
              </a:xfrm>
              <a:custGeom>
                <a:avLst/>
                <a:gdLst>
                  <a:gd name="T0" fmla="*/ 940 w 1179"/>
                  <a:gd name="T1" fmla="*/ 2930 h 2930"/>
                  <a:gd name="T2" fmla="*/ 0 w 1179"/>
                  <a:gd name="T3" fmla="*/ 2041 h 2930"/>
                  <a:gd name="T4" fmla="*/ 1179 w 1179"/>
                  <a:gd name="T5" fmla="*/ 0 h 2930"/>
                  <a:gd name="T6" fmla="*/ 940 w 1179"/>
                  <a:gd name="T7" fmla="*/ 2930 h 2930"/>
                  <a:gd name="T8" fmla="*/ 1179 w 1179"/>
                  <a:gd name="T9" fmla="*/ 0 h 2930"/>
                  <a:gd name="T10" fmla="*/ 1179 w 1179"/>
                  <a:gd name="T11" fmla="*/ 0 h 2930"/>
                </a:gdLst>
                <a:ahLst/>
                <a:cxnLst>
                  <a:cxn ang="0">
                    <a:pos x="T0" y="T1"/>
                  </a:cxn>
                  <a:cxn ang="0">
                    <a:pos x="T2" y="T3"/>
                  </a:cxn>
                  <a:cxn ang="0">
                    <a:pos x="T4" y="T5"/>
                  </a:cxn>
                  <a:cxn ang="0">
                    <a:pos x="T6" y="T7"/>
                  </a:cxn>
                  <a:cxn ang="0">
                    <a:pos x="T8" y="T9"/>
                  </a:cxn>
                  <a:cxn ang="0">
                    <a:pos x="T10" y="T11"/>
                  </a:cxn>
                </a:cxnLst>
                <a:rect l="0" t="0" r="r" b="b"/>
                <a:pathLst>
                  <a:path w="1179" h="2930">
                    <a:moveTo>
                      <a:pt x="940" y="2930"/>
                    </a:moveTo>
                    <a:lnTo>
                      <a:pt x="0" y="2041"/>
                    </a:lnTo>
                    <a:lnTo>
                      <a:pt x="1179" y="0"/>
                    </a:lnTo>
                    <a:lnTo>
                      <a:pt x="940" y="2930"/>
                    </a:lnTo>
                    <a:moveTo>
                      <a:pt x="1179" y="0"/>
                    </a:moveTo>
                    <a:lnTo>
                      <a:pt x="1179"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63" name="Freeform 483"/>
              <p:cNvSpPr>
                <a:spLocks/>
              </p:cNvSpPr>
              <p:nvPr/>
            </p:nvSpPr>
            <p:spPr bwMode="auto">
              <a:xfrm>
                <a:off x="-2771775" y="1125537"/>
                <a:ext cx="1917700" cy="1557338"/>
              </a:xfrm>
              <a:custGeom>
                <a:avLst/>
                <a:gdLst>
                  <a:gd name="T0" fmla="*/ 566 w 1208"/>
                  <a:gd name="T1" fmla="*/ 981 h 981"/>
                  <a:gd name="T2" fmla="*/ 566 w 1208"/>
                  <a:gd name="T3" fmla="*/ 981 h 981"/>
                  <a:gd name="T4" fmla="*/ 0 w 1208"/>
                  <a:gd name="T5" fmla="*/ 0 h 981"/>
                  <a:gd name="T6" fmla="*/ 1208 w 1208"/>
                  <a:gd name="T7" fmla="*/ 410 h 981"/>
                  <a:gd name="T8" fmla="*/ 1208 w 1208"/>
                  <a:gd name="T9" fmla="*/ 621 h 981"/>
                  <a:gd name="T10" fmla="*/ 933 w 1208"/>
                  <a:gd name="T11" fmla="*/ 775 h 981"/>
                  <a:gd name="T12" fmla="*/ 566 w 1208"/>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208" h="981">
                    <a:moveTo>
                      <a:pt x="566" y="981"/>
                    </a:moveTo>
                    <a:lnTo>
                      <a:pt x="566" y="981"/>
                    </a:lnTo>
                    <a:lnTo>
                      <a:pt x="0" y="0"/>
                    </a:lnTo>
                    <a:lnTo>
                      <a:pt x="1208" y="410"/>
                    </a:lnTo>
                    <a:lnTo>
                      <a:pt x="1208" y="621"/>
                    </a:lnTo>
                    <a:lnTo>
                      <a:pt x="933" y="775"/>
                    </a:lnTo>
                    <a:lnTo>
                      <a:pt x="566"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64" name="Freeform 484"/>
              <p:cNvSpPr>
                <a:spLocks/>
              </p:cNvSpPr>
              <p:nvPr/>
            </p:nvSpPr>
            <p:spPr bwMode="auto">
              <a:xfrm>
                <a:off x="-2054225" y="2682875"/>
                <a:ext cx="1200150" cy="2232025"/>
              </a:xfrm>
              <a:custGeom>
                <a:avLst/>
                <a:gdLst>
                  <a:gd name="T0" fmla="*/ 0 w 756"/>
                  <a:gd name="T1" fmla="*/ 1406 h 1406"/>
                  <a:gd name="T2" fmla="*/ 114 w 756"/>
                  <a:gd name="T3" fmla="*/ 0 h 1406"/>
                  <a:gd name="T4" fmla="*/ 756 w 756"/>
                  <a:gd name="T5" fmla="*/ 0 h 1406"/>
                  <a:gd name="T6" fmla="*/ 756 w 756"/>
                  <a:gd name="T7" fmla="*/ 553 h 1406"/>
                  <a:gd name="T8" fmla="*/ 0 w 756"/>
                  <a:gd name="T9" fmla="*/ 1406 h 1406"/>
                </a:gdLst>
                <a:ahLst/>
                <a:cxnLst>
                  <a:cxn ang="0">
                    <a:pos x="T0" y="T1"/>
                  </a:cxn>
                  <a:cxn ang="0">
                    <a:pos x="T2" y="T3"/>
                  </a:cxn>
                  <a:cxn ang="0">
                    <a:pos x="T4" y="T5"/>
                  </a:cxn>
                  <a:cxn ang="0">
                    <a:pos x="T6" y="T7"/>
                  </a:cxn>
                  <a:cxn ang="0">
                    <a:pos x="T8" y="T9"/>
                  </a:cxn>
                </a:cxnLst>
                <a:rect l="0" t="0" r="r" b="b"/>
                <a:pathLst>
                  <a:path w="756" h="1406">
                    <a:moveTo>
                      <a:pt x="0" y="1406"/>
                    </a:moveTo>
                    <a:lnTo>
                      <a:pt x="114" y="0"/>
                    </a:lnTo>
                    <a:lnTo>
                      <a:pt x="756" y="0"/>
                    </a:lnTo>
                    <a:lnTo>
                      <a:pt x="756" y="553"/>
                    </a:lnTo>
                    <a:lnTo>
                      <a:pt x="0" y="140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65" name="Freeform 485"/>
              <p:cNvSpPr>
                <a:spLocks noEditPoints="1"/>
              </p:cNvSpPr>
              <p:nvPr/>
            </p:nvSpPr>
            <p:spPr bwMode="auto">
              <a:xfrm>
                <a:off x="-4413250" y="1125537"/>
                <a:ext cx="2540000" cy="1987550"/>
              </a:xfrm>
              <a:custGeom>
                <a:avLst/>
                <a:gdLst>
                  <a:gd name="T0" fmla="*/ 0 w 3333"/>
                  <a:gd name="T1" fmla="*/ 2608 h 2608"/>
                  <a:gd name="T2" fmla="*/ 0 w 3333"/>
                  <a:gd name="T3" fmla="*/ 2608 h 2608"/>
                  <a:gd name="T4" fmla="*/ 0 w 3333"/>
                  <a:gd name="T5" fmla="*/ 2608 h 2608"/>
                  <a:gd name="T6" fmla="*/ 0 w 3333"/>
                  <a:gd name="T7" fmla="*/ 2608 h 2608"/>
                  <a:gd name="T8" fmla="*/ 0 w 3333"/>
                  <a:gd name="T9" fmla="*/ 2608 h 2608"/>
                  <a:gd name="T10" fmla="*/ 2154 w 3333"/>
                  <a:gd name="T11" fmla="*/ 0 h 2608"/>
                  <a:gd name="T12" fmla="*/ 3333 w 3333"/>
                  <a:gd name="T13" fmla="*/ 2042 h 2608"/>
                  <a:gd name="T14" fmla="*/ 3333 w 3333"/>
                  <a:gd name="T15" fmla="*/ 2042 h 2608"/>
                  <a:gd name="T16" fmla="*/ 0 w 3333"/>
                  <a:gd name="T17" fmla="*/ 2608 h 2608"/>
                  <a:gd name="T18" fmla="*/ 3333 w 3333"/>
                  <a:gd name="T19" fmla="*/ 2042 h 2608"/>
                  <a:gd name="T20" fmla="*/ 3333 w 3333"/>
                  <a:gd name="T21" fmla="*/ 2042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33" h="2608">
                    <a:moveTo>
                      <a:pt x="0" y="2608"/>
                    </a:moveTo>
                    <a:lnTo>
                      <a:pt x="0" y="2608"/>
                    </a:lnTo>
                    <a:lnTo>
                      <a:pt x="0" y="2608"/>
                    </a:lnTo>
                    <a:lnTo>
                      <a:pt x="0" y="2608"/>
                    </a:lnTo>
                    <a:moveTo>
                      <a:pt x="0" y="2608"/>
                    </a:moveTo>
                    <a:lnTo>
                      <a:pt x="2154" y="0"/>
                    </a:lnTo>
                    <a:lnTo>
                      <a:pt x="3333" y="2042"/>
                    </a:lnTo>
                    <a:lnTo>
                      <a:pt x="3333" y="2042"/>
                    </a:lnTo>
                    <a:lnTo>
                      <a:pt x="0" y="2608"/>
                    </a:lnTo>
                    <a:moveTo>
                      <a:pt x="3333" y="2042"/>
                    </a:moveTo>
                    <a:lnTo>
                      <a:pt x="3333" y="2042"/>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66" name="Freeform 486"/>
              <p:cNvSpPr>
                <a:spLocks/>
              </p:cNvSpPr>
              <p:nvPr/>
            </p:nvSpPr>
            <p:spPr bwMode="auto">
              <a:xfrm>
                <a:off x="-1873250" y="2111375"/>
                <a:ext cx="1019175" cy="571500"/>
              </a:xfrm>
              <a:custGeom>
                <a:avLst/>
                <a:gdLst>
                  <a:gd name="T0" fmla="*/ 0 w 642"/>
                  <a:gd name="T1" fmla="*/ 360 h 360"/>
                  <a:gd name="T2" fmla="*/ 0 w 642"/>
                  <a:gd name="T3" fmla="*/ 360 h 360"/>
                  <a:gd name="T4" fmla="*/ 367 w 642"/>
                  <a:gd name="T5" fmla="*/ 154 h 360"/>
                  <a:gd name="T6" fmla="*/ 642 w 642"/>
                  <a:gd name="T7" fmla="*/ 0 h 360"/>
                  <a:gd name="T8" fmla="*/ 642 w 642"/>
                  <a:gd name="T9" fmla="*/ 360 h 360"/>
                  <a:gd name="T10" fmla="*/ 0 w 642"/>
                  <a:gd name="T11" fmla="*/ 360 h 360"/>
                </a:gdLst>
                <a:ahLst/>
                <a:cxnLst>
                  <a:cxn ang="0">
                    <a:pos x="T0" y="T1"/>
                  </a:cxn>
                  <a:cxn ang="0">
                    <a:pos x="T2" y="T3"/>
                  </a:cxn>
                  <a:cxn ang="0">
                    <a:pos x="T4" y="T5"/>
                  </a:cxn>
                  <a:cxn ang="0">
                    <a:pos x="T6" y="T7"/>
                  </a:cxn>
                  <a:cxn ang="0">
                    <a:pos x="T8" y="T9"/>
                  </a:cxn>
                  <a:cxn ang="0">
                    <a:pos x="T10" y="T11"/>
                  </a:cxn>
                </a:cxnLst>
                <a:rect l="0" t="0" r="r" b="b"/>
                <a:pathLst>
                  <a:path w="642" h="360">
                    <a:moveTo>
                      <a:pt x="0" y="360"/>
                    </a:moveTo>
                    <a:lnTo>
                      <a:pt x="0" y="360"/>
                    </a:lnTo>
                    <a:lnTo>
                      <a:pt x="367" y="154"/>
                    </a:lnTo>
                    <a:lnTo>
                      <a:pt x="642" y="0"/>
                    </a:lnTo>
                    <a:lnTo>
                      <a:pt x="642" y="360"/>
                    </a:lnTo>
                    <a:lnTo>
                      <a:pt x="0" y="36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67" name="Freeform 487"/>
              <p:cNvSpPr>
                <a:spLocks/>
              </p:cNvSpPr>
              <p:nvPr/>
            </p:nvSpPr>
            <p:spPr bwMode="auto">
              <a:xfrm>
                <a:off x="-1290638" y="2111375"/>
                <a:ext cx="436563" cy="244475"/>
              </a:xfrm>
              <a:custGeom>
                <a:avLst/>
                <a:gdLst>
                  <a:gd name="T0" fmla="*/ 0 w 275"/>
                  <a:gd name="T1" fmla="*/ 154 h 154"/>
                  <a:gd name="T2" fmla="*/ 275 w 275"/>
                  <a:gd name="T3" fmla="*/ 0 h 154"/>
                  <a:gd name="T4" fmla="*/ 275 w 275"/>
                  <a:gd name="T5" fmla="*/ 0 h 154"/>
                  <a:gd name="T6" fmla="*/ 0 w 275"/>
                  <a:gd name="T7" fmla="*/ 154 h 154"/>
                </a:gdLst>
                <a:ahLst/>
                <a:cxnLst>
                  <a:cxn ang="0">
                    <a:pos x="T0" y="T1"/>
                  </a:cxn>
                  <a:cxn ang="0">
                    <a:pos x="T2" y="T3"/>
                  </a:cxn>
                  <a:cxn ang="0">
                    <a:pos x="T4" y="T5"/>
                  </a:cxn>
                  <a:cxn ang="0">
                    <a:pos x="T6" y="T7"/>
                  </a:cxn>
                </a:cxnLst>
                <a:rect l="0" t="0" r="r" b="b"/>
                <a:pathLst>
                  <a:path w="275" h="154">
                    <a:moveTo>
                      <a:pt x="0" y="154"/>
                    </a:moveTo>
                    <a:lnTo>
                      <a:pt x="275" y="0"/>
                    </a:lnTo>
                    <a:lnTo>
                      <a:pt x="275" y="0"/>
                    </a:lnTo>
                    <a:lnTo>
                      <a:pt x="0" y="15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68" name="Freeform 488"/>
              <p:cNvSpPr>
                <a:spLocks/>
              </p:cNvSpPr>
              <p:nvPr/>
            </p:nvSpPr>
            <p:spPr bwMode="auto">
              <a:xfrm>
                <a:off x="-4413250" y="2682875"/>
                <a:ext cx="2540000" cy="1554163"/>
              </a:xfrm>
              <a:custGeom>
                <a:avLst/>
                <a:gdLst>
                  <a:gd name="T0" fmla="*/ 1034 w 1600"/>
                  <a:gd name="T1" fmla="*/ 979 h 979"/>
                  <a:gd name="T2" fmla="*/ 0 w 1600"/>
                  <a:gd name="T3" fmla="*/ 271 h 979"/>
                  <a:gd name="T4" fmla="*/ 0 w 1600"/>
                  <a:gd name="T5" fmla="*/ 271 h 979"/>
                  <a:gd name="T6" fmla="*/ 1600 w 1600"/>
                  <a:gd name="T7" fmla="*/ 0 h 979"/>
                  <a:gd name="T8" fmla="*/ 1034 w 1600"/>
                  <a:gd name="T9" fmla="*/ 979 h 979"/>
                </a:gdLst>
                <a:ahLst/>
                <a:cxnLst>
                  <a:cxn ang="0">
                    <a:pos x="T0" y="T1"/>
                  </a:cxn>
                  <a:cxn ang="0">
                    <a:pos x="T2" y="T3"/>
                  </a:cxn>
                  <a:cxn ang="0">
                    <a:pos x="T4" y="T5"/>
                  </a:cxn>
                  <a:cxn ang="0">
                    <a:pos x="T6" y="T7"/>
                  </a:cxn>
                  <a:cxn ang="0">
                    <a:pos x="T8" y="T9"/>
                  </a:cxn>
                </a:cxnLst>
                <a:rect l="0" t="0" r="r" b="b"/>
                <a:pathLst>
                  <a:path w="1600" h="979">
                    <a:moveTo>
                      <a:pt x="1034" y="979"/>
                    </a:moveTo>
                    <a:lnTo>
                      <a:pt x="0" y="271"/>
                    </a:lnTo>
                    <a:lnTo>
                      <a:pt x="0" y="271"/>
                    </a:lnTo>
                    <a:lnTo>
                      <a:pt x="1600" y="0"/>
                    </a:lnTo>
                    <a:lnTo>
                      <a:pt x="1034"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69" name="Freeform 489"/>
              <p:cNvSpPr>
                <a:spLocks noEditPoints="1"/>
              </p:cNvSpPr>
              <p:nvPr/>
            </p:nvSpPr>
            <p:spPr bwMode="auto">
              <a:xfrm>
                <a:off x="-2438400" y="5792787"/>
                <a:ext cx="1517650" cy="1866900"/>
              </a:xfrm>
              <a:custGeom>
                <a:avLst/>
                <a:gdLst>
                  <a:gd name="T0" fmla="*/ 184 w 1992"/>
                  <a:gd name="T1" fmla="*/ 2449 h 2449"/>
                  <a:gd name="T2" fmla="*/ 0 w 1992"/>
                  <a:gd name="T3" fmla="*/ 2449 h 2449"/>
                  <a:gd name="T4" fmla="*/ 742 w 1992"/>
                  <a:gd name="T5" fmla="*/ 0 h 2449"/>
                  <a:gd name="T6" fmla="*/ 1342 w 1992"/>
                  <a:gd name="T7" fmla="*/ 650 h 2449"/>
                  <a:gd name="T8" fmla="*/ 1992 w 1992"/>
                  <a:gd name="T9" fmla="*/ 1354 h 2449"/>
                  <a:gd name="T10" fmla="*/ 184 w 1992"/>
                  <a:gd name="T11" fmla="*/ 2449 h 2449"/>
                  <a:gd name="T12" fmla="*/ 742 w 1992"/>
                  <a:gd name="T13" fmla="*/ 0 h 2449"/>
                  <a:gd name="T14" fmla="*/ 742 w 1992"/>
                  <a:gd name="T15" fmla="*/ 0 h 2449"/>
                  <a:gd name="T16" fmla="*/ 742 w 1992"/>
                  <a:gd name="T17" fmla="*/ 0 h 2449"/>
                  <a:gd name="T18" fmla="*/ 742 w 1992"/>
                  <a:gd name="T19" fmla="*/ 0 h 2449"/>
                  <a:gd name="T20" fmla="*/ 742 w 1992"/>
                  <a:gd name="T21" fmla="*/ 0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2" h="2449">
                    <a:moveTo>
                      <a:pt x="184" y="2449"/>
                    </a:moveTo>
                    <a:lnTo>
                      <a:pt x="0" y="2449"/>
                    </a:lnTo>
                    <a:lnTo>
                      <a:pt x="742" y="0"/>
                    </a:lnTo>
                    <a:lnTo>
                      <a:pt x="1342" y="650"/>
                    </a:lnTo>
                    <a:lnTo>
                      <a:pt x="1992" y="1354"/>
                    </a:lnTo>
                    <a:lnTo>
                      <a:pt x="184" y="2449"/>
                    </a:lnTo>
                    <a:moveTo>
                      <a:pt x="742" y="0"/>
                    </a:moveTo>
                    <a:lnTo>
                      <a:pt x="742" y="0"/>
                    </a:lnTo>
                    <a:moveTo>
                      <a:pt x="742" y="0"/>
                    </a:moveTo>
                    <a:lnTo>
                      <a:pt x="742" y="0"/>
                    </a:lnTo>
                    <a:lnTo>
                      <a:pt x="742"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70" name="Freeform 490"/>
              <p:cNvSpPr>
                <a:spLocks/>
              </p:cNvSpPr>
              <p:nvPr/>
            </p:nvSpPr>
            <p:spPr bwMode="auto">
              <a:xfrm>
                <a:off x="-2771775" y="4237037"/>
                <a:ext cx="898525" cy="1555750"/>
              </a:xfrm>
              <a:custGeom>
                <a:avLst/>
                <a:gdLst>
                  <a:gd name="T0" fmla="*/ 566 w 566"/>
                  <a:gd name="T1" fmla="*/ 980 h 980"/>
                  <a:gd name="T2" fmla="*/ 0 w 566"/>
                  <a:gd name="T3" fmla="*/ 0 h 980"/>
                  <a:gd name="T4" fmla="*/ 452 w 566"/>
                  <a:gd name="T5" fmla="*/ 427 h 980"/>
                  <a:gd name="T6" fmla="*/ 547 w 566"/>
                  <a:gd name="T7" fmla="*/ 885 h 980"/>
                  <a:gd name="T8" fmla="*/ 566 w 566"/>
                  <a:gd name="T9" fmla="*/ 980 h 980"/>
                </a:gdLst>
                <a:ahLst/>
                <a:cxnLst>
                  <a:cxn ang="0">
                    <a:pos x="T0" y="T1"/>
                  </a:cxn>
                  <a:cxn ang="0">
                    <a:pos x="T2" y="T3"/>
                  </a:cxn>
                  <a:cxn ang="0">
                    <a:pos x="T4" y="T5"/>
                  </a:cxn>
                  <a:cxn ang="0">
                    <a:pos x="T6" y="T7"/>
                  </a:cxn>
                  <a:cxn ang="0">
                    <a:pos x="T8" y="T9"/>
                  </a:cxn>
                </a:cxnLst>
                <a:rect l="0" t="0" r="r" b="b"/>
                <a:pathLst>
                  <a:path w="566" h="980">
                    <a:moveTo>
                      <a:pt x="566" y="980"/>
                    </a:moveTo>
                    <a:lnTo>
                      <a:pt x="0" y="0"/>
                    </a:lnTo>
                    <a:lnTo>
                      <a:pt x="452" y="427"/>
                    </a:lnTo>
                    <a:lnTo>
                      <a:pt x="547" y="88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71" name="Freeform 491"/>
              <p:cNvSpPr>
                <a:spLocks/>
              </p:cNvSpPr>
              <p:nvPr/>
            </p:nvSpPr>
            <p:spPr bwMode="auto">
              <a:xfrm>
                <a:off x="-1873250" y="5792787"/>
                <a:ext cx="1019175" cy="1031875"/>
              </a:xfrm>
              <a:custGeom>
                <a:avLst/>
                <a:gdLst>
                  <a:gd name="T0" fmla="*/ 600 w 642"/>
                  <a:gd name="T1" fmla="*/ 650 h 650"/>
                  <a:gd name="T2" fmla="*/ 288 w 642"/>
                  <a:gd name="T3" fmla="*/ 312 h 650"/>
                  <a:gd name="T4" fmla="*/ 0 w 642"/>
                  <a:gd name="T5" fmla="*/ 0 h 650"/>
                  <a:gd name="T6" fmla="*/ 642 w 642"/>
                  <a:gd name="T7" fmla="*/ 0 h 650"/>
                  <a:gd name="T8" fmla="*/ 642 w 642"/>
                  <a:gd name="T9" fmla="*/ 600 h 650"/>
                  <a:gd name="T10" fmla="*/ 600 w 642"/>
                  <a:gd name="T11" fmla="*/ 650 h 650"/>
                </a:gdLst>
                <a:ahLst/>
                <a:cxnLst>
                  <a:cxn ang="0">
                    <a:pos x="T0" y="T1"/>
                  </a:cxn>
                  <a:cxn ang="0">
                    <a:pos x="T2" y="T3"/>
                  </a:cxn>
                  <a:cxn ang="0">
                    <a:pos x="T4" y="T5"/>
                  </a:cxn>
                  <a:cxn ang="0">
                    <a:pos x="T6" y="T7"/>
                  </a:cxn>
                  <a:cxn ang="0">
                    <a:pos x="T8" y="T9"/>
                  </a:cxn>
                  <a:cxn ang="0">
                    <a:pos x="T10" y="T11"/>
                  </a:cxn>
                </a:cxnLst>
                <a:rect l="0" t="0" r="r" b="b"/>
                <a:pathLst>
                  <a:path w="642" h="650">
                    <a:moveTo>
                      <a:pt x="600" y="650"/>
                    </a:moveTo>
                    <a:lnTo>
                      <a:pt x="288" y="312"/>
                    </a:lnTo>
                    <a:lnTo>
                      <a:pt x="0" y="0"/>
                    </a:lnTo>
                    <a:lnTo>
                      <a:pt x="642" y="0"/>
                    </a:lnTo>
                    <a:lnTo>
                      <a:pt x="642" y="600"/>
                    </a:lnTo>
                    <a:lnTo>
                      <a:pt x="600" y="650"/>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72" name="Freeform 492"/>
              <p:cNvSpPr>
                <a:spLocks noEditPoints="1"/>
              </p:cNvSpPr>
              <p:nvPr/>
            </p:nvSpPr>
            <p:spPr bwMode="auto">
              <a:xfrm>
                <a:off x="-4214813" y="4237037"/>
                <a:ext cx="2341563" cy="2058988"/>
              </a:xfrm>
              <a:custGeom>
                <a:avLst/>
                <a:gdLst>
                  <a:gd name="T0" fmla="*/ 0 w 3073"/>
                  <a:gd name="T1" fmla="*/ 2701 h 2701"/>
                  <a:gd name="T2" fmla="*/ 0 w 3073"/>
                  <a:gd name="T3" fmla="*/ 2701 h 2701"/>
                  <a:gd name="T4" fmla="*/ 0 w 3073"/>
                  <a:gd name="T5" fmla="*/ 2701 h 2701"/>
                  <a:gd name="T6" fmla="*/ 0 w 3073"/>
                  <a:gd name="T7" fmla="*/ 2701 h 2701"/>
                  <a:gd name="T8" fmla="*/ 0 w 3073"/>
                  <a:gd name="T9" fmla="*/ 2701 h 2701"/>
                  <a:gd name="T10" fmla="*/ 1894 w 3073"/>
                  <a:gd name="T11" fmla="*/ 0 h 2701"/>
                  <a:gd name="T12" fmla="*/ 3073 w 3073"/>
                  <a:gd name="T13" fmla="*/ 2042 h 2701"/>
                  <a:gd name="T14" fmla="*/ 3073 w 3073"/>
                  <a:gd name="T15" fmla="*/ 2042 h 2701"/>
                  <a:gd name="T16" fmla="*/ 0 w 3073"/>
                  <a:gd name="T17" fmla="*/ 2701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701">
                    <a:moveTo>
                      <a:pt x="0" y="2701"/>
                    </a:moveTo>
                    <a:lnTo>
                      <a:pt x="0" y="2701"/>
                    </a:lnTo>
                    <a:lnTo>
                      <a:pt x="0" y="2701"/>
                    </a:lnTo>
                    <a:lnTo>
                      <a:pt x="0" y="2701"/>
                    </a:lnTo>
                    <a:moveTo>
                      <a:pt x="0" y="2701"/>
                    </a:moveTo>
                    <a:lnTo>
                      <a:pt x="1894" y="0"/>
                    </a:lnTo>
                    <a:lnTo>
                      <a:pt x="3073" y="2042"/>
                    </a:lnTo>
                    <a:lnTo>
                      <a:pt x="3073" y="2042"/>
                    </a:lnTo>
                    <a:lnTo>
                      <a:pt x="0" y="270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73" name="Freeform 493"/>
              <p:cNvSpPr>
                <a:spLocks/>
              </p:cNvSpPr>
              <p:nvPr/>
            </p:nvSpPr>
            <p:spPr bwMode="auto">
              <a:xfrm>
                <a:off x="-2054225" y="4914900"/>
                <a:ext cx="1200150" cy="877888"/>
              </a:xfrm>
              <a:custGeom>
                <a:avLst/>
                <a:gdLst>
                  <a:gd name="T0" fmla="*/ 114 w 756"/>
                  <a:gd name="T1" fmla="*/ 553 h 553"/>
                  <a:gd name="T2" fmla="*/ 114 w 756"/>
                  <a:gd name="T3" fmla="*/ 553 h 553"/>
                  <a:gd name="T4" fmla="*/ 114 w 756"/>
                  <a:gd name="T5" fmla="*/ 553 h 553"/>
                  <a:gd name="T6" fmla="*/ 95 w 756"/>
                  <a:gd name="T7" fmla="*/ 458 h 553"/>
                  <a:gd name="T8" fmla="*/ 0 w 756"/>
                  <a:gd name="T9" fmla="*/ 0 h 553"/>
                  <a:gd name="T10" fmla="*/ 756 w 756"/>
                  <a:gd name="T11" fmla="*/ 336 h 553"/>
                  <a:gd name="T12" fmla="*/ 756 w 756"/>
                  <a:gd name="T13" fmla="*/ 553 h 553"/>
                  <a:gd name="T14" fmla="*/ 114 w 756"/>
                  <a:gd name="T15" fmla="*/ 553 h 5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6" h="553">
                    <a:moveTo>
                      <a:pt x="114" y="553"/>
                    </a:moveTo>
                    <a:lnTo>
                      <a:pt x="114" y="553"/>
                    </a:lnTo>
                    <a:lnTo>
                      <a:pt x="114" y="553"/>
                    </a:lnTo>
                    <a:lnTo>
                      <a:pt x="95" y="458"/>
                    </a:lnTo>
                    <a:lnTo>
                      <a:pt x="0" y="0"/>
                    </a:lnTo>
                    <a:lnTo>
                      <a:pt x="756" y="336"/>
                    </a:lnTo>
                    <a:lnTo>
                      <a:pt x="756" y="553"/>
                    </a:lnTo>
                    <a:lnTo>
                      <a:pt x="114" y="5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74" name="Freeform 494"/>
              <p:cNvSpPr>
                <a:spLocks noEditPoints="1"/>
              </p:cNvSpPr>
              <p:nvPr/>
            </p:nvSpPr>
            <p:spPr bwMode="auto">
              <a:xfrm>
                <a:off x="-4214813" y="5792787"/>
                <a:ext cx="2341563" cy="1866900"/>
              </a:xfrm>
              <a:custGeom>
                <a:avLst/>
                <a:gdLst>
                  <a:gd name="T0" fmla="*/ 2331 w 3073"/>
                  <a:gd name="T1" fmla="*/ 2449 h 2449"/>
                  <a:gd name="T2" fmla="*/ 2127 w 3073"/>
                  <a:gd name="T3" fmla="*/ 2449 h 2449"/>
                  <a:gd name="T4" fmla="*/ 0 w 3073"/>
                  <a:gd name="T5" fmla="*/ 659 h 2449"/>
                  <a:gd name="T6" fmla="*/ 3073 w 3073"/>
                  <a:gd name="T7" fmla="*/ 0 h 2449"/>
                  <a:gd name="T8" fmla="*/ 2331 w 3073"/>
                  <a:gd name="T9" fmla="*/ 2449 h 2449"/>
                  <a:gd name="T10" fmla="*/ 0 w 3073"/>
                  <a:gd name="T11" fmla="*/ 659 h 2449"/>
                  <a:gd name="T12" fmla="*/ 0 w 3073"/>
                  <a:gd name="T13" fmla="*/ 659 h 2449"/>
                  <a:gd name="T14" fmla="*/ 0 w 3073"/>
                  <a:gd name="T15" fmla="*/ 659 h 2449"/>
                  <a:gd name="T16" fmla="*/ 0 w 3073"/>
                  <a:gd name="T17" fmla="*/ 659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449">
                    <a:moveTo>
                      <a:pt x="2331" y="2449"/>
                    </a:moveTo>
                    <a:lnTo>
                      <a:pt x="2127" y="2449"/>
                    </a:lnTo>
                    <a:lnTo>
                      <a:pt x="0" y="659"/>
                    </a:lnTo>
                    <a:lnTo>
                      <a:pt x="3073" y="0"/>
                    </a:lnTo>
                    <a:lnTo>
                      <a:pt x="2331" y="2449"/>
                    </a:lnTo>
                    <a:moveTo>
                      <a:pt x="0" y="659"/>
                    </a:moveTo>
                    <a:lnTo>
                      <a:pt x="0" y="659"/>
                    </a:lnTo>
                    <a:lnTo>
                      <a:pt x="0" y="659"/>
                    </a:lnTo>
                    <a:lnTo>
                      <a:pt x="0" y="659"/>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75" name="Rectangle 495"/>
              <p:cNvSpPr>
                <a:spLocks noChangeArrowheads="1"/>
              </p:cNvSpPr>
              <p:nvPr/>
            </p:nvSpPr>
            <p:spPr bwMode="auto">
              <a:xfrm>
                <a:off x="-4214813" y="6296025"/>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76" name="Freeform 496"/>
              <p:cNvSpPr>
                <a:spLocks/>
              </p:cNvSpPr>
              <p:nvPr/>
            </p:nvSpPr>
            <p:spPr bwMode="auto">
              <a:xfrm>
                <a:off x="-2438400" y="5792787"/>
                <a:ext cx="565150" cy="1866900"/>
              </a:xfrm>
              <a:custGeom>
                <a:avLst/>
                <a:gdLst>
                  <a:gd name="T0" fmla="*/ 0 w 356"/>
                  <a:gd name="T1" fmla="*/ 1176 h 1176"/>
                  <a:gd name="T2" fmla="*/ 0 w 356"/>
                  <a:gd name="T3" fmla="*/ 1176 h 1176"/>
                  <a:gd name="T4" fmla="*/ 356 w 356"/>
                  <a:gd name="T5" fmla="*/ 0 h 1176"/>
                  <a:gd name="T6" fmla="*/ 356 w 356"/>
                  <a:gd name="T7" fmla="*/ 0 h 1176"/>
                  <a:gd name="T8" fmla="*/ 0 w 356"/>
                  <a:gd name="T9" fmla="*/ 1176 h 1176"/>
                </a:gdLst>
                <a:ahLst/>
                <a:cxnLst>
                  <a:cxn ang="0">
                    <a:pos x="T0" y="T1"/>
                  </a:cxn>
                  <a:cxn ang="0">
                    <a:pos x="T2" y="T3"/>
                  </a:cxn>
                  <a:cxn ang="0">
                    <a:pos x="T4" y="T5"/>
                  </a:cxn>
                  <a:cxn ang="0">
                    <a:pos x="T6" y="T7"/>
                  </a:cxn>
                  <a:cxn ang="0">
                    <a:pos x="T8" y="T9"/>
                  </a:cxn>
                </a:cxnLst>
                <a:rect l="0" t="0" r="r" b="b"/>
                <a:pathLst>
                  <a:path w="356" h="1176">
                    <a:moveTo>
                      <a:pt x="0" y="1176"/>
                    </a:moveTo>
                    <a:lnTo>
                      <a:pt x="0" y="1176"/>
                    </a:lnTo>
                    <a:lnTo>
                      <a:pt x="356" y="0"/>
                    </a:lnTo>
                    <a:lnTo>
                      <a:pt x="356" y="0"/>
                    </a:lnTo>
                    <a:lnTo>
                      <a:pt x="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77" name="Freeform 497"/>
              <p:cNvSpPr>
                <a:spLocks/>
              </p:cNvSpPr>
              <p:nvPr/>
            </p:nvSpPr>
            <p:spPr bwMode="auto">
              <a:xfrm>
                <a:off x="-4214813" y="5792787"/>
                <a:ext cx="2341563" cy="503238"/>
              </a:xfrm>
              <a:custGeom>
                <a:avLst/>
                <a:gdLst>
                  <a:gd name="T0" fmla="*/ 0 w 1475"/>
                  <a:gd name="T1" fmla="*/ 317 h 317"/>
                  <a:gd name="T2" fmla="*/ 0 w 1475"/>
                  <a:gd name="T3" fmla="*/ 317 h 317"/>
                  <a:gd name="T4" fmla="*/ 0 w 1475"/>
                  <a:gd name="T5" fmla="*/ 317 h 317"/>
                  <a:gd name="T6" fmla="*/ 1475 w 1475"/>
                  <a:gd name="T7" fmla="*/ 0 h 317"/>
                  <a:gd name="T8" fmla="*/ 1475 w 1475"/>
                  <a:gd name="T9" fmla="*/ 0 h 317"/>
                  <a:gd name="T10" fmla="*/ 0 w 1475"/>
                  <a:gd name="T11" fmla="*/ 317 h 317"/>
                </a:gdLst>
                <a:ahLst/>
                <a:cxnLst>
                  <a:cxn ang="0">
                    <a:pos x="T0" y="T1"/>
                  </a:cxn>
                  <a:cxn ang="0">
                    <a:pos x="T2" y="T3"/>
                  </a:cxn>
                  <a:cxn ang="0">
                    <a:pos x="T4" y="T5"/>
                  </a:cxn>
                  <a:cxn ang="0">
                    <a:pos x="T6" y="T7"/>
                  </a:cxn>
                  <a:cxn ang="0">
                    <a:pos x="T8" y="T9"/>
                  </a:cxn>
                  <a:cxn ang="0">
                    <a:pos x="T10" y="T11"/>
                  </a:cxn>
                </a:cxnLst>
                <a:rect l="0" t="0" r="r" b="b"/>
                <a:pathLst>
                  <a:path w="1475" h="317">
                    <a:moveTo>
                      <a:pt x="0" y="317"/>
                    </a:moveTo>
                    <a:lnTo>
                      <a:pt x="0" y="317"/>
                    </a:lnTo>
                    <a:lnTo>
                      <a:pt x="0" y="317"/>
                    </a:lnTo>
                    <a:lnTo>
                      <a:pt x="1475" y="0"/>
                    </a:lnTo>
                    <a:lnTo>
                      <a:pt x="1475" y="0"/>
                    </a:lnTo>
                    <a:lnTo>
                      <a:pt x="0" y="317"/>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78" name="Freeform 498"/>
              <p:cNvSpPr>
                <a:spLocks/>
              </p:cNvSpPr>
              <p:nvPr/>
            </p:nvSpPr>
            <p:spPr bwMode="auto">
              <a:xfrm>
                <a:off x="-2054225" y="3560762"/>
                <a:ext cx="1200150" cy="1354138"/>
              </a:xfrm>
              <a:custGeom>
                <a:avLst/>
                <a:gdLst>
                  <a:gd name="T0" fmla="*/ 0 w 756"/>
                  <a:gd name="T1" fmla="*/ 853 h 853"/>
                  <a:gd name="T2" fmla="*/ 0 w 756"/>
                  <a:gd name="T3" fmla="*/ 853 h 853"/>
                  <a:gd name="T4" fmla="*/ 756 w 756"/>
                  <a:gd name="T5" fmla="*/ 0 h 853"/>
                  <a:gd name="T6" fmla="*/ 756 w 756"/>
                  <a:gd name="T7" fmla="*/ 675 h 853"/>
                  <a:gd name="T8" fmla="*/ 0 w 756"/>
                  <a:gd name="T9" fmla="*/ 853 h 853"/>
                </a:gdLst>
                <a:ahLst/>
                <a:cxnLst>
                  <a:cxn ang="0">
                    <a:pos x="T0" y="T1"/>
                  </a:cxn>
                  <a:cxn ang="0">
                    <a:pos x="T2" y="T3"/>
                  </a:cxn>
                  <a:cxn ang="0">
                    <a:pos x="T4" y="T5"/>
                  </a:cxn>
                  <a:cxn ang="0">
                    <a:pos x="T6" y="T7"/>
                  </a:cxn>
                  <a:cxn ang="0">
                    <a:pos x="T8" y="T9"/>
                  </a:cxn>
                </a:cxnLst>
                <a:rect l="0" t="0" r="r" b="b"/>
                <a:pathLst>
                  <a:path w="756" h="853">
                    <a:moveTo>
                      <a:pt x="0" y="853"/>
                    </a:moveTo>
                    <a:lnTo>
                      <a:pt x="0" y="853"/>
                    </a:lnTo>
                    <a:lnTo>
                      <a:pt x="756" y="0"/>
                    </a:lnTo>
                    <a:lnTo>
                      <a:pt x="756" y="675"/>
                    </a:lnTo>
                    <a:lnTo>
                      <a:pt x="0" y="853"/>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79" name="Freeform 499"/>
              <p:cNvSpPr>
                <a:spLocks/>
              </p:cNvSpPr>
              <p:nvPr/>
            </p:nvSpPr>
            <p:spPr bwMode="auto">
              <a:xfrm>
                <a:off x="-2054225" y="3560762"/>
                <a:ext cx="1200150" cy="1354138"/>
              </a:xfrm>
              <a:custGeom>
                <a:avLst/>
                <a:gdLst>
                  <a:gd name="T0" fmla="*/ 0 w 756"/>
                  <a:gd name="T1" fmla="*/ 853 h 853"/>
                  <a:gd name="T2" fmla="*/ 756 w 756"/>
                  <a:gd name="T3" fmla="*/ 0 h 853"/>
                  <a:gd name="T4" fmla="*/ 756 w 756"/>
                  <a:gd name="T5" fmla="*/ 0 h 853"/>
                  <a:gd name="T6" fmla="*/ 0 w 756"/>
                  <a:gd name="T7" fmla="*/ 853 h 853"/>
                </a:gdLst>
                <a:ahLst/>
                <a:cxnLst>
                  <a:cxn ang="0">
                    <a:pos x="T0" y="T1"/>
                  </a:cxn>
                  <a:cxn ang="0">
                    <a:pos x="T2" y="T3"/>
                  </a:cxn>
                  <a:cxn ang="0">
                    <a:pos x="T4" y="T5"/>
                  </a:cxn>
                  <a:cxn ang="0">
                    <a:pos x="T6" y="T7"/>
                  </a:cxn>
                </a:cxnLst>
                <a:rect l="0" t="0" r="r" b="b"/>
                <a:pathLst>
                  <a:path w="756" h="853">
                    <a:moveTo>
                      <a:pt x="0" y="853"/>
                    </a:moveTo>
                    <a:lnTo>
                      <a:pt x="756" y="0"/>
                    </a:lnTo>
                    <a:lnTo>
                      <a:pt x="756" y="0"/>
                    </a:lnTo>
                    <a:lnTo>
                      <a:pt x="0" y="853"/>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80" name="Freeform 500"/>
              <p:cNvSpPr>
                <a:spLocks/>
              </p:cNvSpPr>
              <p:nvPr/>
            </p:nvSpPr>
            <p:spPr bwMode="auto">
              <a:xfrm>
                <a:off x="-2054225" y="4632325"/>
                <a:ext cx="1200150" cy="815975"/>
              </a:xfrm>
              <a:custGeom>
                <a:avLst/>
                <a:gdLst>
                  <a:gd name="T0" fmla="*/ 756 w 756"/>
                  <a:gd name="T1" fmla="*/ 514 h 514"/>
                  <a:gd name="T2" fmla="*/ 0 w 756"/>
                  <a:gd name="T3" fmla="*/ 178 h 514"/>
                  <a:gd name="T4" fmla="*/ 756 w 756"/>
                  <a:gd name="T5" fmla="*/ 0 h 514"/>
                  <a:gd name="T6" fmla="*/ 756 w 756"/>
                  <a:gd name="T7" fmla="*/ 514 h 514"/>
                </a:gdLst>
                <a:ahLst/>
                <a:cxnLst>
                  <a:cxn ang="0">
                    <a:pos x="T0" y="T1"/>
                  </a:cxn>
                  <a:cxn ang="0">
                    <a:pos x="T2" y="T3"/>
                  </a:cxn>
                  <a:cxn ang="0">
                    <a:pos x="T4" y="T5"/>
                  </a:cxn>
                  <a:cxn ang="0">
                    <a:pos x="T6" y="T7"/>
                  </a:cxn>
                </a:cxnLst>
                <a:rect l="0" t="0" r="r" b="b"/>
                <a:pathLst>
                  <a:path w="756" h="514">
                    <a:moveTo>
                      <a:pt x="756" y="514"/>
                    </a:moveTo>
                    <a:lnTo>
                      <a:pt x="0" y="178"/>
                    </a:lnTo>
                    <a:lnTo>
                      <a:pt x="756" y="0"/>
                    </a:lnTo>
                    <a:lnTo>
                      <a:pt x="756" y="514"/>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81" name="Freeform 501"/>
              <p:cNvSpPr>
                <a:spLocks/>
              </p:cNvSpPr>
              <p:nvPr/>
            </p:nvSpPr>
            <p:spPr bwMode="auto">
              <a:xfrm>
                <a:off x="-2298700" y="6824662"/>
                <a:ext cx="1377950" cy="835025"/>
              </a:xfrm>
              <a:custGeom>
                <a:avLst/>
                <a:gdLst>
                  <a:gd name="T0" fmla="*/ 661 w 868"/>
                  <a:gd name="T1" fmla="*/ 526 h 526"/>
                  <a:gd name="T2" fmla="*/ 0 w 868"/>
                  <a:gd name="T3" fmla="*/ 526 h 526"/>
                  <a:gd name="T4" fmla="*/ 868 w 868"/>
                  <a:gd name="T5" fmla="*/ 0 h 526"/>
                  <a:gd name="T6" fmla="*/ 661 w 868"/>
                  <a:gd name="T7" fmla="*/ 526 h 526"/>
                </a:gdLst>
                <a:ahLst/>
                <a:cxnLst>
                  <a:cxn ang="0">
                    <a:pos x="T0" y="T1"/>
                  </a:cxn>
                  <a:cxn ang="0">
                    <a:pos x="T2" y="T3"/>
                  </a:cxn>
                  <a:cxn ang="0">
                    <a:pos x="T4" y="T5"/>
                  </a:cxn>
                  <a:cxn ang="0">
                    <a:pos x="T6" y="T7"/>
                  </a:cxn>
                </a:cxnLst>
                <a:rect l="0" t="0" r="r" b="b"/>
                <a:pathLst>
                  <a:path w="868" h="526">
                    <a:moveTo>
                      <a:pt x="661" y="526"/>
                    </a:moveTo>
                    <a:lnTo>
                      <a:pt x="0" y="526"/>
                    </a:lnTo>
                    <a:lnTo>
                      <a:pt x="868" y="0"/>
                    </a:lnTo>
                    <a:lnTo>
                      <a:pt x="661" y="526"/>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82" name="Freeform 502"/>
              <p:cNvSpPr>
                <a:spLocks/>
              </p:cNvSpPr>
              <p:nvPr/>
            </p:nvSpPr>
            <p:spPr bwMode="auto">
              <a:xfrm>
                <a:off x="-1249363" y="6824662"/>
                <a:ext cx="395288" cy="835025"/>
              </a:xfrm>
              <a:custGeom>
                <a:avLst/>
                <a:gdLst>
                  <a:gd name="T0" fmla="*/ 249 w 249"/>
                  <a:gd name="T1" fmla="*/ 526 h 526"/>
                  <a:gd name="T2" fmla="*/ 0 w 249"/>
                  <a:gd name="T3" fmla="*/ 526 h 526"/>
                  <a:gd name="T4" fmla="*/ 207 w 249"/>
                  <a:gd name="T5" fmla="*/ 0 h 526"/>
                  <a:gd name="T6" fmla="*/ 249 w 249"/>
                  <a:gd name="T7" fmla="*/ 166 h 526"/>
                  <a:gd name="T8" fmla="*/ 249 w 249"/>
                  <a:gd name="T9" fmla="*/ 526 h 526"/>
                </a:gdLst>
                <a:ahLst/>
                <a:cxnLst>
                  <a:cxn ang="0">
                    <a:pos x="T0" y="T1"/>
                  </a:cxn>
                  <a:cxn ang="0">
                    <a:pos x="T2" y="T3"/>
                  </a:cxn>
                  <a:cxn ang="0">
                    <a:pos x="T4" y="T5"/>
                  </a:cxn>
                  <a:cxn ang="0">
                    <a:pos x="T6" y="T7"/>
                  </a:cxn>
                  <a:cxn ang="0">
                    <a:pos x="T8" y="T9"/>
                  </a:cxn>
                </a:cxnLst>
                <a:rect l="0" t="0" r="r" b="b"/>
                <a:pathLst>
                  <a:path w="249" h="526">
                    <a:moveTo>
                      <a:pt x="249" y="526"/>
                    </a:moveTo>
                    <a:lnTo>
                      <a:pt x="0" y="526"/>
                    </a:lnTo>
                    <a:lnTo>
                      <a:pt x="207" y="0"/>
                    </a:lnTo>
                    <a:lnTo>
                      <a:pt x="249" y="166"/>
                    </a:lnTo>
                    <a:lnTo>
                      <a:pt x="249" y="52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83" name="Freeform 503"/>
              <p:cNvSpPr>
                <a:spLocks/>
              </p:cNvSpPr>
              <p:nvPr/>
            </p:nvSpPr>
            <p:spPr bwMode="auto">
              <a:xfrm>
                <a:off x="-920750" y="6745287"/>
                <a:ext cx="66675" cy="79375"/>
              </a:xfrm>
              <a:custGeom>
                <a:avLst/>
                <a:gdLst>
                  <a:gd name="T0" fmla="*/ 0 w 42"/>
                  <a:gd name="T1" fmla="*/ 50 h 50"/>
                  <a:gd name="T2" fmla="*/ 0 w 42"/>
                  <a:gd name="T3" fmla="*/ 50 h 50"/>
                  <a:gd name="T4" fmla="*/ 42 w 42"/>
                  <a:gd name="T5" fmla="*/ 0 h 50"/>
                  <a:gd name="T6" fmla="*/ 42 w 42"/>
                  <a:gd name="T7" fmla="*/ 47 h 50"/>
                  <a:gd name="T8" fmla="*/ 0 w 42"/>
                  <a:gd name="T9" fmla="*/ 50 h 50"/>
                </a:gdLst>
                <a:ahLst/>
                <a:cxnLst>
                  <a:cxn ang="0">
                    <a:pos x="T0" y="T1"/>
                  </a:cxn>
                  <a:cxn ang="0">
                    <a:pos x="T2" y="T3"/>
                  </a:cxn>
                  <a:cxn ang="0">
                    <a:pos x="T4" y="T5"/>
                  </a:cxn>
                  <a:cxn ang="0">
                    <a:pos x="T6" y="T7"/>
                  </a:cxn>
                  <a:cxn ang="0">
                    <a:pos x="T8" y="T9"/>
                  </a:cxn>
                </a:cxnLst>
                <a:rect l="0" t="0" r="r" b="b"/>
                <a:pathLst>
                  <a:path w="42" h="50">
                    <a:moveTo>
                      <a:pt x="0" y="50"/>
                    </a:moveTo>
                    <a:lnTo>
                      <a:pt x="0" y="50"/>
                    </a:lnTo>
                    <a:lnTo>
                      <a:pt x="42" y="0"/>
                    </a:lnTo>
                    <a:lnTo>
                      <a:pt x="42" y="47"/>
                    </a:lnTo>
                    <a:lnTo>
                      <a:pt x="0" y="5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84" name="Freeform 504"/>
              <p:cNvSpPr>
                <a:spLocks/>
              </p:cNvSpPr>
              <p:nvPr/>
            </p:nvSpPr>
            <p:spPr bwMode="auto">
              <a:xfrm>
                <a:off x="-920750" y="6819900"/>
                <a:ext cx="66675" cy="268288"/>
              </a:xfrm>
              <a:custGeom>
                <a:avLst/>
                <a:gdLst>
                  <a:gd name="T0" fmla="*/ 42 w 42"/>
                  <a:gd name="T1" fmla="*/ 169 h 169"/>
                  <a:gd name="T2" fmla="*/ 0 w 42"/>
                  <a:gd name="T3" fmla="*/ 3 h 169"/>
                  <a:gd name="T4" fmla="*/ 42 w 42"/>
                  <a:gd name="T5" fmla="*/ 0 h 169"/>
                  <a:gd name="T6" fmla="*/ 42 w 42"/>
                  <a:gd name="T7" fmla="*/ 169 h 169"/>
                </a:gdLst>
                <a:ahLst/>
                <a:cxnLst>
                  <a:cxn ang="0">
                    <a:pos x="T0" y="T1"/>
                  </a:cxn>
                  <a:cxn ang="0">
                    <a:pos x="T2" y="T3"/>
                  </a:cxn>
                  <a:cxn ang="0">
                    <a:pos x="T4" y="T5"/>
                  </a:cxn>
                  <a:cxn ang="0">
                    <a:pos x="T6" y="T7"/>
                  </a:cxn>
                </a:cxnLst>
                <a:rect l="0" t="0" r="r" b="b"/>
                <a:pathLst>
                  <a:path w="42" h="169">
                    <a:moveTo>
                      <a:pt x="42" y="169"/>
                    </a:moveTo>
                    <a:lnTo>
                      <a:pt x="0" y="3"/>
                    </a:lnTo>
                    <a:lnTo>
                      <a:pt x="42" y="0"/>
                    </a:lnTo>
                    <a:lnTo>
                      <a:pt x="42" y="16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grpSp>
        <p:sp>
          <p:nvSpPr>
            <p:cNvPr id="278" name="AutoShape 303"/>
            <p:cNvSpPr>
              <a:spLocks noChangeArrowheads="1" noTextEdit="1"/>
            </p:cNvSpPr>
            <p:nvPr/>
          </p:nvSpPr>
          <p:spPr bwMode="auto">
            <a:xfrm>
              <a:off x="749301" y="-1"/>
              <a:ext cx="8961438" cy="6721475"/>
            </a:xfrm>
            <a:prstGeom prst="rect">
              <a:avLst/>
            </a:prstGeom>
            <a:solidFill>
              <a:schemeClr val="accent4">
                <a:alpha val="83000"/>
              </a:schemeClr>
            </a:solidFill>
            <a:ln>
              <a:noFill/>
            </a:ln>
          </p:spPr>
          <p:txBody>
            <a:bodyPr vert="horz" wrap="square" lIns="91440" tIns="45720" rIns="91440" bIns="45720" numCol="1" anchor="t" anchorCtr="0" compatLnSpc="1">
              <a:prstTxWarp prst="textNoShape">
                <a:avLst/>
              </a:prstTxWarp>
              <a:noAutofit/>
            </a:bodyPr>
            <a:lstStyle/>
            <a:p>
              <a:endParaRPr lang="en-US" dirty="0">
                <a:latin typeface="+mn-lt"/>
                <a:ea typeface="楷体" panose="02010609060101010101" pitchFamily="49" charset="-122"/>
              </a:endParaRPr>
            </a:p>
          </p:txBody>
        </p:sp>
      </p:grpSp>
      <p:sp>
        <p:nvSpPr>
          <p:cNvPr id="2" name="Title 1"/>
          <p:cNvSpPr>
            <a:spLocks noGrp="1"/>
          </p:cNvSpPr>
          <p:nvPr>
            <p:ph type="title"/>
          </p:nvPr>
        </p:nvSpPr>
        <p:spPr>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zh-CN" dirty="0">
                <a:solidFill>
                  <a:schemeClr val="bg1"/>
                </a:solidFill>
                <a:latin typeface="+mn-lt"/>
                <a:ea typeface="楷体" panose="02010609060101010101" pitchFamily="49" charset="-122"/>
                <a:cs typeface="SimSun"/>
              </a:rPr>
              <a:t>定义人工智能、机器学习和深度学习</a:t>
            </a:r>
          </a:p>
        </p:txBody>
      </p:sp>
      <p:sp>
        <p:nvSpPr>
          <p:cNvPr id="293"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zh-CN" sz="800" dirty="0">
                <a:solidFill>
                  <a:schemeClr val="bg1"/>
                </a:solidFill>
                <a:latin typeface="+mn-lt"/>
                <a:ea typeface="楷体" panose="02010609060101010101" pitchFamily="49" charset="-122"/>
                <a:cs typeface="SimSun"/>
              </a:rPr>
              <a:t>资料来源：英伟达，互联网研究</a:t>
            </a:r>
          </a:p>
        </p:txBody>
      </p:sp>
      <p:cxnSp>
        <p:nvCxnSpPr>
          <p:cNvPr id="7" name="Straight Connector 6"/>
          <p:cNvCxnSpPr/>
          <p:nvPr/>
        </p:nvCxnSpPr>
        <p:spPr>
          <a:xfrm>
            <a:off x="3082106" y="3055215"/>
            <a:ext cx="0" cy="366626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7" name="Straight Connector 486"/>
          <p:cNvCxnSpPr/>
          <p:nvPr/>
        </p:nvCxnSpPr>
        <p:spPr>
          <a:xfrm>
            <a:off x="5843767" y="3055215"/>
            <a:ext cx="0" cy="366626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88" name="Slide Number"/>
          <p:cNvSpPr txBox="1">
            <a:spLocks/>
          </p:cNvSpPr>
          <p:nvPr/>
        </p:nvSpPr>
        <p:spPr bwMode="auto">
          <a:xfrm>
            <a:off x="8564563" y="6508272"/>
            <a:ext cx="57708"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r>
              <a:rPr lang="zh-CN" sz="800" baseline="0" dirty="0">
                <a:solidFill>
                  <a:schemeClr val="bg1"/>
                </a:solidFill>
                <a:ea typeface="楷体" panose="02010609060101010101" pitchFamily="49" charset="-122"/>
                <a:cs typeface="SimSun"/>
              </a:rPr>
              <a:t>4</a:t>
            </a:r>
          </a:p>
        </p:txBody>
      </p:sp>
      <p:sp>
        <p:nvSpPr>
          <p:cNvPr id="489" name="SlideLogoText"/>
          <p:cNvSpPr>
            <a:spLocks noChangeArrowheads="1"/>
          </p:cNvSpPr>
          <p:nvPr>
            <p:custDataLst>
              <p:tags r:id="rId1"/>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zh-CN" sz="800" baseline="0" dirty="0">
                <a:solidFill>
                  <a:schemeClr val="bg1"/>
                </a:solidFill>
                <a:latin typeface="+mn-lt"/>
                <a:ea typeface="楷体" panose="02010609060101010101" pitchFamily="49" charset="-122"/>
                <a:cs typeface="SimSun"/>
              </a:rPr>
              <a:t>McKinsey &amp; Company</a:t>
            </a:r>
          </a:p>
        </p:txBody>
      </p:sp>
      <p:sp>
        <p:nvSpPr>
          <p:cNvPr id="241" name="Rectangle 240"/>
          <p:cNvSpPr>
            <a:spLocks/>
          </p:cNvSpPr>
          <p:nvPr/>
        </p:nvSpPr>
        <p:spPr>
          <a:xfrm>
            <a:off x="428169" y="698236"/>
            <a:ext cx="8123195" cy="1903087"/>
          </a:xfrm>
          <a:prstGeom prst="rect">
            <a:avLst/>
          </a:prstGeom>
          <a:solidFill>
            <a:schemeClr val="accent2">
              <a:alpha val="69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err="1">
              <a:solidFill>
                <a:schemeClr val="tx1"/>
              </a:solidFill>
              <a:ea typeface="楷体" panose="02010609060101010101" pitchFamily="49" charset="-122"/>
            </a:endParaRPr>
          </a:p>
        </p:txBody>
      </p:sp>
      <p:sp>
        <p:nvSpPr>
          <p:cNvPr id="271" name="Rectangle 270"/>
          <p:cNvSpPr>
            <a:spLocks/>
          </p:cNvSpPr>
          <p:nvPr/>
        </p:nvSpPr>
        <p:spPr>
          <a:xfrm>
            <a:off x="3132376" y="1113452"/>
            <a:ext cx="5418988" cy="1476046"/>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err="1">
              <a:solidFill>
                <a:schemeClr val="tx1"/>
              </a:solidFill>
              <a:ea typeface="楷体" panose="02010609060101010101" pitchFamily="49" charset="-122"/>
            </a:endParaRPr>
          </a:p>
        </p:txBody>
      </p:sp>
      <p:sp>
        <p:nvSpPr>
          <p:cNvPr id="276" name="Rectangle 275"/>
          <p:cNvSpPr>
            <a:spLocks/>
          </p:cNvSpPr>
          <p:nvPr/>
        </p:nvSpPr>
        <p:spPr>
          <a:xfrm>
            <a:off x="5846732" y="1469398"/>
            <a:ext cx="2704632" cy="1120099"/>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err="1">
              <a:solidFill>
                <a:schemeClr val="tx1"/>
              </a:solidFill>
              <a:ea typeface="楷体" panose="02010609060101010101" pitchFamily="49" charset="-122"/>
            </a:endParaRPr>
          </a:p>
        </p:txBody>
      </p:sp>
      <p:sp>
        <p:nvSpPr>
          <p:cNvPr id="41" name="TextBox 40"/>
          <p:cNvSpPr txBox="1"/>
          <p:nvPr/>
        </p:nvSpPr>
        <p:spPr>
          <a:xfrm>
            <a:off x="108173" y="2757365"/>
            <a:ext cx="647613" cy="184666"/>
          </a:xfrm>
          <a:prstGeom prst="rect">
            <a:avLst/>
          </a:prstGeom>
          <a:noFill/>
          <a:ln w="19050">
            <a:noFill/>
          </a:ln>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zh-CN" sz="1200" dirty="0">
                <a:solidFill>
                  <a:schemeClr val="bg1"/>
                </a:solidFill>
                <a:ea typeface="楷体" panose="02010609060101010101" pitchFamily="49" charset="-122"/>
                <a:cs typeface="SimSun"/>
              </a:rPr>
              <a:t>1950年代</a:t>
            </a:r>
          </a:p>
        </p:txBody>
      </p:sp>
      <p:sp>
        <p:nvSpPr>
          <p:cNvPr id="42" name="TextBox 41"/>
          <p:cNvSpPr txBox="1"/>
          <p:nvPr/>
        </p:nvSpPr>
        <p:spPr>
          <a:xfrm>
            <a:off x="1008513" y="2757365"/>
            <a:ext cx="647613" cy="184666"/>
          </a:xfrm>
          <a:prstGeom prst="rect">
            <a:avLst/>
          </a:prstGeom>
          <a:noFill/>
          <a:ln w="19050">
            <a:noFill/>
          </a:ln>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zh-CN" sz="1200" dirty="0">
                <a:solidFill>
                  <a:schemeClr val="bg1"/>
                </a:solidFill>
                <a:ea typeface="楷体" panose="02010609060101010101" pitchFamily="49" charset="-122"/>
                <a:cs typeface="SimSun"/>
              </a:rPr>
              <a:t>1960年代</a:t>
            </a:r>
          </a:p>
        </p:txBody>
      </p:sp>
      <p:sp>
        <p:nvSpPr>
          <p:cNvPr id="43" name="TextBox 42"/>
          <p:cNvSpPr txBox="1"/>
          <p:nvPr/>
        </p:nvSpPr>
        <p:spPr>
          <a:xfrm>
            <a:off x="1921678" y="2757365"/>
            <a:ext cx="647613" cy="184666"/>
          </a:xfrm>
          <a:prstGeom prst="rect">
            <a:avLst/>
          </a:prstGeom>
          <a:noFill/>
          <a:ln w="19050">
            <a:noFill/>
          </a:ln>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zh-CN" sz="1200" dirty="0">
                <a:solidFill>
                  <a:schemeClr val="bg1"/>
                </a:solidFill>
                <a:ea typeface="楷体" panose="02010609060101010101" pitchFamily="49" charset="-122"/>
                <a:cs typeface="SimSun"/>
              </a:rPr>
              <a:t>1970年代</a:t>
            </a:r>
          </a:p>
        </p:txBody>
      </p:sp>
      <p:sp>
        <p:nvSpPr>
          <p:cNvPr id="44" name="TextBox 43"/>
          <p:cNvSpPr txBox="1"/>
          <p:nvPr/>
        </p:nvSpPr>
        <p:spPr>
          <a:xfrm>
            <a:off x="2817162" y="2757365"/>
            <a:ext cx="647613" cy="184666"/>
          </a:xfrm>
          <a:prstGeom prst="rect">
            <a:avLst/>
          </a:prstGeom>
          <a:noFill/>
          <a:ln w="19050">
            <a:noFill/>
          </a:ln>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zh-CN" sz="1200" dirty="0">
                <a:solidFill>
                  <a:schemeClr val="bg1"/>
                </a:solidFill>
                <a:ea typeface="楷体" panose="02010609060101010101" pitchFamily="49" charset="-122"/>
                <a:cs typeface="SimSun"/>
              </a:rPr>
              <a:t>1980年代</a:t>
            </a:r>
          </a:p>
        </p:txBody>
      </p:sp>
      <p:sp>
        <p:nvSpPr>
          <p:cNvPr id="45" name="TextBox 44"/>
          <p:cNvSpPr txBox="1"/>
          <p:nvPr/>
        </p:nvSpPr>
        <p:spPr>
          <a:xfrm>
            <a:off x="3724447" y="2757365"/>
            <a:ext cx="647613" cy="184666"/>
          </a:xfrm>
          <a:prstGeom prst="rect">
            <a:avLst/>
          </a:prstGeom>
          <a:noFill/>
          <a:ln w="19050">
            <a:noFill/>
          </a:ln>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zh-CN" sz="1200" dirty="0">
                <a:solidFill>
                  <a:schemeClr val="bg1"/>
                </a:solidFill>
                <a:ea typeface="楷体" panose="02010609060101010101" pitchFamily="49" charset="-122"/>
                <a:cs typeface="SimSun"/>
              </a:rPr>
              <a:t>1990年代</a:t>
            </a:r>
          </a:p>
        </p:txBody>
      </p:sp>
      <p:sp>
        <p:nvSpPr>
          <p:cNvPr id="46" name="TextBox 45"/>
          <p:cNvSpPr txBox="1"/>
          <p:nvPr/>
        </p:nvSpPr>
        <p:spPr>
          <a:xfrm>
            <a:off x="4626343" y="2757365"/>
            <a:ext cx="647613" cy="184666"/>
          </a:xfrm>
          <a:prstGeom prst="rect">
            <a:avLst/>
          </a:prstGeom>
          <a:noFill/>
          <a:ln w="19050">
            <a:noFill/>
          </a:ln>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zh-CN" sz="1200" dirty="0">
                <a:solidFill>
                  <a:schemeClr val="bg1"/>
                </a:solidFill>
                <a:ea typeface="楷体" panose="02010609060101010101" pitchFamily="49" charset="-122"/>
                <a:cs typeface="SimSun"/>
              </a:rPr>
              <a:t>2000年代</a:t>
            </a:r>
          </a:p>
        </p:txBody>
      </p:sp>
      <p:sp>
        <p:nvSpPr>
          <p:cNvPr id="47" name="TextBox 46"/>
          <p:cNvSpPr txBox="1"/>
          <p:nvPr/>
        </p:nvSpPr>
        <p:spPr>
          <a:xfrm>
            <a:off x="5529266" y="2757365"/>
            <a:ext cx="647613" cy="184666"/>
          </a:xfrm>
          <a:prstGeom prst="rect">
            <a:avLst/>
          </a:prstGeom>
          <a:noFill/>
          <a:ln w="19050">
            <a:noFill/>
          </a:ln>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zh-CN" sz="1200" dirty="0">
                <a:solidFill>
                  <a:schemeClr val="bg1"/>
                </a:solidFill>
                <a:ea typeface="楷体" panose="02010609060101010101" pitchFamily="49" charset="-122"/>
                <a:cs typeface="SimSun"/>
              </a:rPr>
              <a:t>2010年代</a:t>
            </a:r>
          </a:p>
        </p:txBody>
      </p:sp>
      <p:pic>
        <p:nvPicPr>
          <p:cNvPr id="157" name="Picture 66" descr="https://upload.wikimedia.org/wikipedia/commons/b/bb/SOMsPCA.PNG?143933581107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8942" b="8942"/>
          <a:stretch/>
        </p:blipFill>
        <p:spPr bwMode="auto">
          <a:xfrm>
            <a:off x="3269150" y="1469398"/>
            <a:ext cx="1653360" cy="94426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7768" name="Picture 8" descr="http://s.hswstatic.com/gif/chess-champ-computer-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587969" y="1117877"/>
            <a:ext cx="2357132" cy="12903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61" name="Rectangle 160"/>
          <p:cNvSpPr>
            <a:spLocks/>
          </p:cNvSpPr>
          <p:nvPr/>
        </p:nvSpPr>
        <p:spPr>
          <a:xfrm>
            <a:off x="3335705" y="3706484"/>
            <a:ext cx="2306851" cy="1192634"/>
          </a:xfrm>
          <a:prstGeom prst="rect">
            <a:avLst/>
          </a:prstGeom>
          <a:noFill/>
          <a:ln w="9525">
            <a:noFill/>
          </a:ln>
          <a:effectLst>
            <a:innerShdw blurRad="38100" dist="25400" dir="13500000">
              <a:prstClr val="black">
                <a:alpha val="27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spcAft>
                <a:spcPts val="300"/>
              </a:spcAft>
            </a:pPr>
            <a:r>
              <a:rPr lang="zh-CN" sz="1500" dirty="0">
                <a:solidFill>
                  <a:srgbClr val="FFCA21"/>
                </a:solidFill>
                <a:ea typeface="楷体" panose="02010609060101010101" pitchFamily="49" charset="-122"/>
                <a:cs typeface="SimSun"/>
              </a:rPr>
              <a:t>机器学习（</a:t>
            </a:r>
            <a:r>
              <a:rPr lang="en-US" altLang="zh-CN" sz="1500" dirty="0">
                <a:solidFill>
                  <a:srgbClr val="FFCA21"/>
                </a:solidFill>
                <a:ea typeface="楷体" panose="02010609060101010101" pitchFamily="49" charset="-122"/>
                <a:cs typeface="SimSun"/>
              </a:rPr>
              <a:t>M</a:t>
            </a:r>
            <a:r>
              <a:rPr lang="zh-CN" sz="1500" dirty="0">
                <a:solidFill>
                  <a:srgbClr val="FFCA21"/>
                </a:solidFill>
                <a:ea typeface="楷体" panose="02010609060101010101" pitchFamily="49" charset="-122"/>
                <a:cs typeface="SimSun"/>
              </a:rPr>
              <a:t>L） </a:t>
            </a:r>
          </a:p>
          <a:p>
            <a:pPr algn="ctr">
              <a:spcAft>
                <a:spcPts val="300"/>
              </a:spcAft>
            </a:pPr>
            <a:r>
              <a:rPr lang="zh-CN" sz="1200" dirty="0">
                <a:solidFill>
                  <a:schemeClr val="bg1"/>
                </a:solidFill>
                <a:ea typeface="楷体" panose="02010609060101010101" pitchFamily="49" charset="-122"/>
                <a:cs typeface="SimSun"/>
              </a:rPr>
              <a:t>是</a:t>
            </a:r>
            <a:r>
              <a:rPr lang="zh-CN" sz="1200" b="1" dirty="0">
                <a:solidFill>
                  <a:schemeClr val="bg1"/>
                </a:solidFill>
                <a:ea typeface="楷体" panose="02010609060101010101" pitchFamily="49" charset="-122"/>
                <a:cs typeface="SimSun"/>
              </a:rPr>
              <a:t>实现人工智能</a:t>
            </a:r>
            <a:r>
              <a:rPr lang="zh-CN" sz="1200" dirty="0">
                <a:solidFill>
                  <a:schemeClr val="bg1"/>
                </a:solidFill>
                <a:ea typeface="楷体" panose="02010609060101010101" pitchFamily="49" charset="-122"/>
                <a:cs typeface="SimSun"/>
              </a:rPr>
              <a:t>的</a:t>
            </a:r>
            <a:r>
              <a:rPr lang="zh-CN" sz="1200" b="1" dirty="0">
                <a:solidFill>
                  <a:schemeClr val="bg1"/>
                </a:solidFill>
                <a:ea typeface="楷体" panose="02010609060101010101" pitchFamily="49" charset="-122"/>
                <a:cs typeface="SimSun"/>
              </a:rPr>
              <a:t>主要</a:t>
            </a:r>
            <a:r>
              <a:rPr lang="zh-CN" altLang="en-US" sz="1200" b="1" dirty="0">
                <a:solidFill>
                  <a:schemeClr val="bg1"/>
                </a:solidFill>
                <a:ea typeface="楷体" panose="02010609060101010101" pitchFamily="49" charset="-122"/>
                <a:cs typeface="SimSun"/>
              </a:rPr>
              <a:t>手段</a:t>
            </a:r>
            <a:r>
              <a:rPr lang="zh-CN" sz="1200" dirty="0">
                <a:solidFill>
                  <a:schemeClr val="bg1"/>
                </a:solidFill>
                <a:ea typeface="楷体" panose="02010609060101010101" pitchFamily="49" charset="-122"/>
                <a:cs typeface="SimSun"/>
              </a:rPr>
              <a:t>，</a:t>
            </a:r>
            <a:r>
              <a:rPr lang="zh-CN" altLang="en-US" sz="1200" dirty="0">
                <a:solidFill>
                  <a:schemeClr val="bg1"/>
                </a:solidFill>
                <a:ea typeface="楷体" panose="02010609060101010101" pitchFamily="49" charset="-122"/>
                <a:cs typeface="SimSun"/>
              </a:rPr>
              <a:t>主要通过</a:t>
            </a:r>
            <a:r>
              <a:rPr lang="zh-CN" sz="1200" dirty="0">
                <a:solidFill>
                  <a:schemeClr val="bg1"/>
                </a:solidFill>
                <a:ea typeface="楷体" panose="02010609060101010101" pitchFamily="49" charset="-122"/>
                <a:cs typeface="SimSun"/>
              </a:rPr>
              <a:t>学习数据和经验，并基于数据和经验进行数据驱动型预测</a:t>
            </a:r>
            <a:r>
              <a:rPr lang="zh-CN" sz="1200" b="1" dirty="0">
                <a:solidFill>
                  <a:schemeClr val="bg1"/>
                </a:solidFill>
                <a:ea typeface="楷体" panose="02010609060101010101" pitchFamily="49" charset="-122"/>
                <a:cs typeface="SimSun"/>
              </a:rPr>
              <a:t>。</a:t>
            </a:r>
            <a:r>
              <a:rPr lang="zh-CN" sz="1200" dirty="0">
                <a:solidFill>
                  <a:schemeClr val="bg1"/>
                </a:solidFill>
                <a:ea typeface="楷体" panose="02010609060101010101" pitchFamily="49" charset="-122"/>
                <a:cs typeface="SimSun"/>
              </a:rPr>
              <a:t>机器学习的三大类型包括</a:t>
            </a:r>
            <a:r>
              <a:rPr lang="zh-CN" sz="1200" b="1" dirty="0">
                <a:solidFill>
                  <a:schemeClr val="bg1"/>
                </a:solidFill>
                <a:ea typeface="楷体" panose="02010609060101010101" pitchFamily="49" charset="-122"/>
                <a:cs typeface="SimSun"/>
              </a:rPr>
              <a:t>监督学习、无监督学习、强化学习</a:t>
            </a:r>
          </a:p>
        </p:txBody>
      </p:sp>
      <p:sp>
        <p:nvSpPr>
          <p:cNvPr id="159" name="Rectangle 158"/>
          <p:cNvSpPr>
            <a:spLocks/>
          </p:cNvSpPr>
          <p:nvPr/>
        </p:nvSpPr>
        <p:spPr>
          <a:xfrm>
            <a:off x="638986" y="3706484"/>
            <a:ext cx="2281743" cy="1477328"/>
          </a:xfrm>
          <a:prstGeom prst="rect">
            <a:avLst/>
          </a:prstGeom>
          <a:noFill/>
          <a:ln w="9525">
            <a:noFill/>
          </a:ln>
          <a:effectLst>
            <a:innerShdw blurRad="38100" dist="25400" dir="13500000">
              <a:prstClr val="black">
                <a:alpha val="27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spcAft>
                <a:spcPts val="300"/>
              </a:spcAft>
            </a:pPr>
            <a:r>
              <a:rPr lang="zh-CN" sz="1500" dirty="0">
                <a:solidFill>
                  <a:srgbClr val="FFCA21"/>
                </a:solidFill>
                <a:ea typeface="楷体" panose="02010609060101010101" pitchFamily="49" charset="-122"/>
                <a:cs typeface="SimSun"/>
              </a:rPr>
              <a:t>人工智能（AI） </a:t>
            </a:r>
          </a:p>
          <a:p>
            <a:pPr algn="ctr">
              <a:spcAft>
                <a:spcPts val="300"/>
              </a:spcAft>
            </a:pPr>
            <a:r>
              <a:rPr lang="zh-CN" sz="1200" dirty="0">
                <a:solidFill>
                  <a:schemeClr val="bg1"/>
                </a:solidFill>
                <a:ea typeface="楷体" panose="02010609060101010101" pitchFamily="49" charset="-122"/>
                <a:cs typeface="SimSun"/>
              </a:rPr>
              <a:t>是机器展现出的智能，由机器模仿人类与其他人类</a:t>
            </a:r>
            <a:r>
              <a:rPr lang="zh-CN" altLang="en-US" sz="1200" dirty="0">
                <a:solidFill>
                  <a:schemeClr val="bg1"/>
                </a:solidFill>
                <a:ea typeface="楷体" panose="02010609060101010101" pitchFamily="49" charset="-122"/>
                <a:cs typeface="SimSun"/>
              </a:rPr>
              <a:t>思维</a:t>
            </a:r>
            <a:r>
              <a:rPr lang="zh-CN" sz="1200" dirty="0">
                <a:solidFill>
                  <a:schemeClr val="bg1"/>
                </a:solidFill>
                <a:ea typeface="楷体" panose="02010609060101010101" pitchFamily="49" charset="-122"/>
                <a:cs typeface="SimSun"/>
              </a:rPr>
              <a:t>相联系的认知功能</a:t>
            </a:r>
            <a:r>
              <a:rPr lang="zh-CN" altLang="en-US" sz="1200" dirty="0">
                <a:solidFill>
                  <a:schemeClr val="bg1"/>
                </a:solidFill>
                <a:ea typeface="楷体" panose="02010609060101010101" pitchFamily="49" charset="-122"/>
                <a:cs typeface="SimSun"/>
              </a:rPr>
              <a:t>。</a:t>
            </a:r>
            <a:r>
              <a:rPr lang="zh-CN" sz="1200" dirty="0">
                <a:solidFill>
                  <a:schemeClr val="bg1"/>
                </a:solidFill>
                <a:ea typeface="楷体" panose="02010609060101010101" pitchFamily="49" charset="-122"/>
                <a:cs typeface="SimSun"/>
              </a:rPr>
              <a:t>认知功能包括</a:t>
            </a:r>
            <a:r>
              <a:rPr lang="zh-CN" sz="1200" b="1" dirty="0">
                <a:solidFill>
                  <a:schemeClr val="bg1"/>
                </a:solidFill>
                <a:ea typeface="楷体" panose="02010609060101010101" pitchFamily="49" charset="-122"/>
                <a:cs typeface="SimSun"/>
              </a:rPr>
              <a:t>感知、推理、学习、问题解决</a:t>
            </a:r>
            <a:r>
              <a:rPr lang="zh-CN" sz="1200" dirty="0">
                <a:solidFill>
                  <a:schemeClr val="bg1"/>
                </a:solidFill>
                <a:ea typeface="楷体" panose="02010609060101010101" pitchFamily="49" charset="-122"/>
                <a:cs typeface="SimSun"/>
              </a:rPr>
              <a:t>等</a:t>
            </a:r>
            <a:r>
              <a:rPr lang="zh-CN" altLang="en-US" sz="1200" dirty="0">
                <a:solidFill>
                  <a:schemeClr val="bg1"/>
                </a:solidFill>
                <a:ea typeface="楷体" panose="02010609060101010101" pitchFamily="49" charset="-122"/>
                <a:cs typeface="SimSun"/>
              </a:rPr>
              <a:t>的各个</a:t>
            </a:r>
            <a:r>
              <a:rPr lang="zh-CN" sz="1200" dirty="0">
                <a:solidFill>
                  <a:schemeClr val="bg1"/>
                </a:solidFill>
                <a:ea typeface="楷体" panose="02010609060101010101" pitchFamily="49" charset="-122"/>
                <a:cs typeface="SimSun"/>
              </a:rPr>
              <a:t>方面</a:t>
            </a:r>
          </a:p>
          <a:p>
            <a:pPr algn="ctr">
              <a:spcAft>
                <a:spcPts val="300"/>
              </a:spcAft>
            </a:pPr>
            <a:r>
              <a:rPr lang="zh-CN" dirty="0">
                <a:ea typeface="楷体" panose="02010609060101010101" pitchFamily="49" charset="-122"/>
                <a:cs typeface="SimSun"/>
              </a:rPr>
              <a:t> </a:t>
            </a:r>
          </a:p>
        </p:txBody>
      </p:sp>
      <p:sp>
        <p:nvSpPr>
          <p:cNvPr id="162" name="Rectangle 161"/>
          <p:cNvSpPr>
            <a:spLocks/>
          </p:cNvSpPr>
          <p:nvPr/>
        </p:nvSpPr>
        <p:spPr>
          <a:xfrm>
            <a:off x="6107922" y="3706484"/>
            <a:ext cx="2535431" cy="1561966"/>
          </a:xfrm>
          <a:prstGeom prst="rect">
            <a:avLst/>
          </a:prstGeom>
          <a:noFill/>
          <a:ln w="9525">
            <a:noFill/>
          </a:ln>
          <a:effectLst>
            <a:innerShdw blurRad="38100" dist="25400" dir="13500000">
              <a:prstClr val="black">
                <a:alpha val="27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spcAft>
                <a:spcPts val="300"/>
              </a:spcAft>
            </a:pPr>
            <a:r>
              <a:rPr lang="zh-CN" sz="1500" dirty="0">
                <a:solidFill>
                  <a:srgbClr val="FFCA21"/>
                </a:solidFill>
                <a:ea typeface="楷体" panose="02010609060101010101" pitchFamily="49" charset="-122"/>
                <a:cs typeface="SimSun"/>
              </a:rPr>
              <a:t>深度学习（DL） </a:t>
            </a:r>
          </a:p>
          <a:p>
            <a:pPr algn="ctr">
              <a:spcAft>
                <a:spcPts val="300"/>
              </a:spcAft>
            </a:pPr>
            <a:r>
              <a:rPr lang="zh-CN" sz="1200" dirty="0">
                <a:solidFill>
                  <a:schemeClr val="bg1"/>
                </a:solidFill>
                <a:ea typeface="楷体" panose="02010609060101010101" pitchFamily="49" charset="-122"/>
                <a:cs typeface="SimSun"/>
              </a:rPr>
              <a:t>是</a:t>
            </a:r>
            <a:r>
              <a:rPr lang="zh-CN" sz="1200" b="1" dirty="0">
                <a:solidFill>
                  <a:schemeClr val="bg1"/>
                </a:solidFill>
                <a:ea typeface="楷体" panose="02010609060101010101" pitchFamily="49" charset="-122"/>
                <a:cs typeface="SimSun"/>
              </a:rPr>
              <a:t>机器学习的一个分支，</a:t>
            </a:r>
            <a:r>
              <a:rPr lang="zh-CN" sz="1200" dirty="0">
                <a:solidFill>
                  <a:schemeClr val="bg1"/>
                </a:solidFill>
                <a:ea typeface="楷体" panose="02010609060101010101" pitchFamily="49" charset="-122"/>
                <a:cs typeface="SimSun"/>
              </a:rPr>
              <a:t>是利用一组算法建立</a:t>
            </a:r>
            <a:r>
              <a:rPr lang="zh-CN" altLang="en-US" sz="1200" dirty="0">
                <a:solidFill>
                  <a:schemeClr val="bg1"/>
                </a:solidFill>
                <a:ea typeface="楷体" panose="02010609060101010101" pitchFamily="49" charset="-122"/>
                <a:cs typeface="SimSun"/>
              </a:rPr>
              <a:t>高阶</a:t>
            </a:r>
            <a:r>
              <a:rPr lang="zh-CN" sz="1200" dirty="0">
                <a:solidFill>
                  <a:schemeClr val="bg1"/>
                </a:solidFill>
                <a:ea typeface="楷体" panose="02010609060101010101" pitchFamily="49" charset="-122"/>
                <a:cs typeface="SimSun"/>
              </a:rPr>
              <a:t>抽象数据模型。深度学习</a:t>
            </a:r>
            <a:r>
              <a:rPr lang="zh-CN" altLang="en-US" sz="1200" dirty="0">
                <a:solidFill>
                  <a:schemeClr val="bg1"/>
                </a:solidFill>
                <a:ea typeface="楷体" panose="02010609060101010101" pitchFamily="49" charset="-122"/>
                <a:cs typeface="SimSun"/>
              </a:rPr>
              <a:t>把</a:t>
            </a:r>
            <a:r>
              <a:rPr lang="zh-CN" sz="1200" dirty="0">
                <a:solidFill>
                  <a:schemeClr val="bg1"/>
                </a:solidFill>
                <a:ea typeface="楷体" panose="02010609060101010101" pitchFamily="49" charset="-122"/>
                <a:cs typeface="SimSun"/>
              </a:rPr>
              <a:t>模拟大脑神经功能、基于软件的人工智能计算器连接起来，形成一个</a:t>
            </a:r>
            <a:r>
              <a:rPr lang="zh-CN" altLang="en-US" sz="1200" dirty="0">
                <a:solidFill>
                  <a:schemeClr val="bg1"/>
                </a:solidFill>
                <a:ea typeface="楷体" panose="02010609060101010101" pitchFamily="49" charset="-122"/>
                <a:cs typeface="SimSun"/>
              </a:rPr>
              <a:t>可接收和分析输入、根据输入做出决定、然后被告知该决定是否正确‘</a:t>
            </a:r>
            <a:r>
              <a:rPr lang="zh-CN" sz="1200" b="1" dirty="0">
                <a:solidFill>
                  <a:schemeClr val="bg1"/>
                </a:solidFill>
                <a:ea typeface="楷体" panose="02010609060101010101" pitchFamily="49" charset="-122"/>
                <a:cs typeface="SimSun"/>
              </a:rPr>
              <a:t>神经网络</a:t>
            </a:r>
            <a:r>
              <a:rPr lang="zh-CN" sz="1200" dirty="0">
                <a:solidFill>
                  <a:schemeClr val="bg1"/>
                </a:solidFill>
                <a:ea typeface="楷体" panose="02010609060101010101" pitchFamily="49" charset="-122"/>
                <a:cs typeface="SimSun"/>
              </a:rPr>
              <a:t>’</a:t>
            </a:r>
            <a:endParaRPr lang="zh-CN" sz="1200" b="1" dirty="0">
              <a:solidFill>
                <a:schemeClr val="bg1"/>
              </a:solidFill>
              <a:ea typeface="楷体" panose="02010609060101010101" pitchFamily="49" charset="-122"/>
            </a:endParaRPr>
          </a:p>
        </p:txBody>
      </p:sp>
      <p:sp>
        <p:nvSpPr>
          <p:cNvPr id="155" name="TextBox 154"/>
          <p:cNvSpPr txBox="1"/>
          <p:nvPr/>
        </p:nvSpPr>
        <p:spPr>
          <a:xfrm>
            <a:off x="587969" y="779310"/>
            <a:ext cx="6665170" cy="215444"/>
          </a:xfrm>
          <a:prstGeom prst="rect">
            <a:avLst/>
          </a:prstGeom>
          <a:noFill/>
        </p:spPr>
        <p:txBody>
          <a:bodyPr vert="horz" wrap="non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500" dirty="0">
                <a:solidFill>
                  <a:srgbClr val="FFC000"/>
                </a:solidFill>
                <a:ea typeface="楷体" panose="02010609060101010101" pitchFamily="49" charset="-122"/>
                <a:cs typeface="SimSun"/>
              </a:rPr>
              <a:t>人工智能</a:t>
            </a:r>
            <a:r>
              <a:rPr lang="zh-CN" sz="1200" dirty="0">
                <a:solidFill>
                  <a:schemeClr val="bg1"/>
                </a:solidFill>
                <a:ea typeface="楷体" panose="02010609060101010101" pitchFamily="49" charset="-122"/>
                <a:cs typeface="SimSun"/>
              </a:rPr>
              <a:t>，制造智能化机器的科学和工程</a:t>
            </a:r>
            <a:endParaRPr lang="zh-CN" sz="1200" b="1" dirty="0">
              <a:solidFill>
                <a:schemeClr val="bg1"/>
              </a:solidFill>
              <a:ea typeface="楷体" panose="02010609060101010101" pitchFamily="49" charset="-122"/>
            </a:endParaRPr>
          </a:p>
        </p:txBody>
      </p:sp>
      <p:sp>
        <p:nvSpPr>
          <p:cNvPr id="163" name="TextBox 162"/>
          <p:cNvSpPr txBox="1"/>
          <p:nvPr/>
        </p:nvSpPr>
        <p:spPr>
          <a:xfrm>
            <a:off x="3269150" y="1189633"/>
            <a:ext cx="4158285" cy="215444"/>
          </a:xfrm>
          <a:prstGeom prst="rect">
            <a:avLst/>
          </a:prstGeom>
          <a:noFill/>
        </p:spPr>
        <p:txBody>
          <a:bodyPr vert="horz" wrap="non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500" dirty="0">
                <a:solidFill>
                  <a:srgbClr val="FFC000"/>
                </a:solidFill>
                <a:ea typeface="楷体" panose="02010609060101010101" pitchFamily="49" charset="-122"/>
                <a:cs typeface="SimSun"/>
              </a:rPr>
              <a:t>机器学习</a:t>
            </a:r>
            <a:r>
              <a:rPr lang="zh-CN" sz="1200" dirty="0">
                <a:solidFill>
                  <a:schemeClr val="bg1"/>
                </a:solidFill>
                <a:ea typeface="楷体" panose="02010609060101010101" pitchFamily="49" charset="-122"/>
                <a:cs typeface="SimSun"/>
              </a:rPr>
              <a:t>，实现人工智能的主要</a:t>
            </a:r>
            <a:r>
              <a:rPr lang="zh-CN" altLang="en-US" sz="1200" dirty="0">
                <a:solidFill>
                  <a:schemeClr val="bg1"/>
                </a:solidFill>
                <a:ea typeface="楷体" panose="02010609060101010101" pitchFamily="49" charset="-122"/>
                <a:cs typeface="SimSun"/>
              </a:rPr>
              <a:t>手段</a:t>
            </a:r>
            <a:endParaRPr lang="zh-CN" sz="1200" dirty="0">
              <a:solidFill>
                <a:schemeClr val="bg1"/>
              </a:solidFill>
              <a:ea typeface="楷体" panose="02010609060101010101" pitchFamily="49" charset="-122"/>
              <a:cs typeface="SimSun"/>
            </a:endParaRPr>
          </a:p>
        </p:txBody>
      </p:sp>
      <p:sp>
        <p:nvSpPr>
          <p:cNvPr id="166" name="TextBox 165"/>
          <p:cNvSpPr txBox="1"/>
          <p:nvPr/>
        </p:nvSpPr>
        <p:spPr>
          <a:xfrm>
            <a:off x="5961288" y="1546728"/>
            <a:ext cx="2488340" cy="215444"/>
          </a:xfrm>
          <a:prstGeom prst="rect">
            <a:avLst/>
          </a:prstGeom>
          <a:noFill/>
        </p:spPr>
        <p:txBody>
          <a:bodyPr vert="horz" wrap="non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500" dirty="0">
                <a:solidFill>
                  <a:srgbClr val="FFC000"/>
                </a:solidFill>
                <a:ea typeface="楷体" panose="02010609060101010101" pitchFamily="49" charset="-122"/>
                <a:cs typeface="SimSun"/>
              </a:rPr>
              <a:t>深度学习</a:t>
            </a:r>
            <a:r>
              <a:rPr lang="zh-CN" sz="1200" dirty="0">
                <a:solidFill>
                  <a:schemeClr val="bg1"/>
                </a:solidFill>
                <a:ea typeface="楷体" panose="02010609060101010101" pitchFamily="49" charset="-122"/>
                <a:cs typeface="SimSun"/>
              </a:rPr>
              <a:t>，机器学习的一个分支</a:t>
            </a:r>
          </a:p>
        </p:txBody>
      </p:sp>
      <p:pic>
        <p:nvPicPr>
          <p:cNvPr id="151690" name="Picture 138" descr="http://cs.stanford.edu/people/karpathy/convnetjs/logo.png"/>
          <p:cNvPicPr>
            <a:picLocks noChangeAspect="1" noChangeArrowheads="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6200000">
            <a:off x="5996190" y="1774859"/>
            <a:ext cx="606991" cy="676795"/>
          </a:xfrm>
          <a:prstGeom prst="rect">
            <a:avLst/>
          </a:prstGeom>
          <a:noFill/>
          <a:ln>
            <a:solidFill>
              <a:schemeClr val="accent4"/>
            </a:solidFill>
          </a:ln>
          <a:extLst>
            <a:ext uri="{909E8E84-426E-40DD-AFC4-6F175D3DCCD1}">
              <a14:hiddenFill xmlns:a14="http://schemas.microsoft.com/office/drawing/2010/main">
                <a:solidFill>
                  <a:srgbClr val="FFFFFF"/>
                </a:solidFill>
              </a14:hiddenFill>
            </a:ext>
          </a:extLst>
        </p:spPr>
      </p:pic>
      <p:grpSp>
        <p:nvGrpSpPr>
          <p:cNvPr id="156" name="Group 155"/>
          <p:cNvGrpSpPr/>
          <p:nvPr/>
        </p:nvGrpSpPr>
        <p:grpSpPr>
          <a:xfrm>
            <a:off x="1558256" y="3207089"/>
            <a:ext cx="443203" cy="386554"/>
            <a:chOff x="11502118" y="792163"/>
            <a:chExt cx="633413" cy="552450"/>
          </a:xfrm>
          <a:solidFill>
            <a:schemeClr val="bg1"/>
          </a:solidFill>
        </p:grpSpPr>
        <p:sp>
          <p:nvSpPr>
            <p:cNvPr id="158" name="Freeform 722"/>
            <p:cNvSpPr>
              <a:spLocks/>
            </p:cNvSpPr>
            <p:nvPr/>
          </p:nvSpPr>
          <p:spPr bwMode="auto">
            <a:xfrm>
              <a:off x="11997418" y="1077913"/>
              <a:ext cx="131763" cy="66675"/>
            </a:xfrm>
            <a:custGeom>
              <a:avLst/>
              <a:gdLst>
                <a:gd name="T0" fmla="*/ 45 w 165"/>
                <a:gd name="T1" fmla="*/ 0 h 84"/>
                <a:gd name="T2" fmla="*/ 32 w 165"/>
                <a:gd name="T3" fmla="*/ 16 h 84"/>
                <a:gd name="T4" fmla="*/ 18 w 165"/>
                <a:gd name="T5" fmla="*/ 29 h 84"/>
                <a:gd name="T6" fmla="*/ 0 w 165"/>
                <a:gd name="T7" fmla="*/ 38 h 84"/>
                <a:gd name="T8" fmla="*/ 61 w 165"/>
                <a:gd name="T9" fmla="*/ 84 h 84"/>
                <a:gd name="T10" fmla="*/ 154 w 165"/>
                <a:gd name="T11" fmla="*/ 57 h 84"/>
                <a:gd name="T12" fmla="*/ 165 w 165"/>
                <a:gd name="T13" fmla="*/ 14 h 84"/>
                <a:gd name="T14" fmla="*/ 75 w 165"/>
                <a:gd name="T15" fmla="*/ 29 h 84"/>
                <a:gd name="T16" fmla="*/ 45 w 165"/>
                <a:gd name="T17"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84">
                  <a:moveTo>
                    <a:pt x="45" y="0"/>
                  </a:moveTo>
                  <a:lnTo>
                    <a:pt x="32" y="16"/>
                  </a:lnTo>
                  <a:lnTo>
                    <a:pt x="18" y="29"/>
                  </a:lnTo>
                  <a:lnTo>
                    <a:pt x="0" y="38"/>
                  </a:lnTo>
                  <a:lnTo>
                    <a:pt x="61" y="84"/>
                  </a:lnTo>
                  <a:lnTo>
                    <a:pt x="154" y="57"/>
                  </a:lnTo>
                  <a:lnTo>
                    <a:pt x="165" y="14"/>
                  </a:lnTo>
                  <a:lnTo>
                    <a:pt x="75" y="29"/>
                  </a:lnTo>
                  <a:lnTo>
                    <a:pt x="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60" name="Freeform 723"/>
            <p:cNvSpPr>
              <a:spLocks/>
            </p:cNvSpPr>
            <p:nvPr/>
          </p:nvSpPr>
          <p:spPr bwMode="auto">
            <a:xfrm>
              <a:off x="11584668" y="909638"/>
              <a:ext cx="165100" cy="196850"/>
            </a:xfrm>
            <a:custGeom>
              <a:avLst/>
              <a:gdLst>
                <a:gd name="T0" fmla="*/ 32 w 208"/>
                <a:gd name="T1" fmla="*/ 184 h 247"/>
                <a:gd name="T2" fmla="*/ 61 w 208"/>
                <a:gd name="T3" fmla="*/ 188 h 247"/>
                <a:gd name="T4" fmla="*/ 90 w 208"/>
                <a:gd name="T5" fmla="*/ 199 h 247"/>
                <a:gd name="T6" fmla="*/ 113 w 208"/>
                <a:gd name="T7" fmla="*/ 216 h 247"/>
                <a:gd name="T8" fmla="*/ 124 w 208"/>
                <a:gd name="T9" fmla="*/ 231 h 247"/>
                <a:gd name="T10" fmla="*/ 134 w 208"/>
                <a:gd name="T11" fmla="*/ 247 h 247"/>
                <a:gd name="T12" fmla="*/ 208 w 208"/>
                <a:gd name="T13" fmla="*/ 53 h 247"/>
                <a:gd name="T14" fmla="*/ 176 w 208"/>
                <a:gd name="T15" fmla="*/ 59 h 247"/>
                <a:gd name="T16" fmla="*/ 143 w 208"/>
                <a:gd name="T17" fmla="*/ 53 h 247"/>
                <a:gd name="T18" fmla="*/ 116 w 208"/>
                <a:gd name="T19" fmla="*/ 41 h 247"/>
                <a:gd name="T20" fmla="*/ 91 w 208"/>
                <a:gd name="T21" fmla="*/ 23 h 247"/>
                <a:gd name="T22" fmla="*/ 73 w 208"/>
                <a:gd name="T23" fmla="*/ 0 h 247"/>
                <a:gd name="T24" fmla="*/ 0 w 208"/>
                <a:gd name="T25" fmla="*/ 188 h 247"/>
                <a:gd name="T26" fmla="*/ 32 w 208"/>
                <a:gd name="T27" fmla="*/ 18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8" h="247">
                  <a:moveTo>
                    <a:pt x="32" y="184"/>
                  </a:moveTo>
                  <a:lnTo>
                    <a:pt x="61" y="188"/>
                  </a:lnTo>
                  <a:lnTo>
                    <a:pt x="90" y="199"/>
                  </a:lnTo>
                  <a:lnTo>
                    <a:pt x="113" y="216"/>
                  </a:lnTo>
                  <a:lnTo>
                    <a:pt x="124" y="231"/>
                  </a:lnTo>
                  <a:lnTo>
                    <a:pt x="134" y="247"/>
                  </a:lnTo>
                  <a:lnTo>
                    <a:pt x="208" y="53"/>
                  </a:lnTo>
                  <a:lnTo>
                    <a:pt x="176" y="59"/>
                  </a:lnTo>
                  <a:lnTo>
                    <a:pt x="143" y="53"/>
                  </a:lnTo>
                  <a:lnTo>
                    <a:pt x="116" y="41"/>
                  </a:lnTo>
                  <a:lnTo>
                    <a:pt x="91" y="23"/>
                  </a:lnTo>
                  <a:lnTo>
                    <a:pt x="73" y="0"/>
                  </a:lnTo>
                  <a:lnTo>
                    <a:pt x="0" y="188"/>
                  </a:lnTo>
                  <a:lnTo>
                    <a:pt x="32" y="18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64" name="Freeform 724"/>
            <p:cNvSpPr>
              <a:spLocks/>
            </p:cNvSpPr>
            <p:nvPr/>
          </p:nvSpPr>
          <p:spPr bwMode="auto">
            <a:xfrm>
              <a:off x="11502118" y="1203325"/>
              <a:ext cx="220663" cy="141288"/>
            </a:xfrm>
            <a:custGeom>
              <a:avLst/>
              <a:gdLst>
                <a:gd name="T0" fmla="*/ 0 w 276"/>
                <a:gd name="T1" fmla="*/ 177 h 177"/>
                <a:gd name="T2" fmla="*/ 276 w 276"/>
                <a:gd name="T3" fmla="*/ 177 h 177"/>
                <a:gd name="T4" fmla="*/ 226 w 276"/>
                <a:gd name="T5" fmla="*/ 0 h 177"/>
                <a:gd name="T6" fmla="*/ 217 w 276"/>
                <a:gd name="T7" fmla="*/ 11 h 177"/>
                <a:gd name="T8" fmla="*/ 194 w 276"/>
                <a:gd name="T9" fmla="*/ 29 h 177"/>
                <a:gd name="T10" fmla="*/ 165 w 276"/>
                <a:gd name="T11" fmla="*/ 39 h 177"/>
                <a:gd name="T12" fmla="*/ 136 w 276"/>
                <a:gd name="T13" fmla="*/ 43 h 177"/>
                <a:gd name="T14" fmla="*/ 106 w 276"/>
                <a:gd name="T15" fmla="*/ 39 h 177"/>
                <a:gd name="T16" fmla="*/ 79 w 276"/>
                <a:gd name="T17" fmla="*/ 29 h 177"/>
                <a:gd name="T18" fmla="*/ 55 w 276"/>
                <a:gd name="T19" fmla="*/ 11 h 177"/>
                <a:gd name="T20" fmla="*/ 48 w 276"/>
                <a:gd name="T21" fmla="*/ 3 h 177"/>
                <a:gd name="T22" fmla="*/ 0 w 276"/>
                <a:gd name="T23"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77">
                  <a:moveTo>
                    <a:pt x="0" y="177"/>
                  </a:moveTo>
                  <a:lnTo>
                    <a:pt x="276" y="177"/>
                  </a:lnTo>
                  <a:lnTo>
                    <a:pt x="226" y="0"/>
                  </a:lnTo>
                  <a:lnTo>
                    <a:pt x="217" y="11"/>
                  </a:lnTo>
                  <a:lnTo>
                    <a:pt x="194" y="29"/>
                  </a:lnTo>
                  <a:lnTo>
                    <a:pt x="165" y="39"/>
                  </a:lnTo>
                  <a:lnTo>
                    <a:pt x="136" y="43"/>
                  </a:lnTo>
                  <a:lnTo>
                    <a:pt x="106" y="39"/>
                  </a:lnTo>
                  <a:lnTo>
                    <a:pt x="79" y="29"/>
                  </a:lnTo>
                  <a:lnTo>
                    <a:pt x="55" y="11"/>
                  </a:lnTo>
                  <a:lnTo>
                    <a:pt x="48" y="3"/>
                  </a:lnTo>
                  <a:lnTo>
                    <a:pt x="0" y="1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65" name="Freeform 725"/>
            <p:cNvSpPr>
              <a:spLocks noEditPoints="1"/>
            </p:cNvSpPr>
            <p:nvPr/>
          </p:nvSpPr>
          <p:spPr bwMode="auto">
            <a:xfrm>
              <a:off x="11654518" y="792163"/>
              <a:ext cx="139700" cy="139700"/>
            </a:xfrm>
            <a:custGeom>
              <a:avLst/>
              <a:gdLst>
                <a:gd name="T0" fmla="*/ 0 w 175"/>
                <a:gd name="T1" fmla="*/ 88 h 175"/>
                <a:gd name="T2" fmla="*/ 5 w 175"/>
                <a:gd name="T3" fmla="*/ 114 h 175"/>
                <a:gd name="T4" fmla="*/ 18 w 175"/>
                <a:gd name="T5" fmla="*/ 140 h 175"/>
                <a:gd name="T6" fmla="*/ 36 w 175"/>
                <a:gd name="T7" fmla="*/ 157 h 175"/>
                <a:gd name="T8" fmla="*/ 61 w 175"/>
                <a:gd name="T9" fmla="*/ 170 h 175"/>
                <a:gd name="T10" fmla="*/ 88 w 175"/>
                <a:gd name="T11" fmla="*/ 175 h 175"/>
                <a:gd name="T12" fmla="*/ 116 w 175"/>
                <a:gd name="T13" fmla="*/ 170 h 175"/>
                <a:gd name="T14" fmla="*/ 140 w 175"/>
                <a:gd name="T15" fmla="*/ 157 h 175"/>
                <a:gd name="T16" fmla="*/ 159 w 175"/>
                <a:gd name="T17" fmla="*/ 140 h 175"/>
                <a:gd name="T18" fmla="*/ 172 w 175"/>
                <a:gd name="T19" fmla="*/ 114 h 175"/>
                <a:gd name="T20" fmla="*/ 175 w 175"/>
                <a:gd name="T21" fmla="*/ 88 h 175"/>
                <a:gd name="T22" fmla="*/ 172 w 175"/>
                <a:gd name="T23" fmla="*/ 59 h 175"/>
                <a:gd name="T24" fmla="*/ 159 w 175"/>
                <a:gd name="T25" fmla="*/ 36 h 175"/>
                <a:gd name="T26" fmla="*/ 140 w 175"/>
                <a:gd name="T27" fmla="*/ 16 h 175"/>
                <a:gd name="T28" fmla="*/ 116 w 175"/>
                <a:gd name="T29" fmla="*/ 3 h 175"/>
                <a:gd name="T30" fmla="*/ 88 w 175"/>
                <a:gd name="T31" fmla="*/ 0 h 175"/>
                <a:gd name="T32" fmla="*/ 61 w 175"/>
                <a:gd name="T33" fmla="*/ 3 h 175"/>
                <a:gd name="T34" fmla="*/ 36 w 175"/>
                <a:gd name="T35" fmla="*/ 16 h 175"/>
                <a:gd name="T36" fmla="*/ 18 w 175"/>
                <a:gd name="T37" fmla="*/ 36 h 175"/>
                <a:gd name="T38" fmla="*/ 5 w 175"/>
                <a:gd name="T39" fmla="*/ 59 h 175"/>
                <a:gd name="T40" fmla="*/ 0 w 175"/>
                <a:gd name="T41" fmla="*/ 88 h 175"/>
                <a:gd name="T42" fmla="*/ 88 w 175"/>
                <a:gd name="T43" fmla="*/ 32 h 175"/>
                <a:gd name="T44" fmla="*/ 109 w 175"/>
                <a:gd name="T45" fmla="*/ 36 h 175"/>
                <a:gd name="T46" fmla="*/ 127 w 175"/>
                <a:gd name="T47" fmla="*/ 48 h 175"/>
                <a:gd name="T48" fmla="*/ 140 w 175"/>
                <a:gd name="T49" fmla="*/ 66 h 175"/>
                <a:gd name="T50" fmla="*/ 143 w 175"/>
                <a:gd name="T51" fmla="*/ 88 h 175"/>
                <a:gd name="T52" fmla="*/ 140 w 175"/>
                <a:gd name="T53" fmla="*/ 109 h 175"/>
                <a:gd name="T54" fmla="*/ 127 w 175"/>
                <a:gd name="T55" fmla="*/ 127 h 175"/>
                <a:gd name="T56" fmla="*/ 109 w 175"/>
                <a:gd name="T57" fmla="*/ 138 h 175"/>
                <a:gd name="T58" fmla="*/ 88 w 175"/>
                <a:gd name="T59" fmla="*/ 143 h 175"/>
                <a:gd name="T60" fmla="*/ 66 w 175"/>
                <a:gd name="T61" fmla="*/ 138 h 175"/>
                <a:gd name="T62" fmla="*/ 48 w 175"/>
                <a:gd name="T63" fmla="*/ 127 h 175"/>
                <a:gd name="T64" fmla="*/ 36 w 175"/>
                <a:gd name="T65" fmla="*/ 109 h 175"/>
                <a:gd name="T66" fmla="*/ 32 w 175"/>
                <a:gd name="T67" fmla="*/ 88 h 175"/>
                <a:gd name="T68" fmla="*/ 36 w 175"/>
                <a:gd name="T69" fmla="*/ 66 h 175"/>
                <a:gd name="T70" fmla="*/ 48 w 175"/>
                <a:gd name="T71" fmla="*/ 48 h 175"/>
                <a:gd name="T72" fmla="*/ 66 w 175"/>
                <a:gd name="T73" fmla="*/ 36 h 175"/>
                <a:gd name="T74" fmla="*/ 88 w 175"/>
                <a:gd name="T75" fmla="*/ 32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5" h="175">
                  <a:moveTo>
                    <a:pt x="0" y="88"/>
                  </a:moveTo>
                  <a:lnTo>
                    <a:pt x="5" y="114"/>
                  </a:lnTo>
                  <a:lnTo>
                    <a:pt x="18" y="140"/>
                  </a:lnTo>
                  <a:lnTo>
                    <a:pt x="36" y="157"/>
                  </a:lnTo>
                  <a:lnTo>
                    <a:pt x="61" y="170"/>
                  </a:lnTo>
                  <a:lnTo>
                    <a:pt x="88" y="175"/>
                  </a:lnTo>
                  <a:lnTo>
                    <a:pt x="116" y="170"/>
                  </a:lnTo>
                  <a:lnTo>
                    <a:pt x="140" y="157"/>
                  </a:lnTo>
                  <a:lnTo>
                    <a:pt x="159" y="140"/>
                  </a:lnTo>
                  <a:lnTo>
                    <a:pt x="172" y="114"/>
                  </a:lnTo>
                  <a:lnTo>
                    <a:pt x="175" y="88"/>
                  </a:lnTo>
                  <a:lnTo>
                    <a:pt x="172" y="59"/>
                  </a:lnTo>
                  <a:lnTo>
                    <a:pt x="159" y="36"/>
                  </a:lnTo>
                  <a:lnTo>
                    <a:pt x="140" y="16"/>
                  </a:lnTo>
                  <a:lnTo>
                    <a:pt x="116" y="3"/>
                  </a:lnTo>
                  <a:lnTo>
                    <a:pt x="88" y="0"/>
                  </a:lnTo>
                  <a:lnTo>
                    <a:pt x="61" y="3"/>
                  </a:lnTo>
                  <a:lnTo>
                    <a:pt x="36" y="16"/>
                  </a:lnTo>
                  <a:lnTo>
                    <a:pt x="18" y="36"/>
                  </a:lnTo>
                  <a:lnTo>
                    <a:pt x="5" y="59"/>
                  </a:lnTo>
                  <a:lnTo>
                    <a:pt x="0" y="88"/>
                  </a:lnTo>
                  <a:close/>
                  <a:moveTo>
                    <a:pt x="88" y="32"/>
                  </a:moveTo>
                  <a:lnTo>
                    <a:pt x="109" y="36"/>
                  </a:lnTo>
                  <a:lnTo>
                    <a:pt x="127" y="48"/>
                  </a:lnTo>
                  <a:lnTo>
                    <a:pt x="140" y="66"/>
                  </a:lnTo>
                  <a:lnTo>
                    <a:pt x="143" y="88"/>
                  </a:lnTo>
                  <a:lnTo>
                    <a:pt x="140" y="109"/>
                  </a:lnTo>
                  <a:lnTo>
                    <a:pt x="127" y="127"/>
                  </a:lnTo>
                  <a:lnTo>
                    <a:pt x="109" y="138"/>
                  </a:lnTo>
                  <a:lnTo>
                    <a:pt x="88" y="143"/>
                  </a:lnTo>
                  <a:lnTo>
                    <a:pt x="66" y="138"/>
                  </a:lnTo>
                  <a:lnTo>
                    <a:pt x="48" y="127"/>
                  </a:lnTo>
                  <a:lnTo>
                    <a:pt x="36" y="109"/>
                  </a:lnTo>
                  <a:lnTo>
                    <a:pt x="32" y="88"/>
                  </a:lnTo>
                  <a:lnTo>
                    <a:pt x="36" y="66"/>
                  </a:lnTo>
                  <a:lnTo>
                    <a:pt x="48" y="48"/>
                  </a:lnTo>
                  <a:lnTo>
                    <a:pt x="66" y="36"/>
                  </a:lnTo>
                  <a:lnTo>
                    <a:pt x="88" y="3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67" name="Freeform 726"/>
            <p:cNvSpPr>
              <a:spLocks/>
            </p:cNvSpPr>
            <p:nvPr/>
          </p:nvSpPr>
          <p:spPr bwMode="auto">
            <a:xfrm>
              <a:off x="11706905" y="841375"/>
              <a:ext cx="36513" cy="38100"/>
            </a:xfrm>
            <a:custGeom>
              <a:avLst/>
              <a:gdLst>
                <a:gd name="T0" fmla="*/ 24 w 47"/>
                <a:gd name="T1" fmla="*/ 49 h 49"/>
                <a:gd name="T2" fmla="*/ 31 w 47"/>
                <a:gd name="T3" fmla="*/ 47 h 49"/>
                <a:gd name="T4" fmla="*/ 38 w 47"/>
                <a:gd name="T5" fmla="*/ 45 h 49"/>
                <a:gd name="T6" fmla="*/ 43 w 47"/>
                <a:gd name="T7" fmla="*/ 40 h 49"/>
                <a:gd name="T8" fmla="*/ 47 w 47"/>
                <a:gd name="T9" fmla="*/ 33 h 49"/>
                <a:gd name="T10" fmla="*/ 47 w 47"/>
                <a:gd name="T11" fmla="*/ 26 h 49"/>
                <a:gd name="T12" fmla="*/ 47 w 47"/>
                <a:gd name="T13" fmla="*/ 18 h 49"/>
                <a:gd name="T14" fmla="*/ 43 w 47"/>
                <a:gd name="T15" fmla="*/ 11 h 49"/>
                <a:gd name="T16" fmla="*/ 38 w 47"/>
                <a:gd name="T17" fmla="*/ 6 h 49"/>
                <a:gd name="T18" fmla="*/ 31 w 47"/>
                <a:gd name="T19" fmla="*/ 2 h 49"/>
                <a:gd name="T20" fmla="*/ 24 w 47"/>
                <a:gd name="T21" fmla="*/ 0 h 49"/>
                <a:gd name="T22" fmla="*/ 16 w 47"/>
                <a:gd name="T23" fmla="*/ 2 h 49"/>
                <a:gd name="T24" fmla="*/ 9 w 47"/>
                <a:gd name="T25" fmla="*/ 6 h 49"/>
                <a:gd name="T26" fmla="*/ 4 w 47"/>
                <a:gd name="T27" fmla="*/ 11 h 49"/>
                <a:gd name="T28" fmla="*/ 0 w 47"/>
                <a:gd name="T29" fmla="*/ 18 h 49"/>
                <a:gd name="T30" fmla="*/ 0 w 47"/>
                <a:gd name="T31" fmla="*/ 26 h 49"/>
                <a:gd name="T32" fmla="*/ 0 w 47"/>
                <a:gd name="T33" fmla="*/ 33 h 49"/>
                <a:gd name="T34" fmla="*/ 4 w 47"/>
                <a:gd name="T35" fmla="*/ 40 h 49"/>
                <a:gd name="T36" fmla="*/ 9 w 47"/>
                <a:gd name="T37" fmla="*/ 45 h 49"/>
                <a:gd name="T38" fmla="*/ 16 w 47"/>
                <a:gd name="T39" fmla="*/ 47 h 49"/>
                <a:gd name="T40" fmla="*/ 24 w 47"/>
                <a:gd name="T4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49">
                  <a:moveTo>
                    <a:pt x="24" y="49"/>
                  </a:moveTo>
                  <a:lnTo>
                    <a:pt x="31" y="47"/>
                  </a:lnTo>
                  <a:lnTo>
                    <a:pt x="38" y="45"/>
                  </a:lnTo>
                  <a:lnTo>
                    <a:pt x="43" y="40"/>
                  </a:lnTo>
                  <a:lnTo>
                    <a:pt x="47" y="33"/>
                  </a:lnTo>
                  <a:lnTo>
                    <a:pt x="47" y="26"/>
                  </a:lnTo>
                  <a:lnTo>
                    <a:pt x="47" y="18"/>
                  </a:lnTo>
                  <a:lnTo>
                    <a:pt x="43" y="11"/>
                  </a:lnTo>
                  <a:lnTo>
                    <a:pt x="38" y="6"/>
                  </a:lnTo>
                  <a:lnTo>
                    <a:pt x="31" y="2"/>
                  </a:lnTo>
                  <a:lnTo>
                    <a:pt x="24" y="0"/>
                  </a:lnTo>
                  <a:lnTo>
                    <a:pt x="16" y="2"/>
                  </a:lnTo>
                  <a:lnTo>
                    <a:pt x="9" y="6"/>
                  </a:lnTo>
                  <a:lnTo>
                    <a:pt x="4" y="11"/>
                  </a:lnTo>
                  <a:lnTo>
                    <a:pt x="0" y="18"/>
                  </a:lnTo>
                  <a:lnTo>
                    <a:pt x="0" y="26"/>
                  </a:lnTo>
                  <a:lnTo>
                    <a:pt x="0" y="33"/>
                  </a:lnTo>
                  <a:lnTo>
                    <a:pt x="4" y="40"/>
                  </a:lnTo>
                  <a:lnTo>
                    <a:pt x="9" y="45"/>
                  </a:lnTo>
                  <a:lnTo>
                    <a:pt x="16" y="47"/>
                  </a:lnTo>
                  <a:lnTo>
                    <a:pt x="24" y="4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68" name="Freeform 727"/>
            <p:cNvSpPr>
              <a:spLocks/>
            </p:cNvSpPr>
            <p:nvPr/>
          </p:nvSpPr>
          <p:spPr bwMode="auto">
            <a:xfrm>
              <a:off x="11937093" y="1006475"/>
              <a:ext cx="79375" cy="79375"/>
            </a:xfrm>
            <a:custGeom>
              <a:avLst/>
              <a:gdLst>
                <a:gd name="T0" fmla="*/ 50 w 100"/>
                <a:gd name="T1" fmla="*/ 101 h 101"/>
                <a:gd name="T2" fmla="*/ 54 w 100"/>
                <a:gd name="T3" fmla="*/ 101 h 101"/>
                <a:gd name="T4" fmla="*/ 73 w 100"/>
                <a:gd name="T5" fmla="*/ 95 h 101"/>
                <a:gd name="T6" fmla="*/ 88 w 100"/>
                <a:gd name="T7" fmla="*/ 85 h 101"/>
                <a:gd name="T8" fmla="*/ 97 w 100"/>
                <a:gd name="T9" fmla="*/ 69 h 101"/>
                <a:gd name="T10" fmla="*/ 100 w 100"/>
                <a:gd name="T11" fmla="*/ 51 h 101"/>
                <a:gd name="T12" fmla="*/ 100 w 100"/>
                <a:gd name="T13" fmla="*/ 45 h 101"/>
                <a:gd name="T14" fmla="*/ 95 w 100"/>
                <a:gd name="T15" fmla="*/ 27 h 101"/>
                <a:gd name="T16" fmla="*/ 84 w 100"/>
                <a:gd name="T17" fmla="*/ 13 h 101"/>
                <a:gd name="T18" fmla="*/ 68 w 100"/>
                <a:gd name="T19" fmla="*/ 4 h 101"/>
                <a:gd name="T20" fmla="*/ 50 w 100"/>
                <a:gd name="T21" fmla="*/ 0 h 101"/>
                <a:gd name="T22" fmla="*/ 45 w 100"/>
                <a:gd name="T23" fmla="*/ 0 h 101"/>
                <a:gd name="T24" fmla="*/ 27 w 100"/>
                <a:gd name="T25" fmla="*/ 6 h 101"/>
                <a:gd name="T26" fmla="*/ 12 w 100"/>
                <a:gd name="T27" fmla="*/ 17 h 101"/>
                <a:gd name="T28" fmla="*/ 3 w 100"/>
                <a:gd name="T29" fmla="*/ 31 h 101"/>
                <a:gd name="T30" fmla="*/ 0 w 100"/>
                <a:gd name="T31" fmla="*/ 51 h 101"/>
                <a:gd name="T32" fmla="*/ 0 w 100"/>
                <a:gd name="T33" fmla="*/ 54 h 101"/>
                <a:gd name="T34" fmla="*/ 5 w 100"/>
                <a:gd name="T35" fmla="*/ 72 h 101"/>
                <a:gd name="T36" fmla="*/ 16 w 100"/>
                <a:gd name="T37" fmla="*/ 86 h 101"/>
                <a:gd name="T38" fmla="*/ 30 w 100"/>
                <a:gd name="T39" fmla="*/ 97 h 101"/>
                <a:gd name="T40" fmla="*/ 50 w 100"/>
                <a:gd name="T41"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0" h="101">
                  <a:moveTo>
                    <a:pt x="50" y="101"/>
                  </a:moveTo>
                  <a:lnTo>
                    <a:pt x="54" y="101"/>
                  </a:lnTo>
                  <a:lnTo>
                    <a:pt x="73" y="95"/>
                  </a:lnTo>
                  <a:lnTo>
                    <a:pt x="88" y="85"/>
                  </a:lnTo>
                  <a:lnTo>
                    <a:pt x="97" y="69"/>
                  </a:lnTo>
                  <a:lnTo>
                    <a:pt x="100" y="51"/>
                  </a:lnTo>
                  <a:lnTo>
                    <a:pt x="100" y="45"/>
                  </a:lnTo>
                  <a:lnTo>
                    <a:pt x="95" y="27"/>
                  </a:lnTo>
                  <a:lnTo>
                    <a:pt x="84" y="13"/>
                  </a:lnTo>
                  <a:lnTo>
                    <a:pt x="68" y="4"/>
                  </a:lnTo>
                  <a:lnTo>
                    <a:pt x="50" y="0"/>
                  </a:lnTo>
                  <a:lnTo>
                    <a:pt x="45" y="0"/>
                  </a:lnTo>
                  <a:lnTo>
                    <a:pt x="27" y="6"/>
                  </a:lnTo>
                  <a:lnTo>
                    <a:pt x="12" y="17"/>
                  </a:lnTo>
                  <a:lnTo>
                    <a:pt x="3" y="31"/>
                  </a:lnTo>
                  <a:lnTo>
                    <a:pt x="0" y="51"/>
                  </a:lnTo>
                  <a:lnTo>
                    <a:pt x="0" y="54"/>
                  </a:lnTo>
                  <a:lnTo>
                    <a:pt x="5" y="72"/>
                  </a:lnTo>
                  <a:lnTo>
                    <a:pt x="16" y="86"/>
                  </a:lnTo>
                  <a:lnTo>
                    <a:pt x="30" y="97"/>
                  </a:lnTo>
                  <a:lnTo>
                    <a:pt x="50" y="10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69" name="Freeform 728"/>
            <p:cNvSpPr>
              <a:spLocks noEditPoints="1"/>
            </p:cNvSpPr>
            <p:nvPr/>
          </p:nvSpPr>
          <p:spPr bwMode="auto">
            <a:xfrm>
              <a:off x="11544980" y="1082675"/>
              <a:ext cx="131763" cy="128588"/>
            </a:xfrm>
            <a:custGeom>
              <a:avLst/>
              <a:gdLst>
                <a:gd name="T0" fmla="*/ 0 w 165"/>
                <a:gd name="T1" fmla="*/ 83 h 164"/>
                <a:gd name="T2" fmla="*/ 1 w 165"/>
                <a:gd name="T3" fmla="*/ 104 h 164"/>
                <a:gd name="T4" fmla="*/ 10 w 165"/>
                <a:gd name="T5" fmla="*/ 122 h 164"/>
                <a:gd name="T6" fmla="*/ 23 w 165"/>
                <a:gd name="T7" fmla="*/ 140 h 164"/>
                <a:gd name="T8" fmla="*/ 41 w 165"/>
                <a:gd name="T9" fmla="*/ 153 h 164"/>
                <a:gd name="T10" fmla="*/ 61 w 165"/>
                <a:gd name="T11" fmla="*/ 162 h 164"/>
                <a:gd name="T12" fmla="*/ 82 w 165"/>
                <a:gd name="T13" fmla="*/ 164 h 164"/>
                <a:gd name="T14" fmla="*/ 104 w 165"/>
                <a:gd name="T15" fmla="*/ 162 h 164"/>
                <a:gd name="T16" fmla="*/ 123 w 165"/>
                <a:gd name="T17" fmla="*/ 153 h 164"/>
                <a:gd name="T18" fmla="*/ 140 w 165"/>
                <a:gd name="T19" fmla="*/ 140 h 164"/>
                <a:gd name="T20" fmla="*/ 154 w 165"/>
                <a:gd name="T21" fmla="*/ 122 h 164"/>
                <a:gd name="T22" fmla="*/ 161 w 165"/>
                <a:gd name="T23" fmla="*/ 104 h 164"/>
                <a:gd name="T24" fmla="*/ 165 w 165"/>
                <a:gd name="T25" fmla="*/ 83 h 164"/>
                <a:gd name="T26" fmla="*/ 161 w 165"/>
                <a:gd name="T27" fmla="*/ 61 h 164"/>
                <a:gd name="T28" fmla="*/ 154 w 165"/>
                <a:gd name="T29" fmla="*/ 42 h 164"/>
                <a:gd name="T30" fmla="*/ 140 w 165"/>
                <a:gd name="T31" fmla="*/ 24 h 164"/>
                <a:gd name="T32" fmla="*/ 123 w 165"/>
                <a:gd name="T33" fmla="*/ 11 h 164"/>
                <a:gd name="T34" fmla="*/ 104 w 165"/>
                <a:gd name="T35" fmla="*/ 2 h 164"/>
                <a:gd name="T36" fmla="*/ 82 w 165"/>
                <a:gd name="T37" fmla="*/ 0 h 164"/>
                <a:gd name="T38" fmla="*/ 61 w 165"/>
                <a:gd name="T39" fmla="*/ 2 h 164"/>
                <a:gd name="T40" fmla="*/ 41 w 165"/>
                <a:gd name="T41" fmla="*/ 11 h 164"/>
                <a:gd name="T42" fmla="*/ 23 w 165"/>
                <a:gd name="T43" fmla="*/ 24 h 164"/>
                <a:gd name="T44" fmla="*/ 10 w 165"/>
                <a:gd name="T45" fmla="*/ 42 h 164"/>
                <a:gd name="T46" fmla="*/ 1 w 165"/>
                <a:gd name="T47" fmla="*/ 61 h 164"/>
                <a:gd name="T48" fmla="*/ 0 w 165"/>
                <a:gd name="T49" fmla="*/ 83 h 164"/>
                <a:gd name="T50" fmla="*/ 46 w 165"/>
                <a:gd name="T51" fmla="*/ 47 h 164"/>
                <a:gd name="T52" fmla="*/ 62 w 165"/>
                <a:gd name="T53" fmla="*/ 36 h 164"/>
                <a:gd name="T54" fmla="*/ 82 w 165"/>
                <a:gd name="T55" fmla="*/ 31 h 164"/>
                <a:gd name="T56" fmla="*/ 102 w 165"/>
                <a:gd name="T57" fmla="*/ 36 h 164"/>
                <a:gd name="T58" fmla="*/ 118 w 165"/>
                <a:gd name="T59" fmla="*/ 47 h 164"/>
                <a:gd name="T60" fmla="*/ 129 w 165"/>
                <a:gd name="T61" fmla="*/ 63 h 164"/>
                <a:gd name="T62" fmla="*/ 132 w 165"/>
                <a:gd name="T63" fmla="*/ 83 h 164"/>
                <a:gd name="T64" fmla="*/ 129 w 165"/>
                <a:gd name="T65" fmla="*/ 101 h 164"/>
                <a:gd name="T66" fmla="*/ 118 w 165"/>
                <a:gd name="T67" fmla="*/ 117 h 164"/>
                <a:gd name="T68" fmla="*/ 102 w 165"/>
                <a:gd name="T69" fmla="*/ 130 h 164"/>
                <a:gd name="T70" fmla="*/ 82 w 165"/>
                <a:gd name="T71" fmla="*/ 133 h 164"/>
                <a:gd name="T72" fmla="*/ 62 w 165"/>
                <a:gd name="T73" fmla="*/ 130 h 164"/>
                <a:gd name="T74" fmla="*/ 46 w 165"/>
                <a:gd name="T75" fmla="*/ 117 h 164"/>
                <a:gd name="T76" fmla="*/ 36 w 165"/>
                <a:gd name="T77" fmla="*/ 101 h 164"/>
                <a:gd name="T78" fmla="*/ 32 w 165"/>
                <a:gd name="T79" fmla="*/ 83 h 164"/>
                <a:gd name="T80" fmla="*/ 36 w 165"/>
                <a:gd name="T81" fmla="*/ 63 h 164"/>
                <a:gd name="T82" fmla="*/ 46 w 165"/>
                <a:gd name="T83" fmla="*/ 47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5" h="164">
                  <a:moveTo>
                    <a:pt x="0" y="83"/>
                  </a:moveTo>
                  <a:lnTo>
                    <a:pt x="1" y="104"/>
                  </a:lnTo>
                  <a:lnTo>
                    <a:pt x="10" y="122"/>
                  </a:lnTo>
                  <a:lnTo>
                    <a:pt x="23" y="140"/>
                  </a:lnTo>
                  <a:lnTo>
                    <a:pt x="41" y="153"/>
                  </a:lnTo>
                  <a:lnTo>
                    <a:pt x="61" y="162"/>
                  </a:lnTo>
                  <a:lnTo>
                    <a:pt x="82" y="164"/>
                  </a:lnTo>
                  <a:lnTo>
                    <a:pt x="104" y="162"/>
                  </a:lnTo>
                  <a:lnTo>
                    <a:pt x="123" y="153"/>
                  </a:lnTo>
                  <a:lnTo>
                    <a:pt x="140" y="140"/>
                  </a:lnTo>
                  <a:lnTo>
                    <a:pt x="154" y="122"/>
                  </a:lnTo>
                  <a:lnTo>
                    <a:pt x="161" y="104"/>
                  </a:lnTo>
                  <a:lnTo>
                    <a:pt x="165" y="83"/>
                  </a:lnTo>
                  <a:lnTo>
                    <a:pt x="161" y="61"/>
                  </a:lnTo>
                  <a:lnTo>
                    <a:pt x="154" y="42"/>
                  </a:lnTo>
                  <a:lnTo>
                    <a:pt x="140" y="24"/>
                  </a:lnTo>
                  <a:lnTo>
                    <a:pt x="123" y="11"/>
                  </a:lnTo>
                  <a:lnTo>
                    <a:pt x="104" y="2"/>
                  </a:lnTo>
                  <a:lnTo>
                    <a:pt x="82" y="0"/>
                  </a:lnTo>
                  <a:lnTo>
                    <a:pt x="61" y="2"/>
                  </a:lnTo>
                  <a:lnTo>
                    <a:pt x="41" y="11"/>
                  </a:lnTo>
                  <a:lnTo>
                    <a:pt x="23" y="24"/>
                  </a:lnTo>
                  <a:lnTo>
                    <a:pt x="10" y="42"/>
                  </a:lnTo>
                  <a:lnTo>
                    <a:pt x="1" y="61"/>
                  </a:lnTo>
                  <a:lnTo>
                    <a:pt x="0" y="83"/>
                  </a:lnTo>
                  <a:close/>
                  <a:moveTo>
                    <a:pt x="46" y="47"/>
                  </a:moveTo>
                  <a:lnTo>
                    <a:pt x="62" y="36"/>
                  </a:lnTo>
                  <a:lnTo>
                    <a:pt x="82" y="31"/>
                  </a:lnTo>
                  <a:lnTo>
                    <a:pt x="102" y="36"/>
                  </a:lnTo>
                  <a:lnTo>
                    <a:pt x="118" y="47"/>
                  </a:lnTo>
                  <a:lnTo>
                    <a:pt x="129" y="63"/>
                  </a:lnTo>
                  <a:lnTo>
                    <a:pt x="132" y="83"/>
                  </a:lnTo>
                  <a:lnTo>
                    <a:pt x="129" y="101"/>
                  </a:lnTo>
                  <a:lnTo>
                    <a:pt x="118" y="117"/>
                  </a:lnTo>
                  <a:lnTo>
                    <a:pt x="102" y="130"/>
                  </a:lnTo>
                  <a:lnTo>
                    <a:pt x="82" y="133"/>
                  </a:lnTo>
                  <a:lnTo>
                    <a:pt x="62" y="130"/>
                  </a:lnTo>
                  <a:lnTo>
                    <a:pt x="46" y="117"/>
                  </a:lnTo>
                  <a:lnTo>
                    <a:pt x="36" y="101"/>
                  </a:lnTo>
                  <a:lnTo>
                    <a:pt x="32" y="83"/>
                  </a:lnTo>
                  <a:lnTo>
                    <a:pt x="36" y="63"/>
                  </a:lnTo>
                  <a:lnTo>
                    <a:pt x="46" y="4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71" name="Freeform 729"/>
            <p:cNvSpPr>
              <a:spLocks/>
            </p:cNvSpPr>
            <p:nvPr/>
          </p:nvSpPr>
          <p:spPr bwMode="auto">
            <a:xfrm>
              <a:off x="11597368" y="1131888"/>
              <a:ext cx="28575" cy="30163"/>
            </a:xfrm>
            <a:custGeom>
              <a:avLst/>
              <a:gdLst>
                <a:gd name="T0" fmla="*/ 18 w 36"/>
                <a:gd name="T1" fmla="*/ 38 h 38"/>
                <a:gd name="T2" fmla="*/ 22 w 36"/>
                <a:gd name="T3" fmla="*/ 36 h 38"/>
                <a:gd name="T4" fmla="*/ 27 w 36"/>
                <a:gd name="T5" fmla="*/ 34 h 38"/>
                <a:gd name="T6" fmla="*/ 31 w 36"/>
                <a:gd name="T7" fmla="*/ 32 h 38"/>
                <a:gd name="T8" fmla="*/ 34 w 36"/>
                <a:gd name="T9" fmla="*/ 29 h 38"/>
                <a:gd name="T10" fmla="*/ 36 w 36"/>
                <a:gd name="T11" fmla="*/ 23 h 38"/>
                <a:gd name="T12" fmla="*/ 36 w 36"/>
                <a:gd name="T13" fmla="*/ 20 h 38"/>
                <a:gd name="T14" fmla="*/ 36 w 36"/>
                <a:gd name="T15" fmla="*/ 15 h 38"/>
                <a:gd name="T16" fmla="*/ 34 w 36"/>
                <a:gd name="T17" fmla="*/ 9 h 38"/>
                <a:gd name="T18" fmla="*/ 31 w 36"/>
                <a:gd name="T19" fmla="*/ 6 h 38"/>
                <a:gd name="T20" fmla="*/ 27 w 36"/>
                <a:gd name="T21" fmla="*/ 4 h 38"/>
                <a:gd name="T22" fmla="*/ 22 w 36"/>
                <a:gd name="T23" fmla="*/ 2 h 38"/>
                <a:gd name="T24" fmla="*/ 18 w 36"/>
                <a:gd name="T25" fmla="*/ 0 h 38"/>
                <a:gd name="T26" fmla="*/ 13 w 36"/>
                <a:gd name="T27" fmla="*/ 2 h 38"/>
                <a:gd name="T28" fmla="*/ 9 w 36"/>
                <a:gd name="T29" fmla="*/ 4 h 38"/>
                <a:gd name="T30" fmla="*/ 6 w 36"/>
                <a:gd name="T31" fmla="*/ 6 h 38"/>
                <a:gd name="T32" fmla="*/ 2 w 36"/>
                <a:gd name="T33" fmla="*/ 9 h 38"/>
                <a:gd name="T34" fmla="*/ 0 w 36"/>
                <a:gd name="T35" fmla="*/ 15 h 38"/>
                <a:gd name="T36" fmla="*/ 0 w 36"/>
                <a:gd name="T37" fmla="*/ 20 h 38"/>
                <a:gd name="T38" fmla="*/ 0 w 36"/>
                <a:gd name="T39" fmla="*/ 23 h 38"/>
                <a:gd name="T40" fmla="*/ 2 w 36"/>
                <a:gd name="T41" fmla="*/ 29 h 38"/>
                <a:gd name="T42" fmla="*/ 6 w 36"/>
                <a:gd name="T43" fmla="*/ 32 h 38"/>
                <a:gd name="T44" fmla="*/ 9 w 36"/>
                <a:gd name="T45" fmla="*/ 34 h 38"/>
                <a:gd name="T46" fmla="*/ 13 w 36"/>
                <a:gd name="T47" fmla="*/ 38 h 38"/>
                <a:gd name="T48" fmla="*/ 18 w 36"/>
                <a:gd name="T4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 h="38">
                  <a:moveTo>
                    <a:pt x="18" y="38"/>
                  </a:moveTo>
                  <a:lnTo>
                    <a:pt x="22" y="36"/>
                  </a:lnTo>
                  <a:lnTo>
                    <a:pt x="27" y="34"/>
                  </a:lnTo>
                  <a:lnTo>
                    <a:pt x="31" y="32"/>
                  </a:lnTo>
                  <a:lnTo>
                    <a:pt x="34" y="29"/>
                  </a:lnTo>
                  <a:lnTo>
                    <a:pt x="36" y="23"/>
                  </a:lnTo>
                  <a:lnTo>
                    <a:pt x="36" y="20"/>
                  </a:lnTo>
                  <a:lnTo>
                    <a:pt x="36" y="15"/>
                  </a:lnTo>
                  <a:lnTo>
                    <a:pt x="34" y="9"/>
                  </a:lnTo>
                  <a:lnTo>
                    <a:pt x="31" y="6"/>
                  </a:lnTo>
                  <a:lnTo>
                    <a:pt x="27" y="4"/>
                  </a:lnTo>
                  <a:lnTo>
                    <a:pt x="22" y="2"/>
                  </a:lnTo>
                  <a:lnTo>
                    <a:pt x="18" y="0"/>
                  </a:lnTo>
                  <a:lnTo>
                    <a:pt x="13" y="2"/>
                  </a:lnTo>
                  <a:lnTo>
                    <a:pt x="9" y="4"/>
                  </a:lnTo>
                  <a:lnTo>
                    <a:pt x="6" y="6"/>
                  </a:lnTo>
                  <a:lnTo>
                    <a:pt x="2" y="9"/>
                  </a:lnTo>
                  <a:lnTo>
                    <a:pt x="0" y="15"/>
                  </a:lnTo>
                  <a:lnTo>
                    <a:pt x="0" y="20"/>
                  </a:lnTo>
                  <a:lnTo>
                    <a:pt x="0" y="23"/>
                  </a:lnTo>
                  <a:lnTo>
                    <a:pt x="2" y="29"/>
                  </a:lnTo>
                  <a:lnTo>
                    <a:pt x="6" y="32"/>
                  </a:lnTo>
                  <a:lnTo>
                    <a:pt x="9" y="34"/>
                  </a:lnTo>
                  <a:lnTo>
                    <a:pt x="13" y="38"/>
                  </a:lnTo>
                  <a:lnTo>
                    <a:pt x="18" y="3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73" name="Freeform 730"/>
            <p:cNvSpPr>
              <a:spLocks/>
            </p:cNvSpPr>
            <p:nvPr/>
          </p:nvSpPr>
          <p:spPr bwMode="auto">
            <a:xfrm>
              <a:off x="11767230" y="858838"/>
              <a:ext cx="190500" cy="180975"/>
            </a:xfrm>
            <a:custGeom>
              <a:avLst/>
              <a:gdLst>
                <a:gd name="T0" fmla="*/ 0 w 241"/>
                <a:gd name="T1" fmla="*/ 109 h 228"/>
                <a:gd name="T2" fmla="*/ 182 w 241"/>
                <a:gd name="T3" fmla="*/ 228 h 228"/>
                <a:gd name="T4" fmla="*/ 189 w 241"/>
                <a:gd name="T5" fmla="*/ 204 h 228"/>
                <a:gd name="T6" fmla="*/ 201 w 241"/>
                <a:gd name="T7" fmla="*/ 183 h 228"/>
                <a:gd name="T8" fmla="*/ 219 w 241"/>
                <a:gd name="T9" fmla="*/ 167 h 228"/>
                <a:gd name="T10" fmla="*/ 241 w 241"/>
                <a:gd name="T11" fmla="*/ 158 h 228"/>
                <a:gd name="T12" fmla="*/ 67 w 241"/>
                <a:gd name="T13" fmla="*/ 0 h 228"/>
                <a:gd name="T14" fmla="*/ 67 w 241"/>
                <a:gd name="T15" fmla="*/ 4 h 228"/>
                <a:gd name="T16" fmla="*/ 61 w 241"/>
                <a:gd name="T17" fmla="*/ 38 h 228"/>
                <a:gd name="T18" fmla="*/ 49 w 241"/>
                <a:gd name="T19" fmla="*/ 66 h 228"/>
                <a:gd name="T20" fmla="*/ 27 w 241"/>
                <a:gd name="T21" fmla="*/ 91 h 228"/>
                <a:gd name="T22" fmla="*/ 0 w 241"/>
                <a:gd name="T23" fmla="*/ 10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1" h="228">
                  <a:moveTo>
                    <a:pt x="0" y="109"/>
                  </a:moveTo>
                  <a:lnTo>
                    <a:pt x="182" y="228"/>
                  </a:lnTo>
                  <a:lnTo>
                    <a:pt x="189" y="204"/>
                  </a:lnTo>
                  <a:lnTo>
                    <a:pt x="201" y="183"/>
                  </a:lnTo>
                  <a:lnTo>
                    <a:pt x="219" y="167"/>
                  </a:lnTo>
                  <a:lnTo>
                    <a:pt x="241" y="158"/>
                  </a:lnTo>
                  <a:lnTo>
                    <a:pt x="67" y="0"/>
                  </a:lnTo>
                  <a:lnTo>
                    <a:pt x="67" y="4"/>
                  </a:lnTo>
                  <a:lnTo>
                    <a:pt x="61" y="38"/>
                  </a:lnTo>
                  <a:lnTo>
                    <a:pt x="49" y="66"/>
                  </a:lnTo>
                  <a:lnTo>
                    <a:pt x="27" y="91"/>
                  </a:lnTo>
                  <a:lnTo>
                    <a:pt x="0" y="10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74" name="Freeform 731"/>
            <p:cNvSpPr>
              <a:spLocks/>
            </p:cNvSpPr>
            <p:nvPr/>
          </p:nvSpPr>
          <p:spPr bwMode="auto">
            <a:xfrm>
              <a:off x="12003768" y="952500"/>
              <a:ext cx="131763" cy="66675"/>
            </a:xfrm>
            <a:custGeom>
              <a:avLst/>
              <a:gdLst>
                <a:gd name="T0" fmla="*/ 156 w 165"/>
                <a:gd name="T1" fmla="*/ 31 h 85"/>
                <a:gd name="T2" fmla="*/ 65 w 165"/>
                <a:gd name="T3" fmla="*/ 0 h 85"/>
                <a:gd name="T4" fmla="*/ 0 w 165"/>
                <a:gd name="T5" fmla="*/ 43 h 85"/>
                <a:gd name="T6" fmla="*/ 16 w 165"/>
                <a:gd name="T7" fmla="*/ 54 h 85"/>
                <a:gd name="T8" fmla="*/ 31 w 165"/>
                <a:gd name="T9" fmla="*/ 68 h 85"/>
                <a:gd name="T10" fmla="*/ 40 w 165"/>
                <a:gd name="T11" fmla="*/ 85 h 85"/>
                <a:gd name="T12" fmla="*/ 75 w 165"/>
                <a:gd name="T13" fmla="*/ 56 h 85"/>
                <a:gd name="T14" fmla="*/ 165 w 165"/>
                <a:gd name="T15" fmla="*/ 76 h 85"/>
                <a:gd name="T16" fmla="*/ 156 w 165"/>
                <a:gd name="T17" fmla="*/ 3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85">
                  <a:moveTo>
                    <a:pt x="156" y="31"/>
                  </a:moveTo>
                  <a:lnTo>
                    <a:pt x="65" y="0"/>
                  </a:lnTo>
                  <a:lnTo>
                    <a:pt x="0" y="43"/>
                  </a:lnTo>
                  <a:lnTo>
                    <a:pt x="16" y="54"/>
                  </a:lnTo>
                  <a:lnTo>
                    <a:pt x="31" y="68"/>
                  </a:lnTo>
                  <a:lnTo>
                    <a:pt x="40" y="85"/>
                  </a:lnTo>
                  <a:lnTo>
                    <a:pt x="75" y="56"/>
                  </a:lnTo>
                  <a:lnTo>
                    <a:pt x="165" y="76"/>
                  </a:lnTo>
                  <a:lnTo>
                    <a:pt x="156" y="3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grpSp>
      <p:grpSp>
        <p:nvGrpSpPr>
          <p:cNvPr id="117798" name="Group 117797"/>
          <p:cNvGrpSpPr/>
          <p:nvPr/>
        </p:nvGrpSpPr>
        <p:grpSpPr>
          <a:xfrm>
            <a:off x="4239789" y="3169743"/>
            <a:ext cx="498683" cy="461246"/>
            <a:chOff x="5113533" y="5730143"/>
            <a:chExt cx="642269" cy="594053"/>
          </a:xfrm>
          <a:solidFill>
            <a:schemeClr val="bg1"/>
          </a:solidFill>
        </p:grpSpPr>
        <p:sp>
          <p:nvSpPr>
            <p:cNvPr id="20" name="Freeform 26"/>
            <p:cNvSpPr>
              <a:spLocks/>
            </p:cNvSpPr>
            <p:nvPr/>
          </p:nvSpPr>
          <p:spPr bwMode="auto">
            <a:xfrm>
              <a:off x="5605242" y="5956666"/>
              <a:ext cx="118265" cy="30021"/>
            </a:xfrm>
            <a:custGeom>
              <a:avLst/>
              <a:gdLst>
                <a:gd name="T0" fmla="*/ 504 w 520"/>
                <a:gd name="T1" fmla="*/ 0 h 131"/>
                <a:gd name="T2" fmla="*/ 508 w 520"/>
                <a:gd name="T3" fmla="*/ 0 h 131"/>
                <a:gd name="T4" fmla="*/ 513 w 520"/>
                <a:gd name="T5" fmla="*/ 1 h 131"/>
                <a:gd name="T6" fmla="*/ 516 w 520"/>
                <a:gd name="T7" fmla="*/ 5 h 131"/>
                <a:gd name="T8" fmla="*/ 519 w 520"/>
                <a:gd name="T9" fmla="*/ 9 h 131"/>
                <a:gd name="T10" fmla="*/ 520 w 520"/>
                <a:gd name="T11" fmla="*/ 12 h 131"/>
                <a:gd name="T12" fmla="*/ 520 w 520"/>
                <a:gd name="T13" fmla="*/ 16 h 131"/>
                <a:gd name="T14" fmla="*/ 519 w 520"/>
                <a:gd name="T15" fmla="*/ 21 h 131"/>
                <a:gd name="T16" fmla="*/ 516 w 520"/>
                <a:gd name="T17" fmla="*/ 23 h 131"/>
                <a:gd name="T18" fmla="*/ 413 w 520"/>
                <a:gd name="T19" fmla="*/ 126 h 131"/>
                <a:gd name="T20" fmla="*/ 410 w 520"/>
                <a:gd name="T21" fmla="*/ 129 h 131"/>
                <a:gd name="T22" fmla="*/ 407 w 520"/>
                <a:gd name="T23" fmla="*/ 130 h 131"/>
                <a:gd name="T24" fmla="*/ 404 w 520"/>
                <a:gd name="T25" fmla="*/ 131 h 131"/>
                <a:gd name="T26" fmla="*/ 15 w 520"/>
                <a:gd name="T27" fmla="*/ 131 h 131"/>
                <a:gd name="T28" fmla="*/ 10 w 520"/>
                <a:gd name="T29" fmla="*/ 130 h 131"/>
                <a:gd name="T30" fmla="*/ 6 w 520"/>
                <a:gd name="T31" fmla="*/ 129 h 131"/>
                <a:gd name="T32" fmla="*/ 4 w 520"/>
                <a:gd name="T33" fmla="*/ 125 h 131"/>
                <a:gd name="T34" fmla="*/ 2 w 520"/>
                <a:gd name="T35" fmla="*/ 121 h 131"/>
                <a:gd name="T36" fmla="*/ 0 w 520"/>
                <a:gd name="T37" fmla="*/ 118 h 131"/>
                <a:gd name="T38" fmla="*/ 2 w 520"/>
                <a:gd name="T39" fmla="*/ 113 h 131"/>
                <a:gd name="T40" fmla="*/ 4 w 520"/>
                <a:gd name="T41" fmla="*/ 109 h 131"/>
                <a:gd name="T42" fmla="*/ 6 w 520"/>
                <a:gd name="T43" fmla="*/ 106 h 131"/>
                <a:gd name="T44" fmla="*/ 10 w 520"/>
                <a:gd name="T45" fmla="*/ 104 h 131"/>
                <a:gd name="T46" fmla="*/ 15 w 520"/>
                <a:gd name="T47" fmla="*/ 103 h 131"/>
                <a:gd name="T48" fmla="*/ 398 w 520"/>
                <a:gd name="T49" fmla="*/ 103 h 131"/>
                <a:gd name="T50" fmla="*/ 497 w 520"/>
                <a:gd name="T51" fmla="*/ 5 h 131"/>
                <a:gd name="T52" fmla="*/ 501 w 520"/>
                <a:gd name="T53" fmla="*/ 1 h 131"/>
                <a:gd name="T54" fmla="*/ 504 w 520"/>
                <a:gd name="T5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0" h="131">
                  <a:moveTo>
                    <a:pt x="504" y="0"/>
                  </a:moveTo>
                  <a:lnTo>
                    <a:pt x="508" y="0"/>
                  </a:lnTo>
                  <a:lnTo>
                    <a:pt x="513" y="1"/>
                  </a:lnTo>
                  <a:lnTo>
                    <a:pt x="516" y="5"/>
                  </a:lnTo>
                  <a:lnTo>
                    <a:pt x="519" y="9"/>
                  </a:lnTo>
                  <a:lnTo>
                    <a:pt x="520" y="12"/>
                  </a:lnTo>
                  <a:lnTo>
                    <a:pt x="520" y="16"/>
                  </a:lnTo>
                  <a:lnTo>
                    <a:pt x="519" y="21"/>
                  </a:lnTo>
                  <a:lnTo>
                    <a:pt x="516" y="23"/>
                  </a:lnTo>
                  <a:lnTo>
                    <a:pt x="413" y="126"/>
                  </a:lnTo>
                  <a:lnTo>
                    <a:pt x="410" y="129"/>
                  </a:lnTo>
                  <a:lnTo>
                    <a:pt x="407" y="130"/>
                  </a:lnTo>
                  <a:lnTo>
                    <a:pt x="404" y="131"/>
                  </a:lnTo>
                  <a:lnTo>
                    <a:pt x="15" y="131"/>
                  </a:lnTo>
                  <a:lnTo>
                    <a:pt x="10" y="130"/>
                  </a:lnTo>
                  <a:lnTo>
                    <a:pt x="6" y="129"/>
                  </a:lnTo>
                  <a:lnTo>
                    <a:pt x="4" y="125"/>
                  </a:lnTo>
                  <a:lnTo>
                    <a:pt x="2" y="121"/>
                  </a:lnTo>
                  <a:lnTo>
                    <a:pt x="0" y="118"/>
                  </a:lnTo>
                  <a:lnTo>
                    <a:pt x="2" y="113"/>
                  </a:lnTo>
                  <a:lnTo>
                    <a:pt x="4" y="109"/>
                  </a:lnTo>
                  <a:lnTo>
                    <a:pt x="6" y="106"/>
                  </a:lnTo>
                  <a:lnTo>
                    <a:pt x="10" y="104"/>
                  </a:lnTo>
                  <a:lnTo>
                    <a:pt x="15" y="103"/>
                  </a:lnTo>
                  <a:lnTo>
                    <a:pt x="398" y="103"/>
                  </a:lnTo>
                  <a:lnTo>
                    <a:pt x="497" y="5"/>
                  </a:lnTo>
                  <a:lnTo>
                    <a:pt x="501" y="1"/>
                  </a:lnTo>
                  <a:lnTo>
                    <a:pt x="50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2" name="Freeform 27"/>
            <p:cNvSpPr>
              <a:spLocks/>
            </p:cNvSpPr>
            <p:nvPr/>
          </p:nvSpPr>
          <p:spPr bwMode="auto">
            <a:xfrm>
              <a:off x="5605242" y="5920731"/>
              <a:ext cx="131001" cy="21833"/>
            </a:xfrm>
            <a:custGeom>
              <a:avLst/>
              <a:gdLst>
                <a:gd name="T0" fmla="*/ 347 w 577"/>
                <a:gd name="T1" fmla="*/ 0 h 94"/>
                <a:gd name="T2" fmla="*/ 563 w 577"/>
                <a:gd name="T3" fmla="*/ 0 h 94"/>
                <a:gd name="T4" fmla="*/ 568 w 577"/>
                <a:gd name="T5" fmla="*/ 1 h 94"/>
                <a:gd name="T6" fmla="*/ 572 w 577"/>
                <a:gd name="T7" fmla="*/ 2 h 94"/>
                <a:gd name="T8" fmla="*/ 574 w 577"/>
                <a:gd name="T9" fmla="*/ 6 h 94"/>
                <a:gd name="T10" fmla="*/ 577 w 577"/>
                <a:gd name="T11" fmla="*/ 10 h 94"/>
                <a:gd name="T12" fmla="*/ 577 w 577"/>
                <a:gd name="T13" fmla="*/ 13 h 94"/>
                <a:gd name="T14" fmla="*/ 577 w 577"/>
                <a:gd name="T15" fmla="*/ 18 h 94"/>
                <a:gd name="T16" fmla="*/ 574 w 577"/>
                <a:gd name="T17" fmla="*/ 22 h 94"/>
                <a:gd name="T18" fmla="*/ 572 w 577"/>
                <a:gd name="T19" fmla="*/ 24 h 94"/>
                <a:gd name="T20" fmla="*/ 568 w 577"/>
                <a:gd name="T21" fmla="*/ 27 h 94"/>
                <a:gd name="T22" fmla="*/ 563 w 577"/>
                <a:gd name="T23" fmla="*/ 27 h 94"/>
                <a:gd name="T24" fmla="*/ 352 w 577"/>
                <a:gd name="T25" fmla="*/ 27 h 94"/>
                <a:gd name="T26" fmla="*/ 289 w 577"/>
                <a:gd name="T27" fmla="*/ 91 h 94"/>
                <a:gd name="T28" fmla="*/ 286 w 577"/>
                <a:gd name="T29" fmla="*/ 93 h 94"/>
                <a:gd name="T30" fmla="*/ 283 w 577"/>
                <a:gd name="T31" fmla="*/ 94 h 94"/>
                <a:gd name="T32" fmla="*/ 279 w 577"/>
                <a:gd name="T33" fmla="*/ 94 h 94"/>
                <a:gd name="T34" fmla="*/ 15 w 577"/>
                <a:gd name="T35" fmla="*/ 94 h 94"/>
                <a:gd name="T36" fmla="*/ 10 w 577"/>
                <a:gd name="T37" fmla="*/ 94 h 94"/>
                <a:gd name="T38" fmla="*/ 6 w 577"/>
                <a:gd name="T39" fmla="*/ 92 h 94"/>
                <a:gd name="T40" fmla="*/ 4 w 577"/>
                <a:gd name="T41" fmla="*/ 89 h 94"/>
                <a:gd name="T42" fmla="*/ 2 w 577"/>
                <a:gd name="T43" fmla="*/ 86 h 94"/>
                <a:gd name="T44" fmla="*/ 0 w 577"/>
                <a:gd name="T45" fmla="*/ 81 h 94"/>
                <a:gd name="T46" fmla="*/ 2 w 577"/>
                <a:gd name="T47" fmla="*/ 76 h 94"/>
                <a:gd name="T48" fmla="*/ 4 w 577"/>
                <a:gd name="T49" fmla="*/ 73 h 94"/>
                <a:gd name="T50" fmla="*/ 6 w 577"/>
                <a:gd name="T51" fmla="*/ 70 h 94"/>
                <a:gd name="T52" fmla="*/ 10 w 577"/>
                <a:gd name="T53" fmla="*/ 68 h 94"/>
                <a:gd name="T54" fmla="*/ 15 w 577"/>
                <a:gd name="T55" fmla="*/ 68 h 94"/>
                <a:gd name="T56" fmla="*/ 273 w 577"/>
                <a:gd name="T57" fmla="*/ 68 h 94"/>
                <a:gd name="T58" fmla="*/ 337 w 577"/>
                <a:gd name="T59" fmla="*/ 4 h 94"/>
                <a:gd name="T60" fmla="*/ 339 w 577"/>
                <a:gd name="T61" fmla="*/ 2 h 94"/>
                <a:gd name="T62" fmla="*/ 343 w 577"/>
                <a:gd name="T63" fmla="*/ 0 h 94"/>
                <a:gd name="T64" fmla="*/ 347 w 577"/>
                <a:gd name="T6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7" h="94">
                  <a:moveTo>
                    <a:pt x="347" y="0"/>
                  </a:moveTo>
                  <a:lnTo>
                    <a:pt x="563" y="0"/>
                  </a:lnTo>
                  <a:lnTo>
                    <a:pt x="568" y="1"/>
                  </a:lnTo>
                  <a:lnTo>
                    <a:pt x="572" y="2"/>
                  </a:lnTo>
                  <a:lnTo>
                    <a:pt x="574" y="6"/>
                  </a:lnTo>
                  <a:lnTo>
                    <a:pt x="577" y="10"/>
                  </a:lnTo>
                  <a:lnTo>
                    <a:pt x="577" y="13"/>
                  </a:lnTo>
                  <a:lnTo>
                    <a:pt x="577" y="18"/>
                  </a:lnTo>
                  <a:lnTo>
                    <a:pt x="574" y="22"/>
                  </a:lnTo>
                  <a:lnTo>
                    <a:pt x="572" y="24"/>
                  </a:lnTo>
                  <a:lnTo>
                    <a:pt x="568" y="27"/>
                  </a:lnTo>
                  <a:lnTo>
                    <a:pt x="563" y="27"/>
                  </a:lnTo>
                  <a:lnTo>
                    <a:pt x="352" y="27"/>
                  </a:lnTo>
                  <a:lnTo>
                    <a:pt x="289" y="91"/>
                  </a:lnTo>
                  <a:lnTo>
                    <a:pt x="286" y="93"/>
                  </a:lnTo>
                  <a:lnTo>
                    <a:pt x="283" y="94"/>
                  </a:lnTo>
                  <a:lnTo>
                    <a:pt x="279" y="94"/>
                  </a:lnTo>
                  <a:lnTo>
                    <a:pt x="15" y="94"/>
                  </a:lnTo>
                  <a:lnTo>
                    <a:pt x="10" y="94"/>
                  </a:lnTo>
                  <a:lnTo>
                    <a:pt x="6" y="92"/>
                  </a:lnTo>
                  <a:lnTo>
                    <a:pt x="4" y="89"/>
                  </a:lnTo>
                  <a:lnTo>
                    <a:pt x="2" y="86"/>
                  </a:lnTo>
                  <a:lnTo>
                    <a:pt x="0" y="81"/>
                  </a:lnTo>
                  <a:lnTo>
                    <a:pt x="2" y="76"/>
                  </a:lnTo>
                  <a:lnTo>
                    <a:pt x="4" y="73"/>
                  </a:lnTo>
                  <a:lnTo>
                    <a:pt x="6" y="70"/>
                  </a:lnTo>
                  <a:lnTo>
                    <a:pt x="10" y="68"/>
                  </a:lnTo>
                  <a:lnTo>
                    <a:pt x="15" y="68"/>
                  </a:lnTo>
                  <a:lnTo>
                    <a:pt x="273" y="68"/>
                  </a:lnTo>
                  <a:lnTo>
                    <a:pt x="337" y="4"/>
                  </a:lnTo>
                  <a:lnTo>
                    <a:pt x="339" y="2"/>
                  </a:lnTo>
                  <a:lnTo>
                    <a:pt x="343" y="0"/>
                  </a:lnTo>
                  <a:lnTo>
                    <a:pt x="34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3" name="Freeform 28"/>
            <p:cNvSpPr>
              <a:spLocks/>
            </p:cNvSpPr>
            <p:nvPr/>
          </p:nvSpPr>
          <p:spPr bwMode="auto">
            <a:xfrm>
              <a:off x="5609336" y="6112229"/>
              <a:ext cx="132366" cy="40483"/>
            </a:xfrm>
            <a:custGeom>
              <a:avLst/>
              <a:gdLst>
                <a:gd name="T0" fmla="*/ 13 w 581"/>
                <a:gd name="T1" fmla="*/ 0 h 178"/>
                <a:gd name="T2" fmla="*/ 416 w 581"/>
                <a:gd name="T3" fmla="*/ 0 h 178"/>
                <a:gd name="T4" fmla="*/ 420 w 581"/>
                <a:gd name="T5" fmla="*/ 0 h 178"/>
                <a:gd name="T6" fmla="*/ 422 w 581"/>
                <a:gd name="T7" fmla="*/ 1 h 178"/>
                <a:gd name="T8" fmla="*/ 426 w 581"/>
                <a:gd name="T9" fmla="*/ 4 h 178"/>
                <a:gd name="T10" fmla="*/ 577 w 581"/>
                <a:gd name="T11" fmla="*/ 155 h 178"/>
                <a:gd name="T12" fmla="*/ 580 w 581"/>
                <a:gd name="T13" fmla="*/ 159 h 178"/>
                <a:gd name="T14" fmla="*/ 581 w 581"/>
                <a:gd name="T15" fmla="*/ 163 h 178"/>
                <a:gd name="T16" fmla="*/ 581 w 581"/>
                <a:gd name="T17" fmla="*/ 167 h 178"/>
                <a:gd name="T18" fmla="*/ 580 w 581"/>
                <a:gd name="T19" fmla="*/ 171 h 178"/>
                <a:gd name="T20" fmla="*/ 577 w 581"/>
                <a:gd name="T21" fmla="*/ 175 h 178"/>
                <a:gd name="T22" fmla="*/ 574 w 581"/>
                <a:gd name="T23" fmla="*/ 177 h 178"/>
                <a:gd name="T24" fmla="*/ 571 w 581"/>
                <a:gd name="T25" fmla="*/ 178 h 178"/>
                <a:gd name="T26" fmla="*/ 568 w 581"/>
                <a:gd name="T27" fmla="*/ 178 h 178"/>
                <a:gd name="T28" fmla="*/ 564 w 581"/>
                <a:gd name="T29" fmla="*/ 178 h 178"/>
                <a:gd name="T30" fmla="*/ 560 w 581"/>
                <a:gd name="T31" fmla="*/ 177 h 178"/>
                <a:gd name="T32" fmla="*/ 558 w 581"/>
                <a:gd name="T33" fmla="*/ 175 h 178"/>
                <a:gd name="T34" fmla="*/ 410 w 581"/>
                <a:gd name="T35" fmla="*/ 27 h 178"/>
                <a:gd name="T36" fmla="*/ 13 w 581"/>
                <a:gd name="T37" fmla="*/ 27 h 178"/>
                <a:gd name="T38" fmla="*/ 8 w 581"/>
                <a:gd name="T39" fmla="*/ 27 h 178"/>
                <a:gd name="T40" fmla="*/ 4 w 581"/>
                <a:gd name="T41" fmla="*/ 24 h 178"/>
                <a:gd name="T42" fmla="*/ 2 w 581"/>
                <a:gd name="T43" fmla="*/ 22 h 178"/>
                <a:gd name="T44" fmla="*/ 0 w 581"/>
                <a:gd name="T45" fmla="*/ 18 h 178"/>
                <a:gd name="T46" fmla="*/ 0 w 581"/>
                <a:gd name="T47" fmla="*/ 14 h 178"/>
                <a:gd name="T48" fmla="*/ 0 w 581"/>
                <a:gd name="T49" fmla="*/ 10 h 178"/>
                <a:gd name="T50" fmla="*/ 2 w 581"/>
                <a:gd name="T51" fmla="*/ 5 h 178"/>
                <a:gd name="T52" fmla="*/ 4 w 581"/>
                <a:gd name="T53" fmla="*/ 3 h 178"/>
                <a:gd name="T54" fmla="*/ 8 w 581"/>
                <a:gd name="T55" fmla="*/ 0 h 178"/>
                <a:gd name="T56" fmla="*/ 13 w 581"/>
                <a:gd name="T57"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1" h="178">
                  <a:moveTo>
                    <a:pt x="13" y="0"/>
                  </a:moveTo>
                  <a:lnTo>
                    <a:pt x="416" y="0"/>
                  </a:lnTo>
                  <a:lnTo>
                    <a:pt x="420" y="0"/>
                  </a:lnTo>
                  <a:lnTo>
                    <a:pt x="422" y="1"/>
                  </a:lnTo>
                  <a:lnTo>
                    <a:pt x="426" y="4"/>
                  </a:lnTo>
                  <a:lnTo>
                    <a:pt x="577" y="155"/>
                  </a:lnTo>
                  <a:lnTo>
                    <a:pt x="580" y="159"/>
                  </a:lnTo>
                  <a:lnTo>
                    <a:pt x="581" y="163"/>
                  </a:lnTo>
                  <a:lnTo>
                    <a:pt x="581" y="167"/>
                  </a:lnTo>
                  <a:lnTo>
                    <a:pt x="580" y="171"/>
                  </a:lnTo>
                  <a:lnTo>
                    <a:pt x="577" y="175"/>
                  </a:lnTo>
                  <a:lnTo>
                    <a:pt x="574" y="177"/>
                  </a:lnTo>
                  <a:lnTo>
                    <a:pt x="571" y="178"/>
                  </a:lnTo>
                  <a:lnTo>
                    <a:pt x="568" y="178"/>
                  </a:lnTo>
                  <a:lnTo>
                    <a:pt x="564" y="178"/>
                  </a:lnTo>
                  <a:lnTo>
                    <a:pt x="560" y="177"/>
                  </a:lnTo>
                  <a:lnTo>
                    <a:pt x="558" y="175"/>
                  </a:lnTo>
                  <a:lnTo>
                    <a:pt x="410" y="27"/>
                  </a:lnTo>
                  <a:lnTo>
                    <a:pt x="13" y="27"/>
                  </a:lnTo>
                  <a:lnTo>
                    <a:pt x="8" y="27"/>
                  </a:lnTo>
                  <a:lnTo>
                    <a:pt x="4" y="24"/>
                  </a:lnTo>
                  <a:lnTo>
                    <a:pt x="2" y="22"/>
                  </a:lnTo>
                  <a:lnTo>
                    <a:pt x="0" y="18"/>
                  </a:lnTo>
                  <a:lnTo>
                    <a:pt x="0" y="14"/>
                  </a:lnTo>
                  <a:lnTo>
                    <a:pt x="0" y="10"/>
                  </a:lnTo>
                  <a:lnTo>
                    <a:pt x="2" y="5"/>
                  </a:lnTo>
                  <a:lnTo>
                    <a:pt x="4" y="3"/>
                  </a:lnTo>
                  <a:lnTo>
                    <a:pt x="8" y="0"/>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4" name="Freeform 29"/>
            <p:cNvSpPr>
              <a:spLocks/>
            </p:cNvSpPr>
            <p:nvPr/>
          </p:nvSpPr>
          <p:spPr bwMode="auto">
            <a:xfrm>
              <a:off x="5609336" y="6068107"/>
              <a:ext cx="43667" cy="6368"/>
            </a:xfrm>
            <a:custGeom>
              <a:avLst/>
              <a:gdLst>
                <a:gd name="T0" fmla="*/ 13 w 191"/>
                <a:gd name="T1" fmla="*/ 0 h 28"/>
                <a:gd name="T2" fmla="*/ 178 w 191"/>
                <a:gd name="T3" fmla="*/ 0 h 28"/>
                <a:gd name="T4" fmla="*/ 181 w 191"/>
                <a:gd name="T5" fmla="*/ 2 h 28"/>
                <a:gd name="T6" fmla="*/ 185 w 191"/>
                <a:gd name="T7" fmla="*/ 3 h 28"/>
                <a:gd name="T8" fmla="*/ 188 w 191"/>
                <a:gd name="T9" fmla="*/ 7 h 28"/>
                <a:gd name="T10" fmla="*/ 191 w 191"/>
                <a:gd name="T11" fmla="*/ 10 h 28"/>
                <a:gd name="T12" fmla="*/ 191 w 191"/>
                <a:gd name="T13" fmla="*/ 15 h 28"/>
                <a:gd name="T14" fmla="*/ 191 w 191"/>
                <a:gd name="T15" fmla="*/ 19 h 28"/>
                <a:gd name="T16" fmla="*/ 188 w 191"/>
                <a:gd name="T17" fmla="*/ 22 h 28"/>
                <a:gd name="T18" fmla="*/ 185 w 191"/>
                <a:gd name="T19" fmla="*/ 26 h 28"/>
                <a:gd name="T20" fmla="*/ 181 w 191"/>
                <a:gd name="T21" fmla="*/ 27 h 28"/>
                <a:gd name="T22" fmla="*/ 178 w 191"/>
                <a:gd name="T23" fmla="*/ 28 h 28"/>
                <a:gd name="T24" fmla="*/ 13 w 191"/>
                <a:gd name="T25" fmla="*/ 28 h 28"/>
                <a:gd name="T26" fmla="*/ 8 w 191"/>
                <a:gd name="T27" fmla="*/ 27 h 28"/>
                <a:gd name="T28" fmla="*/ 4 w 191"/>
                <a:gd name="T29" fmla="*/ 26 h 28"/>
                <a:gd name="T30" fmla="*/ 2 w 191"/>
                <a:gd name="T31" fmla="*/ 22 h 28"/>
                <a:gd name="T32" fmla="*/ 0 w 191"/>
                <a:gd name="T33" fmla="*/ 19 h 28"/>
                <a:gd name="T34" fmla="*/ 0 w 191"/>
                <a:gd name="T35" fmla="*/ 15 h 28"/>
                <a:gd name="T36" fmla="*/ 0 w 191"/>
                <a:gd name="T37" fmla="*/ 10 h 28"/>
                <a:gd name="T38" fmla="*/ 2 w 191"/>
                <a:gd name="T39" fmla="*/ 7 h 28"/>
                <a:gd name="T40" fmla="*/ 4 w 191"/>
                <a:gd name="T41" fmla="*/ 3 h 28"/>
                <a:gd name="T42" fmla="*/ 8 w 191"/>
                <a:gd name="T43" fmla="*/ 2 h 28"/>
                <a:gd name="T44" fmla="*/ 13 w 191"/>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28">
                  <a:moveTo>
                    <a:pt x="13" y="0"/>
                  </a:moveTo>
                  <a:lnTo>
                    <a:pt x="178" y="0"/>
                  </a:lnTo>
                  <a:lnTo>
                    <a:pt x="181" y="2"/>
                  </a:lnTo>
                  <a:lnTo>
                    <a:pt x="185" y="3"/>
                  </a:lnTo>
                  <a:lnTo>
                    <a:pt x="188" y="7"/>
                  </a:lnTo>
                  <a:lnTo>
                    <a:pt x="191" y="10"/>
                  </a:lnTo>
                  <a:lnTo>
                    <a:pt x="191" y="15"/>
                  </a:lnTo>
                  <a:lnTo>
                    <a:pt x="191" y="19"/>
                  </a:lnTo>
                  <a:lnTo>
                    <a:pt x="188" y="22"/>
                  </a:lnTo>
                  <a:lnTo>
                    <a:pt x="185" y="26"/>
                  </a:lnTo>
                  <a:lnTo>
                    <a:pt x="181" y="27"/>
                  </a:lnTo>
                  <a:lnTo>
                    <a:pt x="178" y="28"/>
                  </a:lnTo>
                  <a:lnTo>
                    <a:pt x="13" y="28"/>
                  </a:lnTo>
                  <a:lnTo>
                    <a:pt x="8" y="27"/>
                  </a:lnTo>
                  <a:lnTo>
                    <a:pt x="4" y="26"/>
                  </a:lnTo>
                  <a:lnTo>
                    <a:pt x="2" y="22"/>
                  </a:lnTo>
                  <a:lnTo>
                    <a:pt x="0" y="19"/>
                  </a:lnTo>
                  <a:lnTo>
                    <a:pt x="0" y="15"/>
                  </a:lnTo>
                  <a:lnTo>
                    <a:pt x="0" y="10"/>
                  </a:lnTo>
                  <a:lnTo>
                    <a:pt x="2" y="7"/>
                  </a:lnTo>
                  <a:lnTo>
                    <a:pt x="4" y="3"/>
                  </a:lnTo>
                  <a:lnTo>
                    <a:pt x="8" y="2"/>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5" name="Freeform 30"/>
            <p:cNvSpPr>
              <a:spLocks/>
            </p:cNvSpPr>
            <p:nvPr/>
          </p:nvSpPr>
          <p:spPr bwMode="auto">
            <a:xfrm>
              <a:off x="5609336" y="6023985"/>
              <a:ext cx="130546" cy="43667"/>
            </a:xfrm>
            <a:custGeom>
              <a:avLst/>
              <a:gdLst>
                <a:gd name="T0" fmla="*/ 13 w 574"/>
                <a:gd name="T1" fmla="*/ 0 h 191"/>
                <a:gd name="T2" fmla="*/ 201 w 574"/>
                <a:gd name="T3" fmla="*/ 0 h 191"/>
                <a:gd name="T4" fmla="*/ 204 w 574"/>
                <a:gd name="T5" fmla="*/ 0 h 191"/>
                <a:gd name="T6" fmla="*/ 208 w 574"/>
                <a:gd name="T7" fmla="*/ 1 h 191"/>
                <a:gd name="T8" fmla="*/ 210 w 574"/>
                <a:gd name="T9" fmla="*/ 4 h 191"/>
                <a:gd name="T10" fmla="*/ 370 w 574"/>
                <a:gd name="T11" fmla="*/ 163 h 191"/>
                <a:gd name="T12" fmla="*/ 560 w 574"/>
                <a:gd name="T13" fmla="*/ 163 h 191"/>
                <a:gd name="T14" fmla="*/ 565 w 574"/>
                <a:gd name="T15" fmla="*/ 165 h 191"/>
                <a:gd name="T16" fmla="*/ 569 w 574"/>
                <a:gd name="T17" fmla="*/ 166 h 191"/>
                <a:gd name="T18" fmla="*/ 571 w 574"/>
                <a:gd name="T19" fmla="*/ 169 h 191"/>
                <a:gd name="T20" fmla="*/ 574 w 574"/>
                <a:gd name="T21" fmla="*/ 173 h 191"/>
                <a:gd name="T22" fmla="*/ 574 w 574"/>
                <a:gd name="T23" fmla="*/ 177 h 191"/>
                <a:gd name="T24" fmla="*/ 574 w 574"/>
                <a:gd name="T25" fmla="*/ 182 h 191"/>
                <a:gd name="T26" fmla="*/ 571 w 574"/>
                <a:gd name="T27" fmla="*/ 185 h 191"/>
                <a:gd name="T28" fmla="*/ 569 w 574"/>
                <a:gd name="T29" fmla="*/ 188 h 191"/>
                <a:gd name="T30" fmla="*/ 565 w 574"/>
                <a:gd name="T31" fmla="*/ 190 h 191"/>
                <a:gd name="T32" fmla="*/ 560 w 574"/>
                <a:gd name="T33" fmla="*/ 191 h 191"/>
                <a:gd name="T34" fmla="*/ 365 w 574"/>
                <a:gd name="T35" fmla="*/ 191 h 191"/>
                <a:gd name="T36" fmla="*/ 362 w 574"/>
                <a:gd name="T37" fmla="*/ 190 h 191"/>
                <a:gd name="T38" fmla="*/ 358 w 574"/>
                <a:gd name="T39" fmla="*/ 189 h 191"/>
                <a:gd name="T40" fmla="*/ 356 w 574"/>
                <a:gd name="T41" fmla="*/ 186 h 191"/>
                <a:gd name="T42" fmla="*/ 196 w 574"/>
                <a:gd name="T43" fmla="*/ 27 h 191"/>
                <a:gd name="T44" fmla="*/ 13 w 574"/>
                <a:gd name="T45" fmla="*/ 27 h 191"/>
                <a:gd name="T46" fmla="*/ 8 w 574"/>
                <a:gd name="T47" fmla="*/ 27 h 191"/>
                <a:gd name="T48" fmla="*/ 4 w 574"/>
                <a:gd name="T49" fmla="*/ 24 h 191"/>
                <a:gd name="T50" fmla="*/ 2 w 574"/>
                <a:gd name="T51" fmla="*/ 22 h 191"/>
                <a:gd name="T52" fmla="*/ 0 w 574"/>
                <a:gd name="T53" fmla="*/ 17 h 191"/>
                <a:gd name="T54" fmla="*/ 0 w 574"/>
                <a:gd name="T55" fmla="*/ 13 h 191"/>
                <a:gd name="T56" fmla="*/ 0 w 574"/>
                <a:gd name="T57" fmla="*/ 8 h 191"/>
                <a:gd name="T58" fmla="*/ 2 w 574"/>
                <a:gd name="T59" fmla="*/ 5 h 191"/>
                <a:gd name="T60" fmla="*/ 4 w 574"/>
                <a:gd name="T61" fmla="*/ 2 h 191"/>
                <a:gd name="T62" fmla="*/ 8 w 574"/>
                <a:gd name="T63" fmla="*/ 0 h 191"/>
                <a:gd name="T64" fmla="*/ 13 w 574"/>
                <a:gd name="T65"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4" h="191">
                  <a:moveTo>
                    <a:pt x="13" y="0"/>
                  </a:moveTo>
                  <a:lnTo>
                    <a:pt x="201" y="0"/>
                  </a:lnTo>
                  <a:lnTo>
                    <a:pt x="204" y="0"/>
                  </a:lnTo>
                  <a:lnTo>
                    <a:pt x="208" y="1"/>
                  </a:lnTo>
                  <a:lnTo>
                    <a:pt x="210" y="4"/>
                  </a:lnTo>
                  <a:lnTo>
                    <a:pt x="370" y="163"/>
                  </a:lnTo>
                  <a:lnTo>
                    <a:pt x="560" y="163"/>
                  </a:lnTo>
                  <a:lnTo>
                    <a:pt x="565" y="165"/>
                  </a:lnTo>
                  <a:lnTo>
                    <a:pt x="569" y="166"/>
                  </a:lnTo>
                  <a:lnTo>
                    <a:pt x="571" y="169"/>
                  </a:lnTo>
                  <a:lnTo>
                    <a:pt x="574" y="173"/>
                  </a:lnTo>
                  <a:lnTo>
                    <a:pt x="574" y="177"/>
                  </a:lnTo>
                  <a:lnTo>
                    <a:pt x="574" y="182"/>
                  </a:lnTo>
                  <a:lnTo>
                    <a:pt x="571" y="185"/>
                  </a:lnTo>
                  <a:lnTo>
                    <a:pt x="569" y="188"/>
                  </a:lnTo>
                  <a:lnTo>
                    <a:pt x="565" y="190"/>
                  </a:lnTo>
                  <a:lnTo>
                    <a:pt x="560" y="191"/>
                  </a:lnTo>
                  <a:lnTo>
                    <a:pt x="365" y="191"/>
                  </a:lnTo>
                  <a:lnTo>
                    <a:pt x="362" y="190"/>
                  </a:lnTo>
                  <a:lnTo>
                    <a:pt x="358" y="189"/>
                  </a:lnTo>
                  <a:lnTo>
                    <a:pt x="356" y="186"/>
                  </a:lnTo>
                  <a:lnTo>
                    <a:pt x="196" y="27"/>
                  </a:lnTo>
                  <a:lnTo>
                    <a:pt x="13" y="27"/>
                  </a:lnTo>
                  <a:lnTo>
                    <a:pt x="8" y="27"/>
                  </a:lnTo>
                  <a:lnTo>
                    <a:pt x="4" y="24"/>
                  </a:lnTo>
                  <a:lnTo>
                    <a:pt x="2" y="22"/>
                  </a:lnTo>
                  <a:lnTo>
                    <a:pt x="0" y="17"/>
                  </a:lnTo>
                  <a:lnTo>
                    <a:pt x="0" y="13"/>
                  </a:lnTo>
                  <a:lnTo>
                    <a:pt x="0" y="8"/>
                  </a:lnTo>
                  <a:lnTo>
                    <a:pt x="2" y="5"/>
                  </a:lnTo>
                  <a:lnTo>
                    <a:pt x="4" y="2"/>
                  </a:lnTo>
                  <a:lnTo>
                    <a:pt x="8" y="0"/>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6" name="Freeform 31"/>
            <p:cNvSpPr>
              <a:spLocks noEditPoints="1"/>
            </p:cNvSpPr>
            <p:nvPr/>
          </p:nvSpPr>
          <p:spPr bwMode="auto">
            <a:xfrm>
              <a:off x="5730330" y="5912999"/>
              <a:ext cx="22289" cy="21833"/>
            </a:xfrm>
            <a:custGeom>
              <a:avLst/>
              <a:gdLst>
                <a:gd name="T0" fmla="*/ 49 w 97"/>
                <a:gd name="T1" fmla="*/ 28 h 97"/>
                <a:gd name="T2" fmla="*/ 38 w 97"/>
                <a:gd name="T3" fmla="*/ 30 h 97"/>
                <a:gd name="T4" fmla="*/ 30 w 97"/>
                <a:gd name="T5" fmla="*/ 37 h 97"/>
                <a:gd name="T6" fmla="*/ 27 w 97"/>
                <a:gd name="T7" fmla="*/ 48 h 97"/>
                <a:gd name="T8" fmla="*/ 30 w 97"/>
                <a:gd name="T9" fmla="*/ 59 h 97"/>
                <a:gd name="T10" fmla="*/ 38 w 97"/>
                <a:gd name="T11" fmla="*/ 68 h 97"/>
                <a:gd name="T12" fmla="*/ 49 w 97"/>
                <a:gd name="T13" fmla="*/ 70 h 97"/>
                <a:gd name="T14" fmla="*/ 60 w 97"/>
                <a:gd name="T15" fmla="*/ 68 h 97"/>
                <a:gd name="T16" fmla="*/ 67 w 97"/>
                <a:gd name="T17" fmla="*/ 59 h 97"/>
                <a:gd name="T18" fmla="*/ 70 w 97"/>
                <a:gd name="T19" fmla="*/ 48 h 97"/>
                <a:gd name="T20" fmla="*/ 67 w 97"/>
                <a:gd name="T21" fmla="*/ 37 h 97"/>
                <a:gd name="T22" fmla="*/ 60 w 97"/>
                <a:gd name="T23" fmla="*/ 30 h 97"/>
                <a:gd name="T24" fmla="*/ 49 w 97"/>
                <a:gd name="T25" fmla="*/ 28 h 97"/>
                <a:gd name="T26" fmla="*/ 49 w 97"/>
                <a:gd name="T27" fmla="*/ 0 h 97"/>
                <a:gd name="T28" fmla="*/ 64 w 97"/>
                <a:gd name="T29" fmla="*/ 2 h 97"/>
                <a:gd name="T30" fmla="*/ 78 w 97"/>
                <a:gd name="T31" fmla="*/ 9 h 97"/>
                <a:gd name="T32" fmla="*/ 87 w 97"/>
                <a:gd name="T33" fmla="*/ 20 h 97"/>
                <a:gd name="T34" fmla="*/ 95 w 97"/>
                <a:gd name="T35" fmla="*/ 34 h 97"/>
                <a:gd name="T36" fmla="*/ 97 w 97"/>
                <a:gd name="T37" fmla="*/ 48 h 97"/>
                <a:gd name="T38" fmla="*/ 95 w 97"/>
                <a:gd name="T39" fmla="*/ 64 h 97"/>
                <a:gd name="T40" fmla="*/ 87 w 97"/>
                <a:gd name="T41" fmla="*/ 77 h 97"/>
                <a:gd name="T42" fmla="*/ 78 w 97"/>
                <a:gd name="T43" fmla="*/ 88 h 97"/>
                <a:gd name="T44" fmla="*/ 64 w 97"/>
                <a:gd name="T45" fmla="*/ 94 h 97"/>
                <a:gd name="T46" fmla="*/ 49 w 97"/>
                <a:gd name="T47" fmla="*/ 97 h 97"/>
                <a:gd name="T48" fmla="*/ 33 w 97"/>
                <a:gd name="T49" fmla="*/ 94 h 97"/>
                <a:gd name="T50" fmla="*/ 20 w 97"/>
                <a:gd name="T51" fmla="*/ 88 h 97"/>
                <a:gd name="T52" fmla="*/ 10 w 97"/>
                <a:gd name="T53" fmla="*/ 77 h 97"/>
                <a:gd name="T54" fmla="*/ 3 w 97"/>
                <a:gd name="T55" fmla="*/ 64 h 97"/>
                <a:gd name="T56" fmla="*/ 0 w 97"/>
                <a:gd name="T57" fmla="*/ 48 h 97"/>
                <a:gd name="T58" fmla="*/ 3 w 97"/>
                <a:gd name="T59" fmla="*/ 34 h 97"/>
                <a:gd name="T60" fmla="*/ 10 w 97"/>
                <a:gd name="T61" fmla="*/ 20 h 97"/>
                <a:gd name="T62" fmla="*/ 20 w 97"/>
                <a:gd name="T63" fmla="*/ 9 h 97"/>
                <a:gd name="T64" fmla="*/ 33 w 97"/>
                <a:gd name="T65" fmla="*/ 2 h 97"/>
                <a:gd name="T66" fmla="*/ 49 w 97"/>
                <a:gd name="T6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 h="97">
                  <a:moveTo>
                    <a:pt x="49" y="28"/>
                  </a:moveTo>
                  <a:lnTo>
                    <a:pt x="38" y="30"/>
                  </a:lnTo>
                  <a:lnTo>
                    <a:pt x="30" y="37"/>
                  </a:lnTo>
                  <a:lnTo>
                    <a:pt x="27" y="48"/>
                  </a:lnTo>
                  <a:lnTo>
                    <a:pt x="30" y="59"/>
                  </a:lnTo>
                  <a:lnTo>
                    <a:pt x="38" y="68"/>
                  </a:lnTo>
                  <a:lnTo>
                    <a:pt x="49" y="70"/>
                  </a:lnTo>
                  <a:lnTo>
                    <a:pt x="60" y="68"/>
                  </a:lnTo>
                  <a:lnTo>
                    <a:pt x="67" y="59"/>
                  </a:lnTo>
                  <a:lnTo>
                    <a:pt x="70" y="48"/>
                  </a:lnTo>
                  <a:lnTo>
                    <a:pt x="67" y="37"/>
                  </a:lnTo>
                  <a:lnTo>
                    <a:pt x="60" y="30"/>
                  </a:lnTo>
                  <a:lnTo>
                    <a:pt x="49" y="28"/>
                  </a:lnTo>
                  <a:close/>
                  <a:moveTo>
                    <a:pt x="49" y="0"/>
                  </a:moveTo>
                  <a:lnTo>
                    <a:pt x="64" y="2"/>
                  </a:lnTo>
                  <a:lnTo>
                    <a:pt x="78" y="9"/>
                  </a:lnTo>
                  <a:lnTo>
                    <a:pt x="87" y="20"/>
                  </a:lnTo>
                  <a:lnTo>
                    <a:pt x="95" y="34"/>
                  </a:lnTo>
                  <a:lnTo>
                    <a:pt x="97" y="48"/>
                  </a:lnTo>
                  <a:lnTo>
                    <a:pt x="95" y="64"/>
                  </a:lnTo>
                  <a:lnTo>
                    <a:pt x="87" y="77"/>
                  </a:lnTo>
                  <a:lnTo>
                    <a:pt x="78" y="88"/>
                  </a:lnTo>
                  <a:lnTo>
                    <a:pt x="64" y="94"/>
                  </a:lnTo>
                  <a:lnTo>
                    <a:pt x="49" y="97"/>
                  </a:lnTo>
                  <a:lnTo>
                    <a:pt x="33" y="94"/>
                  </a:lnTo>
                  <a:lnTo>
                    <a:pt x="20" y="88"/>
                  </a:lnTo>
                  <a:lnTo>
                    <a:pt x="10" y="77"/>
                  </a:lnTo>
                  <a:lnTo>
                    <a:pt x="3" y="64"/>
                  </a:lnTo>
                  <a:lnTo>
                    <a:pt x="0" y="48"/>
                  </a:lnTo>
                  <a:lnTo>
                    <a:pt x="3" y="34"/>
                  </a:lnTo>
                  <a:lnTo>
                    <a:pt x="10" y="20"/>
                  </a:lnTo>
                  <a:lnTo>
                    <a:pt x="20" y="9"/>
                  </a:lnTo>
                  <a:lnTo>
                    <a:pt x="33" y="2"/>
                  </a:lnTo>
                  <a:lnTo>
                    <a:pt x="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7" name="Freeform 32"/>
            <p:cNvSpPr>
              <a:spLocks noEditPoints="1"/>
            </p:cNvSpPr>
            <p:nvPr/>
          </p:nvSpPr>
          <p:spPr bwMode="auto">
            <a:xfrm>
              <a:off x="5714864" y="5943020"/>
              <a:ext cx="22289" cy="22289"/>
            </a:xfrm>
            <a:custGeom>
              <a:avLst/>
              <a:gdLst>
                <a:gd name="T0" fmla="*/ 49 w 97"/>
                <a:gd name="T1" fmla="*/ 27 h 97"/>
                <a:gd name="T2" fmla="*/ 38 w 97"/>
                <a:gd name="T3" fmla="*/ 30 h 97"/>
                <a:gd name="T4" fmla="*/ 31 w 97"/>
                <a:gd name="T5" fmla="*/ 37 h 97"/>
                <a:gd name="T6" fmla="*/ 27 w 97"/>
                <a:gd name="T7" fmla="*/ 48 h 97"/>
                <a:gd name="T8" fmla="*/ 31 w 97"/>
                <a:gd name="T9" fmla="*/ 59 h 97"/>
                <a:gd name="T10" fmla="*/ 38 w 97"/>
                <a:gd name="T11" fmla="*/ 67 h 97"/>
                <a:gd name="T12" fmla="*/ 49 w 97"/>
                <a:gd name="T13" fmla="*/ 70 h 97"/>
                <a:gd name="T14" fmla="*/ 60 w 97"/>
                <a:gd name="T15" fmla="*/ 67 h 97"/>
                <a:gd name="T16" fmla="*/ 67 w 97"/>
                <a:gd name="T17" fmla="*/ 59 h 97"/>
                <a:gd name="T18" fmla="*/ 71 w 97"/>
                <a:gd name="T19" fmla="*/ 48 h 97"/>
                <a:gd name="T20" fmla="*/ 67 w 97"/>
                <a:gd name="T21" fmla="*/ 37 h 97"/>
                <a:gd name="T22" fmla="*/ 60 w 97"/>
                <a:gd name="T23" fmla="*/ 30 h 97"/>
                <a:gd name="T24" fmla="*/ 49 w 97"/>
                <a:gd name="T25" fmla="*/ 27 h 97"/>
                <a:gd name="T26" fmla="*/ 49 w 97"/>
                <a:gd name="T27" fmla="*/ 0 h 97"/>
                <a:gd name="T28" fmla="*/ 65 w 97"/>
                <a:gd name="T29" fmla="*/ 2 h 97"/>
                <a:gd name="T30" fmla="*/ 78 w 97"/>
                <a:gd name="T31" fmla="*/ 10 h 97"/>
                <a:gd name="T32" fmla="*/ 88 w 97"/>
                <a:gd name="T33" fmla="*/ 19 h 97"/>
                <a:gd name="T34" fmla="*/ 95 w 97"/>
                <a:gd name="T35" fmla="*/ 33 h 97"/>
                <a:gd name="T36" fmla="*/ 97 w 97"/>
                <a:gd name="T37" fmla="*/ 48 h 97"/>
                <a:gd name="T38" fmla="*/ 95 w 97"/>
                <a:gd name="T39" fmla="*/ 64 h 97"/>
                <a:gd name="T40" fmla="*/ 88 w 97"/>
                <a:gd name="T41" fmla="*/ 77 h 97"/>
                <a:gd name="T42" fmla="*/ 78 w 97"/>
                <a:gd name="T43" fmla="*/ 87 h 97"/>
                <a:gd name="T44" fmla="*/ 65 w 97"/>
                <a:gd name="T45" fmla="*/ 94 h 97"/>
                <a:gd name="T46" fmla="*/ 49 w 97"/>
                <a:gd name="T47" fmla="*/ 97 h 97"/>
                <a:gd name="T48" fmla="*/ 33 w 97"/>
                <a:gd name="T49" fmla="*/ 94 h 97"/>
                <a:gd name="T50" fmla="*/ 20 w 97"/>
                <a:gd name="T51" fmla="*/ 87 h 97"/>
                <a:gd name="T52" fmla="*/ 10 w 97"/>
                <a:gd name="T53" fmla="*/ 77 h 97"/>
                <a:gd name="T54" fmla="*/ 3 w 97"/>
                <a:gd name="T55" fmla="*/ 64 h 97"/>
                <a:gd name="T56" fmla="*/ 0 w 97"/>
                <a:gd name="T57" fmla="*/ 48 h 97"/>
                <a:gd name="T58" fmla="*/ 3 w 97"/>
                <a:gd name="T59" fmla="*/ 33 h 97"/>
                <a:gd name="T60" fmla="*/ 10 w 97"/>
                <a:gd name="T61" fmla="*/ 19 h 97"/>
                <a:gd name="T62" fmla="*/ 20 w 97"/>
                <a:gd name="T63" fmla="*/ 10 h 97"/>
                <a:gd name="T64" fmla="*/ 33 w 97"/>
                <a:gd name="T65" fmla="*/ 2 h 97"/>
                <a:gd name="T66" fmla="*/ 49 w 97"/>
                <a:gd name="T6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 h="97">
                  <a:moveTo>
                    <a:pt x="49" y="27"/>
                  </a:moveTo>
                  <a:lnTo>
                    <a:pt x="38" y="30"/>
                  </a:lnTo>
                  <a:lnTo>
                    <a:pt x="31" y="37"/>
                  </a:lnTo>
                  <a:lnTo>
                    <a:pt x="27" y="48"/>
                  </a:lnTo>
                  <a:lnTo>
                    <a:pt x="31" y="59"/>
                  </a:lnTo>
                  <a:lnTo>
                    <a:pt x="38" y="67"/>
                  </a:lnTo>
                  <a:lnTo>
                    <a:pt x="49" y="70"/>
                  </a:lnTo>
                  <a:lnTo>
                    <a:pt x="60" y="67"/>
                  </a:lnTo>
                  <a:lnTo>
                    <a:pt x="67" y="59"/>
                  </a:lnTo>
                  <a:lnTo>
                    <a:pt x="71" y="48"/>
                  </a:lnTo>
                  <a:lnTo>
                    <a:pt x="67" y="37"/>
                  </a:lnTo>
                  <a:lnTo>
                    <a:pt x="60" y="30"/>
                  </a:lnTo>
                  <a:lnTo>
                    <a:pt x="49" y="27"/>
                  </a:lnTo>
                  <a:close/>
                  <a:moveTo>
                    <a:pt x="49" y="0"/>
                  </a:moveTo>
                  <a:lnTo>
                    <a:pt x="65" y="2"/>
                  </a:lnTo>
                  <a:lnTo>
                    <a:pt x="78" y="10"/>
                  </a:lnTo>
                  <a:lnTo>
                    <a:pt x="88" y="19"/>
                  </a:lnTo>
                  <a:lnTo>
                    <a:pt x="95" y="33"/>
                  </a:lnTo>
                  <a:lnTo>
                    <a:pt x="97" y="48"/>
                  </a:lnTo>
                  <a:lnTo>
                    <a:pt x="95" y="64"/>
                  </a:lnTo>
                  <a:lnTo>
                    <a:pt x="88" y="77"/>
                  </a:lnTo>
                  <a:lnTo>
                    <a:pt x="78" y="87"/>
                  </a:lnTo>
                  <a:lnTo>
                    <a:pt x="65" y="94"/>
                  </a:lnTo>
                  <a:lnTo>
                    <a:pt x="49" y="97"/>
                  </a:lnTo>
                  <a:lnTo>
                    <a:pt x="33" y="94"/>
                  </a:lnTo>
                  <a:lnTo>
                    <a:pt x="20" y="87"/>
                  </a:lnTo>
                  <a:lnTo>
                    <a:pt x="10" y="77"/>
                  </a:lnTo>
                  <a:lnTo>
                    <a:pt x="3" y="64"/>
                  </a:lnTo>
                  <a:lnTo>
                    <a:pt x="0" y="48"/>
                  </a:lnTo>
                  <a:lnTo>
                    <a:pt x="3" y="33"/>
                  </a:lnTo>
                  <a:lnTo>
                    <a:pt x="10" y="19"/>
                  </a:lnTo>
                  <a:lnTo>
                    <a:pt x="20" y="10"/>
                  </a:lnTo>
                  <a:lnTo>
                    <a:pt x="33" y="2"/>
                  </a:lnTo>
                  <a:lnTo>
                    <a:pt x="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8" name="Freeform 33"/>
            <p:cNvSpPr>
              <a:spLocks noEditPoints="1"/>
            </p:cNvSpPr>
            <p:nvPr/>
          </p:nvSpPr>
          <p:spPr bwMode="auto">
            <a:xfrm>
              <a:off x="5733968" y="6053551"/>
              <a:ext cx="21834" cy="21833"/>
            </a:xfrm>
            <a:custGeom>
              <a:avLst/>
              <a:gdLst>
                <a:gd name="T0" fmla="*/ 48 w 97"/>
                <a:gd name="T1" fmla="*/ 28 h 97"/>
                <a:gd name="T2" fmla="*/ 37 w 97"/>
                <a:gd name="T3" fmla="*/ 31 h 97"/>
                <a:gd name="T4" fmla="*/ 30 w 97"/>
                <a:gd name="T5" fmla="*/ 38 h 97"/>
                <a:gd name="T6" fmla="*/ 27 w 97"/>
                <a:gd name="T7" fmla="*/ 49 h 97"/>
                <a:gd name="T8" fmla="*/ 30 w 97"/>
                <a:gd name="T9" fmla="*/ 60 h 97"/>
                <a:gd name="T10" fmla="*/ 37 w 97"/>
                <a:gd name="T11" fmla="*/ 68 h 97"/>
                <a:gd name="T12" fmla="*/ 48 w 97"/>
                <a:gd name="T13" fmla="*/ 71 h 97"/>
                <a:gd name="T14" fmla="*/ 59 w 97"/>
                <a:gd name="T15" fmla="*/ 68 h 97"/>
                <a:gd name="T16" fmla="*/ 67 w 97"/>
                <a:gd name="T17" fmla="*/ 60 h 97"/>
                <a:gd name="T18" fmla="*/ 70 w 97"/>
                <a:gd name="T19" fmla="*/ 49 h 97"/>
                <a:gd name="T20" fmla="*/ 67 w 97"/>
                <a:gd name="T21" fmla="*/ 38 h 97"/>
                <a:gd name="T22" fmla="*/ 59 w 97"/>
                <a:gd name="T23" fmla="*/ 31 h 97"/>
                <a:gd name="T24" fmla="*/ 48 w 97"/>
                <a:gd name="T25" fmla="*/ 28 h 97"/>
                <a:gd name="T26" fmla="*/ 48 w 97"/>
                <a:gd name="T27" fmla="*/ 0 h 97"/>
                <a:gd name="T28" fmla="*/ 64 w 97"/>
                <a:gd name="T29" fmla="*/ 3 h 97"/>
                <a:gd name="T30" fmla="*/ 77 w 97"/>
                <a:gd name="T31" fmla="*/ 10 h 97"/>
                <a:gd name="T32" fmla="*/ 87 w 97"/>
                <a:gd name="T33" fmla="*/ 21 h 97"/>
                <a:gd name="T34" fmla="*/ 94 w 97"/>
                <a:gd name="T35" fmla="*/ 34 h 97"/>
                <a:gd name="T36" fmla="*/ 97 w 97"/>
                <a:gd name="T37" fmla="*/ 49 h 97"/>
                <a:gd name="T38" fmla="*/ 94 w 97"/>
                <a:gd name="T39" fmla="*/ 64 h 97"/>
                <a:gd name="T40" fmla="*/ 87 w 97"/>
                <a:gd name="T41" fmla="*/ 78 h 97"/>
                <a:gd name="T42" fmla="*/ 77 w 97"/>
                <a:gd name="T43" fmla="*/ 89 h 97"/>
                <a:gd name="T44" fmla="*/ 64 w 97"/>
                <a:gd name="T45" fmla="*/ 95 h 97"/>
                <a:gd name="T46" fmla="*/ 48 w 97"/>
                <a:gd name="T47" fmla="*/ 97 h 97"/>
                <a:gd name="T48" fmla="*/ 33 w 97"/>
                <a:gd name="T49" fmla="*/ 95 h 97"/>
                <a:gd name="T50" fmla="*/ 19 w 97"/>
                <a:gd name="T51" fmla="*/ 89 h 97"/>
                <a:gd name="T52" fmla="*/ 10 w 97"/>
                <a:gd name="T53" fmla="*/ 78 h 97"/>
                <a:gd name="T54" fmla="*/ 2 w 97"/>
                <a:gd name="T55" fmla="*/ 64 h 97"/>
                <a:gd name="T56" fmla="*/ 0 w 97"/>
                <a:gd name="T57" fmla="*/ 49 h 97"/>
                <a:gd name="T58" fmla="*/ 2 w 97"/>
                <a:gd name="T59" fmla="*/ 34 h 97"/>
                <a:gd name="T60" fmla="*/ 10 w 97"/>
                <a:gd name="T61" fmla="*/ 21 h 97"/>
                <a:gd name="T62" fmla="*/ 19 w 97"/>
                <a:gd name="T63" fmla="*/ 10 h 97"/>
                <a:gd name="T64" fmla="*/ 33 w 97"/>
                <a:gd name="T65" fmla="*/ 3 h 97"/>
                <a:gd name="T66" fmla="*/ 48 w 97"/>
                <a:gd name="T6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 h="97">
                  <a:moveTo>
                    <a:pt x="48" y="28"/>
                  </a:moveTo>
                  <a:lnTo>
                    <a:pt x="37" y="31"/>
                  </a:lnTo>
                  <a:lnTo>
                    <a:pt x="30" y="38"/>
                  </a:lnTo>
                  <a:lnTo>
                    <a:pt x="27" y="49"/>
                  </a:lnTo>
                  <a:lnTo>
                    <a:pt x="30" y="60"/>
                  </a:lnTo>
                  <a:lnTo>
                    <a:pt x="37" y="68"/>
                  </a:lnTo>
                  <a:lnTo>
                    <a:pt x="48" y="71"/>
                  </a:lnTo>
                  <a:lnTo>
                    <a:pt x="59" y="68"/>
                  </a:lnTo>
                  <a:lnTo>
                    <a:pt x="67" y="60"/>
                  </a:lnTo>
                  <a:lnTo>
                    <a:pt x="70" y="49"/>
                  </a:lnTo>
                  <a:lnTo>
                    <a:pt x="67" y="38"/>
                  </a:lnTo>
                  <a:lnTo>
                    <a:pt x="59" y="31"/>
                  </a:lnTo>
                  <a:lnTo>
                    <a:pt x="48" y="28"/>
                  </a:lnTo>
                  <a:close/>
                  <a:moveTo>
                    <a:pt x="48" y="0"/>
                  </a:moveTo>
                  <a:lnTo>
                    <a:pt x="64" y="3"/>
                  </a:lnTo>
                  <a:lnTo>
                    <a:pt x="77" y="10"/>
                  </a:lnTo>
                  <a:lnTo>
                    <a:pt x="87" y="21"/>
                  </a:lnTo>
                  <a:lnTo>
                    <a:pt x="94" y="34"/>
                  </a:lnTo>
                  <a:lnTo>
                    <a:pt x="97" y="49"/>
                  </a:lnTo>
                  <a:lnTo>
                    <a:pt x="94" y="64"/>
                  </a:lnTo>
                  <a:lnTo>
                    <a:pt x="87" y="78"/>
                  </a:lnTo>
                  <a:lnTo>
                    <a:pt x="77" y="89"/>
                  </a:lnTo>
                  <a:lnTo>
                    <a:pt x="64" y="95"/>
                  </a:lnTo>
                  <a:lnTo>
                    <a:pt x="48" y="97"/>
                  </a:lnTo>
                  <a:lnTo>
                    <a:pt x="33" y="95"/>
                  </a:lnTo>
                  <a:lnTo>
                    <a:pt x="19" y="89"/>
                  </a:lnTo>
                  <a:lnTo>
                    <a:pt x="10" y="78"/>
                  </a:lnTo>
                  <a:lnTo>
                    <a:pt x="2" y="64"/>
                  </a:lnTo>
                  <a:lnTo>
                    <a:pt x="0" y="49"/>
                  </a:lnTo>
                  <a:lnTo>
                    <a:pt x="2" y="34"/>
                  </a:lnTo>
                  <a:lnTo>
                    <a:pt x="10" y="21"/>
                  </a:lnTo>
                  <a:lnTo>
                    <a:pt x="19" y="10"/>
                  </a:lnTo>
                  <a:lnTo>
                    <a:pt x="33" y="3"/>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9" name="Freeform 34"/>
            <p:cNvSpPr>
              <a:spLocks noEditPoints="1"/>
            </p:cNvSpPr>
            <p:nvPr/>
          </p:nvSpPr>
          <p:spPr bwMode="auto">
            <a:xfrm>
              <a:off x="5647089" y="6059920"/>
              <a:ext cx="21834" cy="22289"/>
            </a:xfrm>
            <a:custGeom>
              <a:avLst/>
              <a:gdLst>
                <a:gd name="T0" fmla="*/ 49 w 97"/>
                <a:gd name="T1" fmla="*/ 28 h 98"/>
                <a:gd name="T2" fmla="*/ 38 w 97"/>
                <a:gd name="T3" fmla="*/ 31 h 98"/>
                <a:gd name="T4" fmla="*/ 29 w 97"/>
                <a:gd name="T5" fmla="*/ 39 h 98"/>
                <a:gd name="T6" fmla="*/ 27 w 97"/>
                <a:gd name="T7" fmla="*/ 50 h 98"/>
                <a:gd name="T8" fmla="*/ 29 w 97"/>
                <a:gd name="T9" fmla="*/ 60 h 98"/>
                <a:gd name="T10" fmla="*/ 38 w 97"/>
                <a:gd name="T11" fmla="*/ 68 h 98"/>
                <a:gd name="T12" fmla="*/ 49 w 97"/>
                <a:gd name="T13" fmla="*/ 71 h 98"/>
                <a:gd name="T14" fmla="*/ 60 w 97"/>
                <a:gd name="T15" fmla="*/ 68 h 98"/>
                <a:gd name="T16" fmla="*/ 67 w 97"/>
                <a:gd name="T17" fmla="*/ 60 h 98"/>
                <a:gd name="T18" fmla="*/ 69 w 97"/>
                <a:gd name="T19" fmla="*/ 50 h 98"/>
                <a:gd name="T20" fmla="*/ 67 w 97"/>
                <a:gd name="T21" fmla="*/ 39 h 98"/>
                <a:gd name="T22" fmla="*/ 60 w 97"/>
                <a:gd name="T23" fmla="*/ 31 h 98"/>
                <a:gd name="T24" fmla="*/ 49 w 97"/>
                <a:gd name="T25" fmla="*/ 28 h 98"/>
                <a:gd name="T26" fmla="*/ 49 w 97"/>
                <a:gd name="T27" fmla="*/ 0 h 98"/>
                <a:gd name="T28" fmla="*/ 63 w 97"/>
                <a:gd name="T29" fmla="*/ 3 h 98"/>
                <a:gd name="T30" fmla="*/ 77 w 97"/>
                <a:gd name="T31" fmla="*/ 10 h 98"/>
                <a:gd name="T32" fmla="*/ 87 w 97"/>
                <a:gd name="T33" fmla="*/ 21 h 98"/>
                <a:gd name="T34" fmla="*/ 95 w 97"/>
                <a:gd name="T35" fmla="*/ 34 h 98"/>
                <a:gd name="T36" fmla="*/ 97 w 97"/>
                <a:gd name="T37" fmla="*/ 50 h 98"/>
                <a:gd name="T38" fmla="*/ 95 w 97"/>
                <a:gd name="T39" fmla="*/ 65 h 98"/>
                <a:gd name="T40" fmla="*/ 87 w 97"/>
                <a:gd name="T41" fmla="*/ 78 h 98"/>
                <a:gd name="T42" fmla="*/ 77 w 97"/>
                <a:gd name="T43" fmla="*/ 89 h 98"/>
                <a:gd name="T44" fmla="*/ 63 w 97"/>
                <a:gd name="T45" fmla="*/ 96 h 98"/>
                <a:gd name="T46" fmla="*/ 49 w 97"/>
                <a:gd name="T47" fmla="*/ 98 h 98"/>
                <a:gd name="T48" fmla="*/ 33 w 97"/>
                <a:gd name="T49" fmla="*/ 96 h 98"/>
                <a:gd name="T50" fmla="*/ 20 w 97"/>
                <a:gd name="T51" fmla="*/ 89 h 98"/>
                <a:gd name="T52" fmla="*/ 9 w 97"/>
                <a:gd name="T53" fmla="*/ 78 h 98"/>
                <a:gd name="T54" fmla="*/ 3 w 97"/>
                <a:gd name="T55" fmla="*/ 65 h 98"/>
                <a:gd name="T56" fmla="*/ 0 w 97"/>
                <a:gd name="T57" fmla="*/ 50 h 98"/>
                <a:gd name="T58" fmla="*/ 3 w 97"/>
                <a:gd name="T59" fmla="*/ 34 h 98"/>
                <a:gd name="T60" fmla="*/ 9 w 97"/>
                <a:gd name="T61" fmla="*/ 21 h 98"/>
                <a:gd name="T62" fmla="*/ 20 w 97"/>
                <a:gd name="T63" fmla="*/ 10 h 98"/>
                <a:gd name="T64" fmla="*/ 33 w 97"/>
                <a:gd name="T65" fmla="*/ 3 h 98"/>
                <a:gd name="T66" fmla="*/ 49 w 97"/>
                <a:gd name="T6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 h="98">
                  <a:moveTo>
                    <a:pt x="49" y="28"/>
                  </a:moveTo>
                  <a:lnTo>
                    <a:pt x="38" y="31"/>
                  </a:lnTo>
                  <a:lnTo>
                    <a:pt x="29" y="39"/>
                  </a:lnTo>
                  <a:lnTo>
                    <a:pt x="27" y="50"/>
                  </a:lnTo>
                  <a:lnTo>
                    <a:pt x="29" y="60"/>
                  </a:lnTo>
                  <a:lnTo>
                    <a:pt x="38" y="68"/>
                  </a:lnTo>
                  <a:lnTo>
                    <a:pt x="49" y="71"/>
                  </a:lnTo>
                  <a:lnTo>
                    <a:pt x="60" y="68"/>
                  </a:lnTo>
                  <a:lnTo>
                    <a:pt x="67" y="60"/>
                  </a:lnTo>
                  <a:lnTo>
                    <a:pt x="69" y="50"/>
                  </a:lnTo>
                  <a:lnTo>
                    <a:pt x="67" y="39"/>
                  </a:lnTo>
                  <a:lnTo>
                    <a:pt x="60" y="31"/>
                  </a:lnTo>
                  <a:lnTo>
                    <a:pt x="49" y="28"/>
                  </a:lnTo>
                  <a:close/>
                  <a:moveTo>
                    <a:pt x="49" y="0"/>
                  </a:moveTo>
                  <a:lnTo>
                    <a:pt x="63" y="3"/>
                  </a:lnTo>
                  <a:lnTo>
                    <a:pt x="77" y="10"/>
                  </a:lnTo>
                  <a:lnTo>
                    <a:pt x="87" y="21"/>
                  </a:lnTo>
                  <a:lnTo>
                    <a:pt x="95" y="34"/>
                  </a:lnTo>
                  <a:lnTo>
                    <a:pt x="97" y="50"/>
                  </a:lnTo>
                  <a:lnTo>
                    <a:pt x="95" y="65"/>
                  </a:lnTo>
                  <a:lnTo>
                    <a:pt x="87" y="78"/>
                  </a:lnTo>
                  <a:lnTo>
                    <a:pt x="77" y="89"/>
                  </a:lnTo>
                  <a:lnTo>
                    <a:pt x="63" y="96"/>
                  </a:lnTo>
                  <a:lnTo>
                    <a:pt x="49" y="98"/>
                  </a:lnTo>
                  <a:lnTo>
                    <a:pt x="33" y="96"/>
                  </a:lnTo>
                  <a:lnTo>
                    <a:pt x="20" y="89"/>
                  </a:lnTo>
                  <a:lnTo>
                    <a:pt x="9" y="78"/>
                  </a:lnTo>
                  <a:lnTo>
                    <a:pt x="3" y="65"/>
                  </a:lnTo>
                  <a:lnTo>
                    <a:pt x="0" y="50"/>
                  </a:lnTo>
                  <a:lnTo>
                    <a:pt x="3" y="34"/>
                  </a:lnTo>
                  <a:lnTo>
                    <a:pt x="9" y="21"/>
                  </a:lnTo>
                  <a:lnTo>
                    <a:pt x="20" y="10"/>
                  </a:lnTo>
                  <a:lnTo>
                    <a:pt x="33" y="3"/>
                  </a:lnTo>
                  <a:lnTo>
                    <a:pt x="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30" name="Freeform 35"/>
            <p:cNvSpPr>
              <a:spLocks noEditPoints="1"/>
            </p:cNvSpPr>
            <p:nvPr/>
          </p:nvSpPr>
          <p:spPr bwMode="auto">
            <a:xfrm>
              <a:off x="5733059" y="6144070"/>
              <a:ext cx="22289" cy="21833"/>
            </a:xfrm>
            <a:custGeom>
              <a:avLst/>
              <a:gdLst>
                <a:gd name="T0" fmla="*/ 49 w 97"/>
                <a:gd name="T1" fmla="*/ 28 h 97"/>
                <a:gd name="T2" fmla="*/ 38 w 97"/>
                <a:gd name="T3" fmla="*/ 30 h 97"/>
                <a:gd name="T4" fmla="*/ 31 w 97"/>
                <a:gd name="T5" fmla="*/ 37 h 97"/>
                <a:gd name="T6" fmla="*/ 27 w 97"/>
                <a:gd name="T7" fmla="*/ 48 h 97"/>
                <a:gd name="T8" fmla="*/ 31 w 97"/>
                <a:gd name="T9" fmla="*/ 59 h 97"/>
                <a:gd name="T10" fmla="*/ 38 w 97"/>
                <a:gd name="T11" fmla="*/ 68 h 97"/>
                <a:gd name="T12" fmla="*/ 49 w 97"/>
                <a:gd name="T13" fmla="*/ 70 h 97"/>
                <a:gd name="T14" fmla="*/ 60 w 97"/>
                <a:gd name="T15" fmla="*/ 68 h 97"/>
                <a:gd name="T16" fmla="*/ 67 w 97"/>
                <a:gd name="T17" fmla="*/ 59 h 97"/>
                <a:gd name="T18" fmla="*/ 71 w 97"/>
                <a:gd name="T19" fmla="*/ 48 h 97"/>
                <a:gd name="T20" fmla="*/ 67 w 97"/>
                <a:gd name="T21" fmla="*/ 37 h 97"/>
                <a:gd name="T22" fmla="*/ 60 w 97"/>
                <a:gd name="T23" fmla="*/ 30 h 97"/>
                <a:gd name="T24" fmla="*/ 49 w 97"/>
                <a:gd name="T25" fmla="*/ 28 h 97"/>
                <a:gd name="T26" fmla="*/ 49 w 97"/>
                <a:gd name="T27" fmla="*/ 0 h 97"/>
                <a:gd name="T28" fmla="*/ 64 w 97"/>
                <a:gd name="T29" fmla="*/ 2 h 97"/>
                <a:gd name="T30" fmla="*/ 78 w 97"/>
                <a:gd name="T31" fmla="*/ 9 h 97"/>
                <a:gd name="T32" fmla="*/ 87 w 97"/>
                <a:gd name="T33" fmla="*/ 20 h 97"/>
                <a:gd name="T34" fmla="*/ 95 w 97"/>
                <a:gd name="T35" fmla="*/ 34 h 97"/>
                <a:gd name="T36" fmla="*/ 97 w 97"/>
                <a:gd name="T37" fmla="*/ 48 h 97"/>
                <a:gd name="T38" fmla="*/ 95 w 97"/>
                <a:gd name="T39" fmla="*/ 64 h 97"/>
                <a:gd name="T40" fmla="*/ 87 w 97"/>
                <a:gd name="T41" fmla="*/ 77 h 97"/>
                <a:gd name="T42" fmla="*/ 78 w 97"/>
                <a:gd name="T43" fmla="*/ 88 h 97"/>
                <a:gd name="T44" fmla="*/ 64 w 97"/>
                <a:gd name="T45" fmla="*/ 94 h 97"/>
                <a:gd name="T46" fmla="*/ 49 w 97"/>
                <a:gd name="T47" fmla="*/ 97 h 97"/>
                <a:gd name="T48" fmla="*/ 33 w 97"/>
                <a:gd name="T49" fmla="*/ 94 h 97"/>
                <a:gd name="T50" fmla="*/ 20 w 97"/>
                <a:gd name="T51" fmla="*/ 88 h 97"/>
                <a:gd name="T52" fmla="*/ 10 w 97"/>
                <a:gd name="T53" fmla="*/ 77 h 97"/>
                <a:gd name="T54" fmla="*/ 3 w 97"/>
                <a:gd name="T55" fmla="*/ 64 h 97"/>
                <a:gd name="T56" fmla="*/ 0 w 97"/>
                <a:gd name="T57" fmla="*/ 48 h 97"/>
                <a:gd name="T58" fmla="*/ 3 w 97"/>
                <a:gd name="T59" fmla="*/ 34 h 97"/>
                <a:gd name="T60" fmla="*/ 10 w 97"/>
                <a:gd name="T61" fmla="*/ 20 h 97"/>
                <a:gd name="T62" fmla="*/ 20 w 97"/>
                <a:gd name="T63" fmla="*/ 9 h 97"/>
                <a:gd name="T64" fmla="*/ 33 w 97"/>
                <a:gd name="T65" fmla="*/ 2 h 97"/>
                <a:gd name="T66" fmla="*/ 49 w 97"/>
                <a:gd name="T6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 h="97">
                  <a:moveTo>
                    <a:pt x="49" y="28"/>
                  </a:moveTo>
                  <a:lnTo>
                    <a:pt x="38" y="30"/>
                  </a:lnTo>
                  <a:lnTo>
                    <a:pt x="31" y="37"/>
                  </a:lnTo>
                  <a:lnTo>
                    <a:pt x="27" y="48"/>
                  </a:lnTo>
                  <a:lnTo>
                    <a:pt x="31" y="59"/>
                  </a:lnTo>
                  <a:lnTo>
                    <a:pt x="38" y="68"/>
                  </a:lnTo>
                  <a:lnTo>
                    <a:pt x="49" y="70"/>
                  </a:lnTo>
                  <a:lnTo>
                    <a:pt x="60" y="68"/>
                  </a:lnTo>
                  <a:lnTo>
                    <a:pt x="67" y="59"/>
                  </a:lnTo>
                  <a:lnTo>
                    <a:pt x="71" y="48"/>
                  </a:lnTo>
                  <a:lnTo>
                    <a:pt x="67" y="37"/>
                  </a:lnTo>
                  <a:lnTo>
                    <a:pt x="60" y="30"/>
                  </a:lnTo>
                  <a:lnTo>
                    <a:pt x="49" y="28"/>
                  </a:lnTo>
                  <a:close/>
                  <a:moveTo>
                    <a:pt x="49" y="0"/>
                  </a:moveTo>
                  <a:lnTo>
                    <a:pt x="64" y="2"/>
                  </a:lnTo>
                  <a:lnTo>
                    <a:pt x="78" y="9"/>
                  </a:lnTo>
                  <a:lnTo>
                    <a:pt x="87" y="20"/>
                  </a:lnTo>
                  <a:lnTo>
                    <a:pt x="95" y="34"/>
                  </a:lnTo>
                  <a:lnTo>
                    <a:pt x="97" y="48"/>
                  </a:lnTo>
                  <a:lnTo>
                    <a:pt x="95" y="64"/>
                  </a:lnTo>
                  <a:lnTo>
                    <a:pt x="87" y="77"/>
                  </a:lnTo>
                  <a:lnTo>
                    <a:pt x="78" y="88"/>
                  </a:lnTo>
                  <a:lnTo>
                    <a:pt x="64" y="94"/>
                  </a:lnTo>
                  <a:lnTo>
                    <a:pt x="49" y="97"/>
                  </a:lnTo>
                  <a:lnTo>
                    <a:pt x="33" y="94"/>
                  </a:lnTo>
                  <a:lnTo>
                    <a:pt x="20" y="88"/>
                  </a:lnTo>
                  <a:lnTo>
                    <a:pt x="10" y="77"/>
                  </a:lnTo>
                  <a:lnTo>
                    <a:pt x="3" y="64"/>
                  </a:lnTo>
                  <a:lnTo>
                    <a:pt x="0" y="48"/>
                  </a:lnTo>
                  <a:lnTo>
                    <a:pt x="3" y="34"/>
                  </a:lnTo>
                  <a:lnTo>
                    <a:pt x="10" y="20"/>
                  </a:lnTo>
                  <a:lnTo>
                    <a:pt x="20" y="9"/>
                  </a:lnTo>
                  <a:lnTo>
                    <a:pt x="33" y="2"/>
                  </a:lnTo>
                  <a:lnTo>
                    <a:pt x="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31" name="Freeform 36"/>
            <p:cNvSpPr>
              <a:spLocks/>
            </p:cNvSpPr>
            <p:nvPr/>
          </p:nvSpPr>
          <p:spPr bwMode="auto">
            <a:xfrm>
              <a:off x="5203596" y="5936196"/>
              <a:ext cx="97796" cy="6368"/>
            </a:xfrm>
            <a:custGeom>
              <a:avLst/>
              <a:gdLst>
                <a:gd name="T0" fmla="*/ 13 w 430"/>
                <a:gd name="T1" fmla="*/ 0 h 26"/>
                <a:gd name="T2" fmla="*/ 415 w 430"/>
                <a:gd name="T3" fmla="*/ 0 h 26"/>
                <a:gd name="T4" fmla="*/ 420 w 430"/>
                <a:gd name="T5" fmla="*/ 0 h 26"/>
                <a:gd name="T6" fmla="*/ 424 w 430"/>
                <a:gd name="T7" fmla="*/ 2 h 26"/>
                <a:gd name="T8" fmla="*/ 426 w 430"/>
                <a:gd name="T9" fmla="*/ 5 h 26"/>
                <a:gd name="T10" fmla="*/ 428 w 430"/>
                <a:gd name="T11" fmla="*/ 8 h 26"/>
                <a:gd name="T12" fmla="*/ 430 w 430"/>
                <a:gd name="T13" fmla="*/ 13 h 26"/>
                <a:gd name="T14" fmla="*/ 428 w 430"/>
                <a:gd name="T15" fmla="*/ 18 h 26"/>
                <a:gd name="T16" fmla="*/ 426 w 430"/>
                <a:gd name="T17" fmla="*/ 21 h 26"/>
                <a:gd name="T18" fmla="*/ 424 w 430"/>
                <a:gd name="T19" fmla="*/ 24 h 26"/>
                <a:gd name="T20" fmla="*/ 420 w 430"/>
                <a:gd name="T21" fmla="*/ 26 h 26"/>
                <a:gd name="T22" fmla="*/ 415 w 430"/>
                <a:gd name="T23" fmla="*/ 26 h 26"/>
                <a:gd name="T24" fmla="*/ 13 w 430"/>
                <a:gd name="T25" fmla="*/ 26 h 26"/>
                <a:gd name="T26" fmla="*/ 9 w 430"/>
                <a:gd name="T27" fmla="*/ 26 h 26"/>
                <a:gd name="T28" fmla="*/ 6 w 430"/>
                <a:gd name="T29" fmla="*/ 24 h 26"/>
                <a:gd name="T30" fmla="*/ 2 w 430"/>
                <a:gd name="T31" fmla="*/ 21 h 26"/>
                <a:gd name="T32" fmla="*/ 1 w 430"/>
                <a:gd name="T33" fmla="*/ 18 h 26"/>
                <a:gd name="T34" fmla="*/ 0 w 430"/>
                <a:gd name="T35" fmla="*/ 13 h 26"/>
                <a:gd name="T36" fmla="*/ 1 w 430"/>
                <a:gd name="T37" fmla="*/ 8 h 26"/>
                <a:gd name="T38" fmla="*/ 2 w 430"/>
                <a:gd name="T39" fmla="*/ 5 h 26"/>
                <a:gd name="T40" fmla="*/ 6 w 430"/>
                <a:gd name="T41" fmla="*/ 2 h 26"/>
                <a:gd name="T42" fmla="*/ 9 w 430"/>
                <a:gd name="T43" fmla="*/ 0 h 26"/>
                <a:gd name="T44" fmla="*/ 13 w 430"/>
                <a:gd name="T4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0" h="26">
                  <a:moveTo>
                    <a:pt x="13" y="0"/>
                  </a:moveTo>
                  <a:lnTo>
                    <a:pt x="415" y="0"/>
                  </a:lnTo>
                  <a:lnTo>
                    <a:pt x="420" y="0"/>
                  </a:lnTo>
                  <a:lnTo>
                    <a:pt x="424" y="2"/>
                  </a:lnTo>
                  <a:lnTo>
                    <a:pt x="426" y="5"/>
                  </a:lnTo>
                  <a:lnTo>
                    <a:pt x="428" y="8"/>
                  </a:lnTo>
                  <a:lnTo>
                    <a:pt x="430" y="13"/>
                  </a:lnTo>
                  <a:lnTo>
                    <a:pt x="428" y="18"/>
                  </a:lnTo>
                  <a:lnTo>
                    <a:pt x="426" y="21"/>
                  </a:lnTo>
                  <a:lnTo>
                    <a:pt x="424" y="24"/>
                  </a:lnTo>
                  <a:lnTo>
                    <a:pt x="420" y="26"/>
                  </a:lnTo>
                  <a:lnTo>
                    <a:pt x="415" y="26"/>
                  </a:lnTo>
                  <a:lnTo>
                    <a:pt x="13" y="26"/>
                  </a:lnTo>
                  <a:lnTo>
                    <a:pt x="9" y="26"/>
                  </a:lnTo>
                  <a:lnTo>
                    <a:pt x="6" y="24"/>
                  </a:lnTo>
                  <a:lnTo>
                    <a:pt x="2" y="21"/>
                  </a:lnTo>
                  <a:lnTo>
                    <a:pt x="1" y="18"/>
                  </a:lnTo>
                  <a:lnTo>
                    <a:pt x="0" y="13"/>
                  </a:lnTo>
                  <a:lnTo>
                    <a:pt x="1" y="8"/>
                  </a:lnTo>
                  <a:lnTo>
                    <a:pt x="2" y="5"/>
                  </a:lnTo>
                  <a:lnTo>
                    <a:pt x="6" y="2"/>
                  </a:lnTo>
                  <a:lnTo>
                    <a:pt x="9" y="0"/>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32" name="Freeform 37"/>
            <p:cNvSpPr>
              <a:spLocks/>
            </p:cNvSpPr>
            <p:nvPr/>
          </p:nvSpPr>
          <p:spPr bwMode="auto">
            <a:xfrm>
              <a:off x="5144919" y="6068107"/>
              <a:ext cx="156473" cy="45941"/>
            </a:xfrm>
            <a:custGeom>
              <a:avLst/>
              <a:gdLst>
                <a:gd name="T0" fmla="*/ 187 w 688"/>
                <a:gd name="T1" fmla="*/ 0 h 203"/>
                <a:gd name="T2" fmla="*/ 673 w 688"/>
                <a:gd name="T3" fmla="*/ 0 h 203"/>
                <a:gd name="T4" fmla="*/ 678 w 688"/>
                <a:gd name="T5" fmla="*/ 2 h 203"/>
                <a:gd name="T6" fmla="*/ 682 w 688"/>
                <a:gd name="T7" fmla="*/ 3 h 203"/>
                <a:gd name="T8" fmla="*/ 684 w 688"/>
                <a:gd name="T9" fmla="*/ 7 h 203"/>
                <a:gd name="T10" fmla="*/ 686 w 688"/>
                <a:gd name="T11" fmla="*/ 10 h 203"/>
                <a:gd name="T12" fmla="*/ 688 w 688"/>
                <a:gd name="T13" fmla="*/ 15 h 203"/>
                <a:gd name="T14" fmla="*/ 686 w 688"/>
                <a:gd name="T15" fmla="*/ 19 h 203"/>
                <a:gd name="T16" fmla="*/ 684 w 688"/>
                <a:gd name="T17" fmla="*/ 22 h 203"/>
                <a:gd name="T18" fmla="*/ 682 w 688"/>
                <a:gd name="T19" fmla="*/ 26 h 203"/>
                <a:gd name="T20" fmla="*/ 678 w 688"/>
                <a:gd name="T21" fmla="*/ 27 h 203"/>
                <a:gd name="T22" fmla="*/ 673 w 688"/>
                <a:gd name="T23" fmla="*/ 28 h 203"/>
                <a:gd name="T24" fmla="*/ 194 w 688"/>
                <a:gd name="T25" fmla="*/ 28 h 203"/>
                <a:gd name="T26" fmla="*/ 23 w 688"/>
                <a:gd name="T27" fmla="*/ 198 h 203"/>
                <a:gd name="T28" fmla="*/ 20 w 688"/>
                <a:gd name="T29" fmla="*/ 200 h 203"/>
                <a:gd name="T30" fmla="*/ 17 w 688"/>
                <a:gd name="T31" fmla="*/ 202 h 203"/>
                <a:gd name="T32" fmla="*/ 13 w 688"/>
                <a:gd name="T33" fmla="*/ 203 h 203"/>
                <a:gd name="T34" fmla="*/ 9 w 688"/>
                <a:gd name="T35" fmla="*/ 202 h 203"/>
                <a:gd name="T36" fmla="*/ 7 w 688"/>
                <a:gd name="T37" fmla="*/ 200 h 203"/>
                <a:gd name="T38" fmla="*/ 3 w 688"/>
                <a:gd name="T39" fmla="*/ 198 h 203"/>
                <a:gd name="T40" fmla="*/ 1 w 688"/>
                <a:gd name="T41" fmla="*/ 195 h 203"/>
                <a:gd name="T42" fmla="*/ 0 w 688"/>
                <a:gd name="T43" fmla="*/ 191 h 203"/>
                <a:gd name="T44" fmla="*/ 0 w 688"/>
                <a:gd name="T45" fmla="*/ 187 h 203"/>
                <a:gd name="T46" fmla="*/ 1 w 688"/>
                <a:gd name="T47" fmla="*/ 182 h 203"/>
                <a:gd name="T48" fmla="*/ 3 w 688"/>
                <a:gd name="T49" fmla="*/ 180 h 203"/>
                <a:gd name="T50" fmla="*/ 178 w 688"/>
                <a:gd name="T51" fmla="*/ 5 h 203"/>
                <a:gd name="T52" fmla="*/ 181 w 688"/>
                <a:gd name="T53" fmla="*/ 3 h 203"/>
                <a:gd name="T54" fmla="*/ 184 w 688"/>
                <a:gd name="T55" fmla="*/ 2 h 203"/>
                <a:gd name="T56" fmla="*/ 187 w 688"/>
                <a:gd name="T57"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8" h="203">
                  <a:moveTo>
                    <a:pt x="187" y="0"/>
                  </a:moveTo>
                  <a:lnTo>
                    <a:pt x="673" y="0"/>
                  </a:lnTo>
                  <a:lnTo>
                    <a:pt x="678" y="2"/>
                  </a:lnTo>
                  <a:lnTo>
                    <a:pt x="682" y="3"/>
                  </a:lnTo>
                  <a:lnTo>
                    <a:pt x="684" y="7"/>
                  </a:lnTo>
                  <a:lnTo>
                    <a:pt x="686" y="10"/>
                  </a:lnTo>
                  <a:lnTo>
                    <a:pt x="688" y="15"/>
                  </a:lnTo>
                  <a:lnTo>
                    <a:pt x="686" y="19"/>
                  </a:lnTo>
                  <a:lnTo>
                    <a:pt x="684" y="22"/>
                  </a:lnTo>
                  <a:lnTo>
                    <a:pt x="682" y="26"/>
                  </a:lnTo>
                  <a:lnTo>
                    <a:pt x="678" y="27"/>
                  </a:lnTo>
                  <a:lnTo>
                    <a:pt x="673" y="28"/>
                  </a:lnTo>
                  <a:lnTo>
                    <a:pt x="194" y="28"/>
                  </a:lnTo>
                  <a:lnTo>
                    <a:pt x="23" y="198"/>
                  </a:lnTo>
                  <a:lnTo>
                    <a:pt x="20" y="200"/>
                  </a:lnTo>
                  <a:lnTo>
                    <a:pt x="17" y="202"/>
                  </a:lnTo>
                  <a:lnTo>
                    <a:pt x="13" y="203"/>
                  </a:lnTo>
                  <a:lnTo>
                    <a:pt x="9" y="202"/>
                  </a:lnTo>
                  <a:lnTo>
                    <a:pt x="7" y="200"/>
                  </a:lnTo>
                  <a:lnTo>
                    <a:pt x="3" y="198"/>
                  </a:lnTo>
                  <a:lnTo>
                    <a:pt x="1" y="195"/>
                  </a:lnTo>
                  <a:lnTo>
                    <a:pt x="0" y="191"/>
                  </a:lnTo>
                  <a:lnTo>
                    <a:pt x="0" y="187"/>
                  </a:lnTo>
                  <a:lnTo>
                    <a:pt x="1" y="182"/>
                  </a:lnTo>
                  <a:lnTo>
                    <a:pt x="3" y="180"/>
                  </a:lnTo>
                  <a:lnTo>
                    <a:pt x="178" y="5"/>
                  </a:lnTo>
                  <a:lnTo>
                    <a:pt x="181" y="3"/>
                  </a:lnTo>
                  <a:lnTo>
                    <a:pt x="184" y="2"/>
                  </a:lnTo>
                  <a:lnTo>
                    <a:pt x="18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33" name="Freeform 38"/>
            <p:cNvSpPr>
              <a:spLocks/>
            </p:cNvSpPr>
            <p:nvPr/>
          </p:nvSpPr>
          <p:spPr bwMode="auto">
            <a:xfrm>
              <a:off x="5200412" y="6100403"/>
              <a:ext cx="100980" cy="17740"/>
            </a:xfrm>
            <a:custGeom>
              <a:avLst/>
              <a:gdLst>
                <a:gd name="T0" fmla="*/ 11 w 445"/>
                <a:gd name="T1" fmla="*/ 0 h 78"/>
                <a:gd name="T2" fmla="*/ 15 w 445"/>
                <a:gd name="T3" fmla="*/ 0 h 78"/>
                <a:gd name="T4" fmla="*/ 20 w 445"/>
                <a:gd name="T5" fmla="*/ 2 h 78"/>
                <a:gd name="T6" fmla="*/ 23 w 445"/>
                <a:gd name="T7" fmla="*/ 4 h 78"/>
                <a:gd name="T8" fmla="*/ 69 w 445"/>
                <a:gd name="T9" fmla="*/ 51 h 78"/>
                <a:gd name="T10" fmla="*/ 430 w 445"/>
                <a:gd name="T11" fmla="*/ 51 h 78"/>
                <a:gd name="T12" fmla="*/ 435 w 445"/>
                <a:gd name="T13" fmla="*/ 51 h 78"/>
                <a:gd name="T14" fmla="*/ 439 w 445"/>
                <a:gd name="T15" fmla="*/ 54 h 78"/>
                <a:gd name="T16" fmla="*/ 441 w 445"/>
                <a:gd name="T17" fmla="*/ 56 h 78"/>
                <a:gd name="T18" fmla="*/ 443 w 445"/>
                <a:gd name="T19" fmla="*/ 61 h 78"/>
                <a:gd name="T20" fmla="*/ 445 w 445"/>
                <a:gd name="T21" fmla="*/ 65 h 78"/>
                <a:gd name="T22" fmla="*/ 443 w 445"/>
                <a:gd name="T23" fmla="*/ 69 h 78"/>
                <a:gd name="T24" fmla="*/ 441 w 445"/>
                <a:gd name="T25" fmla="*/ 73 h 78"/>
                <a:gd name="T26" fmla="*/ 439 w 445"/>
                <a:gd name="T27" fmla="*/ 75 h 78"/>
                <a:gd name="T28" fmla="*/ 435 w 445"/>
                <a:gd name="T29" fmla="*/ 78 h 78"/>
                <a:gd name="T30" fmla="*/ 430 w 445"/>
                <a:gd name="T31" fmla="*/ 78 h 78"/>
                <a:gd name="T32" fmla="*/ 63 w 445"/>
                <a:gd name="T33" fmla="*/ 78 h 78"/>
                <a:gd name="T34" fmla="*/ 60 w 445"/>
                <a:gd name="T35" fmla="*/ 78 h 78"/>
                <a:gd name="T36" fmla="*/ 57 w 445"/>
                <a:gd name="T37" fmla="*/ 77 h 78"/>
                <a:gd name="T38" fmla="*/ 53 w 445"/>
                <a:gd name="T39" fmla="*/ 74 h 78"/>
                <a:gd name="T40" fmla="*/ 4 w 445"/>
                <a:gd name="T41" fmla="*/ 23 h 78"/>
                <a:gd name="T42" fmla="*/ 1 w 445"/>
                <a:gd name="T43" fmla="*/ 20 h 78"/>
                <a:gd name="T44" fmla="*/ 0 w 445"/>
                <a:gd name="T45" fmla="*/ 16 h 78"/>
                <a:gd name="T46" fmla="*/ 0 w 445"/>
                <a:gd name="T47" fmla="*/ 12 h 78"/>
                <a:gd name="T48" fmla="*/ 1 w 445"/>
                <a:gd name="T49" fmla="*/ 8 h 78"/>
                <a:gd name="T50" fmla="*/ 4 w 445"/>
                <a:gd name="T51" fmla="*/ 4 h 78"/>
                <a:gd name="T52" fmla="*/ 7 w 445"/>
                <a:gd name="T53" fmla="*/ 2 h 78"/>
                <a:gd name="T54" fmla="*/ 11 w 445"/>
                <a:gd name="T55"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45" h="78">
                  <a:moveTo>
                    <a:pt x="11" y="0"/>
                  </a:moveTo>
                  <a:lnTo>
                    <a:pt x="15" y="0"/>
                  </a:lnTo>
                  <a:lnTo>
                    <a:pt x="20" y="2"/>
                  </a:lnTo>
                  <a:lnTo>
                    <a:pt x="23" y="4"/>
                  </a:lnTo>
                  <a:lnTo>
                    <a:pt x="69" y="51"/>
                  </a:lnTo>
                  <a:lnTo>
                    <a:pt x="430" y="51"/>
                  </a:lnTo>
                  <a:lnTo>
                    <a:pt x="435" y="51"/>
                  </a:lnTo>
                  <a:lnTo>
                    <a:pt x="439" y="54"/>
                  </a:lnTo>
                  <a:lnTo>
                    <a:pt x="441" y="56"/>
                  </a:lnTo>
                  <a:lnTo>
                    <a:pt x="443" y="61"/>
                  </a:lnTo>
                  <a:lnTo>
                    <a:pt x="445" y="65"/>
                  </a:lnTo>
                  <a:lnTo>
                    <a:pt x="443" y="69"/>
                  </a:lnTo>
                  <a:lnTo>
                    <a:pt x="441" y="73"/>
                  </a:lnTo>
                  <a:lnTo>
                    <a:pt x="439" y="75"/>
                  </a:lnTo>
                  <a:lnTo>
                    <a:pt x="435" y="78"/>
                  </a:lnTo>
                  <a:lnTo>
                    <a:pt x="430" y="78"/>
                  </a:lnTo>
                  <a:lnTo>
                    <a:pt x="63" y="78"/>
                  </a:lnTo>
                  <a:lnTo>
                    <a:pt x="60" y="78"/>
                  </a:lnTo>
                  <a:lnTo>
                    <a:pt x="57" y="77"/>
                  </a:lnTo>
                  <a:lnTo>
                    <a:pt x="53" y="74"/>
                  </a:lnTo>
                  <a:lnTo>
                    <a:pt x="4" y="23"/>
                  </a:lnTo>
                  <a:lnTo>
                    <a:pt x="1" y="20"/>
                  </a:lnTo>
                  <a:lnTo>
                    <a:pt x="0" y="16"/>
                  </a:lnTo>
                  <a:lnTo>
                    <a:pt x="0" y="12"/>
                  </a:lnTo>
                  <a:lnTo>
                    <a:pt x="1" y="8"/>
                  </a:lnTo>
                  <a:lnTo>
                    <a:pt x="4" y="4"/>
                  </a:lnTo>
                  <a:lnTo>
                    <a:pt x="7" y="2"/>
                  </a:lnTo>
                  <a:lnTo>
                    <a:pt x="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34" name="Freeform 39"/>
            <p:cNvSpPr>
              <a:spLocks/>
            </p:cNvSpPr>
            <p:nvPr/>
          </p:nvSpPr>
          <p:spPr bwMode="auto">
            <a:xfrm>
              <a:off x="5129453" y="5980318"/>
              <a:ext cx="171939" cy="21379"/>
            </a:xfrm>
            <a:custGeom>
              <a:avLst/>
              <a:gdLst>
                <a:gd name="T0" fmla="*/ 394 w 756"/>
                <a:gd name="T1" fmla="*/ 0 h 95"/>
                <a:gd name="T2" fmla="*/ 741 w 756"/>
                <a:gd name="T3" fmla="*/ 0 h 95"/>
                <a:gd name="T4" fmla="*/ 746 w 756"/>
                <a:gd name="T5" fmla="*/ 1 h 95"/>
                <a:gd name="T6" fmla="*/ 750 w 756"/>
                <a:gd name="T7" fmla="*/ 3 h 95"/>
                <a:gd name="T8" fmla="*/ 752 w 756"/>
                <a:gd name="T9" fmla="*/ 6 h 95"/>
                <a:gd name="T10" fmla="*/ 754 w 756"/>
                <a:gd name="T11" fmla="*/ 10 h 95"/>
                <a:gd name="T12" fmla="*/ 756 w 756"/>
                <a:gd name="T13" fmla="*/ 14 h 95"/>
                <a:gd name="T14" fmla="*/ 754 w 756"/>
                <a:gd name="T15" fmla="*/ 18 h 95"/>
                <a:gd name="T16" fmla="*/ 752 w 756"/>
                <a:gd name="T17" fmla="*/ 22 h 95"/>
                <a:gd name="T18" fmla="*/ 750 w 756"/>
                <a:gd name="T19" fmla="*/ 26 h 95"/>
                <a:gd name="T20" fmla="*/ 746 w 756"/>
                <a:gd name="T21" fmla="*/ 27 h 95"/>
                <a:gd name="T22" fmla="*/ 741 w 756"/>
                <a:gd name="T23" fmla="*/ 28 h 95"/>
                <a:gd name="T24" fmla="*/ 398 w 756"/>
                <a:gd name="T25" fmla="*/ 28 h 95"/>
                <a:gd name="T26" fmla="*/ 335 w 756"/>
                <a:gd name="T27" fmla="*/ 91 h 95"/>
                <a:gd name="T28" fmla="*/ 332 w 756"/>
                <a:gd name="T29" fmla="*/ 93 h 95"/>
                <a:gd name="T30" fmla="*/ 329 w 756"/>
                <a:gd name="T31" fmla="*/ 95 h 95"/>
                <a:gd name="T32" fmla="*/ 326 w 756"/>
                <a:gd name="T33" fmla="*/ 95 h 95"/>
                <a:gd name="T34" fmla="*/ 13 w 756"/>
                <a:gd name="T35" fmla="*/ 95 h 95"/>
                <a:gd name="T36" fmla="*/ 10 w 756"/>
                <a:gd name="T37" fmla="*/ 95 h 95"/>
                <a:gd name="T38" fmla="*/ 6 w 756"/>
                <a:gd name="T39" fmla="*/ 92 h 95"/>
                <a:gd name="T40" fmla="*/ 2 w 756"/>
                <a:gd name="T41" fmla="*/ 90 h 95"/>
                <a:gd name="T42" fmla="*/ 1 w 756"/>
                <a:gd name="T43" fmla="*/ 86 h 95"/>
                <a:gd name="T44" fmla="*/ 0 w 756"/>
                <a:gd name="T45" fmla="*/ 81 h 95"/>
                <a:gd name="T46" fmla="*/ 1 w 756"/>
                <a:gd name="T47" fmla="*/ 78 h 95"/>
                <a:gd name="T48" fmla="*/ 2 w 756"/>
                <a:gd name="T49" fmla="*/ 73 h 95"/>
                <a:gd name="T50" fmla="*/ 6 w 756"/>
                <a:gd name="T51" fmla="*/ 70 h 95"/>
                <a:gd name="T52" fmla="*/ 10 w 756"/>
                <a:gd name="T53" fmla="*/ 68 h 95"/>
                <a:gd name="T54" fmla="*/ 13 w 756"/>
                <a:gd name="T55" fmla="*/ 68 h 95"/>
                <a:gd name="T56" fmla="*/ 320 w 756"/>
                <a:gd name="T57" fmla="*/ 68 h 95"/>
                <a:gd name="T58" fmla="*/ 384 w 756"/>
                <a:gd name="T59" fmla="*/ 5 h 95"/>
                <a:gd name="T60" fmla="*/ 386 w 756"/>
                <a:gd name="T61" fmla="*/ 3 h 95"/>
                <a:gd name="T62" fmla="*/ 390 w 756"/>
                <a:gd name="T63" fmla="*/ 1 h 95"/>
                <a:gd name="T64" fmla="*/ 394 w 756"/>
                <a:gd name="T6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56" h="95">
                  <a:moveTo>
                    <a:pt x="394" y="0"/>
                  </a:moveTo>
                  <a:lnTo>
                    <a:pt x="741" y="0"/>
                  </a:lnTo>
                  <a:lnTo>
                    <a:pt x="746" y="1"/>
                  </a:lnTo>
                  <a:lnTo>
                    <a:pt x="750" y="3"/>
                  </a:lnTo>
                  <a:lnTo>
                    <a:pt x="752" y="6"/>
                  </a:lnTo>
                  <a:lnTo>
                    <a:pt x="754" y="10"/>
                  </a:lnTo>
                  <a:lnTo>
                    <a:pt x="756" y="14"/>
                  </a:lnTo>
                  <a:lnTo>
                    <a:pt x="754" y="18"/>
                  </a:lnTo>
                  <a:lnTo>
                    <a:pt x="752" y="22"/>
                  </a:lnTo>
                  <a:lnTo>
                    <a:pt x="750" y="26"/>
                  </a:lnTo>
                  <a:lnTo>
                    <a:pt x="746" y="27"/>
                  </a:lnTo>
                  <a:lnTo>
                    <a:pt x="741" y="28"/>
                  </a:lnTo>
                  <a:lnTo>
                    <a:pt x="398" y="28"/>
                  </a:lnTo>
                  <a:lnTo>
                    <a:pt x="335" y="91"/>
                  </a:lnTo>
                  <a:lnTo>
                    <a:pt x="332" y="93"/>
                  </a:lnTo>
                  <a:lnTo>
                    <a:pt x="329" y="95"/>
                  </a:lnTo>
                  <a:lnTo>
                    <a:pt x="326" y="95"/>
                  </a:lnTo>
                  <a:lnTo>
                    <a:pt x="13" y="95"/>
                  </a:lnTo>
                  <a:lnTo>
                    <a:pt x="10" y="95"/>
                  </a:lnTo>
                  <a:lnTo>
                    <a:pt x="6" y="92"/>
                  </a:lnTo>
                  <a:lnTo>
                    <a:pt x="2" y="90"/>
                  </a:lnTo>
                  <a:lnTo>
                    <a:pt x="1" y="86"/>
                  </a:lnTo>
                  <a:lnTo>
                    <a:pt x="0" y="81"/>
                  </a:lnTo>
                  <a:lnTo>
                    <a:pt x="1" y="78"/>
                  </a:lnTo>
                  <a:lnTo>
                    <a:pt x="2" y="73"/>
                  </a:lnTo>
                  <a:lnTo>
                    <a:pt x="6" y="70"/>
                  </a:lnTo>
                  <a:lnTo>
                    <a:pt x="10" y="68"/>
                  </a:lnTo>
                  <a:lnTo>
                    <a:pt x="13" y="68"/>
                  </a:lnTo>
                  <a:lnTo>
                    <a:pt x="320" y="68"/>
                  </a:lnTo>
                  <a:lnTo>
                    <a:pt x="384" y="5"/>
                  </a:lnTo>
                  <a:lnTo>
                    <a:pt x="386" y="3"/>
                  </a:lnTo>
                  <a:lnTo>
                    <a:pt x="390" y="1"/>
                  </a:lnTo>
                  <a:lnTo>
                    <a:pt x="39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35" name="Freeform 40"/>
            <p:cNvSpPr>
              <a:spLocks/>
            </p:cNvSpPr>
            <p:nvPr/>
          </p:nvSpPr>
          <p:spPr bwMode="auto">
            <a:xfrm>
              <a:off x="5157655" y="6023985"/>
              <a:ext cx="143737" cy="6368"/>
            </a:xfrm>
            <a:custGeom>
              <a:avLst/>
              <a:gdLst>
                <a:gd name="T0" fmla="*/ 13 w 631"/>
                <a:gd name="T1" fmla="*/ 0 h 27"/>
                <a:gd name="T2" fmla="*/ 616 w 631"/>
                <a:gd name="T3" fmla="*/ 0 h 27"/>
                <a:gd name="T4" fmla="*/ 621 w 631"/>
                <a:gd name="T5" fmla="*/ 0 h 27"/>
                <a:gd name="T6" fmla="*/ 625 w 631"/>
                <a:gd name="T7" fmla="*/ 2 h 27"/>
                <a:gd name="T8" fmla="*/ 627 w 631"/>
                <a:gd name="T9" fmla="*/ 5 h 27"/>
                <a:gd name="T10" fmla="*/ 629 w 631"/>
                <a:gd name="T11" fmla="*/ 8 h 27"/>
                <a:gd name="T12" fmla="*/ 631 w 631"/>
                <a:gd name="T13" fmla="*/ 13 h 27"/>
                <a:gd name="T14" fmla="*/ 629 w 631"/>
                <a:gd name="T15" fmla="*/ 17 h 27"/>
                <a:gd name="T16" fmla="*/ 627 w 631"/>
                <a:gd name="T17" fmla="*/ 22 h 27"/>
                <a:gd name="T18" fmla="*/ 625 w 631"/>
                <a:gd name="T19" fmla="*/ 24 h 27"/>
                <a:gd name="T20" fmla="*/ 621 w 631"/>
                <a:gd name="T21" fmla="*/ 27 h 27"/>
                <a:gd name="T22" fmla="*/ 616 w 631"/>
                <a:gd name="T23" fmla="*/ 27 h 27"/>
                <a:gd name="T24" fmla="*/ 13 w 631"/>
                <a:gd name="T25" fmla="*/ 27 h 27"/>
                <a:gd name="T26" fmla="*/ 9 w 631"/>
                <a:gd name="T27" fmla="*/ 27 h 27"/>
                <a:gd name="T28" fmla="*/ 6 w 631"/>
                <a:gd name="T29" fmla="*/ 24 h 27"/>
                <a:gd name="T30" fmla="*/ 2 w 631"/>
                <a:gd name="T31" fmla="*/ 22 h 27"/>
                <a:gd name="T32" fmla="*/ 1 w 631"/>
                <a:gd name="T33" fmla="*/ 17 h 27"/>
                <a:gd name="T34" fmla="*/ 0 w 631"/>
                <a:gd name="T35" fmla="*/ 13 h 27"/>
                <a:gd name="T36" fmla="*/ 1 w 631"/>
                <a:gd name="T37" fmla="*/ 8 h 27"/>
                <a:gd name="T38" fmla="*/ 2 w 631"/>
                <a:gd name="T39" fmla="*/ 5 h 27"/>
                <a:gd name="T40" fmla="*/ 6 w 631"/>
                <a:gd name="T41" fmla="*/ 2 h 27"/>
                <a:gd name="T42" fmla="*/ 9 w 631"/>
                <a:gd name="T43" fmla="*/ 0 h 27"/>
                <a:gd name="T44" fmla="*/ 13 w 631"/>
                <a:gd name="T4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31" h="27">
                  <a:moveTo>
                    <a:pt x="13" y="0"/>
                  </a:moveTo>
                  <a:lnTo>
                    <a:pt x="616" y="0"/>
                  </a:lnTo>
                  <a:lnTo>
                    <a:pt x="621" y="0"/>
                  </a:lnTo>
                  <a:lnTo>
                    <a:pt x="625" y="2"/>
                  </a:lnTo>
                  <a:lnTo>
                    <a:pt x="627" y="5"/>
                  </a:lnTo>
                  <a:lnTo>
                    <a:pt x="629" y="8"/>
                  </a:lnTo>
                  <a:lnTo>
                    <a:pt x="631" y="13"/>
                  </a:lnTo>
                  <a:lnTo>
                    <a:pt x="629" y="17"/>
                  </a:lnTo>
                  <a:lnTo>
                    <a:pt x="627" y="22"/>
                  </a:lnTo>
                  <a:lnTo>
                    <a:pt x="625" y="24"/>
                  </a:lnTo>
                  <a:lnTo>
                    <a:pt x="621" y="27"/>
                  </a:lnTo>
                  <a:lnTo>
                    <a:pt x="616" y="27"/>
                  </a:lnTo>
                  <a:lnTo>
                    <a:pt x="13" y="27"/>
                  </a:lnTo>
                  <a:lnTo>
                    <a:pt x="9" y="27"/>
                  </a:lnTo>
                  <a:lnTo>
                    <a:pt x="6" y="24"/>
                  </a:lnTo>
                  <a:lnTo>
                    <a:pt x="2" y="22"/>
                  </a:lnTo>
                  <a:lnTo>
                    <a:pt x="1" y="17"/>
                  </a:lnTo>
                  <a:lnTo>
                    <a:pt x="0" y="13"/>
                  </a:lnTo>
                  <a:lnTo>
                    <a:pt x="1" y="8"/>
                  </a:lnTo>
                  <a:lnTo>
                    <a:pt x="2" y="5"/>
                  </a:lnTo>
                  <a:lnTo>
                    <a:pt x="6" y="2"/>
                  </a:lnTo>
                  <a:lnTo>
                    <a:pt x="9" y="0"/>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36" name="Freeform 41"/>
            <p:cNvSpPr>
              <a:spLocks noEditPoints="1"/>
            </p:cNvSpPr>
            <p:nvPr/>
          </p:nvSpPr>
          <p:spPr bwMode="auto">
            <a:xfrm>
              <a:off x="5187676" y="5928464"/>
              <a:ext cx="22289" cy="21833"/>
            </a:xfrm>
            <a:custGeom>
              <a:avLst/>
              <a:gdLst>
                <a:gd name="T0" fmla="*/ 50 w 99"/>
                <a:gd name="T1" fmla="*/ 26 h 96"/>
                <a:gd name="T2" fmla="*/ 39 w 99"/>
                <a:gd name="T3" fmla="*/ 30 h 96"/>
                <a:gd name="T4" fmla="*/ 31 w 99"/>
                <a:gd name="T5" fmla="*/ 37 h 96"/>
                <a:gd name="T6" fmla="*/ 28 w 99"/>
                <a:gd name="T7" fmla="*/ 48 h 96"/>
                <a:gd name="T8" fmla="*/ 31 w 99"/>
                <a:gd name="T9" fmla="*/ 59 h 96"/>
                <a:gd name="T10" fmla="*/ 39 w 99"/>
                <a:gd name="T11" fmla="*/ 66 h 96"/>
                <a:gd name="T12" fmla="*/ 50 w 99"/>
                <a:gd name="T13" fmla="*/ 70 h 96"/>
                <a:gd name="T14" fmla="*/ 60 w 99"/>
                <a:gd name="T15" fmla="*/ 66 h 96"/>
                <a:gd name="T16" fmla="*/ 68 w 99"/>
                <a:gd name="T17" fmla="*/ 59 h 96"/>
                <a:gd name="T18" fmla="*/ 71 w 99"/>
                <a:gd name="T19" fmla="*/ 48 h 96"/>
                <a:gd name="T20" fmla="*/ 68 w 99"/>
                <a:gd name="T21" fmla="*/ 37 h 96"/>
                <a:gd name="T22" fmla="*/ 60 w 99"/>
                <a:gd name="T23" fmla="*/ 30 h 96"/>
                <a:gd name="T24" fmla="*/ 50 w 99"/>
                <a:gd name="T25" fmla="*/ 26 h 96"/>
                <a:gd name="T26" fmla="*/ 50 w 99"/>
                <a:gd name="T27" fmla="*/ 0 h 96"/>
                <a:gd name="T28" fmla="*/ 65 w 99"/>
                <a:gd name="T29" fmla="*/ 2 h 96"/>
                <a:gd name="T30" fmla="*/ 78 w 99"/>
                <a:gd name="T31" fmla="*/ 9 h 96"/>
                <a:gd name="T32" fmla="*/ 89 w 99"/>
                <a:gd name="T33" fmla="*/ 19 h 96"/>
                <a:gd name="T34" fmla="*/ 96 w 99"/>
                <a:gd name="T35" fmla="*/ 32 h 96"/>
                <a:gd name="T36" fmla="*/ 99 w 99"/>
                <a:gd name="T37" fmla="*/ 48 h 96"/>
                <a:gd name="T38" fmla="*/ 96 w 99"/>
                <a:gd name="T39" fmla="*/ 64 h 96"/>
                <a:gd name="T40" fmla="*/ 89 w 99"/>
                <a:gd name="T41" fmla="*/ 77 h 96"/>
                <a:gd name="T42" fmla="*/ 78 w 99"/>
                <a:gd name="T43" fmla="*/ 87 h 96"/>
                <a:gd name="T44" fmla="*/ 65 w 99"/>
                <a:gd name="T45" fmla="*/ 94 h 96"/>
                <a:gd name="T46" fmla="*/ 50 w 99"/>
                <a:gd name="T47" fmla="*/ 96 h 96"/>
                <a:gd name="T48" fmla="*/ 34 w 99"/>
                <a:gd name="T49" fmla="*/ 94 h 96"/>
                <a:gd name="T50" fmla="*/ 21 w 99"/>
                <a:gd name="T51" fmla="*/ 87 h 96"/>
                <a:gd name="T52" fmla="*/ 10 w 99"/>
                <a:gd name="T53" fmla="*/ 77 h 96"/>
                <a:gd name="T54" fmla="*/ 4 w 99"/>
                <a:gd name="T55" fmla="*/ 64 h 96"/>
                <a:gd name="T56" fmla="*/ 0 w 99"/>
                <a:gd name="T57" fmla="*/ 48 h 96"/>
                <a:gd name="T58" fmla="*/ 4 w 99"/>
                <a:gd name="T59" fmla="*/ 32 h 96"/>
                <a:gd name="T60" fmla="*/ 10 w 99"/>
                <a:gd name="T61" fmla="*/ 19 h 96"/>
                <a:gd name="T62" fmla="*/ 21 w 99"/>
                <a:gd name="T63" fmla="*/ 9 h 96"/>
                <a:gd name="T64" fmla="*/ 34 w 99"/>
                <a:gd name="T65" fmla="*/ 2 h 96"/>
                <a:gd name="T66" fmla="*/ 50 w 99"/>
                <a:gd name="T6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 h="96">
                  <a:moveTo>
                    <a:pt x="50" y="26"/>
                  </a:moveTo>
                  <a:lnTo>
                    <a:pt x="39" y="30"/>
                  </a:lnTo>
                  <a:lnTo>
                    <a:pt x="31" y="37"/>
                  </a:lnTo>
                  <a:lnTo>
                    <a:pt x="28" y="48"/>
                  </a:lnTo>
                  <a:lnTo>
                    <a:pt x="31" y="59"/>
                  </a:lnTo>
                  <a:lnTo>
                    <a:pt x="39" y="66"/>
                  </a:lnTo>
                  <a:lnTo>
                    <a:pt x="50" y="70"/>
                  </a:lnTo>
                  <a:lnTo>
                    <a:pt x="60" y="66"/>
                  </a:lnTo>
                  <a:lnTo>
                    <a:pt x="68" y="59"/>
                  </a:lnTo>
                  <a:lnTo>
                    <a:pt x="71" y="48"/>
                  </a:lnTo>
                  <a:lnTo>
                    <a:pt x="68" y="37"/>
                  </a:lnTo>
                  <a:lnTo>
                    <a:pt x="60" y="30"/>
                  </a:lnTo>
                  <a:lnTo>
                    <a:pt x="50" y="26"/>
                  </a:lnTo>
                  <a:close/>
                  <a:moveTo>
                    <a:pt x="50" y="0"/>
                  </a:moveTo>
                  <a:lnTo>
                    <a:pt x="65" y="2"/>
                  </a:lnTo>
                  <a:lnTo>
                    <a:pt x="78" y="9"/>
                  </a:lnTo>
                  <a:lnTo>
                    <a:pt x="89" y="19"/>
                  </a:lnTo>
                  <a:lnTo>
                    <a:pt x="96" y="32"/>
                  </a:lnTo>
                  <a:lnTo>
                    <a:pt x="99" y="48"/>
                  </a:lnTo>
                  <a:lnTo>
                    <a:pt x="96" y="64"/>
                  </a:lnTo>
                  <a:lnTo>
                    <a:pt x="89" y="77"/>
                  </a:lnTo>
                  <a:lnTo>
                    <a:pt x="78" y="87"/>
                  </a:lnTo>
                  <a:lnTo>
                    <a:pt x="65" y="94"/>
                  </a:lnTo>
                  <a:lnTo>
                    <a:pt x="50" y="96"/>
                  </a:lnTo>
                  <a:lnTo>
                    <a:pt x="34" y="94"/>
                  </a:lnTo>
                  <a:lnTo>
                    <a:pt x="21" y="87"/>
                  </a:lnTo>
                  <a:lnTo>
                    <a:pt x="10" y="77"/>
                  </a:lnTo>
                  <a:lnTo>
                    <a:pt x="4" y="64"/>
                  </a:lnTo>
                  <a:lnTo>
                    <a:pt x="0" y="48"/>
                  </a:lnTo>
                  <a:lnTo>
                    <a:pt x="4" y="32"/>
                  </a:lnTo>
                  <a:lnTo>
                    <a:pt x="10" y="19"/>
                  </a:lnTo>
                  <a:lnTo>
                    <a:pt x="21" y="9"/>
                  </a:lnTo>
                  <a:lnTo>
                    <a:pt x="34" y="2"/>
                  </a:lnTo>
                  <a:lnTo>
                    <a:pt x="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37" name="Freeform 42"/>
            <p:cNvSpPr>
              <a:spLocks noEditPoints="1"/>
            </p:cNvSpPr>
            <p:nvPr/>
          </p:nvSpPr>
          <p:spPr bwMode="auto">
            <a:xfrm>
              <a:off x="5113533" y="5987596"/>
              <a:ext cx="22289" cy="21833"/>
            </a:xfrm>
            <a:custGeom>
              <a:avLst/>
              <a:gdLst>
                <a:gd name="T0" fmla="*/ 48 w 97"/>
                <a:gd name="T1" fmla="*/ 27 h 97"/>
                <a:gd name="T2" fmla="*/ 37 w 97"/>
                <a:gd name="T3" fmla="*/ 30 h 97"/>
                <a:gd name="T4" fmla="*/ 29 w 97"/>
                <a:gd name="T5" fmla="*/ 37 h 97"/>
                <a:gd name="T6" fmla="*/ 27 w 97"/>
                <a:gd name="T7" fmla="*/ 48 h 97"/>
                <a:gd name="T8" fmla="*/ 29 w 97"/>
                <a:gd name="T9" fmla="*/ 59 h 97"/>
                <a:gd name="T10" fmla="*/ 37 w 97"/>
                <a:gd name="T11" fmla="*/ 67 h 97"/>
                <a:gd name="T12" fmla="*/ 48 w 97"/>
                <a:gd name="T13" fmla="*/ 70 h 97"/>
                <a:gd name="T14" fmla="*/ 59 w 97"/>
                <a:gd name="T15" fmla="*/ 67 h 97"/>
                <a:gd name="T16" fmla="*/ 67 w 97"/>
                <a:gd name="T17" fmla="*/ 59 h 97"/>
                <a:gd name="T18" fmla="*/ 69 w 97"/>
                <a:gd name="T19" fmla="*/ 48 h 97"/>
                <a:gd name="T20" fmla="*/ 67 w 97"/>
                <a:gd name="T21" fmla="*/ 37 h 97"/>
                <a:gd name="T22" fmla="*/ 59 w 97"/>
                <a:gd name="T23" fmla="*/ 30 h 97"/>
                <a:gd name="T24" fmla="*/ 48 w 97"/>
                <a:gd name="T25" fmla="*/ 27 h 97"/>
                <a:gd name="T26" fmla="*/ 48 w 97"/>
                <a:gd name="T27" fmla="*/ 0 h 97"/>
                <a:gd name="T28" fmla="*/ 63 w 97"/>
                <a:gd name="T29" fmla="*/ 2 h 97"/>
                <a:gd name="T30" fmla="*/ 76 w 97"/>
                <a:gd name="T31" fmla="*/ 10 h 97"/>
                <a:gd name="T32" fmla="*/ 87 w 97"/>
                <a:gd name="T33" fmla="*/ 19 h 97"/>
                <a:gd name="T34" fmla="*/ 94 w 97"/>
                <a:gd name="T35" fmla="*/ 33 h 97"/>
                <a:gd name="T36" fmla="*/ 97 w 97"/>
                <a:gd name="T37" fmla="*/ 48 h 97"/>
                <a:gd name="T38" fmla="*/ 94 w 97"/>
                <a:gd name="T39" fmla="*/ 64 h 97"/>
                <a:gd name="T40" fmla="*/ 87 w 97"/>
                <a:gd name="T41" fmla="*/ 77 h 97"/>
                <a:gd name="T42" fmla="*/ 76 w 97"/>
                <a:gd name="T43" fmla="*/ 87 h 97"/>
                <a:gd name="T44" fmla="*/ 63 w 97"/>
                <a:gd name="T45" fmla="*/ 94 h 97"/>
                <a:gd name="T46" fmla="*/ 48 w 97"/>
                <a:gd name="T47" fmla="*/ 97 h 97"/>
                <a:gd name="T48" fmla="*/ 33 w 97"/>
                <a:gd name="T49" fmla="*/ 94 h 97"/>
                <a:gd name="T50" fmla="*/ 19 w 97"/>
                <a:gd name="T51" fmla="*/ 87 h 97"/>
                <a:gd name="T52" fmla="*/ 8 w 97"/>
                <a:gd name="T53" fmla="*/ 77 h 97"/>
                <a:gd name="T54" fmla="*/ 2 w 97"/>
                <a:gd name="T55" fmla="*/ 64 h 97"/>
                <a:gd name="T56" fmla="*/ 0 w 97"/>
                <a:gd name="T57" fmla="*/ 48 h 97"/>
                <a:gd name="T58" fmla="*/ 2 w 97"/>
                <a:gd name="T59" fmla="*/ 33 h 97"/>
                <a:gd name="T60" fmla="*/ 8 w 97"/>
                <a:gd name="T61" fmla="*/ 19 h 97"/>
                <a:gd name="T62" fmla="*/ 19 w 97"/>
                <a:gd name="T63" fmla="*/ 10 h 97"/>
                <a:gd name="T64" fmla="*/ 33 w 97"/>
                <a:gd name="T65" fmla="*/ 2 h 97"/>
                <a:gd name="T66" fmla="*/ 48 w 97"/>
                <a:gd name="T6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 h="97">
                  <a:moveTo>
                    <a:pt x="48" y="27"/>
                  </a:moveTo>
                  <a:lnTo>
                    <a:pt x="37" y="30"/>
                  </a:lnTo>
                  <a:lnTo>
                    <a:pt x="29" y="37"/>
                  </a:lnTo>
                  <a:lnTo>
                    <a:pt x="27" y="48"/>
                  </a:lnTo>
                  <a:lnTo>
                    <a:pt x="29" y="59"/>
                  </a:lnTo>
                  <a:lnTo>
                    <a:pt x="37" y="67"/>
                  </a:lnTo>
                  <a:lnTo>
                    <a:pt x="48" y="70"/>
                  </a:lnTo>
                  <a:lnTo>
                    <a:pt x="59" y="67"/>
                  </a:lnTo>
                  <a:lnTo>
                    <a:pt x="67" y="59"/>
                  </a:lnTo>
                  <a:lnTo>
                    <a:pt x="69" y="48"/>
                  </a:lnTo>
                  <a:lnTo>
                    <a:pt x="67" y="37"/>
                  </a:lnTo>
                  <a:lnTo>
                    <a:pt x="59" y="30"/>
                  </a:lnTo>
                  <a:lnTo>
                    <a:pt x="48" y="27"/>
                  </a:lnTo>
                  <a:close/>
                  <a:moveTo>
                    <a:pt x="48" y="0"/>
                  </a:moveTo>
                  <a:lnTo>
                    <a:pt x="63" y="2"/>
                  </a:lnTo>
                  <a:lnTo>
                    <a:pt x="76" y="10"/>
                  </a:lnTo>
                  <a:lnTo>
                    <a:pt x="87" y="19"/>
                  </a:lnTo>
                  <a:lnTo>
                    <a:pt x="94" y="33"/>
                  </a:lnTo>
                  <a:lnTo>
                    <a:pt x="97" y="48"/>
                  </a:lnTo>
                  <a:lnTo>
                    <a:pt x="94" y="64"/>
                  </a:lnTo>
                  <a:lnTo>
                    <a:pt x="87" y="77"/>
                  </a:lnTo>
                  <a:lnTo>
                    <a:pt x="76" y="87"/>
                  </a:lnTo>
                  <a:lnTo>
                    <a:pt x="63" y="94"/>
                  </a:lnTo>
                  <a:lnTo>
                    <a:pt x="48" y="97"/>
                  </a:lnTo>
                  <a:lnTo>
                    <a:pt x="33" y="94"/>
                  </a:lnTo>
                  <a:lnTo>
                    <a:pt x="19" y="87"/>
                  </a:lnTo>
                  <a:lnTo>
                    <a:pt x="8" y="77"/>
                  </a:lnTo>
                  <a:lnTo>
                    <a:pt x="2" y="64"/>
                  </a:lnTo>
                  <a:lnTo>
                    <a:pt x="0" y="48"/>
                  </a:lnTo>
                  <a:lnTo>
                    <a:pt x="2" y="33"/>
                  </a:lnTo>
                  <a:lnTo>
                    <a:pt x="8" y="19"/>
                  </a:lnTo>
                  <a:lnTo>
                    <a:pt x="19" y="10"/>
                  </a:lnTo>
                  <a:lnTo>
                    <a:pt x="33" y="2"/>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38" name="Freeform 43"/>
            <p:cNvSpPr>
              <a:spLocks noEditPoints="1"/>
            </p:cNvSpPr>
            <p:nvPr/>
          </p:nvSpPr>
          <p:spPr bwMode="auto">
            <a:xfrm>
              <a:off x="5142189" y="6016253"/>
              <a:ext cx="21834" cy="21833"/>
            </a:xfrm>
            <a:custGeom>
              <a:avLst/>
              <a:gdLst>
                <a:gd name="T0" fmla="*/ 48 w 97"/>
                <a:gd name="T1" fmla="*/ 26 h 97"/>
                <a:gd name="T2" fmla="*/ 37 w 97"/>
                <a:gd name="T3" fmla="*/ 30 h 97"/>
                <a:gd name="T4" fmla="*/ 29 w 97"/>
                <a:gd name="T5" fmla="*/ 37 h 97"/>
                <a:gd name="T6" fmla="*/ 26 w 97"/>
                <a:gd name="T7" fmla="*/ 48 h 97"/>
                <a:gd name="T8" fmla="*/ 29 w 97"/>
                <a:gd name="T9" fmla="*/ 59 h 97"/>
                <a:gd name="T10" fmla="*/ 37 w 97"/>
                <a:gd name="T11" fmla="*/ 66 h 97"/>
                <a:gd name="T12" fmla="*/ 48 w 97"/>
                <a:gd name="T13" fmla="*/ 70 h 97"/>
                <a:gd name="T14" fmla="*/ 58 w 97"/>
                <a:gd name="T15" fmla="*/ 66 h 97"/>
                <a:gd name="T16" fmla="*/ 66 w 97"/>
                <a:gd name="T17" fmla="*/ 59 h 97"/>
                <a:gd name="T18" fmla="*/ 69 w 97"/>
                <a:gd name="T19" fmla="*/ 48 h 97"/>
                <a:gd name="T20" fmla="*/ 66 w 97"/>
                <a:gd name="T21" fmla="*/ 37 h 97"/>
                <a:gd name="T22" fmla="*/ 58 w 97"/>
                <a:gd name="T23" fmla="*/ 30 h 97"/>
                <a:gd name="T24" fmla="*/ 48 w 97"/>
                <a:gd name="T25" fmla="*/ 26 h 97"/>
                <a:gd name="T26" fmla="*/ 48 w 97"/>
                <a:gd name="T27" fmla="*/ 0 h 97"/>
                <a:gd name="T28" fmla="*/ 63 w 97"/>
                <a:gd name="T29" fmla="*/ 2 h 97"/>
                <a:gd name="T30" fmla="*/ 76 w 97"/>
                <a:gd name="T31" fmla="*/ 10 h 97"/>
                <a:gd name="T32" fmla="*/ 87 w 97"/>
                <a:gd name="T33" fmla="*/ 19 h 97"/>
                <a:gd name="T34" fmla="*/ 94 w 97"/>
                <a:gd name="T35" fmla="*/ 33 h 97"/>
                <a:gd name="T36" fmla="*/ 97 w 97"/>
                <a:gd name="T37" fmla="*/ 48 h 97"/>
                <a:gd name="T38" fmla="*/ 94 w 97"/>
                <a:gd name="T39" fmla="*/ 64 h 97"/>
                <a:gd name="T40" fmla="*/ 87 w 97"/>
                <a:gd name="T41" fmla="*/ 77 h 97"/>
                <a:gd name="T42" fmla="*/ 76 w 97"/>
                <a:gd name="T43" fmla="*/ 87 h 97"/>
                <a:gd name="T44" fmla="*/ 63 w 97"/>
                <a:gd name="T45" fmla="*/ 94 h 97"/>
                <a:gd name="T46" fmla="*/ 48 w 97"/>
                <a:gd name="T47" fmla="*/ 97 h 97"/>
                <a:gd name="T48" fmla="*/ 32 w 97"/>
                <a:gd name="T49" fmla="*/ 94 h 97"/>
                <a:gd name="T50" fmla="*/ 19 w 97"/>
                <a:gd name="T51" fmla="*/ 87 h 97"/>
                <a:gd name="T52" fmla="*/ 8 w 97"/>
                <a:gd name="T53" fmla="*/ 77 h 97"/>
                <a:gd name="T54" fmla="*/ 2 w 97"/>
                <a:gd name="T55" fmla="*/ 64 h 97"/>
                <a:gd name="T56" fmla="*/ 0 w 97"/>
                <a:gd name="T57" fmla="*/ 48 h 97"/>
                <a:gd name="T58" fmla="*/ 2 w 97"/>
                <a:gd name="T59" fmla="*/ 33 h 97"/>
                <a:gd name="T60" fmla="*/ 8 w 97"/>
                <a:gd name="T61" fmla="*/ 19 h 97"/>
                <a:gd name="T62" fmla="*/ 19 w 97"/>
                <a:gd name="T63" fmla="*/ 10 h 97"/>
                <a:gd name="T64" fmla="*/ 32 w 97"/>
                <a:gd name="T65" fmla="*/ 2 h 97"/>
                <a:gd name="T66" fmla="*/ 48 w 97"/>
                <a:gd name="T6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 h="97">
                  <a:moveTo>
                    <a:pt x="48" y="26"/>
                  </a:moveTo>
                  <a:lnTo>
                    <a:pt x="37" y="30"/>
                  </a:lnTo>
                  <a:lnTo>
                    <a:pt x="29" y="37"/>
                  </a:lnTo>
                  <a:lnTo>
                    <a:pt x="26" y="48"/>
                  </a:lnTo>
                  <a:lnTo>
                    <a:pt x="29" y="59"/>
                  </a:lnTo>
                  <a:lnTo>
                    <a:pt x="37" y="66"/>
                  </a:lnTo>
                  <a:lnTo>
                    <a:pt x="48" y="70"/>
                  </a:lnTo>
                  <a:lnTo>
                    <a:pt x="58" y="66"/>
                  </a:lnTo>
                  <a:lnTo>
                    <a:pt x="66" y="59"/>
                  </a:lnTo>
                  <a:lnTo>
                    <a:pt x="69" y="48"/>
                  </a:lnTo>
                  <a:lnTo>
                    <a:pt x="66" y="37"/>
                  </a:lnTo>
                  <a:lnTo>
                    <a:pt x="58" y="30"/>
                  </a:lnTo>
                  <a:lnTo>
                    <a:pt x="48" y="26"/>
                  </a:lnTo>
                  <a:close/>
                  <a:moveTo>
                    <a:pt x="48" y="0"/>
                  </a:moveTo>
                  <a:lnTo>
                    <a:pt x="63" y="2"/>
                  </a:lnTo>
                  <a:lnTo>
                    <a:pt x="76" y="10"/>
                  </a:lnTo>
                  <a:lnTo>
                    <a:pt x="87" y="19"/>
                  </a:lnTo>
                  <a:lnTo>
                    <a:pt x="94" y="33"/>
                  </a:lnTo>
                  <a:lnTo>
                    <a:pt x="97" y="48"/>
                  </a:lnTo>
                  <a:lnTo>
                    <a:pt x="94" y="64"/>
                  </a:lnTo>
                  <a:lnTo>
                    <a:pt x="87" y="77"/>
                  </a:lnTo>
                  <a:lnTo>
                    <a:pt x="76" y="87"/>
                  </a:lnTo>
                  <a:lnTo>
                    <a:pt x="63" y="94"/>
                  </a:lnTo>
                  <a:lnTo>
                    <a:pt x="48" y="97"/>
                  </a:lnTo>
                  <a:lnTo>
                    <a:pt x="32" y="94"/>
                  </a:lnTo>
                  <a:lnTo>
                    <a:pt x="19" y="87"/>
                  </a:lnTo>
                  <a:lnTo>
                    <a:pt x="8" y="77"/>
                  </a:lnTo>
                  <a:lnTo>
                    <a:pt x="2" y="64"/>
                  </a:lnTo>
                  <a:lnTo>
                    <a:pt x="0" y="48"/>
                  </a:lnTo>
                  <a:lnTo>
                    <a:pt x="2" y="33"/>
                  </a:lnTo>
                  <a:lnTo>
                    <a:pt x="8" y="19"/>
                  </a:lnTo>
                  <a:lnTo>
                    <a:pt x="19" y="10"/>
                  </a:lnTo>
                  <a:lnTo>
                    <a:pt x="32" y="2"/>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39" name="Freeform 44"/>
            <p:cNvSpPr>
              <a:spLocks noEditPoints="1"/>
            </p:cNvSpPr>
            <p:nvPr/>
          </p:nvSpPr>
          <p:spPr bwMode="auto">
            <a:xfrm>
              <a:off x="5131273" y="6104951"/>
              <a:ext cx="22289" cy="22289"/>
            </a:xfrm>
            <a:custGeom>
              <a:avLst/>
              <a:gdLst>
                <a:gd name="T0" fmla="*/ 50 w 99"/>
                <a:gd name="T1" fmla="*/ 28 h 97"/>
                <a:gd name="T2" fmla="*/ 39 w 99"/>
                <a:gd name="T3" fmla="*/ 30 h 97"/>
                <a:gd name="T4" fmla="*/ 31 w 99"/>
                <a:gd name="T5" fmla="*/ 38 h 97"/>
                <a:gd name="T6" fmla="*/ 28 w 99"/>
                <a:gd name="T7" fmla="*/ 48 h 97"/>
                <a:gd name="T8" fmla="*/ 31 w 99"/>
                <a:gd name="T9" fmla="*/ 59 h 97"/>
                <a:gd name="T10" fmla="*/ 39 w 99"/>
                <a:gd name="T11" fmla="*/ 67 h 97"/>
                <a:gd name="T12" fmla="*/ 50 w 99"/>
                <a:gd name="T13" fmla="*/ 70 h 97"/>
                <a:gd name="T14" fmla="*/ 60 w 99"/>
                <a:gd name="T15" fmla="*/ 67 h 97"/>
                <a:gd name="T16" fmla="*/ 68 w 99"/>
                <a:gd name="T17" fmla="*/ 59 h 97"/>
                <a:gd name="T18" fmla="*/ 71 w 99"/>
                <a:gd name="T19" fmla="*/ 48 h 97"/>
                <a:gd name="T20" fmla="*/ 68 w 99"/>
                <a:gd name="T21" fmla="*/ 38 h 97"/>
                <a:gd name="T22" fmla="*/ 60 w 99"/>
                <a:gd name="T23" fmla="*/ 30 h 97"/>
                <a:gd name="T24" fmla="*/ 50 w 99"/>
                <a:gd name="T25" fmla="*/ 28 h 97"/>
                <a:gd name="T26" fmla="*/ 50 w 99"/>
                <a:gd name="T27" fmla="*/ 0 h 97"/>
                <a:gd name="T28" fmla="*/ 65 w 99"/>
                <a:gd name="T29" fmla="*/ 2 h 97"/>
                <a:gd name="T30" fmla="*/ 78 w 99"/>
                <a:gd name="T31" fmla="*/ 10 h 97"/>
                <a:gd name="T32" fmla="*/ 89 w 99"/>
                <a:gd name="T33" fmla="*/ 19 h 97"/>
                <a:gd name="T34" fmla="*/ 96 w 99"/>
                <a:gd name="T35" fmla="*/ 34 h 97"/>
                <a:gd name="T36" fmla="*/ 99 w 99"/>
                <a:gd name="T37" fmla="*/ 48 h 97"/>
                <a:gd name="T38" fmla="*/ 96 w 99"/>
                <a:gd name="T39" fmla="*/ 64 h 97"/>
                <a:gd name="T40" fmla="*/ 89 w 99"/>
                <a:gd name="T41" fmla="*/ 77 h 97"/>
                <a:gd name="T42" fmla="*/ 78 w 99"/>
                <a:gd name="T43" fmla="*/ 87 h 97"/>
                <a:gd name="T44" fmla="*/ 65 w 99"/>
                <a:gd name="T45" fmla="*/ 94 h 97"/>
                <a:gd name="T46" fmla="*/ 50 w 99"/>
                <a:gd name="T47" fmla="*/ 97 h 97"/>
                <a:gd name="T48" fmla="*/ 34 w 99"/>
                <a:gd name="T49" fmla="*/ 94 h 97"/>
                <a:gd name="T50" fmla="*/ 21 w 99"/>
                <a:gd name="T51" fmla="*/ 87 h 97"/>
                <a:gd name="T52" fmla="*/ 10 w 99"/>
                <a:gd name="T53" fmla="*/ 77 h 97"/>
                <a:gd name="T54" fmla="*/ 4 w 99"/>
                <a:gd name="T55" fmla="*/ 64 h 97"/>
                <a:gd name="T56" fmla="*/ 0 w 99"/>
                <a:gd name="T57" fmla="*/ 48 h 97"/>
                <a:gd name="T58" fmla="*/ 4 w 99"/>
                <a:gd name="T59" fmla="*/ 34 h 97"/>
                <a:gd name="T60" fmla="*/ 10 w 99"/>
                <a:gd name="T61" fmla="*/ 19 h 97"/>
                <a:gd name="T62" fmla="*/ 21 w 99"/>
                <a:gd name="T63" fmla="*/ 10 h 97"/>
                <a:gd name="T64" fmla="*/ 34 w 99"/>
                <a:gd name="T65" fmla="*/ 2 h 97"/>
                <a:gd name="T66" fmla="*/ 50 w 99"/>
                <a:gd name="T6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 h="97">
                  <a:moveTo>
                    <a:pt x="50" y="28"/>
                  </a:moveTo>
                  <a:lnTo>
                    <a:pt x="39" y="30"/>
                  </a:lnTo>
                  <a:lnTo>
                    <a:pt x="31" y="38"/>
                  </a:lnTo>
                  <a:lnTo>
                    <a:pt x="28" y="48"/>
                  </a:lnTo>
                  <a:lnTo>
                    <a:pt x="31" y="59"/>
                  </a:lnTo>
                  <a:lnTo>
                    <a:pt x="39" y="67"/>
                  </a:lnTo>
                  <a:lnTo>
                    <a:pt x="50" y="70"/>
                  </a:lnTo>
                  <a:lnTo>
                    <a:pt x="60" y="67"/>
                  </a:lnTo>
                  <a:lnTo>
                    <a:pt x="68" y="59"/>
                  </a:lnTo>
                  <a:lnTo>
                    <a:pt x="71" y="48"/>
                  </a:lnTo>
                  <a:lnTo>
                    <a:pt x="68" y="38"/>
                  </a:lnTo>
                  <a:lnTo>
                    <a:pt x="60" y="30"/>
                  </a:lnTo>
                  <a:lnTo>
                    <a:pt x="50" y="28"/>
                  </a:lnTo>
                  <a:close/>
                  <a:moveTo>
                    <a:pt x="50" y="0"/>
                  </a:moveTo>
                  <a:lnTo>
                    <a:pt x="65" y="2"/>
                  </a:lnTo>
                  <a:lnTo>
                    <a:pt x="78" y="10"/>
                  </a:lnTo>
                  <a:lnTo>
                    <a:pt x="89" y="19"/>
                  </a:lnTo>
                  <a:lnTo>
                    <a:pt x="96" y="34"/>
                  </a:lnTo>
                  <a:lnTo>
                    <a:pt x="99" y="48"/>
                  </a:lnTo>
                  <a:lnTo>
                    <a:pt x="96" y="64"/>
                  </a:lnTo>
                  <a:lnTo>
                    <a:pt x="89" y="77"/>
                  </a:lnTo>
                  <a:lnTo>
                    <a:pt x="78" y="87"/>
                  </a:lnTo>
                  <a:lnTo>
                    <a:pt x="65" y="94"/>
                  </a:lnTo>
                  <a:lnTo>
                    <a:pt x="50" y="97"/>
                  </a:lnTo>
                  <a:lnTo>
                    <a:pt x="34" y="94"/>
                  </a:lnTo>
                  <a:lnTo>
                    <a:pt x="21" y="87"/>
                  </a:lnTo>
                  <a:lnTo>
                    <a:pt x="10" y="77"/>
                  </a:lnTo>
                  <a:lnTo>
                    <a:pt x="4" y="64"/>
                  </a:lnTo>
                  <a:lnTo>
                    <a:pt x="0" y="48"/>
                  </a:lnTo>
                  <a:lnTo>
                    <a:pt x="4" y="34"/>
                  </a:lnTo>
                  <a:lnTo>
                    <a:pt x="10" y="19"/>
                  </a:lnTo>
                  <a:lnTo>
                    <a:pt x="21" y="10"/>
                  </a:lnTo>
                  <a:lnTo>
                    <a:pt x="34" y="2"/>
                  </a:lnTo>
                  <a:lnTo>
                    <a:pt x="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40" name="Freeform 45"/>
            <p:cNvSpPr>
              <a:spLocks noEditPoints="1"/>
            </p:cNvSpPr>
            <p:nvPr/>
          </p:nvSpPr>
          <p:spPr bwMode="auto">
            <a:xfrm>
              <a:off x="5186311" y="6087212"/>
              <a:ext cx="22289" cy="21833"/>
            </a:xfrm>
            <a:custGeom>
              <a:avLst/>
              <a:gdLst>
                <a:gd name="T0" fmla="*/ 48 w 97"/>
                <a:gd name="T1" fmla="*/ 27 h 97"/>
                <a:gd name="T2" fmla="*/ 37 w 97"/>
                <a:gd name="T3" fmla="*/ 30 h 97"/>
                <a:gd name="T4" fmla="*/ 30 w 97"/>
                <a:gd name="T5" fmla="*/ 38 h 97"/>
                <a:gd name="T6" fmla="*/ 27 w 97"/>
                <a:gd name="T7" fmla="*/ 48 h 97"/>
                <a:gd name="T8" fmla="*/ 30 w 97"/>
                <a:gd name="T9" fmla="*/ 59 h 97"/>
                <a:gd name="T10" fmla="*/ 37 w 97"/>
                <a:gd name="T11" fmla="*/ 67 h 97"/>
                <a:gd name="T12" fmla="*/ 48 w 97"/>
                <a:gd name="T13" fmla="*/ 70 h 97"/>
                <a:gd name="T14" fmla="*/ 59 w 97"/>
                <a:gd name="T15" fmla="*/ 67 h 97"/>
                <a:gd name="T16" fmla="*/ 66 w 97"/>
                <a:gd name="T17" fmla="*/ 59 h 97"/>
                <a:gd name="T18" fmla="*/ 70 w 97"/>
                <a:gd name="T19" fmla="*/ 48 h 97"/>
                <a:gd name="T20" fmla="*/ 66 w 97"/>
                <a:gd name="T21" fmla="*/ 38 h 97"/>
                <a:gd name="T22" fmla="*/ 59 w 97"/>
                <a:gd name="T23" fmla="*/ 30 h 97"/>
                <a:gd name="T24" fmla="*/ 48 w 97"/>
                <a:gd name="T25" fmla="*/ 27 h 97"/>
                <a:gd name="T26" fmla="*/ 48 w 97"/>
                <a:gd name="T27" fmla="*/ 0 h 97"/>
                <a:gd name="T28" fmla="*/ 64 w 97"/>
                <a:gd name="T29" fmla="*/ 2 h 97"/>
                <a:gd name="T30" fmla="*/ 77 w 97"/>
                <a:gd name="T31" fmla="*/ 10 h 97"/>
                <a:gd name="T32" fmla="*/ 88 w 97"/>
                <a:gd name="T33" fmla="*/ 19 h 97"/>
                <a:gd name="T34" fmla="*/ 94 w 97"/>
                <a:gd name="T35" fmla="*/ 33 h 97"/>
                <a:gd name="T36" fmla="*/ 97 w 97"/>
                <a:gd name="T37" fmla="*/ 48 h 97"/>
                <a:gd name="T38" fmla="*/ 94 w 97"/>
                <a:gd name="T39" fmla="*/ 64 h 97"/>
                <a:gd name="T40" fmla="*/ 88 w 97"/>
                <a:gd name="T41" fmla="*/ 78 h 97"/>
                <a:gd name="T42" fmla="*/ 77 w 97"/>
                <a:gd name="T43" fmla="*/ 87 h 97"/>
                <a:gd name="T44" fmla="*/ 64 w 97"/>
                <a:gd name="T45" fmla="*/ 94 h 97"/>
                <a:gd name="T46" fmla="*/ 48 w 97"/>
                <a:gd name="T47" fmla="*/ 97 h 97"/>
                <a:gd name="T48" fmla="*/ 34 w 97"/>
                <a:gd name="T49" fmla="*/ 94 h 97"/>
                <a:gd name="T50" fmla="*/ 20 w 97"/>
                <a:gd name="T51" fmla="*/ 87 h 97"/>
                <a:gd name="T52" fmla="*/ 9 w 97"/>
                <a:gd name="T53" fmla="*/ 78 h 97"/>
                <a:gd name="T54" fmla="*/ 2 w 97"/>
                <a:gd name="T55" fmla="*/ 64 h 97"/>
                <a:gd name="T56" fmla="*/ 0 w 97"/>
                <a:gd name="T57" fmla="*/ 48 h 97"/>
                <a:gd name="T58" fmla="*/ 2 w 97"/>
                <a:gd name="T59" fmla="*/ 33 h 97"/>
                <a:gd name="T60" fmla="*/ 9 w 97"/>
                <a:gd name="T61" fmla="*/ 19 h 97"/>
                <a:gd name="T62" fmla="*/ 20 w 97"/>
                <a:gd name="T63" fmla="*/ 10 h 97"/>
                <a:gd name="T64" fmla="*/ 34 w 97"/>
                <a:gd name="T65" fmla="*/ 2 h 97"/>
                <a:gd name="T66" fmla="*/ 48 w 97"/>
                <a:gd name="T6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 h="97">
                  <a:moveTo>
                    <a:pt x="48" y="27"/>
                  </a:moveTo>
                  <a:lnTo>
                    <a:pt x="37" y="30"/>
                  </a:lnTo>
                  <a:lnTo>
                    <a:pt x="30" y="38"/>
                  </a:lnTo>
                  <a:lnTo>
                    <a:pt x="27" y="48"/>
                  </a:lnTo>
                  <a:lnTo>
                    <a:pt x="30" y="59"/>
                  </a:lnTo>
                  <a:lnTo>
                    <a:pt x="37" y="67"/>
                  </a:lnTo>
                  <a:lnTo>
                    <a:pt x="48" y="70"/>
                  </a:lnTo>
                  <a:lnTo>
                    <a:pt x="59" y="67"/>
                  </a:lnTo>
                  <a:lnTo>
                    <a:pt x="66" y="59"/>
                  </a:lnTo>
                  <a:lnTo>
                    <a:pt x="70" y="48"/>
                  </a:lnTo>
                  <a:lnTo>
                    <a:pt x="66" y="38"/>
                  </a:lnTo>
                  <a:lnTo>
                    <a:pt x="59" y="30"/>
                  </a:lnTo>
                  <a:lnTo>
                    <a:pt x="48" y="27"/>
                  </a:lnTo>
                  <a:close/>
                  <a:moveTo>
                    <a:pt x="48" y="0"/>
                  </a:moveTo>
                  <a:lnTo>
                    <a:pt x="64" y="2"/>
                  </a:lnTo>
                  <a:lnTo>
                    <a:pt x="77" y="10"/>
                  </a:lnTo>
                  <a:lnTo>
                    <a:pt x="88" y="19"/>
                  </a:lnTo>
                  <a:lnTo>
                    <a:pt x="94" y="33"/>
                  </a:lnTo>
                  <a:lnTo>
                    <a:pt x="97" y="48"/>
                  </a:lnTo>
                  <a:lnTo>
                    <a:pt x="94" y="64"/>
                  </a:lnTo>
                  <a:lnTo>
                    <a:pt x="88" y="78"/>
                  </a:lnTo>
                  <a:lnTo>
                    <a:pt x="77" y="87"/>
                  </a:lnTo>
                  <a:lnTo>
                    <a:pt x="64" y="94"/>
                  </a:lnTo>
                  <a:lnTo>
                    <a:pt x="48" y="97"/>
                  </a:lnTo>
                  <a:lnTo>
                    <a:pt x="34" y="94"/>
                  </a:lnTo>
                  <a:lnTo>
                    <a:pt x="20" y="87"/>
                  </a:lnTo>
                  <a:lnTo>
                    <a:pt x="9" y="78"/>
                  </a:lnTo>
                  <a:lnTo>
                    <a:pt x="2" y="64"/>
                  </a:lnTo>
                  <a:lnTo>
                    <a:pt x="0" y="48"/>
                  </a:lnTo>
                  <a:lnTo>
                    <a:pt x="2" y="33"/>
                  </a:lnTo>
                  <a:lnTo>
                    <a:pt x="9" y="19"/>
                  </a:lnTo>
                  <a:lnTo>
                    <a:pt x="20" y="10"/>
                  </a:lnTo>
                  <a:lnTo>
                    <a:pt x="34" y="2"/>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48" name="Freeform 46"/>
            <p:cNvSpPr>
              <a:spLocks/>
            </p:cNvSpPr>
            <p:nvPr/>
          </p:nvSpPr>
          <p:spPr bwMode="auto">
            <a:xfrm>
              <a:off x="5341420" y="6179094"/>
              <a:ext cx="26837" cy="126907"/>
            </a:xfrm>
            <a:custGeom>
              <a:avLst/>
              <a:gdLst>
                <a:gd name="T0" fmla="*/ 105 w 118"/>
                <a:gd name="T1" fmla="*/ 0 h 558"/>
                <a:gd name="T2" fmla="*/ 109 w 118"/>
                <a:gd name="T3" fmla="*/ 1 h 558"/>
                <a:gd name="T4" fmla="*/ 113 w 118"/>
                <a:gd name="T5" fmla="*/ 3 h 558"/>
                <a:gd name="T6" fmla="*/ 115 w 118"/>
                <a:gd name="T7" fmla="*/ 6 h 558"/>
                <a:gd name="T8" fmla="*/ 118 w 118"/>
                <a:gd name="T9" fmla="*/ 9 h 558"/>
                <a:gd name="T10" fmla="*/ 118 w 118"/>
                <a:gd name="T11" fmla="*/ 14 h 558"/>
                <a:gd name="T12" fmla="*/ 118 w 118"/>
                <a:gd name="T13" fmla="*/ 454 h 558"/>
                <a:gd name="T14" fmla="*/ 118 w 118"/>
                <a:gd name="T15" fmla="*/ 457 h 558"/>
                <a:gd name="T16" fmla="*/ 117 w 118"/>
                <a:gd name="T17" fmla="*/ 461 h 558"/>
                <a:gd name="T18" fmla="*/ 114 w 118"/>
                <a:gd name="T19" fmla="*/ 463 h 558"/>
                <a:gd name="T20" fmla="*/ 23 w 118"/>
                <a:gd name="T21" fmla="*/ 554 h 558"/>
                <a:gd name="T22" fmla="*/ 21 w 118"/>
                <a:gd name="T23" fmla="*/ 557 h 558"/>
                <a:gd name="T24" fmla="*/ 17 w 118"/>
                <a:gd name="T25" fmla="*/ 558 h 558"/>
                <a:gd name="T26" fmla="*/ 15 w 118"/>
                <a:gd name="T27" fmla="*/ 558 h 558"/>
                <a:gd name="T28" fmla="*/ 11 w 118"/>
                <a:gd name="T29" fmla="*/ 558 h 558"/>
                <a:gd name="T30" fmla="*/ 8 w 118"/>
                <a:gd name="T31" fmla="*/ 557 h 558"/>
                <a:gd name="T32" fmla="*/ 5 w 118"/>
                <a:gd name="T33" fmla="*/ 554 h 558"/>
                <a:gd name="T34" fmla="*/ 2 w 118"/>
                <a:gd name="T35" fmla="*/ 551 h 558"/>
                <a:gd name="T36" fmla="*/ 0 w 118"/>
                <a:gd name="T37" fmla="*/ 547 h 558"/>
                <a:gd name="T38" fmla="*/ 0 w 118"/>
                <a:gd name="T39" fmla="*/ 542 h 558"/>
                <a:gd name="T40" fmla="*/ 2 w 118"/>
                <a:gd name="T41" fmla="*/ 539 h 558"/>
                <a:gd name="T42" fmla="*/ 5 w 118"/>
                <a:gd name="T43" fmla="*/ 535 h 558"/>
                <a:gd name="T44" fmla="*/ 91 w 118"/>
                <a:gd name="T45" fmla="*/ 449 h 558"/>
                <a:gd name="T46" fmla="*/ 91 w 118"/>
                <a:gd name="T47" fmla="*/ 14 h 558"/>
                <a:gd name="T48" fmla="*/ 91 w 118"/>
                <a:gd name="T49" fmla="*/ 9 h 558"/>
                <a:gd name="T50" fmla="*/ 94 w 118"/>
                <a:gd name="T51" fmla="*/ 6 h 558"/>
                <a:gd name="T52" fmla="*/ 96 w 118"/>
                <a:gd name="T53" fmla="*/ 3 h 558"/>
                <a:gd name="T54" fmla="*/ 101 w 118"/>
                <a:gd name="T55" fmla="*/ 1 h 558"/>
                <a:gd name="T56" fmla="*/ 105 w 118"/>
                <a:gd name="T57"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 h="558">
                  <a:moveTo>
                    <a:pt x="105" y="0"/>
                  </a:moveTo>
                  <a:lnTo>
                    <a:pt x="109" y="1"/>
                  </a:lnTo>
                  <a:lnTo>
                    <a:pt x="113" y="3"/>
                  </a:lnTo>
                  <a:lnTo>
                    <a:pt x="115" y="6"/>
                  </a:lnTo>
                  <a:lnTo>
                    <a:pt x="118" y="9"/>
                  </a:lnTo>
                  <a:lnTo>
                    <a:pt x="118" y="14"/>
                  </a:lnTo>
                  <a:lnTo>
                    <a:pt x="118" y="454"/>
                  </a:lnTo>
                  <a:lnTo>
                    <a:pt x="118" y="457"/>
                  </a:lnTo>
                  <a:lnTo>
                    <a:pt x="117" y="461"/>
                  </a:lnTo>
                  <a:lnTo>
                    <a:pt x="114" y="463"/>
                  </a:lnTo>
                  <a:lnTo>
                    <a:pt x="23" y="554"/>
                  </a:lnTo>
                  <a:lnTo>
                    <a:pt x="21" y="557"/>
                  </a:lnTo>
                  <a:lnTo>
                    <a:pt x="17" y="558"/>
                  </a:lnTo>
                  <a:lnTo>
                    <a:pt x="15" y="558"/>
                  </a:lnTo>
                  <a:lnTo>
                    <a:pt x="11" y="558"/>
                  </a:lnTo>
                  <a:lnTo>
                    <a:pt x="8" y="557"/>
                  </a:lnTo>
                  <a:lnTo>
                    <a:pt x="5" y="554"/>
                  </a:lnTo>
                  <a:lnTo>
                    <a:pt x="2" y="551"/>
                  </a:lnTo>
                  <a:lnTo>
                    <a:pt x="0" y="547"/>
                  </a:lnTo>
                  <a:lnTo>
                    <a:pt x="0" y="542"/>
                  </a:lnTo>
                  <a:lnTo>
                    <a:pt x="2" y="539"/>
                  </a:lnTo>
                  <a:lnTo>
                    <a:pt x="5" y="535"/>
                  </a:lnTo>
                  <a:lnTo>
                    <a:pt x="91" y="449"/>
                  </a:lnTo>
                  <a:lnTo>
                    <a:pt x="91" y="14"/>
                  </a:lnTo>
                  <a:lnTo>
                    <a:pt x="91" y="9"/>
                  </a:lnTo>
                  <a:lnTo>
                    <a:pt x="94" y="6"/>
                  </a:lnTo>
                  <a:lnTo>
                    <a:pt x="96" y="3"/>
                  </a:lnTo>
                  <a:lnTo>
                    <a:pt x="101" y="1"/>
                  </a:lnTo>
                  <a:lnTo>
                    <a:pt x="10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49" name="Freeform 47"/>
            <p:cNvSpPr>
              <a:spLocks/>
            </p:cNvSpPr>
            <p:nvPr/>
          </p:nvSpPr>
          <p:spPr bwMode="auto">
            <a:xfrm>
              <a:off x="5461050" y="6179094"/>
              <a:ext cx="39573" cy="100070"/>
            </a:xfrm>
            <a:custGeom>
              <a:avLst/>
              <a:gdLst>
                <a:gd name="T0" fmla="*/ 160 w 173"/>
                <a:gd name="T1" fmla="*/ 0 h 438"/>
                <a:gd name="T2" fmla="*/ 163 w 173"/>
                <a:gd name="T3" fmla="*/ 1 h 438"/>
                <a:gd name="T4" fmla="*/ 167 w 173"/>
                <a:gd name="T5" fmla="*/ 3 h 438"/>
                <a:gd name="T6" fmla="*/ 171 w 173"/>
                <a:gd name="T7" fmla="*/ 6 h 438"/>
                <a:gd name="T8" fmla="*/ 172 w 173"/>
                <a:gd name="T9" fmla="*/ 9 h 438"/>
                <a:gd name="T10" fmla="*/ 173 w 173"/>
                <a:gd name="T11" fmla="*/ 14 h 438"/>
                <a:gd name="T12" fmla="*/ 173 w 173"/>
                <a:gd name="T13" fmla="*/ 278 h 438"/>
                <a:gd name="T14" fmla="*/ 173 w 173"/>
                <a:gd name="T15" fmla="*/ 282 h 438"/>
                <a:gd name="T16" fmla="*/ 172 w 173"/>
                <a:gd name="T17" fmla="*/ 284 h 438"/>
                <a:gd name="T18" fmla="*/ 169 w 173"/>
                <a:gd name="T19" fmla="*/ 288 h 438"/>
                <a:gd name="T20" fmla="*/ 23 w 173"/>
                <a:gd name="T21" fmla="*/ 434 h 438"/>
                <a:gd name="T22" fmla="*/ 19 w 173"/>
                <a:gd name="T23" fmla="*/ 436 h 438"/>
                <a:gd name="T24" fmla="*/ 17 w 173"/>
                <a:gd name="T25" fmla="*/ 437 h 438"/>
                <a:gd name="T26" fmla="*/ 13 w 173"/>
                <a:gd name="T27" fmla="*/ 438 h 438"/>
                <a:gd name="T28" fmla="*/ 10 w 173"/>
                <a:gd name="T29" fmla="*/ 437 h 438"/>
                <a:gd name="T30" fmla="*/ 6 w 173"/>
                <a:gd name="T31" fmla="*/ 436 h 438"/>
                <a:gd name="T32" fmla="*/ 4 w 173"/>
                <a:gd name="T33" fmla="*/ 434 h 438"/>
                <a:gd name="T34" fmla="*/ 1 w 173"/>
                <a:gd name="T35" fmla="*/ 431 h 438"/>
                <a:gd name="T36" fmla="*/ 0 w 173"/>
                <a:gd name="T37" fmla="*/ 426 h 438"/>
                <a:gd name="T38" fmla="*/ 0 w 173"/>
                <a:gd name="T39" fmla="*/ 422 h 438"/>
                <a:gd name="T40" fmla="*/ 1 w 173"/>
                <a:gd name="T41" fmla="*/ 419 h 438"/>
                <a:gd name="T42" fmla="*/ 4 w 173"/>
                <a:gd name="T43" fmla="*/ 415 h 438"/>
                <a:gd name="T44" fmla="*/ 146 w 173"/>
                <a:gd name="T45" fmla="*/ 272 h 438"/>
                <a:gd name="T46" fmla="*/ 146 w 173"/>
                <a:gd name="T47" fmla="*/ 14 h 438"/>
                <a:gd name="T48" fmla="*/ 146 w 173"/>
                <a:gd name="T49" fmla="*/ 9 h 438"/>
                <a:gd name="T50" fmla="*/ 149 w 173"/>
                <a:gd name="T51" fmla="*/ 6 h 438"/>
                <a:gd name="T52" fmla="*/ 151 w 173"/>
                <a:gd name="T53" fmla="*/ 3 h 438"/>
                <a:gd name="T54" fmla="*/ 155 w 173"/>
                <a:gd name="T55" fmla="*/ 1 h 438"/>
                <a:gd name="T56" fmla="*/ 160 w 173"/>
                <a:gd name="T57"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3" h="438">
                  <a:moveTo>
                    <a:pt x="160" y="0"/>
                  </a:moveTo>
                  <a:lnTo>
                    <a:pt x="163" y="1"/>
                  </a:lnTo>
                  <a:lnTo>
                    <a:pt x="167" y="3"/>
                  </a:lnTo>
                  <a:lnTo>
                    <a:pt x="171" y="6"/>
                  </a:lnTo>
                  <a:lnTo>
                    <a:pt x="172" y="9"/>
                  </a:lnTo>
                  <a:lnTo>
                    <a:pt x="173" y="14"/>
                  </a:lnTo>
                  <a:lnTo>
                    <a:pt x="173" y="278"/>
                  </a:lnTo>
                  <a:lnTo>
                    <a:pt x="173" y="282"/>
                  </a:lnTo>
                  <a:lnTo>
                    <a:pt x="172" y="284"/>
                  </a:lnTo>
                  <a:lnTo>
                    <a:pt x="169" y="288"/>
                  </a:lnTo>
                  <a:lnTo>
                    <a:pt x="23" y="434"/>
                  </a:lnTo>
                  <a:lnTo>
                    <a:pt x="19" y="436"/>
                  </a:lnTo>
                  <a:lnTo>
                    <a:pt x="17" y="437"/>
                  </a:lnTo>
                  <a:lnTo>
                    <a:pt x="13" y="438"/>
                  </a:lnTo>
                  <a:lnTo>
                    <a:pt x="10" y="437"/>
                  </a:lnTo>
                  <a:lnTo>
                    <a:pt x="6" y="436"/>
                  </a:lnTo>
                  <a:lnTo>
                    <a:pt x="4" y="434"/>
                  </a:lnTo>
                  <a:lnTo>
                    <a:pt x="1" y="431"/>
                  </a:lnTo>
                  <a:lnTo>
                    <a:pt x="0" y="426"/>
                  </a:lnTo>
                  <a:lnTo>
                    <a:pt x="0" y="422"/>
                  </a:lnTo>
                  <a:lnTo>
                    <a:pt x="1" y="419"/>
                  </a:lnTo>
                  <a:lnTo>
                    <a:pt x="4" y="415"/>
                  </a:lnTo>
                  <a:lnTo>
                    <a:pt x="146" y="272"/>
                  </a:lnTo>
                  <a:lnTo>
                    <a:pt x="146" y="14"/>
                  </a:lnTo>
                  <a:lnTo>
                    <a:pt x="146" y="9"/>
                  </a:lnTo>
                  <a:lnTo>
                    <a:pt x="149" y="6"/>
                  </a:lnTo>
                  <a:lnTo>
                    <a:pt x="151" y="3"/>
                  </a:lnTo>
                  <a:lnTo>
                    <a:pt x="155" y="1"/>
                  </a:lnTo>
                  <a:lnTo>
                    <a:pt x="1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50" name="Freeform 48"/>
            <p:cNvSpPr>
              <a:spLocks/>
            </p:cNvSpPr>
            <p:nvPr/>
          </p:nvSpPr>
          <p:spPr bwMode="auto">
            <a:xfrm>
              <a:off x="5394184" y="6179094"/>
              <a:ext cx="18195" cy="53674"/>
            </a:xfrm>
            <a:custGeom>
              <a:avLst/>
              <a:gdLst>
                <a:gd name="T0" fmla="*/ 65 w 79"/>
                <a:gd name="T1" fmla="*/ 0 h 235"/>
                <a:gd name="T2" fmla="*/ 70 w 79"/>
                <a:gd name="T3" fmla="*/ 1 h 235"/>
                <a:gd name="T4" fmla="*/ 74 w 79"/>
                <a:gd name="T5" fmla="*/ 3 h 235"/>
                <a:gd name="T6" fmla="*/ 76 w 79"/>
                <a:gd name="T7" fmla="*/ 6 h 235"/>
                <a:gd name="T8" fmla="*/ 79 w 79"/>
                <a:gd name="T9" fmla="*/ 9 h 235"/>
                <a:gd name="T10" fmla="*/ 79 w 79"/>
                <a:gd name="T11" fmla="*/ 14 h 235"/>
                <a:gd name="T12" fmla="*/ 79 w 79"/>
                <a:gd name="T13" fmla="*/ 169 h 235"/>
                <a:gd name="T14" fmla="*/ 79 w 79"/>
                <a:gd name="T15" fmla="*/ 172 h 235"/>
                <a:gd name="T16" fmla="*/ 77 w 79"/>
                <a:gd name="T17" fmla="*/ 175 h 235"/>
                <a:gd name="T18" fmla="*/ 75 w 79"/>
                <a:gd name="T19" fmla="*/ 178 h 235"/>
                <a:gd name="T20" fmla="*/ 23 w 79"/>
                <a:gd name="T21" fmla="*/ 230 h 235"/>
                <a:gd name="T22" fmla="*/ 20 w 79"/>
                <a:gd name="T23" fmla="*/ 232 h 235"/>
                <a:gd name="T24" fmla="*/ 17 w 79"/>
                <a:gd name="T25" fmla="*/ 233 h 235"/>
                <a:gd name="T26" fmla="*/ 13 w 79"/>
                <a:gd name="T27" fmla="*/ 235 h 235"/>
                <a:gd name="T28" fmla="*/ 10 w 79"/>
                <a:gd name="T29" fmla="*/ 233 h 235"/>
                <a:gd name="T30" fmla="*/ 7 w 79"/>
                <a:gd name="T31" fmla="*/ 232 h 235"/>
                <a:gd name="T32" fmla="*/ 3 w 79"/>
                <a:gd name="T33" fmla="*/ 230 h 235"/>
                <a:gd name="T34" fmla="*/ 1 w 79"/>
                <a:gd name="T35" fmla="*/ 226 h 235"/>
                <a:gd name="T36" fmla="*/ 0 w 79"/>
                <a:gd name="T37" fmla="*/ 223 h 235"/>
                <a:gd name="T38" fmla="*/ 0 w 79"/>
                <a:gd name="T39" fmla="*/ 219 h 235"/>
                <a:gd name="T40" fmla="*/ 1 w 79"/>
                <a:gd name="T41" fmla="*/ 214 h 235"/>
                <a:gd name="T42" fmla="*/ 3 w 79"/>
                <a:gd name="T43" fmla="*/ 210 h 235"/>
                <a:gd name="T44" fmla="*/ 52 w 79"/>
                <a:gd name="T45" fmla="*/ 163 h 235"/>
                <a:gd name="T46" fmla="*/ 52 w 79"/>
                <a:gd name="T47" fmla="*/ 14 h 235"/>
                <a:gd name="T48" fmla="*/ 52 w 79"/>
                <a:gd name="T49" fmla="*/ 9 h 235"/>
                <a:gd name="T50" fmla="*/ 54 w 79"/>
                <a:gd name="T51" fmla="*/ 6 h 235"/>
                <a:gd name="T52" fmla="*/ 57 w 79"/>
                <a:gd name="T53" fmla="*/ 3 h 235"/>
                <a:gd name="T54" fmla="*/ 62 w 79"/>
                <a:gd name="T55" fmla="*/ 1 h 235"/>
                <a:gd name="T56" fmla="*/ 65 w 79"/>
                <a:gd name="T57"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 h="235">
                  <a:moveTo>
                    <a:pt x="65" y="0"/>
                  </a:moveTo>
                  <a:lnTo>
                    <a:pt x="70" y="1"/>
                  </a:lnTo>
                  <a:lnTo>
                    <a:pt x="74" y="3"/>
                  </a:lnTo>
                  <a:lnTo>
                    <a:pt x="76" y="6"/>
                  </a:lnTo>
                  <a:lnTo>
                    <a:pt x="79" y="9"/>
                  </a:lnTo>
                  <a:lnTo>
                    <a:pt x="79" y="14"/>
                  </a:lnTo>
                  <a:lnTo>
                    <a:pt x="79" y="169"/>
                  </a:lnTo>
                  <a:lnTo>
                    <a:pt x="79" y="172"/>
                  </a:lnTo>
                  <a:lnTo>
                    <a:pt x="77" y="175"/>
                  </a:lnTo>
                  <a:lnTo>
                    <a:pt x="75" y="178"/>
                  </a:lnTo>
                  <a:lnTo>
                    <a:pt x="23" y="230"/>
                  </a:lnTo>
                  <a:lnTo>
                    <a:pt x="20" y="232"/>
                  </a:lnTo>
                  <a:lnTo>
                    <a:pt x="17" y="233"/>
                  </a:lnTo>
                  <a:lnTo>
                    <a:pt x="13" y="235"/>
                  </a:lnTo>
                  <a:lnTo>
                    <a:pt x="10" y="233"/>
                  </a:lnTo>
                  <a:lnTo>
                    <a:pt x="7" y="232"/>
                  </a:lnTo>
                  <a:lnTo>
                    <a:pt x="3" y="230"/>
                  </a:lnTo>
                  <a:lnTo>
                    <a:pt x="1" y="226"/>
                  </a:lnTo>
                  <a:lnTo>
                    <a:pt x="0" y="223"/>
                  </a:lnTo>
                  <a:lnTo>
                    <a:pt x="0" y="219"/>
                  </a:lnTo>
                  <a:lnTo>
                    <a:pt x="1" y="214"/>
                  </a:lnTo>
                  <a:lnTo>
                    <a:pt x="3" y="210"/>
                  </a:lnTo>
                  <a:lnTo>
                    <a:pt x="52" y="163"/>
                  </a:lnTo>
                  <a:lnTo>
                    <a:pt x="52" y="14"/>
                  </a:lnTo>
                  <a:lnTo>
                    <a:pt x="52" y="9"/>
                  </a:lnTo>
                  <a:lnTo>
                    <a:pt x="54" y="6"/>
                  </a:lnTo>
                  <a:lnTo>
                    <a:pt x="57" y="3"/>
                  </a:lnTo>
                  <a:lnTo>
                    <a:pt x="62" y="1"/>
                  </a:lnTo>
                  <a:lnTo>
                    <a:pt x="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51" name="Freeform 49"/>
            <p:cNvSpPr>
              <a:spLocks/>
            </p:cNvSpPr>
            <p:nvPr/>
          </p:nvSpPr>
          <p:spPr bwMode="auto">
            <a:xfrm>
              <a:off x="5424205" y="6179094"/>
              <a:ext cx="32296" cy="129182"/>
            </a:xfrm>
            <a:custGeom>
              <a:avLst/>
              <a:gdLst>
                <a:gd name="T0" fmla="*/ 128 w 141"/>
                <a:gd name="T1" fmla="*/ 0 h 568"/>
                <a:gd name="T2" fmla="*/ 133 w 141"/>
                <a:gd name="T3" fmla="*/ 1 h 568"/>
                <a:gd name="T4" fmla="*/ 136 w 141"/>
                <a:gd name="T5" fmla="*/ 3 h 568"/>
                <a:gd name="T6" fmla="*/ 139 w 141"/>
                <a:gd name="T7" fmla="*/ 6 h 568"/>
                <a:gd name="T8" fmla="*/ 141 w 141"/>
                <a:gd name="T9" fmla="*/ 9 h 568"/>
                <a:gd name="T10" fmla="*/ 141 w 141"/>
                <a:gd name="T11" fmla="*/ 14 h 568"/>
                <a:gd name="T12" fmla="*/ 141 w 141"/>
                <a:gd name="T13" fmla="*/ 272 h 568"/>
                <a:gd name="T14" fmla="*/ 141 w 141"/>
                <a:gd name="T15" fmla="*/ 276 h 568"/>
                <a:gd name="T16" fmla="*/ 140 w 141"/>
                <a:gd name="T17" fmla="*/ 279 h 568"/>
                <a:gd name="T18" fmla="*/ 138 w 141"/>
                <a:gd name="T19" fmla="*/ 282 h 568"/>
                <a:gd name="T20" fmla="*/ 26 w 141"/>
                <a:gd name="T21" fmla="*/ 381 h 568"/>
                <a:gd name="T22" fmla="*/ 26 w 141"/>
                <a:gd name="T23" fmla="*/ 554 h 568"/>
                <a:gd name="T24" fmla="*/ 25 w 141"/>
                <a:gd name="T25" fmla="*/ 559 h 568"/>
                <a:gd name="T26" fmla="*/ 24 w 141"/>
                <a:gd name="T27" fmla="*/ 563 h 568"/>
                <a:gd name="T28" fmla="*/ 20 w 141"/>
                <a:gd name="T29" fmla="*/ 565 h 568"/>
                <a:gd name="T30" fmla="*/ 17 w 141"/>
                <a:gd name="T31" fmla="*/ 568 h 568"/>
                <a:gd name="T32" fmla="*/ 13 w 141"/>
                <a:gd name="T33" fmla="*/ 568 h 568"/>
                <a:gd name="T34" fmla="*/ 8 w 141"/>
                <a:gd name="T35" fmla="*/ 568 h 568"/>
                <a:gd name="T36" fmla="*/ 4 w 141"/>
                <a:gd name="T37" fmla="*/ 565 h 568"/>
                <a:gd name="T38" fmla="*/ 2 w 141"/>
                <a:gd name="T39" fmla="*/ 563 h 568"/>
                <a:gd name="T40" fmla="*/ 0 w 141"/>
                <a:gd name="T41" fmla="*/ 559 h 568"/>
                <a:gd name="T42" fmla="*/ 0 w 141"/>
                <a:gd name="T43" fmla="*/ 554 h 568"/>
                <a:gd name="T44" fmla="*/ 0 w 141"/>
                <a:gd name="T45" fmla="*/ 375 h 568"/>
                <a:gd name="T46" fmla="*/ 0 w 141"/>
                <a:gd name="T47" fmla="*/ 370 h 568"/>
                <a:gd name="T48" fmla="*/ 1 w 141"/>
                <a:gd name="T49" fmla="*/ 368 h 568"/>
                <a:gd name="T50" fmla="*/ 3 w 141"/>
                <a:gd name="T51" fmla="*/ 364 h 568"/>
                <a:gd name="T52" fmla="*/ 115 w 141"/>
                <a:gd name="T53" fmla="*/ 266 h 568"/>
                <a:gd name="T54" fmla="*/ 115 w 141"/>
                <a:gd name="T55" fmla="*/ 14 h 568"/>
                <a:gd name="T56" fmla="*/ 116 w 141"/>
                <a:gd name="T57" fmla="*/ 9 h 568"/>
                <a:gd name="T58" fmla="*/ 117 w 141"/>
                <a:gd name="T59" fmla="*/ 6 h 568"/>
                <a:gd name="T60" fmla="*/ 121 w 141"/>
                <a:gd name="T61" fmla="*/ 3 h 568"/>
                <a:gd name="T62" fmla="*/ 124 w 141"/>
                <a:gd name="T63" fmla="*/ 1 h 568"/>
                <a:gd name="T64" fmla="*/ 128 w 141"/>
                <a:gd name="T65" fmla="*/ 0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1" h="568">
                  <a:moveTo>
                    <a:pt x="128" y="0"/>
                  </a:moveTo>
                  <a:lnTo>
                    <a:pt x="133" y="1"/>
                  </a:lnTo>
                  <a:lnTo>
                    <a:pt x="136" y="3"/>
                  </a:lnTo>
                  <a:lnTo>
                    <a:pt x="139" y="6"/>
                  </a:lnTo>
                  <a:lnTo>
                    <a:pt x="141" y="9"/>
                  </a:lnTo>
                  <a:lnTo>
                    <a:pt x="141" y="14"/>
                  </a:lnTo>
                  <a:lnTo>
                    <a:pt x="141" y="272"/>
                  </a:lnTo>
                  <a:lnTo>
                    <a:pt x="141" y="276"/>
                  </a:lnTo>
                  <a:lnTo>
                    <a:pt x="140" y="279"/>
                  </a:lnTo>
                  <a:lnTo>
                    <a:pt x="138" y="282"/>
                  </a:lnTo>
                  <a:lnTo>
                    <a:pt x="26" y="381"/>
                  </a:lnTo>
                  <a:lnTo>
                    <a:pt x="26" y="554"/>
                  </a:lnTo>
                  <a:lnTo>
                    <a:pt x="25" y="559"/>
                  </a:lnTo>
                  <a:lnTo>
                    <a:pt x="24" y="563"/>
                  </a:lnTo>
                  <a:lnTo>
                    <a:pt x="20" y="565"/>
                  </a:lnTo>
                  <a:lnTo>
                    <a:pt x="17" y="568"/>
                  </a:lnTo>
                  <a:lnTo>
                    <a:pt x="13" y="568"/>
                  </a:lnTo>
                  <a:lnTo>
                    <a:pt x="8" y="568"/>
                  </a:lnTo>
                  <a:lnTo>
                    <a:pt x="4" y="565"/>
                  </a:lnTo>
                  <a:lnTo>
                    <a:pt x="2" y="563"/>
                  </a:lnTo>
                  <a:lnTo>
                    <a:pt x="0" y="559"/>
                  </a:lnTo>
                  <a:lnTo>
                    <a:pt x="0" y="554"/>
                  </a:lnTo>
                  <a:lnTo>
                    <a:pt x="0" y="375"/>
                  </a:lnTo>
                  <a:lnTo>
                    <a:pt x="0" y="370"/>
                  </a:lnTo>
                  <a:lnTo>
                    <a:pt x="1" y="368"/>
                  </a:lnTo>
                  <a:lnTo>
                    <a:pt x="3" y="364"/>
                  </a:lnTo>
                  <a:lnTo>
                    <a:pt x="115" y="266"/>
                  </a:lnTo>
                  <a:lnTo>
                    <a:pt x="115" y="14"/>
                  </a:lnTo>
                  <a:lnTo>
                    <a:pt x="116" y="9"/>
                  </a:lnTo>
                  <a:lnTo>
                    <a:pt x="117" y="6"/>
                  </a:lnTo>
                  <a:lnTo>
                    <a:pt x="121" y="3"/>
                  </a:lnTo>
                  <a:lnTo>
                    <a:pt x="124" y="1"/>
                  </a:lnTo>
                  <a:lnTo>
                    <a:pt x="1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52" name="Freeform 50"/>
            <p:cNvSpPr>
              <a:spLocks/>
            </p:cNvSpPr>
            <p:nvPr/>
          </p:nvSpPr>
          <p:spPr bwMode="auto">
            <a:xfrm>
              <a:off x="5538377" y="6179094"/>
              <a:ext cx="32296" cy="123268"/>
            </a:xfrm>
            <a:custGeom>
              <a:avLst/>
              <a:gdLst>
                <a:gd name="T0" fmla="*/ 13 w 142"/>
                <a:gd name="T1" fmla="*/ 0 h 541"/>
                <a:gd name="T2" fmla="*/ 17 w 142"/>
                <a:gd name="T3" fmla="*/ 1 h 541"/>
                <a:gd name="T4" fmla="*/ 21 w 142"/>
                <a:gd name="T5" fmla="*/ 3 h 541"/>
                <a:gd name="T6" fmla="*/ 24 w 142"/>
                <a:gd name="T7" fmla="*/ 6 h 541"/>
                <a:gd name="T8" fmla="*/ 27 w 142"/>
                <a:gd name="T9" fmla="*/ 9 h 541"/>
                <a:gd name="T10" fmla="*/ 27 w 142"/>
                <a:gd name="T11" fmla="*/ 14 h 541"/>
                <a:gd name="T12" fmla="*/ 27 w 142"/>
                <a:gd name="T13" fmla="*/ 408 h 541"/>
                <a:gd name="T14" fmla="*/ 137 w 142"/>
                <a:gd name="T15" fmla="*/ 518 h 541"/>
                <a:gd name="T16" fmla="*/ 141 w 142"/>
                <a:gd name="T17" fmla="*/ 522 h 541"/>
                <a:gd name="T18" fmla="*/ 142 w 142"/>
                <a:gd name="T19" fmla="*/ 525 h 541"/>
                <a:gd name="T20" fmla="*/ 142 w 142"/>
                <a:gd name="T21" fmla="*/ 530 h 541"/>
                <a:gd name="T22" fmla="*/ 141 w 142"/>
                <a:gd name="T23" fmla="*/ 534 h 541"/>
                <a:gd name="T24" fmla="*/ 137 w 142"/>
                <a:gd name="T25" fmla="*/ 537 h 541"/>
                <a:gd name="T26" fmla="*/ 135 w 142"/>
                <a:gd name="T27" fmla="*/ 540 h 541"/>
                <a:gd name="T28" fmla="*/ 131 w 142"/>
                <a:gd name="T29" fmla="*/ 541 h 541"/>
                <a:gd name="T30" fmla="*/ 129 w 142"/>
                <a:gd name="T31" fmla="*/ 541 h 541"/>
                <a:gd name="T32" fmla="*/ 125 w 142"/>
                <a:gd name="T33" fmla="*/ 541 h 541"/>
                <a:gd name="T34" fmla="*/ 121 w 142"/>
                <a:gd name="T35" fmla="*/ 540 h 541"/>
                <a:gd name="T36" fmla="*/ 119 w 142"/>
                <a:gd name="T37" fmla="*/ 537 h 541"/>
                <a:gd name="T38" fmla="*/ 4 w 142"/>
                <a:gd name="T39" fmla="*/ 422 h 541"/>
                <a:gd name="T40" fmla="*/ 1 w 142"/>
                <a:gd name="T41" fmla="*/ 420 h 541"/>
                <a:gd name="T42" fmla="*/ 0 w 142"/>
                <a:gd name="T43" fmla="*/ 416 h 541"/>
                <a:gd name="T44" fmla="*/ 0 w 142"/>
                <a:gd name="T45" fmla="*/ 413 h 541"/>
                <a:gd name="T46" fmla="*/ 0 w 142"/>
                <a:gd name="T47" fmla="*/ 14 h 541"/>
                <a:gd name="T48" fmla="*/ 0 w 142"/>
                <a:gd name="T49" fmla="*/ 9 h 541"/>
                <a:gd name="T50" fmla="*/ 3 w 142"/>
                <a:gd name="T51" fmla="*/ 6 h 541"/>
                <a:gd name="T52" fmla="*/ 5 w 142"/>
                <a:gd name="T53" fmla="*/ 3 h 541"/>
                <a:gd name="T54" fmla="*/ 9 w 142"/>
                <a:gd name="T55" fmla="*/ 1 h 541"/>
                <a:gd name="T56" fmla="*/ 13 w 142"/>
                <a:gd name="T57" fmla="*/ 0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2" h="541">
                  <a:moveTo>
                    <a:pt x="13" y="0"/>
                  </a:moveTo>
                  <a:lnTo>
                    <a:pt x="17" y="1"/>
                  </a:lnTo>
                  <a:lnTo>
                    <a:pt x="21" y="3"/>
                  </a:lnTo>
                  <a:lnTo>
                    <a:pt x="24" y="6"/>
                  </a:lnTo>
                  <a:lnTo>
                    <a:pt x="27" y="9"/>
                  </a:lnTo>
                  <a:lnTo>
                    <a:pt x="27" y="14"/>
                  </a:lnTo>
                  <a:lnTo>
                    <a:pt x="27" y="408"/>
                  </a:lnTo>
                  <a:lnTo>
                    <a:pt x="137" y="518"/>
                  </a:lnTo>
                  <a:lnTo>
                    <a:pt x="141" y="522"/>
                  </a:lnTo>
                  <a:lnTo>
                    <a:pt x="142" y="525"/>
                  </a:lnTo>
                  <a:lnTo>
                    <a:pt x="142" y="530"/>
                  </a:lnTo>
                  <a:lnTo>
                    <a:pt x="141" y="534"/>
                  </a:lnTo>
                  <a:lnTo>
                    <a:pt x="137" y="537"/>
                  </a:lnTo>
                  <a:lnTo>
                    <a:pt x="135" y="540"/>
                  </a:lnTo>
                  <a:lnTo>
                    <a:pt x="131" y="541"/>
                  </a:lnTo>
                  <a:lnTo>
                    <a:pt x="129" y="541"/>
                  </a:lnTo>
                  <a:lnTo>
                    <a:pt x="125" y="541"/>
                  </a:lnTo>
                  <a:lnTo>
                    <a:pt x="121" y="540"/>
                  </a:lnTo>
                  <a:lnTo>
                    <a:pt x="119" y="537"/>
                  </a:lnTo>
                  <a:lnTo>
                    <a:pt x="4" y="422"/>
                  </a:lnTo>
                  <a:lnTo>
                    <a:pt x="1" y="420"/>
                  </a:lnTo>
                  <a:lnTo>
                    <a:pt x="0" y="416"/>
                  </a:lnTo>
                  <a:lnTo>
                    <a:pt x="0" y="413"/>
                  </a:lnTo>
                  <a:lnTo>
                    <a:pt x="0" y="14"/>
                  </a:lnTo>
                  <a:lnTo>
                    <a:pt x="0" y="9"/>
                  </a:lnTo>
                  <a:lnTo>
                    <a:pt x="3" y="6"/>
                  </a:lnTo>
                  <a:lnTo>
                    <a:pt x="5" y="3"/>
                  </a:lnTo>
                  <a:lnTo>
                    <a:pt x="9" y="1"/>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53" name="Freeform 51"/>
            <p:cNvSpPr>
              <a:spLocks noEditPoints="1"/>
            </p:cNvSpPr>
            <p:nvPr/>
          </p:nvSpPr>
          <p:spPr bwMode="auto">
            <a:xfrm>
              <a:off x="5328229" y="6297814"/>
              <a:ext cx="21834" cy="22289"/>
            </a:xfrm>
            <a:custGeom>
              <a:avLst/>
              <a:gdLst>
                <a:gd name="T0" fmla="*/ 48 w 97"/>
                <a:gd name="T1" fmla="*/ 28 h 98"/>
                <a:gd name="T2" fmla="*/ 38 w 97"/>
                <a:gd name="T3" fmla="*/ 31 h 98"/>
                <a:gd name="T4" fmla="*/ 30 w 97"/>
                <a:gd name="T5" fmla="*/ 39 h 98"/>
                <a:gd name="T6" fmla="*/ 28 w 97"/>
                <a:gd name="T7" fmla="*/ 50 h 98"/>
                <a:gd name="T8" fmla="*/ 30 w 97"/>
                <a:gd name="T9" fmla="*/ 60 h 98"/>
                <a:gd name="T10" fmla="*/ 38 w 97"/>
                <a:gd name="T11" fmla="*/ 68 h 98"/>
                <a:gd name="T12" fmla="*/ 48 w 97"/>
                <a:gd name="T13" fmla="*/ 71 h 98"/>
                <a:gd name="T14" fmla="*/ 59 w 97"/>
                <a:gd name="T15" fmla="*/ 68 h 98"/>
                <a:gd name="T16" fmla="*/ 67 w 97"/>
                <a:gd name="T17" fmla="*/ 60 h 98"/>
                <a:gd name="T18" fmla="*/ 70 w 97"/>
                <a:gd name="T19" fmla="*/ 50 h 98"/>
                <a:gd name="T20" fmla="*/ 67 w 97"/>
                <a:gd name="T21" fmla="*/ 39 h 98"/>
                <a:gd name="T22" fmla="*/ 59 w 97"/>
                <a:gd name="T23" fmla="*/ 31 h 98"/>
                <a:gd name="T24" fmla="*/ 48 w 97"/>
                <a:gd name="T25" fmla="*/ 28 h 98"/>
                <a:gd name="T26" fmla="*/ 48 w 97"/>
                <a:gd name="T27" fmla="*/ 0 h 98"/>
                <a:gd name="T28" fmla="*/ 64 w 97"/>
                <a:gd name="T29" fmla="*/ 3 h 98"/>
                <a:gd name="T30" fmla="*/ 78 w 97"/>
                <a:gd name="T31" fmla="*/ 10 h 98"/>
                <a:gd name="T32" fmla="*/ 87 w 97"/>
                <a:gd name="T33" fmla="*/ 21 h 98"/>
                <a:gd name="T34" fmla="*/ 94 w 97"/>
                <a:gd name="T35" fmla="*/ 34 h 98"/>
                <a:gd name="T36" fmla="*/ 97 w 97"/>
                <a:gd name="T37" fmla="*/ 50 h 98"/>
                <a:gd name="T38" fmla="*/ 94 w 97"/>
                <a:gd name="T39" fmla="*/ 65 h 98"/>
                <a:gd name="T40" fmla="*/ 87 w 97"/>
                <a:gd name="T41" fmla="*/ 78 h 98"/>
                <a:gd name="T42" fmla="*/ 78 w 97"/>
                <a:gd name="T43" fmla="*/ 89 h 98"/>
                <a:gd name="T44" fmla="*/ 64 w 97"/>
                <a:gd name="T45" fmla="*/ 96 h 98"/>
                <a:gd name="T46" fmla="*/ 48 w 97"/>
                <a:gd name="T47" fmla="*/ 98 h 98"/>
                <a:gd name="T48" fmla="*/ 33 w 97"/>
                <a:gd name="T49" fmla="*/ 96 h 98"/>
                <a:gd name="T50" fmla="*/ 19 w 97"/>
                <a:gd name="T51" fmla="*/ 89 h 98"/>
                <a:gd name="T52" fmla="*/ 10 w 97"/>
                <a:gd name="T53" fmla="*/ 78 h 98"/>
                <a:gd name="T54" fmla="*/ 2 w 97"/>
                <a:gd name="T55" fmla="*/ 65 h 98"/>
                <a:gd name="T56" fmla="*/ 0 w 97"/>
                <a:gd name="T57" fmla="*/ 50 h 98"/>
                <a:gd name="T58" fmla="*/ 2 w 97"/>
                <a:gd name="T59" fmla="*/ 34 h 98"/>
                <a:gd name="T60" fmla="*/ 10 w 97"/>
                <a:gd name="T61" fmla="*/ 21 h 98"/>
                <a:gd name="T62" fmla="*/ 19 w 97"/>
                <a:gd name="T63" fmla="*/ 10 h 98"/>
                <a:gd name="T64" fmla="*/ 33 w 97"/>
                <a:gd name="T65" fmla="*/ 3 h 98"/>
                <a:gd name="T66" fmla="*/ 48 w 97"/>
                <a:gd name="T6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 h="98">
                  <a:moveTo>
                    <a:pt x="48" y="28"/>
                  </a:moveTo>
                  <a:lnTo>
                    <a:pt x="38" y="31"/>
                  </a:lnTo>
                  <a:lnTo>
                    <a:pt x="30" y="39"/>
                  </a:lnTo>
                  <a:lnTo>
                    <a:pt x="28" y="50"/>
                  </a:lnTo>
                  <a:lnTo>
                    <a:pt x="30" y="60"/>
                  </a:lnTo>
                  <a:lnTo>
                    <a:pt x="38" y="68"/>
                  </a:lnTo>
                  <a:lnTo>
                    <a:pt x="48" y="71"/>
                  </a:lnTo>
                  <a:lnTo>
                    <a:pt x="59" y="68"/>
                  </a:lnTo>
                  <a:lnTo>
                    <a:pt x="67" y="60"/>
                  </a:lnTo>
                  <a:lnTo>
                    <a:pt x="70" y="50"/>
                  </a:lnTo>
                  <a:lnTo>
                    <a:pt x="67" y="39"/>
                  </a:lnTo>
                  <a:lnTo>
                    <a:pt x="59" y="31"/>
                  </a:lnTo>
                  <a:lnTo>
                    <a:pt x="48" y="28"/>
                  </a:lnTo>
                  <a:close/>
                  <a:moveTo>
                    <a:pt x="48" y="0"/>
                  </a:moveTo>
                  <a:lnTo>
                    <a:pt x="64" y="3"/>
                  </a:lnTo>
                  <a:lnTo>
                    <a:pt x="78" y="10"/>
                  </a:lnTo>
                  <a:lnTo>
                    <a:pt x="87" y="21"/>
                  </a:lnTo>
                  <a:lnTo>
                    <a:pt x="94" y="34"/>
                  </a:lnTo>
                  <a:lnTo>
                    <a:pt x="97" y="50"/>
                  </a:lnTo>
                  <a:lnTo>
                    <a:pt x="94" y="65"/>
                  </a:lnTo>
                  <a:lnTo>
                    <a:pt x="87" y="78"/>
                  </a:lnTo>
                  <a:lnTo>
                    <a:pt x="78" y="89"/>
                  </a:lnTo>
                  <a:lnTo>
                    <a:pt x="64" y="96"/>
                  </a:lnTo>
                  <a:lnTo>
                    <a:pt x="48" y="98"/>
                  </a:lnTo>
                  <a:lnTo>
                    <a:pt x="33" y="96"/>
                  </a:lnTo>
                  <a:lnTo>
                    <a:pt x="19" y="89"/>
                  </a:lnTo>
                  <a:lnTo>
                    <a:pt x="10" y="78"/>
                  </a:lnTo>
                  <a:lnTo>
                    <a:pt x="2" y="65"/>
                  </a:lnTo>
                  <a:lnTo>
                    <a:pt x="0" y="50"/>
                  </a:lnTo>
                  <a:lnTo>
                    <a:pt x="2" y="34"/>
                  </a:lnTo>
                  <a:lnTo>
                    <a:pt x="10" y="21"/>
                  </a:lnTo>
                  <a:lnTo>
                    <a:pt x="19" y="10"/>
                  </a:lnTo>
                  <a:lnTo>
                    <a:pt x="33" y="3"/>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54" name="Freeform 52"/>
            <p:cNvSpPr>
              <a:spLocks noEditPoints="1"/>
            </p:cNvSpPr>
            <p:nvPr/>
          </p:nvSpPr>
          <p:spPr bwMode="auto">
            <a:xfrm>
              <a:off x="5380993" y="6224126"/>
              <a:ext cx="21834" cy="21833"/>
            </a:xfrm>
            <a:custGeom>
              <a:avLst/>
              <a:gdLst>
                <a:gd name="T0" fmla="*/ 48 w 96"/>
                <a:gd name="T1" fmla="*/ 27 h 97"/>
                <a:gd name="T2" fmla="*/ 37 w 96"/>
                <a:gd name="T3" fmla="*/ 29 h 97"/>
                <a:gd name="T4" fmla="*/ 30 w 96"/>
                <a:gd name="T5" fmla="*/ 38 h 97"/>
                <a:gd name="T6" fmla="*/ 26 w 96"/>
                <a:gd name="T7" fmla="*/ 49 h 97"/>
                <a:gd name="T8" fmla="*/ 30 w 96"/>
                <a:gd name="T9" fmla="*/ 59 h 97"/>
                <a:gd name="T10" fmla="*/ 37 w 96"/>
                <a:gd name="T11" fmla="*/ 67 h 97"/>
                <a:gd name="T12" fmla="*/ 48 w 96"/>
                <a:gd name="T13" fmla="*/ 69 h 97"/>
                <a:gd name="T14" fmla="*/ 59 w 96"/>
                <a:gd name="T15" fmla="*/ 67 h 97"/>
                <a:gd name="T16" fmla="*/ 66 w 96"/>
                <a:gd name="T17" fmla="*/ 59 h 97"/>
                <a:gd name="T18" fmla="*/ 70 w 96"/>
                <a:gd name="T19" fmla="*/ 49 h 97"/>
                <a:gd name="T20" fmla="*/ 66 w 96"/>
                <a:gd name="T21" fmla="*/ 38 h 97"/>
                <a:gd name="T22" fmla="*/ 59 w 96"/>
                <a:gd name="T23" fmla="*/ 29 h 97"/>
                <a:gd name="T24" fmla="*/ 48 w 96"/>
                <a:gd name="T25" fmla="*/ 27 h 97"/>
                <a:gd name="T26" fmla="*/ 48 w 96"/>
                <a:gd name="T27" fmla="*/ 0 h 97"/>
                <a:gd name="T28" fmla="*/ 64 w 96"/>
                <a:gd name="T29" fmla="*/ 3 h 97"/>
                <a:gd name="T30" fmla="*/ 77 w 96"/>
                <a:gd name="T31" fmla="*/ 9 h 97"/>
                <a:gd name="T32" fmla="*/ 87 w 96"/>
                <a:gd name="T33" fmla="*/ 19 h 97"/>
                <a:gd name="T34" fmla="*/ 94 w 96"/>
                <a:gd name="T35" fmla="*/ 33 h 97"/>
                <a:gd name="T36" fmla="*/ 96 w 96"/>
                <a:gd name="T37" fmla="*/ 49 h 97"/>
                <a:gd name="T38" fmla="*/ 94 w 96"/>
                <a:gd name="T39" fmla="*/ 63 h 97"/>
                <a:gd name="T40" fmla="*/ 87 w 96"/>
                <a:gd name="T41" fmla="*/ 76 h 97"/>
                <a:gd name="T42" fmla="*/ 77 w 96"/>
                <a:gd name="T43" fmla="*/ 87 h 97"/>
                <a:gd name="T44" fmla="*/ 64 w 96"/>
                <a:gd name="T45" fmla="*/ 95 h 97"/>
                <a:gd name="T46" fmla="*/ 48 w 96"/>
                <a:gd name="T47" fmla="*/ 97 h 97"/>
                <a:gd name="T48" fmla="*/ 32 w 96"/>
                <a:gd name="T49" fmla="*/ 95 h 97"/>
                <a:gd name="T50" fmla="*/ 19 w 96"/>
                <a:gd name="T51" fmla="*/ 87 h 97"/>
                <a:gd name="T52" fmla="*/ 9 w 96"/>
                <a:gd name="T53" fmla="*/ 76 h 97"/>
                <a:gd name="T54" fmla="*/ 2 w 96"/>
                <a:gd name="T55" fmla="*/ 63 h 97"/>
                <a:gd name="T56" fmla="*/ 0 w 96"/>
                <a:gd name="T57" fmla="*/ 49 h 97"/>
                <a:gd name="T58" fmla="*/ 2 w 96"/>
                <a:gd name="T59" fmla="*/ 33 h 97"/>
                <a:gd name="T60" fmla="*/ 9 w 96"/>
                <a:gd name="T61" fmla="*/ 19 h 97"/>
                <a:gd name="T62" fmla="*/ 19 w 96"/>
                <a:gd name="T63" fmla="*/ 9 h 97"/>
                <a:gd name="T64" fmla="*/ 32 w 96"/>
                <a:gd name="T65" fmla="*/ 3 h 97"/>
                <a:gd name="T66" fmla="*/ 48 w 96"/>
                <a:gd name="T6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6" h="97">
                  <a:moveTo>
                    <a:pt x="48" y="27"/>
                  </a:moveTo>
                  <a:lnTo>
                    <a:pt x="37" y="29"/>
                  </a:lnTo>
                  <a:lnTo>
                    <a:pt x="30" y="38"/>
                  </a:lnTo>
                  <a:lnTo>
                    <a:pt x="26" y="49"/>
                  </a:lnTo>
                  <a:lnTo>
                    <a:pt x="30" y="59"/>
                  </a:lnTo>
                  <a:lnTo>
                    <a:pt x="37" y="67"/>
                  </a:lnTo>
                  <a:lnTo>
                    <a:pt x="48" y="69"/>
                  </a:lnTo>
                  <a:lnTo>
                    <a:pt x="59" y="67"/>
                  </a:lnTo>
                  <a:lnTo>
                    <a:pt x="66" y="59"/>
                  </a:lnTo>
                  <a:lnTo>
                    <a:pt x="70" y="49"/>
                  </a:lnTo>
                  <a:lnTo>
                    <a:pt x="66" y="38"/>
                  </a:lnTo>
                  <a:lnTo>
                    <a:pt x="59" y="29"/>
                  </a:lnTo>
                  <a:lnTo>
                    <a:pt x="48" y="27"/>
                  </a:lnTo>
                  <a:close/>
                  <a:moveTo>
                    <a:pt x="48" y="0"/>
                  </a:moveTo>
                  <a:lnTo>
                    <a:pt x="64" y="3"/>
                  </a:lnTo>
                  <a:lnTo>
                    <a:pt x="77" y="9"/>
                  </a:lnTo>
                  <a:lnTo>
                    <a:pt x="87" y="19"/>
                  </a:lnTo>
                  <a:lnTo>
                    <a:pt x="94" y="33"/>
                  </a:lnTo>
                  <a:lnTo>
                    <a:pt x="96" y="49"/>
                  </a:lnTo>
                  <a:lnTo>
                    <a:pt x="94" y="63"/>
                  </a:lnTo>
                  <a:lnTo>
                    <a:pt x="87" y="76"/>
                  </a:lnTo>
                  <a:lnTo>
                    <a:pt x="77" y="87"/>
                  </a:lnTo>
                  <a:lnTo>
                    <a:pt x="64" y="95"/>
                  </a:lnTo>
                  <a:lnTo>
                    <a:pt x="48" y="97"/>
                  </a:lnTo>
                  <a:lnTo>
                    <a:pt x="32" y="95"/>
                  </a:lnTo>
                  <a:lnTo>
                    <a:pt x="19" y="87"/>
                  </a:lnTo>
                  <a:lnTo>
                    <a:pt x="9" y="76"/>
                  </a:lnTo>
                  <a:lnTo>
                    <a:pt x="2" y="63"/>
                  </a:lnTo>
                  <a:lnTo>
                    <a:pt x="0" y="49"/>
                  </a:lnTo>
                  <a:lnTo>
                    <a:pt x="2" y="33"/>
                  </a:lnTo>
                  <a:lnTo>
                    <a:pt x="9" y="19"/>
                  </a:lnTo>
                  <a:lnTo>
                    <a:pt x="19" y="9"/>
                  </a:lnTo>
                  <a:lnTo>
                    <a:pt x="32" y="3"/>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55" name="Freeform 53"/>
            <p:cNvSpPr>
              <a:spLocks noEditPoints="1"/>
            </p:cNvSpPr>
            <p:nvPr/>
          </p:nvSpPr>
          <p:spPr bwMode="auto">
            <a:xfrm>
              <a:off x="5416018" y="6302363"/>
              <a:ext cx="22289" cy="21833"/>
            </a:xfrm>
            <a:custGeom>
              <a:avLst/>
              <a:gdLst>
                <a:gd name="T0" fmla="*/ 48 w 96"/>
                <a:gd name="T1" fmla="*/ 27 h 97"/>
                <a:gd name="T2" fmla="*/ 37 w 96"/>
                <a:gd name="T3" fmla="*/ 30 h 97"/>
                <a:gd name="T4" fmla="*/ 30 w 96"/>
                <a:gd name="T5" fmla="*/ 38 h 97"/>
                <a:gd name="T6" fmla="*/ 26 w 96"/>
                <a:gd name="T7" fmla="*/ 48 h 97"/>
                <a:gd name="T8" fmla="*/ 30 w 96"/>
                <a:gd name="T9" fmla="*/ 59 h 97"/>
                <a:gd name="T10" fmla="*/ 37 w 96"/>
                <a:gd name="T11" fmla="*/ 67 h 97"/>
                <a:gd name="T12" fmla="*/ 48 w 96"/>
                <a:gd name="T13" fmla="*/ 70 h 97"/>
                <a:gd name="T14" fmla="*/ 59 w 96"/>
                <a:gd name="T15" fmla="*/ 67 h 97"/>
                <a:gd name="T16" fmla="*/ 66 w 96"/>
                <a:gd name="T17" fmla="*/ 59 h 97"/>
                <a:gd name="T18" fmla="*/ 69 w 96"/>
                <a:gd name="T19" fmla="*/ 48 h 97"/>
                <a:gd name="T20" fmla="*/ 66 w 96"/>
                <a:gd name="T21" fmla="*/ 38 h 97"/>
                <a:gd name="T22" fmla="*/ 59 w 96"/>
                <a:gd name="T23" fmla="*/ 30 h 97"/>
                <a:gd name="T24" fmla="*/ 48 w 96"/>
                <a:gd name="T25" fmla="*/ 27 h 97"/>
                <a:gd name="T26" fmla="*/ 48 w 96"/>
                <a:gd name="T27" fmla="*/ 0 h 97"/>
                <a:gd name="T28" fmla="*/ 62 w 96"/>
                <a:gd name="T29" fmla="*/ 2 h 97"/>
                <a:gd name="T30" fmla="*/ 76 w 96"/>
                <a:gd name="T31" fmla="*/ 10 h 97"/>
                <a:gd name="T32" fmla="*/ 87 w 96"/>
                <a:gd name="T33" fmla="*/ 19 h 97"/>
                <a:gd name="T34" fmla="*/ 94 w 96"/>
                <a:gd name="T35" fmla="*/ 33 h 97"/>
                <a:gd name="T36" fmla="*/ 96 w 96"/>
                <a:gd name="T37" fmla="*/ 48 h 97"/>
                <a:gd name="T38" fmla="*/ 94 w 96"/>
                <a:gd name="T39" fmla="*/ 64 h 97"/>
                <a:gd name="T40" fmla="*/ 87 w 96"/>
                <a:gd name="T41" fmla="*/ 77 h 97"/>
                <a:gd name="T42" fmla="*/ 76 w 96"/>
                <a:gd name="T43" fmla="*/ 87 h 97"/>
                <a:gd name="T44" fmla="*/ 62 w 96"/>
                <a:gd name="T45" fmla="*/ 94 h 97"/>
                <a:gd name="T46" fmla="*/ 48 w 96"/>
                <a:gd name="T47" fmla="*/ 97 h 97"/>
                <a:gd name="T48" fmla="*/ 32 w 96"/>
                <a:gd name="T49" fmla="*/ 94 h 97"/>
                <a:gd name="T50" fmla="*/ 19 w 96"/>
                <a:gd name="T51" fmla="*/ 87 h 97"/>
                <a:gd name="T52" fmla="*/ 8 w 96"/>
                <a:gd name="T53" fmla="*/ 77 h 97"/>
                <a:gd name="T54" fmla="*/ 2 w 96"/>
                <a:gd name="T55" fmla="*/ 64 h 97"/>
                <a:gd name="T56" fmla="*/ 0 w 96"/>
                <a:gd name="T57" fmla="*/ 48 h 97"/>
                <a:gd name="T58" fmla="*/ 2 w 96"/>
                <a:gd name="T59" fmla="*/ 33 h 97"/>
                <a:gd name="T60" fmla="*/ 8 w 96"/>
                <a:gd name="T61" fmla="*/ 19 h 97"/>
                <a:gd name="T62" fmla="*/ 19 w 96"/>
                <a:gd name="T63" fmla="*/ 10 h 97"/>
                <a:gd name="T64" fmla="*/ 32 w 96"/>
                <a:gd name="T65" fmla="*/ 2 h 97"/>
                <a:gd name="T66" fmla="*/ 48 w 96"/>
                <a:gd name="T6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6" h="97">
                  <a:moveTo>
                    <a:pt x="48" y="27"/>
                  </a:moveTo>
                  <a:lnTo>
                    <a:pt x="37" y="30"/>
                  </a:lnTo>
                  <a:lnTo>
                    <a:pt x="30" y="38"/>
                  </a:lnTo>
                  <a:lnTo>
                    <a:pt x="26" y="48"/>
                  </a:lnTo>
                  <a:lnTo>
                    <a:pt x="30" y="59"/>
                  </a:lnTo>
                  <a:lnTo>
                    <a:pt x="37" y="67"/>
                  </a:lnTo>
                  <a:lnTo>
                    <a:pt x="48" y="70"/>
                  </a:lnTo>
                  <a:lnTo>
                    <a:pt x="59" y="67"/>
                  </a:lnTo>
                  <a:lnTo>
                    <a:pt x="66" y="59"/>
                  </a:lnTo>
                  <a:lnTo>
                    <a:pt x="69" y="48"/>
                  </a:lnTo>
                  <a:lnTo>
                    <a:pt x="66" y="38"/>
                  </a:lnTo>
                  <a:lnTo>
                    <a:pt x="59" y="30"/>
                  </a:lnTo>
                  <a:lnTo>
                    <a:pt x="48" y="27"/>
                  </a:lnTo>
                  <a:close/>
                  <a:moveTo>
                    <a:pt x="48" y="0"/>
                  </a:moveTo>
                  <a:lnTo>
                    <a:pt x="62" y="2"/>
                  </a:lnTo>
                  <a:lnTo>
                    <a:pt x="76" y="10"/>
                  </a:lnTo>
                  <a:lnTo>
                    <a:pt x="87" y="19"/>
                  </a:lnTo>
                  <a:lnTo>
                    <a:pt x="94" y="33"/>
                  </a:lnTo>
                  <a:lnTo>
                    <a:pt x="96" y="48"/>
                  </a:lnTo>
                  <a:lnTo>
                    <a:pt x="94" y="64"/>
                  </a:lnTo>
                  <a:lnTo>
                    <a:pt x="87" y="77"/>
                  </a:lnTo>
                  <a:lnTo>
                    <a:pt x="76" y="87"/>
                  </a:lnTo>
                  <a:lnTo>
                    <a:pt x="62" y="94"/>
                  </a:lnTo>
                  <a:lnTo>
                    <a:pt x="48" y="97"/>
                  </a:lnTo>
                  <a:lnTo>
                    <a:pt x="32" y="94"/>
                  </a:lnTo>
                  <a:lnTo>
                    <a:pt x="19" y="87"/>
                  </a:lnTo>
                  <a:lnTo>
                    <a:pt x="8" y="77"/>
                  </a:lnTo>
                  <a:lnTo>
                    <a:pt x="2" y="64"/>
                  </a:lnTo>
                  <a:lnTo>
                    <a:pt x="0" y="48"/>
                  </a:lnTo>
                  <a:lnTo>
                    <a:pt x="2" y="33"/>
                  </a:lnTo>
                  <a:lnTo>
                    <a:pt x="8" y="19"/>
                  </a:lnTo>
                  <a:lnTo>
                    <a:pt x="19" y="10"/>
                  </a:lnTo>
                  <a:lnTo>
                    <a:pt x="32" y="2"/>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56" name="Freeform 54"/>
            <p:cNvSpPr>
              <a:spLocks noEditPoints="1"/>
            </p:cNvSpPr>
            <p:nvPr/>
          </p:nvSpPr>
          <p:spPr bwMode="auto">
            <a:xfrm>
              <a:off x="5447404" y="6270522"/>
              <a:ext cx="21834" cy="21833"/>
            </a:xfrm>
            <a:custGeom>
              <a:avLst/>
              <a:gdLst>
                <a:gd name="T0" fmla="*/ 49 w 97"/>
                <a:gd name="T1" fmla="*/ 26 h 96"/>
                <a:gd name="T2" fmla="*/ 38 w 97"/>
                <a:gd name="T3" fmla="*/ 30 h 96"/>
                <a:gd name="T4" fmla="*/ 31 w 97"/>
                <a:gd name="T5" fmla="*/ 37 h 96"/>
                <a:gd name="T6" fmla="*/ 28 w 97"/>
                <a:gd name="T7" fmla="*/ 48 h 96"/>
                <a:gd name="T8" fmla="*/ 31 w 97"/>
                <a:gd name="T9" fmla="*/ 59 h 96"/>
                <a:gd name="T10" fmla="*/ 38 w 97"/>
                <a:gd name="T11" fmla="*/ 66 h 96"/>
                <a:gd name="T12" fmla="*/ 49 w 97"/>
                <a:gd name="T13" fmla="*/ 70 h 96"/>
                <a:gd name="T14" fmla="*/ 60 w 97"/>
                <a:gd name="T15" fmla="*/ 66 h 96"/>
                <a:gd name="T16" fmla="*/ 67 w 97"/>
                <a:gd name="T17" fmla="*/ 59 h 96"/>
                <a:gd name="T18" fmla="*/ 71 w 97"/>
                <a:gd name="T19" fmla="*/ 48 h 96"/>
                <a:gd name="T20" fmla="*/ 67 w 97"/>
                <a:gd name="T21" fmla="*/ 37 h 96"/>
                <a:gd name="T22" fmla="*/ 60 w 97"/>
                <a:gd name="T23" fmla="*/ 30 h 96"/>
                <a:gd name="T24" fmla="*/ 49 w 97"/>
                <a:gd name="T25" fmla="*/ 26 h 96"/>
                <a:gd name="T26" fmla="*/ 49 w 97"/>
                <a:gd name="T27" fmla="*/ 0 h 96"/>
                <a:gd name="T28" fmla="*/ 65 w 97"/>
                <a:gd name="T29" fmla="*/ 2 h 96"/>
                <a:gd name="T30" fmla="*/ 78 w 97"/>
                <a:gd name="T31" fmla="*/ 9 h 96"/>
                <a:gd name="T32" fmla="*/ 89 w 97"/>
                <a:gd name="T33" fmla="*/ 19 h 96"/>
                <a:gd name="T34" fmla="*/ 95 w 97"/>
                <a:gd name="T35" fmla="*/ 32 h 96"/>
                <a:gd name="T36" fmla="*/ 97 w 97"/>
                <a:gd name="T37" fmla="*/ 48 h 96"/>
                <a:gd name="T38" fmla="*/ 95 w 97"/>
                <a:gd name="T39" fmla="*/ 64 h 96"/>
                <a:gd name="T40" fmla="*/ 89 w 97"/>
                <a:gd name="T41" fmla="*/ 77 h 96"/>
                <a:gd name="T42" fmla="*/ 78 w 97"/>
                <a:gd name="T43" fmla="*/ 87 h 96"/>
                <a:gd name="T44" fmla="*/ 65 w 97"/>
                <a:gd name="T45" fmla="*/ 94 h 96"/>
                <a:gd name="T46" fmla="*/ 49 w 97"/>
                <a:gd name="T47" fmla="*/ 96 h 96"/>
                <a:gd name="T48" fmla="*/ 34 w 97"/>
                <a:gd name="T49" fmla="*/ 94 h 96"/>
                <a:gd name="T50" fmla="*/ 21 w 97"/>
                <a:gd name="T51" fmla="*/ 87 h 96"/>
                <a:gd name="T52" fmla="*/ 10 w 97"/>
                <a:gd name="T53" fmla="*/ 77 h 96"/>
                <a:gd name="T54" fmla="*/ 3 w 97"/>
                <a:gd name="T55" fmla="*/ 64 h 96"/>
                <a:gd name="T56" fmla="*/ 0 w 97"/>
                <a:gd name="T57" fmla="*/ 48 h 96"/>
                <a:gd name="T58" fmla="*/ 3 w 97"/>
                <a:gd name="T59" fmla="*/ 32 h 96"/>
                <a:gd name="T60" fmla="*/ 10 w 97"/>
                <a:gd name="T61" fmla="*/ 19 h 96"/>
                <a:gd name="T62" fmla="*/ 21 w 97"/>
                <a:gd name="T63" fmla="*/ 9 h 96"/>
                <a:gd name="T64" fmla="*/ 34 w 97"/>
                <a:gd name="T65" fmla="*/ 2 h 96"/>
                <a:gd name="T66" fmla="*/ 49 w 97"/>
                <a:gd name="T6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 h="96">
                  <a:moveTo>
                    <a:pt x="49" y="26"/>
                  </a:moveTo>
                  <a:lnTo>
                    <a:pt x="38" y="30"/>
                  </a:lnTo>
                  <a:lnTo>
                    <a:pt x="31" y="37"/>
                  </a:lnTo>
                  <a:lnTo>
                    <a:pt x="28" y="48"/>
                  </a:lnTo>
                  <a:lnTo>
                    <a:pt x="31" y="59"/>
                  </a:lnTo>
                  <a:lnTo>
                    <a:pt x="38" y="66"/>
                  </a:lnTo>
                  <a:lnTo>
                    <a:pt x="49" y="70"/>
                  </a:lnTo>
                  <a:lnTo>
                    <a:pt x="60" y="66"/>
                  </a:lnTo>
                  <a:lnTo>
                    <a:pt x="67" y="59"/>
                  </a:lnTo>
                  <a:lnTo>
                    <a:pt x="71" y="48"/>
                  </a:lnTo>
                  <a:lnTo>
                    <a:pt x="67" y="37"/>
                  </a:lnTo>
                  <a:lnTo>
                    <a:pt x="60" y="30"/>
                  </a:lnTo>
                  <a:lnTo>
                    <a:pt x="49" y="26"/>
                  </a:lnTo>
                  <a:close/>
                  <a:moveTo>
                    <a:pt x="49" y="0"/>
                  </a:moveTo>
                  <a:lnTo>
                    <a:pt x="65" y="2"/>
                  </a:lnTo>
                  <a:lnTo>
                    <a:pt x="78" y="9"/>
                  </a:lnTo>
                  <a:lnTo>
                    <a:pt x="89" y="19"/>
                  </a:lnTo>
                  <a:lnTo>
                    <a:pt x="95" y="32"/>
                  </a:lnTo>
                  <a:lnTo>
                    <a:pt x="97" y="48"/>
                  </a:lnTo>
                  <a:lnTo>
                    <a:pt x="95" y="64"/>
                  </a:lnTo>
                  <a:lnTo>
                    <a:pt x="89" y="77"/>
                  </a:lnTo>
                  <a:lnTo>
                    <a:pt x="78" y="87"/>
                  </a:lnTo>
                  <a:lnTo>
                    <a:pt x="65" y="94"/>
                  </a:lnTo>
                  <a:lnTo>
                    <a:pt x="49" y="96"/>
                  </a:lnTo>
                  <a:lnTo>
                    <a:pt x="34" y="94"/>
                  </a:lnTo>
                  <a:lnTo>
                    <a:pt x="21" y="87"/>
                  </a:lnTo>
                  <a:lnTo>
                    <a:pt x="10" y="77"/>
                  </a:lnTo>
                  <a:lnTo>
                    <a:pt x="3" y="64"/>
                  </a:lnTo>
                  <a:lnTo>
                    <a:pt x="0" y="48"/>
                  </a:lnTo>
                  <a:lnTo>
                    <a:pt x="3" y="32"/>
                  </a:lnTo>
                  <a:lnTo>
                    <a:pt x="10" y="19"/>
                  </a:lnTo>
                  <a:lnTo>
                    <a:pt x="21" y="9"/>
                  </a:lnTo>
                  <a:lnTo>
                    <a:pt x="34" y="2"/>
                  </a:lnTo>
                  <a:lnTo>
                    <a:pt x="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57" name="Freeform 55"/>
            <p:cNvSpPr>
              <a:spLocks noEditPoints="1"/>
            </p:cNvSpPr>
            <p:nvPr/>
          </p:nvSpPr>
          <p:spPr bwMode="auto">
            <a:xfrm>
              <a:off x="5562030" y="6293720"/>
              <a:ext cx="22289" cy="22289"/>
            </a:xfrm>
            <a:custGeom>
              <a:avLst/>
              <a:gdLst>
                <a:gd name="T0" fmla="*/ 49 w 97"/>
                <a:gd name="T1" fmla="*/ 28 h 99"/>
                <a:gd name="T2" fmla="*/ 38 w 97"/>
                <a:gd name="T3" fmla="*/ 31 h 99"/>
                <a:gd name="T4" fmla="*/ 31 w 97"/>
                <a:gd name="T5" fmla="*/ 39 h 99"/>
                <a:gd name="T6" fmla="*/ 27 w 97"/>
                <a:gd name="T7" fmla="*/ 49 h 99"/>
                <a:gd name="T8" fmla="*/ 31 w 97"/>
                <a:gd name="T9" fmla="*/ 60 h 99"/>
                <a:gd name="T10" fmla="*/ 38 w 97"/>
                <a:gd name="T11" fmla="*/ 68 h 99"/>
                <a:gd name="T12" fmla="*/ 49 w 97"/>
                <a:gd name="T13" fmla="*/ 71 h 99"/>
                <a:gd name="T14" fmla="*/ 60 w 97"/>
                <a:gd name="T15" fmla="*/ 68 h 99"/>
                <a:gd name="T16" fmla="*/ 67 w 97"/>
                <a:gd name="T17" fmla="*/ 60 h 99"/>
                <a:gd name="T18" fmla="*/ 71 w 97"/>
                <a:gd name="T19" fmla="*/ 49 h 99"/>
                <a:gd name="T20" fmla="*/ 67 w 97"/>
                <a:gd name="T21" fmla="*/ 39 h 99"/>
                <a:gd name="T22" fmla="*/ 60 w 97"/>
                <a:gd name="T23" fmla="*/ 31 h 99"/>
                <a:gd name="T24" fmla="*/ 49 w 97"/>
                <a:gd name="T25" fmla="*/ 28 h 99"/>
                <a:gd name="T26" fmla="*/ 49 w 97"/>
                <a:gd name="T27" fmla="*/ 0 h 99"/>
                <a:gd name="T28" fmla="*/ 64 w 97"/>
                <a:gd name="T29" fmla="*/ 3 h 99"/>
                <a:gd name="T30" fmla="*/ 78 w 97"/>
                <a:gd name="T31" fmla="*/ 10 h 99"/>
                <a:gd name="T32" fmla="*/ 87 w 97"/>
                <a:gd name="T33" fmla="*/ 21 h 99"/>
                <a:gd name="T34" fmla="*/ 95 w 97"/>
                <a:gd name="T35" fmla="*/ 34 h 99"/>
                <a:gd name="T36" fmla="*/ 97 w 97"/>
                <a:gd name="T37" fmla="*/ 49 h 99"/>
                <a:gd name="T38" fmla="*/ 95 w 97"/>
                <a:gd name="T39" fmla="*/ 65 h 99"/>
                <a:gd name="T40" fmla="*/ 87 w 97"/>
                <a:gd name="T41" fmla="*/ 78 h 99"/>
                <a:gd name="T42" fmla="*/ 78 w 97"/>
                <a:gd name="T43" fmla="*/ 89 h 99"/>
                <a:gd name="T44" fmla="*/ 64 w 97"/>
                <a:gd name="T45" fmla="*/ 95 h 99"/>
                <a:gd name="T46" fmla="*/ 49 w 97"/>
                <a:gd name="T47" fmla="*/ 99 h 99"/>
                <a:gd name="T48" fmla="*/ 33 w 97"/>
                <a:gd name="T49" fmla="*/ 95 h 99"/>
                <a:gd name="T50" fmla="*/ 20 w 97"/>
                <a:gd name="T51" fmla="*/ 89 h 99"/>
                <a:gd name="T52" fmla="*/ 10 w 97"/>
                <a:gd name="T53" fmla="*/ 78 h 99"/>
                <a:gd name="T54" fmla="*/ 3 w 97"/>
                <a:gd name="T55" fmla="*/ 65 h 99"/>
                <a:gd name="T56" fmla="*/ 0 w 97"/>
                <a:gd name="T57" fmla="*/ 49 h 99"/>
                <a:gd name="T58" fmla="*/ 3 w 97"/>
                <a:gd name="T59" fmla="*/ 34 h 99"/>
                <a:gd name="T60" fmla="*/ 10 w 97"/>
                <a:gd name="T61" fmla="*/ 21 h 99"/>
                <a:gd name="T62" fmla="*/ 20 w 97"/>
                <a:gd name="T63" fmla="*/ 10 h 99"/>
                <a:gd name="T64" fmla="*/ 33 w 97"/>
                <a:gd name="T65" fmla="*/ 3 h 99"/>
                <a:gd name="T66" fmla="*/ 49 w 97"/>
                <a:gd name="T6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 h="99">
                  <a:moveTo>
                    <a:pt x="49" y="28"/>
                  </a:moveTo>
                  <a:lnTo>
                    <a:pt x="38" y="31"/>
                  </a:lnTo>
                  <a:lnTo>
                    <a:pt x="31" y="39"/>
                  </a:lnTo>
                  <a:lnTo>
                    <a:pt x="27" y="49"/>
                  </a:lnTo>
                  <a:lnTo>
                    <a:pt x="31" y="60"/>
                  </a:lnTo>
                  <a:lnTo>
                    <a:pt x="38" y="68"/>
                  </a:lnTo>
                  <a:lnTo>
                    <a:pt x="49" y="71"/>
                  </a:lnTo>
                  <a:lnTo>
                    <a:pt x="60" y="68"/>
                  </a:lnTo>
                  <a:lnTo>
                    <a:pt x="67" y="60"/>
                  </a:lnTo>
                  <a:lnTo>
                    <a:pt x="71" y="49"/>
                  </a:lnTo>
                  <a:lnTo>
                    <a:pt x="67" y="39"/>
                  </a:lnTo>
                  <a:lnTo>
                    <a:pt x="60" y="31"/>
                  </a:lnTo>
                  <a:lnTo>
                    <a:pt x="49" y="28"/>
                  </a:lnTo>
                  <a:close/>
                  <a:moveTo>
                    <a:pt x="49" y="0"/>
                  </a:moveTo>
                  <a:lnTo>
                    <a:pt x="64" y="3"/>
                  </a:lnTo>
                  <a:lnTo>
                    <a:pt x="78" y="10"/>
                  </a:lnTo>
                  <a:lnTo>
                    <a:pt x="87" y="21"/>
                  </a:lnTo>
                  <a:lnTo>
                    <a:pt x="95" y="34"/>
                  </a:lnTo>
                  <a:lnTo>
                    <a:pt x="97" y="49"/>
                  </a:lnTo>
                  <a:lnTo>
                    <a:pt x="95" y="65"/>
                  </a:lnTo>
                  <a:lnTo>
                    <a:pt x="87" y="78"/>
                  </a:lnTo>
                  <a:lnTo>
                    <a:pt x="78" y="89"/>
                  </a:lnTo>
                  <a:lnTo>
                    <a:pt x="64" y="95"/>
                  </a:lnTo>
                  <a:lnTo>
                    <a:pt x="49" y="99"/>
                  </a:lnTo>
                  <a:lnTo>
                    <a:pt x="33" y="95"/>
                  </a:lnTo>
                  <a:lnTo>
                    <a:pt x="20" y="89"/>
                  </a:lnTo>
                  <a:lnTo>
                    <a:pt x="10" y="78"/>
                  </a:lnTo>
                  <a:lnTo>
                    <a:pt x="3" y="65"/>
                  </a:lnTo>
                  <a:lnTo>
                    <a:pt x="0" y="49"/>
                  </a:lnTo>
                  <a:lnTo>
                    <a:pt x="3" y="34"/>
                  </a:lnTo>
                  <a:lnTo>
                    <a:pt x="10" y="21"/>
                  </a:lnTo>
                  <a:lnTo>
                    <a:pt x="20" y="10"/>
                  </a:lnTo>
                  <a:lnTo>
                    <a:pt x="33" y="3"/>
                  </a:lnTo>
                  <a:lnTo>
                    <a:pt x="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58" name="Freeform 56"/>
            <p:cNvSpPr>
              <a:spLocks/>
            </p:cNvSpPr>
            <p:nvPr/>
          </p:nvSpPr>
          <p:spPr bwMode="auto">
            <a:xfrm>
              <a:off x="5406011" y="5746063"/>
              <a:ext cx="42757" cy="129182"/>
            </a:xfrm>
            <a:custGeom>
              <a:avLst/>
              <a:gdLst>
                <a:gd name="T0" fmla="*/ 173 w 186"/>
                <a:gd name="T1" fmla="*/ 0 h 568"/>
                <a:gd name="T2" fmla="*/ 177 w 186"/>
                <a:gd name="T3" fmla="*/ 1 h 568"/>
                <a:gd name="T4" fmla="*/ 180 w 186"/>
                <a:gd name="T5" fmla="*/ 4 h 568"/>
                <a:gd name="T6" fmla="*/ 184 w 186"/>
                <a:gd name="T7" fmla="*/ 6 h 568"/>
                <a:gd name="T8" fmla="*/ 185 w 186"/>
                <a:gd name="T9" fmla="*/ 10 h 568"/>
                <a:gd name="T10" fmla="*/ 186 w 186"/>
                <a:gd name="T11" fmla="*/ 14 h 568"/>
                <a:gd name="T12" fmla="*/ 186 w 186"/>
                <a:gd name="T13" fmla="*/ 140 h 568"/>
                <a:gd name="T14" fmla="*/ 185 w 186"/>
                <a:gd name="T15" fmla="*/ 144 h 568"/>
                <a:gd name="T16" fmla="*/ 184 w 186"/>
                <a:gd name="T17" fmla="*/ 148 h 568"/>
                <a:gd name="T18" fmla="*/ 182 w 186"/>
                <a:gd name="T19" fmla="*/ 150 h 568"/>
                <a:gd name="T20" fmla="*/ 27 w 186"/>
                <a:gd name="T21" fmla="*/ 287 h 568"/>
                <a:gd name="T22" fmla="*/ 27 w 186"/>
                <a:gd name="T23" fmla="*/ 553 h 568"/>
                <a:gd name="T24" fmla="*/ 27 w 186"/>
                <a:gd name="T25" fmla="*/ 558 h 568"/>
                <a:gd name="T26" fmla="*/ 24 w 186"/>
                <a:gd name="T27" fmla="*/ 562 h 568"/>
                <a:gd name="T28" fmla="*/ 22 w 186"/>
                <a:gd name="T29" fmla="*/ 564 h 568"/>
                <a:gd name="T30" fmla="*/ 18 w 186"/>
                <a:gd name="T31" fmla="*/ 567 h 568"/>
                <a:gd name="T32" fmla="*/ 13 w 186"/>
                <a:gd name="T33" fmla="*/ 568 h 568"/>
                <a:gd name="T34" fmla="*/ 10 w 186"/>
                <a:gd name="T35" fmla="*/ 567 h 568"/>
                <a:gd name="T36" fmla="*/ 5 w 186"/>
                <a:gd name="T37" fmla="*/ 564 h 568"/>
                <a:gd name="T38" fmla="*/ 2 w 186"/>
                <a:gd name="T39" fmla="*/ 562 h 568"/>
                <a:gd name="T40" fmla="*/ 0 w 186"/>
                <a:gd name="T41" fmla="*/ 558 h 568"/>
                <a:gd name="T42" fmla="*/ 0 w 186"/>
                <a:gd name="T43" fmla="*/ 553 h 568"/>
                <a:gd name="T44" fmla="*/ 0 w 186"/>
                <a:gd name="T45" fmla="*/ 281 h 568"/>
                <a:gd name="T46" fmla="*/ 0 w 186"/>
                <a:gd name="T47" fmla="*/ 277 h 568"/>
                <a:gd name="T48" fmla="*/ 2 w 186"/>
                <a:gd name="T49" fmla="*/ 274 h 568"/>
                <a:gd name="T50" fmla="*/ 5 w 186"/>
                <a:gd name="T51" fmla="*/ 271 h 568"/>
                <a:gd name="T52" fmla="*/ 159 w 186"/>
                <a:gd name="T53" fmla="*/ 134 h 568"/>
                <a:gd name="T54" fmla="*/ 159 w 186"/>
                <a:gd name="T55" fmla="*/ 14 h 568"/>
                <a:gd name="T56" fmla="*/ 160 w 186"/>
                <a:gd name="T57" fmla="*/ 10 h 568"/>
                <a:gd name="T58" fmla="*/ 162 w 186"/>
                <a:gd name="T59" fmla="*/ 6 h 568"/>
                <a:gd name="T60" fmla="*/ 165 w 186"/>
                <a:gd name="T61" fmla="*/ 4 h 568"/>
                <a:gd name="T62" fmla="*/ 168 w 186"/>
                <a:gd name="T63" fmla="*/ 1 h 568"/>
                <a:gd name="T64" fmla="*/ 173 w 186"/>
                <a:gd name="T65" fmla="*/ 0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6" h="568">
                  <a:moveTo>
                    <a:pt x="173" y="0"/>
                  </a:moveTo>
                  <a:lnTo>
                    <a:pt x="177" y="1"/>
                  </a:lnTo>
                  <a:lnTo>
                    <a:pt x="180" y="4"/>
                  </a:lnTo>
                  <a:lnTo>
                    <a:pt x="184" y="6"/>
                  </a:lnTo>
                  <a:lnTo>
                    <a:pt x="185" y="10"/>
                  </a:lnTo>
                  <a:lnTo>
                    <a:pt x="186" y="14"/>
                  </a:lnTo>
                  <a:lnTo>
                    <a:pt x="186" y="140"/>
                  </a:lnTo>
                  <a:lnTo>
                    <a:pt x="185" y="144"/>
                  </a:lnTo>
                  <a:lnTo>
                    <a:pt x="184" y="148"/>
                  </a:lnTo>
                  <a:lnTo>
                    <a:pt x="182" y="150"/>
                  </a:lnTo>
                  <a:lnTo>
                    <a:pt x="27" y="287"/>
                  </a:lnTo>
                  <a:lnTo>
                    <a:pt x="27" y="553"/>
                  </a:lnTo>
                  <a:lnTo>
                    <a:pt x="27" y="558"/>
                  </a:lnTo>
                  <a:lnTo>
                    <a:pt x="24" y="562"/>
                  </a:lnTo>
                  <a:lnTo>
                    <a:pt x="22" y="564"/>
                  </a:lnTo>
                  <a:lnTo>
                    <a:pt x="18" y="567"/>
                  </a:lnTo>
                  <a:lnTo>
                    <a:pt x="13" y="568"/>
                  </a:lnTo>
                  <a:lnTo>
                    <a:pt x="10" y="567"/>
                  </a:lnTo>
                  <a:lnTo>
                    <a:pt x="5" y="564"/>
                  </a:lnTo>
                  <a:lnTo>
                    <a:pt x="2" y="562"/>
                  </a:lnTo>
                  <a:lnTo>
                    <a:pt x="0" y="558"/>
                  </a:lnTo>
                  <a:lnTo>
                    <a:pt x="0" y="553"/>
                  </a:lnTo>
                  <a:lnTo>
                    <a:pt x="0" y="281"/>
                  </a:lnTo>
                  <a:lnTo>
                    <a:pt x="0" y="277"/>
                  </a:lnTo>
                  <a:lnTo>
                    <a:pt x="2" y="274"/>
                  </a:lnTo>
                  <a:lnTo>
                    <a:pt x="5" y="271"/>
                  </a:lnTo>
                  <a:lnTo>
                    <a:pt x="159" y="134"/>
                  </a:lnTo>
                  <a:lnTo>
                    <a:pt x="159" y="14"/>
                  </a:lnTo>
                  <a:lnTo>
                    <a:pt x="160" y="10"/>
                  </a:lnTo>
                  <a:lnTo>
                    <a:pt x="162" y="6"/>
                  </a:lnTo>
                  <a:lnTo>
                    <a:pt x="165" y="4"/>
                  </a:lnTo>
                  <a:lnTo>
                    <a:pt x="168" y="1"/>
                  </a:lnTo>
                  <a:lnTo>
                    <a:pt x="17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59" name="Freeform 57"/>
            <p:cNvSpPr>
              <a:spLocks/>
            </p:cNvSpPr>
            <p:nvPr/>
          </p:nvSpPr>
          <p:spPr bwMode="auto">
            <a:xfrm>
              <a:off x="5333233" y="5745608"/>
              <a:ext cx="35025" cy="129637"/>
            </a:xfrm>
            <a:custGeom>
              <a:avLst/>
              <a:gdLst>
                <a:gd name="T0" fmla="*/ 11 w 154"/>
                <a:gd name="T1" fmla="*/ 0 h 570"/>
                <a:gd name="T2" fmla="*/ 15 w 154"/>
                <a:gd name="T3" fmla="*/ 0 h 570"/>
                <a:gd name="T4" fmla="*/ 19 w 154"/>
                <a:gd name="T5" fmla="*/ 1 h 570"/>
                <a:gd name="T6" fmla="*/ 23 w 154"/>
                <a:gd name="T7" fmla="*/ 3 h 570"/>
                <a:gd name="T8" fmla="*/ 150 w 154"/>
                <a:gd name="T9" fmla="*/ 130 h 570"/>
                <a:gd name="T10" fmla="*/ 153 w 154"/>
                <a:gd name="T11" fmla="*/ 134 h 570"/>
                <a:gd name="T12" fmla="*/ 154 w 154"/>
                <a:gd name="T13" fmla="*/ 136 h 570"/>
                <a:gd name="T14" fmla="*/ 154 w 154"/>
                <a:gd name="T15" fmla="*/ 140 h 570"/>
                <a:gd name="T16" fmla="*/ 154 w 154"/>
                <a:gd name="T17" fmla="*/ 555 h 570"/>
                <a:gd name="T18" fmla="*/ 154 w 154"/>
                <a:gd name="T19" fmla="*/ 560 h 570"/>
                <a:gd name="T20" fmla="*/ 151 w 154"/>
                <a:gd name="T21" fmla="*/ 564 h 570"/>
                <a:gd name="T22" fmla="*/ 149 w 154"/>
                <a:gd name="T23" fmla="*/ 566 h 570"/>
                <a:gd name="T24" fmla="*/ 145 w 154"/>
                <a:gd name="T25" fmla="*/ 569 h 570"/>
                <a:gd name="T26" fmla="*/ 141 w 154"/>
                <a:gd name="T27" fmla="*/ 570 h 570"/>
                <a:gd name="T28" fmla="*/ 137 w 154"/>
                <a:gd name="T29" fmla="*/ 569 h 570"/>
                <a:gd name="T30" fmla="*/ 132 w 154"/>
                <a:gd name="T31" fmla="*/ 566 h 570"/>
                <a:gd name="T32" fmla="*/ 130 w 154"/>
                <a:gd name="T33" fmla="*/ 564 h 570"/>
                <a:gd name="T34" fmla="*/ 127 w 154"/>
                <a:gd name="T35" fmla="*/ 560 h 570"/>
                <a:gd name="T36" fmla="*/ 127 w 154"/>
                <a:gd name="T37" fmla="*/ 555 h 570"/>
                <a:gd name="T38" fmla="*/ 127 w 154"/>
                <a:gd name="T39" fmla="*/ 146 h 570"/>
                <a:gd name="T40" fmla="*/ 4 w 154"/>
                <a:gd name="T41" fmla="*/ 23 h 570"/>
                <a:gd name="T42" fmla="*/ 1 w 154"/>
                <a:gd name="T43" fmla="*/ 19 h 570"/>
                <a:gd name="T44" fmla="*/ 0 w 154"/>
                <a:gd name="T45" fmla="*/ 14 h 570"/>
                <a:gd name="T46" fmla="*/ 0 w 154"/>
                <a:gd name="T47" fmla="*/ 10 h 570"/>
                <a:gd name="T48" fmla="*/ 1 w 154"/>
                <a:gd name="T49" fmla="*/ 7 h 570"/>
                <a:gd name="T50" fmla="*/ 4 w 154"/>
                <a:gd name="T51" fmla="*/ 3 h 570"/>
                <a:gd name="T52" fmla="*/ 7 w 154"/>
                <a:gd name="T53" fmla="*/ 1 h 570"/>
                <a:gd name="T54" fmla="*/ 11 w 154"/>
                <a:gd name="T55"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4" h="570">
                  <a:moveTo>
                    <a:pt x="11" y="0"/>
                  </a:moveTo>
                  <a:lnTo>
                    <a:pt x="15" y="0"/>
                  </a:lnTo>
                  <a:lnTo>
                    <a:pt x="19" y="1"/>
                  </a:lnTo>
                  <a:lnTo>
                    <a:pt x="23" y="3"/>
                  </a:lnTo>
                  <a:lnTo>
                    <a:pt x="150" y="130"/>
                  </a:lnTo>
                  <a:lnTo>
                    <a:pt x="153" y="134"/>
                  </a:lnTo>
                  <a:lnTo>
                    <a:pt x="154" y="136"/>
                  </a:lnTo>
                  <a:lnTo>
                    <a:pt x="154" y="140"/>
                  </a:lnTo>
                  <a:lnTo>
                    <a:pt x="154" y="555"/>
                  </a:lnTo>
                  <a:lnTo>
                    <a:pt x="154" y="560"/>
                  </a:lnTo>
                  <a:lnTo>
                    <a:pt x="151" y="564"/>
                  </a:lnTo>
                  <a:lnTo>
                    <a:pt x="149" y="566"/>
                  </a:lnTo>
                  <a:lnTo>
                    <a:pt x="145" y="569"/>
                  </a:lnTo>
                  <a:lnTo>
                    <a:pt x="141" y="570"/>
                  </a:lnTo>
                  <a:lnTo>
                    <a:pt x="137" y="569"/>
                  </a:lnTo>
                  <a:lnTo>
                    <a:pt x="132" y="566"/>
                  </a:lnTo>
                  <a:lnTo>
                    <a:pt x="130" y="564"/>
                  </a:lnTo>
                  <a:lnTo>
                    <a:pt x="127" y="560"/>
                  </a:lnTo>
                  <a:lnTo>
                    <a:pt x="127" y="555"/>
                  </a:lnTo>
                  <a:lnTo>
                    <a:pt x="127" y="146"/>
                  </a:lnTo>
                  <a:lnTo>
                    <a:pt x="4" y="23"/>
                  </a:lnTo>
                  <a:lnTo>
                    <a:pt x="1" y="19"/>
                  </a:lnTo>
                  <a:lnTo>
                    <a:pt x="0" y="14"/>
                  </a:lnTo>
                  <a:lnTo>
                    <a:pt x="0" y="10"/>
                  </a:lnTo>
                  <a:lnTo>
                    <a:pt x="1" y="7"/>
                  </a:lnTo>
                  <a:lnTo>
                    <a:pt x="4" y="3"/>
                  </a:lnTo>
                  <a:lnTo>
                    <a:pt x="7" y="1"/>
                  </a:lnTo>
                  <a:lnTo>
                    <a:pt x="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60" name="Freeform 58"/>
            <p:cNvSpPr>
              <a:spLocks/>
            </p:cNvSpPr>
            <p:nvPr/>
          </p:nvSpPr>
          <p:spPr bwMode="auto">
            <a:xfrm>
              <a:off x="5538377" y="5748338"/>
              <a:ext cx="5913" cy="126907"/>
            </a:xfrm>
            <a:custGeom>
              <a:avLst/>
              <a:gdLst>
                <a:gd name="T0" fmla="*/ 13 w 27"/>
                <a:gd name="T1" fmla="*/ 0 h 557"/>
                <a:gd name="T2" fmla="*/ 17 w 27"/>
                <a:gd name="T3" fmla="*/ 0 h 557"/>
                <a:gd name="T4" fmla="*/ 21 w 27"/>
                <a:gd name="T5" fmla="*/ 2 h 557"/>
                <a:gd name="T6" fmla="*/ 24 w 27"/>
                <a:gd name="T7" fmla="*/ 5 h 557"/>
                <a:gd name="T8" fmla="*/ 27 w 27"/>
                <a:gd name="T9" fmla="*/ 10 h 557"/>
                <a:gd name="T10" fmla="*/ 27 w 27"/>
                <a:gd name="T11" fmla="*/ 13 h 557"/>
                <a:gd name="T12" fmla="*/ 27 w 27"/>
                <a:gd name="T13" fmla="*/ 542 h 557"/>
                <a:gd name="T14" fmla="*/ 27 w 27"/>
                <a:gd name="T15" fmla="*/ 547 h 557"/>
                <a:gd name="T16" fmla="*/ 24 w 27"/>
                <a:gd name="T17" fmla="*/ 551 h 557"/>
                <a:gd name="T18" fmla="*/ 21 w 27"/>
                <a:gd name="T19" fmla="*/ 553 h 557"/>
                <a:gd name="T20" fmla="*/ 17 w 27"/>
                <a:gd name="T21" fmla="*/ 556 h 557"/>
                <a:gd name="T22" fmla="*/ 13 w 27"/>
                <a:gd name="T23" fmla="*/ 557 h 557"/>
                <a:gd name="T24" fmla="*/ 9 w 27"/>
                <a:gd name="T25" fmla="*/ 556 h 557"/>
                <a:gd name="T26" fmla="*/ 5 w 27"/>
                <a:gd name="T27" fmla="*/ 553 h 557"/>
                <a:gd name="T28" fmla="*/ 3 w 27"/>
                <a:gd name="T29" fmla="*/ 551 h 557"/>
                <a:gd name="T30" fmla="*/ 0 w 27"/>
                <a:gd name="T31" fmla="*/ 547 h 557"/>
                <a:gd name="T32" fmla="*/ 0 w 27"/>
                <a:gd name="T33" fmla="*/ 542 h 557"/>
                <a:gd name="T34" fmla="*/ 0 w 27"/>
                <a:gd name="T35" fmla="*/ 13 h 557"/>
                <a:gd name="T36" fmla="*/ 0 w 27"/>
                <a:gd name="T37" fmla="*/ 10 h 557"/>
                <a:gd name="T38" fmla="*/ 3 w 27"/>
                <a:gd name="T39" fmla="*/ 5 h 557"/>
                <a:gd name="T40" fmla="*/ 5 w 27"/>
                <a:gd name="T41" fmla="*/ 2 h 557"/>
                <a:gd name="T42" fmla="*/ 9 w 27"/>
                <a:gd name="T43" fmla="*/ 0 h 557"/>
                <a:gd name="T44" fmla="*/ 13 w 27"/>
                <a:gd name="T45" fmla="*/ 0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557">
                  <a:moveTo>
                    <a:pt x="13" y="0"/>
                  </a:moveTo>
                  <a:lnTo>
                    <a:pt x="17" y="0"/>
                  </a:lnTo>
                  <a:lnTo>
                    <a:pt x="21" y="2"/>
                  </a:lnTo>
                  <a:lnTo>
                    <a:pt x="24" y="5"/>
                  </a:lnTo>
                  <a:lnTo>
                    <a:pt x="27" y="10"/>
                  </a:lnTo>
                  <a:lnTo>
                    <a:pt x="27" y="13"/>
                  </a:lnTo>
                  <a:lnTo>
                    <a:pt x="27" y="542"/>
                  </a:lnTo>
                  <a:lnTo>
                    <a:pt x="27" y="547"/>
                  </a:lnTo>
                  <a:lnTo>
                    <a:pt x="24" y="551"/>
                  </a:lnTo>
                  <a:lnTo>
                    <a:pt x="21" y="553"/>
                  </a:lnTo>
                  <a:lnTo>
                    <a:pt x="17" y="556"/>
                  </a:lnTo>
                  <a:lnTo>
                    <a:pt x="13" y="557"/>
                  </a:lnTo>
                  <a:lnTo>
                    <a:pt x="9" y="556"/>
                  </a:lnTo>
                  <a:lnTo>
                    <a:pt x="5" y="553"/>
                  </a:lnTo>
                  <a:lnTo>
                    <a:pt x="3" y="551"/>
                  </a:lnTo>
                  <a:lnTo>
                    <a:pt x="0" y="547"/>
                  </a:lnTo>
                  <a:lnTo>
                    <a:pt x="0" y="542"/>
                  </a:lnTo>
                  <a:lnTo>
                    <a:pt x="0" y="13"/>
                  </a:lnTo>
                  <a:lnTo>
                    <a:pt x="0" y="10"/>
                  </a:lnTo>
                  <a:lnTo>
                    <a:pt x="3" y="5"/>
                  </a:lnTo>
                  <a:lnTo>
                    <a:pt x="5" y="2"/>
                  </a:lnTo>
                  <a:lnTo>
                    <a:pt x="9" y="0"/>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61" name="Freeform 59"/>
            <p:cNvSpPr>
              <a:spLocks/>
            </p:cNvSpPr>
            <p:nvPr/>
          </p:nvSpPr>
          <p:spPr bwMode="auto">
            <a:xfrm>
              <a:off x="5477880" y="5769261"/>
              <a:ext cx="22743" cy="105984"/>
            </a:xfrm>
            <a:custGeom>
              <a:avLst/>
              <a:gdLst>
                <a:gd name="T0" fmla="*/ 12 w 99"/>
                <a:gd name="T1" fmla="*/ 0 h 465"/>
                <a:gd name="T2" fmla="*/ 16 w 99"/>
                <a:gd name="T3" fmla="*/ 0 h 465"/>
                <a:gd name="T4" fmla="*/ 19 w 99"/>
                <a:gd name="T5" fmla="*/ 2 h 465"/>
                <a:gd name="T6" fmla="*/ 23 w 99"/>
                <a:gd name="T7" fmla="*/ 5 h 465"/>
                <a:gd name="T8" fmla="*/ 95 w 99"/>
                <a:gd name="T9" fmla="*/ 76 h 465"/>
                <a:gd name="T10" fmla="*/ 98 w 99"/>
                <a:gd name="T11" fmla="*/ 79 h 465"/>
                <a:gd name="T12" fmla="*/ 99 w 99"/>
                <a:gd name="T13" fmla="*/ 82 h 465"/>
                <a:gd name="T14" fmla="*/ 99 w 99"/>
                <a:gd name="T15" fmla="*/ 86 h 465"/>
                <a:gd name="T16" fmla="*/ 99 w 99"/>
                <a:gd name="T17" fmla="*/ 450 h 465"/>
                <a:gd name="T18" fmla="*/ 98 w 99"/>
                <a:gd name="T19" fmla="*/ 455 h 465"/>
                <a:gd name="T20" fmla="*/ 97 w 99"/>
                <a:gd name="T21" fmla="*/ 459 h 465"/>
                <a:gd name="T22" fmla="*/ 93 w 99"/>
                <a:gd name="T23" fmla="*/ 461 h 465"/>
                <a:gd name="T24" fmla="*/ 89 w 99"/>
                <a:gd name="T25" fmla="*/ 464 h 465"/>
                <a:gd name="T26" fmla="*/ 86 w 99"/>
                <a:gd name="T27" fmla="*/ 465 h 465"/>
                <a:gd name="T28" fmla="*/ 81 w 99"/>
                <a:gd name="T29" fmla="*/ 464 h 465"/>
                <a:gd name="T30" fmla="*/ 77 w 99"/>
                <a:gd name="T31" fmla="*/ 461 h 465"/>
                <a:gd name="T32" fmla="*/ 75 w 99"/>
                <a:gd name="T33" fmla="*/ 459 h 465"/>
                <a:gd name="T34" fmla="*/ 72 w 99"/>
                <a:gd name="T35" fmla="*/ 455 h 465"/>
                <a:gd name="T36" fmla="*/ 72 w 99"/>
                <a:gd name="T37" fmla="*/ 450 h 465"/>
                <a:gd name="T38" fmla="*/ 72 w 99"/>
                <a:gd name="T39" fmla="*/ 92 h 465"/>
                <a:gd name="T40" fmla="*/ 5 w 99"/>
                <a:gd name="T41" fmla="*/ 24 h 465"/>
                <a:gd name="T42" fmla="*/ 1 w 99"/>
                <a:gd name="T43" fmla="*/ 20 h 465"/>
                <a:gd name="T44" fmla="*/ 0 w 99"/>
                <a:gd name="T45" fmla="*/ 16 h 465"/>
                <a:gd name="T46" fmla="*/ 0 w 99"/>
                <a:gd name="T47" fmla="*/ 12 h 465"/>
                <a:gd name="T48" fmla="*/ 1 w 99"/>
                <a:gd name="T49" fmla="*/ 8 h 465"/>
                <a:gd name="T50" fmla="*/ 5 w 99"/>
                <a:gd name="T51" fmla="*/ 5 h 465"/>
                <a:gd name="T52" fmla="*/ 7 w 99"/>
                <a:gd name="T53" fmla="*/ 2 h 465"/>
                <a:gd name="T54" fmla="*/ 12 w 99"/>
                <a:gd name="T55"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9" h="465">
                  <a:moveTo>
                    <a:pt x="12" y="0"/>
                  </a:moveTo>
                  <a:lnTo>
                    <a:pt x="16" y="0"/>
                  </a:lnTo>
                  <a:lnTo>
                    <a:pt x="19" y="2"/>
                  </a:lnTo>
                  <a:lnTo>
                    <a:pt x="23" y="5"/>
                  </a:lnTo>
                  <a:lnTo>
                    <a:pt x="95" y="76"/>
                  </a:lnTo>
                  <a:lnTo>
                    <a:pt x="98" y="79"/>
                  </a:lnTo>
                  <a:lnTo>
                    <a:pt x="99" y="82"/>
                  </a:lnTo>
                  <a:lnTo>
                    <a:pt x="99" y="86"/>
                  </a:lnTo>
                  <a:lnTo>
                    <a:pt x="99" y="450"/>
                  </a:lnTo>
                  <a:lnTo>
                    <a:pt x="98" y="455"/>
                  </a:lnTo>
                  <a:lnTo>
                    <a:pt x="97" y="459"/>
                  </a:lnTo>
                  <a:lnTo>
                    <a:pt x="93" y="461"/>
                  </a:lnTo>
                  <a:lnTo>
                    <a:pt x="89" y="464"/>
                  </a:lnTo>
                  <a:lnTo>
                    <a:pt x="86" y="465"/>
                  </a:lnTo>
                  <a:lnTo>
                    <a:pt x="81" y="464"/>
                  </a:lnTo>
                  <a:lnTo>
                    <a:pt x="77" y="461"/>
                  </a:lnTo>
                  <a:lnTo>
                    <a:pt x="75" y="459"/>
                  </a:lnTo>
                  <a:lnTo>
                    <a:pt x="72" y="455"/>
                  </a:lnTo>
                  <a:lnTo>
                    <a:pt x="72" y="450"/>
                  </a:lnTo>
                  <a:lnTo>
                    <a:pt x="72" y="92"/>
                  </a:lnTo>
                  <a:lnTo>
                    <a:pt x="5" y="24"/>
                  </a:lnTo>
                  <a:lnTo>
                    <a:pt x="1" y="20"/>
                  </a:lnTo>
                  <a:lnTo>
                    <a:pt x="0" y="16"/>
                  </a:lnTo>
                  <a:lnTo>
                    <a:pt x="0" y="12"/>
                  </a:lnTo>
                  <a:lnTo>
                    <a:pt x="1" y="8"/>
                  </a:lnTo>
                  <a:lnTo>
                    <a:pt x="5" y="5"/>
                  </a:lnTo>
                  <a:lnTo>
                    <a:pt x="7" y="2"/>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66" name="Freeform 60"/>
            <p:cNvSpPr>
              <a:spLocks/>
            </p:cNvSpPr>
            <p:nvPr/>
          </p:nvSpPr>
          <p:spPr bwMode="auto">
            <a:xfrm>
              <a:off x="5450133" y="5802466"/>
              <a:ext cx="20469" cy="72778"/>
            </a:xfrm>
            <a:custGeom>
              <a:avLst/>
              <a:gdLst>
                <a:gd name="T0" fmla="*/ 76 w 88"/>
                <a:gd name="T1" fmla="*/ 0 h 320"/>
                <a:gd name="T2" fmla="*/ 81 w 88"/>
                <a:gd name="T3" fmla="*/ 1 h 320"/>
                <a:gd name="T4" fmla="*/ 83 w 88"/>
                <a:gd name="T5" fmla="*/ 5 h 320"/>
                <a:gd name="T6" fmla="*/ 87 w 88"/>
                <a:gd name="T7" fmla="*/ 7 h 320"/>
                <a:gd name="T8" fmla="*/ 88 w 88"/>
                <a:gd name="T9" fmla="*/ 12 h 320"/>
                <a:gd name="T10" fmla="*/ 88 w 88"/>
                <a:gd name="T11" fmla="*/ 16 h 320"/>
                <a:gd name="T12" fmla="*/ 87 w 88"/>
                <a:gd name="T13" fmla="*/ 21 h 320"/>
                <a:gd name="T14" fmla="*/ 84 w 88"/>
                <a:gd name="T15" fmla="*/ 23 h 320"/>
                <a:gd name="T16" fmla="*/ 26 w 88"/>
                <a:gd name="T17" fmla="*/ 81 h 320"/>
                <a:gd name="T18" fmla="*/ 26 w 88"/>
                <a:gd name="T19" fmla="*/ 305 h 320"/>
                <a:gd name="T20" fmla="*/ 26 w 88"/>
                <a:gd name="T21" fmla="*/ 310 h 320"/>
                <a:gd name="T22" fmla="*/ 24 w 88"/>
                <a:gd name="T23" fmla="*/ 314 h 320"/>
                <a:gd name="T24" fmla="*/ 21 w 88"/>
                <a:gd name="T25" fmla="*/ 316 h 320"/>
                <a:gd name="T26" fmla="*/ 18 w 88"/>
                <a:gd name="T27" fmla="*/ 319 h 320"/>
                <a:gd name="T28" fmla="*/ 13 w 88"/>
                <a:gd name="T29" fmla="*/ 320 h 320"/>
                <a:gd name="T30" fmla="*/ 9 w 88"/>
                <a:gd name="T31" fmla="*/ 319 h 320"/>
                <a:gd name="T32" fmla="*/ 6 w 88"/>
                <a:gd name="T33" fmla="*/ 316 h 320"/>
                <a:gd name="T34" fmla="*/ 2 w 88"/>
                <a:gd name="T35" fmla="*/ 314 h 320"/>
                <a:gd name="T36" fmla="*/ 1 w 88"/>
                <a:gd name="T37" fmla="*/ 310 h 320"/>
                <a:gd name="T38" fmla="*/ 0 w 88"/>
                <a:gd name="T39" fmla="*/ 305 h 320"/>
                <a:gd name="T40" fmla="*/ 0 w 88"/>
                <a:gd name="T41" fmla="*/ 75 h 320"/>
                <a:gd name="T42" fmla="*/ 0 w 88"/>
                <a:gd name="T43" fmla="*/ 72 h 320"/>
                <a:gd name="T44" fmla="*/ 1 w 88"/>
                <a:gd name="T45" fmla="*/ 69 h 320"/>
                <a:gd name="T46" fmla="*/ 3 w 88"/>
                <a:gd name="T47" fmla="*/ 66 h 320"/>
                <a:gd name="T48" fmla="*/ 65 w 88"/>
                <a:gd name="T49" fmla="*/ 5 h 320"/>
                <a:gd name="T50" fmla="*/ 69 w 88"/>
                <a:gd name="T51" fmla="*/ 1 h 320"/>
                <a:gd name="T52" fmla="*/ 72 w 88"/>
                <a:gd name="T53" fmla="*/ 0 h 320"/>
                <a:gd name="T54" fmla="*/ 76 w 88"/>
                <a:gd name="T55"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8" h="320">
                  <a:moveTo>
                    <a:pt x="76" y="0"/>
                  </a:moveTo>
                  <a:lnTo>
                    <a:pt x="81" y="1"/>
                  </a:lnTo>
                  <a:lnTo>
                    <a:pt x="83" y="5"/>
                  </a:lnTo>
                  <a:lnTo>
                    <a:pt x="87" y="7"/>
                  </a:lnTo>
                  <a:lnTo>
                    <a:pt x="88" y="12"/>
                  </a:lnTo>
                  <a:lnTo>
                    <a:pt x="88" y="16"/>
                  </a:lnTo>
                  <a:lnTo>
                    <a:pt x="87" y="21"/>
                  </a:lnTo>
                  <a:lnTo>
                    <a:pt x="84" y="23"/>
                  </a:lnTo>
                  <a:lnTo>
                    <a:pt x="26" y="81"/>
                  </a:lnTo>
                  <a:lnTo>
                    <a:pt x="26" y="305"/>
                  </a:lnTo>
                  <a:lnTo>
                    <a:pt x="26" y="310"/>
                  </a:lnTo>
                  <a:lnTo>
                    <a:pt x="24" y="314"/>
                  </a:lnTo>
                  <a:lnTo>
                    <a:pt x="21" y="316"/>
                  </a:lnTo>
                  <a:lnTo>
                    <a:pt x="18" y="319"/>
                  </a:lnTo>
                  <a:lnTo>
                    <a:pt x="13" y="320"/>
                  </a:lnTo>
                  <a:lnTo>
                    <a:pt x="9" y="319"/>
                  </a:lnTo>
                  <a:lnTo>
                    <a:pt x="6" y="316"/>
                  </a:lnTo>
                  <a:lnTo>
                    <a:pt x="2" y="314"/>
                  </a:lnTo>
                  <a:lnTo>
                    <a:pt x="1" y="310"/>
                  </a:lnTo>
                  <a:lnTo>
                    <a:pt x="0" y="305"/>
                  </a:lnTo>
                  <a:lnTo>
                    <a:pt x="0" y="75"/>
                  </a:lnTo>
                  <a:lnTo>
                    <a:pt x="0" y="72"/>
                  </a:lnTo>
                  <a:lnTo>
                    <a:pt x="1" y="69"/>
                  </a:lnTo>
                  <a:lnTo>
                    <a:pt x="3" y="66"/>
                  </a:lnTo>
                  <a:lnTo>
                    <a:pt x="65" y="5"/>
                  </a:lnTo>
                  <a:lnTo>
                    <a:pt x="69" y="1"/>
                  </a:lnTo>
                  <a:lnTo>
                    <a:pt x="72" y="0"/>
                  </a:lnTo>
                  <a:lnTo>
                    <a:pt x="7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67" name="Freeform 61"/>
            <p:cNvSpPr>
              <a:spLocks noEditPoints="1"/>
            </p:cNvSpPr>
            <p:nvPr/>
          </p:nvSpPr>
          <p:spPr bwMode="auto">
            <a:xfrm>
              <a:off x="5319587" y="5731507"/>
              <a:ext cx="21834" cy="22289"/>
            </a:xfrm>
            <a:custGeom>
              <a:avLst/>
              <a:gdLst>
                <a:gd name="T0" fmla="*/ 49 w 97"/>
                <a:gd name="T1" fmla="*/ 28 h 97"/>
                <a:gd name="T2" fmla="*/ 38 w 97"/>
                <a:gd name="T3" fmla="*/ 30 h 97"/>
                <a:gd name="T4" fmla="*/ 31 w 97"/>
                <a:gd name="T5" fmla="*/ 38 h 97"/>
                <a:gd name="T6" fmla="*/ 28 w 97"/>
                <a:gd name="T7" fmla="*/ 48 h 97"/>
                <a:gd name="T8" fmla="*/ 31 w 97"/>
                <a:gd name="T9" fmla="*/ 59 h 97"/>
                <a:gd name="T10" fmla="*/ 38 w 97"/>
                <a:gd name="T11" fmla="*/ 68 h 97"/>
                <a:gd name="T12" fmla="*/ 49 w 97"/>
                <a:gd name="T13" fmla="*/ 70 h 97"/>
                <a:gd name="T14" fmla="*/ 60 w 97"/>
                <a:gd name="T15" fmla="*/ 68 h 97"/>
                <a:gd name="T16" fmla="*/ 67 w 97"/>
                <a:gd name="T17" fmla="*/ 59 h 97"/>
                <a:gd name="T18" fmla="*/ 71 w 97"/>
                <a:gd name="T19" fmla="*/ 48 h 97"/>
                <a:gd name="T20" fmla="*/ 67 w 97"/>
                <a:gd name="T21" fmla="*/ 38 h 97"/>
                <a:gd name="T22" fmla="*/ 60 w 97"/>
                <a:gd name="T23" fmla="*/ 30 h 97"/>
                <a:gd name="T24" fmla="*/ 49 w 97"/>
                <a:gd name="T25" fmla="*/ 28 h 97"/>
                <a:gd name="T26" fmla="*/ 49 w 97"/>
                <a:gd name="T27" fmla="*/ 0 h 97"/>
                <a:gd name="T28" fmla="*/ 65 w 97"/>
                <a:gd name="T29" fmla="*/ 2 h 97"/>
                <a:gd name="T30" fmla="*/ 78 w 97"/>
                <a:gd name="T31" fmla="*/ 10 h 97"/>
                <a:gd name="T32" fmla="*/ 89 w 97"/>
                <a:gd name="T33" fmla="*/ 21 h 97"/>
                <a:gd name="T34" fmla="*/ 95 w 97"/>
                <a:gd name="T35" fmla="*/ 34 h 97"/>
                <a:gd name="T36" fmla="*/ 97 w 97"/>
                <a:gd name="T37" fmla="*/ 48 h 97"/>
                <a:gd name="T38" fmla="*/ 95 w 97"/>
                <a:gd name="T39" fmla="*/ 64 h 97"/>
                <a:gd name="T40" fmla="*/ 89 w 97"/>
                <a:gd name="T41" fmla="*/ 77 h 97"/>
                <a:gd name="T42" fmla="*/ 78 w 97"/>
                <a:gd name="T43" fmla="*/ 88 h 97"/>
                <a:gd name="T44" fmla="*/ 65 w 97"/>
                <a:gd name="T45" fmla="*/ 94 h 97"/>
                <a:gd name="T46" fmla="*/ 49 w 97"/>
                <a:gd name="T47" fmla="*/ 97 h 97"/>
                <a:gd name="T48" fmla="*/ 34 w 97"/>
                <a:gd name="T49" fmla="*/ 94 h 97"/>
                <a:gd name="T50" fmla="*/ 21 w 97"/>
                <a:gd name="T51" fmla="*/ 88 h 97"/>
                <a:gd name="T52" fmla="*/ 10 w 97"/>
                <a:gd name="T53" fmla="*/ 77 h 97"/>
                <a:gd name="T54" fmla="*/ 3 w 97"/>
                <a:gd name="T55" fmla="*/ 64 h 97"/>
                <a:gd name="T56" fmla="*/ 0 w 97"/>
                <a:gd name="T57" fmla="*/ 48 h 97"/>
                <a:gd name="T58" fmla="*/ 3 w 97"/>
                <a:gd name="T59" fmla="*/ 34 h 97"/>
                <a:gd name="T60" fmla="*/ 10 w 97"/>
                <a:gd name="T61" fmla="*/ 21 h 97"/>
                <a:gd name="T62" fmla="*/ 21 w 97"/>
                <a:gd name="T63" fmla="*/ 10 h 97"/>
                <a:gd name="T64" fmla="*/ 34 w 97"/>
                <a:gd name="T65" fmla="*/ 2 h 97"/>
                <a:gd name="T66" fmla="*/ 49 w 97"/>
                <a:gd name="T6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 h="97">
                  <a:moveTo>
                    <a:pt x="49" y="28"/>
                  </a:moveTo>
                  <a:lnTo>
                    <a:pt x="38" y="30"/>
                  </a:lnTo>
                  <a:lnTo>
                    <a:pt x="31" y="38"/>
                  </a:lnTo>
                  <a:lnTo>
                    <a:pt x="28" y="48"/>
                  </a:lnTo>
                  <a:lnTo>
                    <a:pt x="31" y="59"/>
                  </a:lnTo>
                  <a:lnTo>
                    <a:pt x="38" y="68"/>
                  </a:lnTo>
                  <a:lnTo>
                    <a:pt x="49" y="70"/>
                  </a:lnTo>
                  <a:lnTo>
                    <a:pt x="60" y="68"/>
                  </a:lnTo>
                  <a:lnTo>
                    <a:pt x="67" y="59"/>
                  </a:lnTo>
                  <a:lnTo>
                    <a:pt x="71" y="48"/>
                  </a:lnTo>
                  <a:lnTo>
                    <a:pt x="67" y="38"/>
                  </a:lnTo>
                  <a:lnTo>
                    <a:pt x="60" y="30"/>
                  </a:lnTo>
                  <a:lnTo>
                    <a:pt x="49" y="28"/>
                  </a:lnTo>
                  <a:close/>
                  <a:moveTo>
                    <a:pt x="49" y="0"/>
                  </a:moveTo>
                  <a:lnTo>
                    <a:pt x="65" y="2"/>
                  </a:lnTo>
                  <a:lnTo>
                    <a:pt x="78" y="10"/>
                  </a:lnTo>
                  <a:lnTo>
                    <a:pt x="89" y="21"/>
                  </a:lnTo>
                  <a:lnTo>
                    <a:pt x="95" y="34"/>
                  </a:lnTo>
                  <a:lnTo>
                    <a:pt x="97" y="48"/>
                  </a:lnTo>
                  <a:lnTo>
                    <a:pt x="95" y="64"/>
                  </a:lnTo>
                  <a:lnTo>
                    <a:pt x="89" y="77"/>
                  </a:lnTo>
                  <a:lnTo>
                    <a:pt x="78" y="88"/>
                  </a:lnTo>
                  <a:lnTo>
                    <a:pt x="65" y="94"/>
                  </a:lnTo>
                  <a:lnTo>
                    <a:pt x="49" y="97"/>
                  </a:lnTo>
                  <a:lnTo>
                    <a:pt x="34" y="94"/>
                  </a:lnTo>
                  <a:lnTo>
                    <a:pt x="21" y="88"/>
                  </a:lnTo>
                  <a:lnTo>
                    <a:pt x="10" y="77"/>
                  </a:lnTo>
                  <a:lnTo>
                    <a:pt x="3" y="64"/>
                  </a:lnTo>
                  <a:lnTo>
                    <a:pt x="0" y="48"/>
                  </a:lnTo>
                  <a:lnTo>
                    <a:pt x="3" y="34"/>
                  </a:lnTo>
                  <a:lnTo>
                    <a:pt x="10" y="21"/>
                  </a:lnTo>
                  <a:lnTo>
                    <a:pt x="21" y="10"/>
                  </a:lnTo>
                  <a:lnTo>
                    <a:pt x="34" y="2"/>
                  </a:lnTo>
                  <a:lnTo>
                    <a:pt x="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68" name="Freeform 62"/>
            <p:cNvSpPr>
              <a:spLocks noEditPoints="1"/>
            </p:cNvSpPr>
            <p:nvPr/>
          </p:nvSpPr>
          <p:spPr bwMode="auto">
            <a:xfrm>
              <a:off x="5434668" y="5730143"/>
              <a:ext cx="21834" cy="22289"/>
            </a:xfrm>
            <a:custGeom>
              <a:avLst/>
              <a:gdLst>
                <a:gd name="T0" fmla="*/ 48 w 97"/>
                <a:gd name="T1" fmla="*/ 27 h 97"/>
                <a:gd name="T2" fmla="*/ 37 w 97"/>
                <a:gd name="T3" fmla="*/ 30 h 97"/>
                <a:gd name="T4" fmla="*/ 29 w 97"/>
                <a:gd name="T5" fmla="*/ 37 h 97"/>
                <a:gd name="T6" fmla="*/ 26 w 97"/>
                <a:gd name="T7" fmla="*/ 48 h 97"/>
                <a:gd name="T8" fmla="*/ 29 w 97"/>
                <a:gd name="T9" fmla="*/ 59 h 97"/>
                <a:gd name="T10" fmla="*/ 37 w 97"/>
                <a:gd name="T11" fmla="*/ 67 h 97"/>
                <a:gd name="T12" fmla="*/ 48 w 97"/>
                <a:gd name="T13" fmla="*/ 69 h 97"/>
                <a:gd name="T14" fmla="*/ 59 w 97"/>
                <a:gd name="T15" fmla="*/ 67 h 97"/>
                <a:gd name="T16" fmla="*/ 66 w 97"/>
                <a:gd name="T17" fmla="*/ 59 h 97"/>
                <a:gd name="T18" fmla="*/ 69 w 97"/>
                <a:gd name="T19" fmla="*/ 48 h 97"/>
                <a:gd name="T20" fmla="*/ 66 w 97"/>
                <a:gd name="T21" fmla="*/ 37 h 97"/>
                <a:gd name="T22" fmla="*/ 59 w 97"/>
                <a:gd name="T23" fmla="*/ 30 h 97"/>
                <a:gd name="T24" fmla="*/ 48 w 97"/>
                <a:gd name="T25" fmla="*/ 27 h 97"/>
                <a:gd name="T26" fmla="*/ 48 w 97"/>
                <a:gd name="T27" fmla="*/ 0 h 97"/>
                <a:gd name="T28" fmla="*/ 63 w 97"/>
                <a:gd name="T29" fmla="*/ 2 h 97"/>
                <a:gd name="T30" fmla="*/ 76 w 97"/>
                <a:gd name="T31" fmla="*/ 8 h 97"/>
                <a:gd name="T32" fmla="*/ 87 w 97"/>
                <a:gd name="T33" fmla="*/ 19 h 97"/>
                <a:gd name="T34" fmla="*/ 94 w 97"/>
                <a:gd name="T35" fmla="*/ 33 h 97"/>
                <a:gd name="T36" fmla="*/ 97 w 97"/>
                <a:gd name="T37" fmla="*/ 48 h 97"/>
                <a:gd name="T38" fmla="*/ 94 w 97"/>
                <a:gd name="T39" fmla="*/ 63 h 97"/>
                <a:gd name="T40" fmla="*/ 87 w 97"/>
                <a:gd name="T41" fmla="*/ 76 h 97"/>
                <a:gd name="T42" fmla="*/ 76 w 97"/>
                <a:gd name="T43" fmla="*/ 87 h 97"/>
                <a:gd name="T44" fmla="*/ 63 w 97"/>
                <a:gd name="T45" fmla="*/ 94 h 97"/>
                <a:gd name="T46" fmla="*/ 48 w 97"/>
                <a:gd name="T47" fmla="*/ 97 h 97"/>
                <a:gd name="T48" fmla="*/ 32 w 97"/>
                <a:gd name="T49" fmla="*/ 94 h 97"/>
                <a:gd name="T50" fmla="*/ 19 w 97"/>
                <a:gd name="T51" fmla="*/ 87 h 97"/>
                <a:gd name="T52" fmla="*/ 8 w 97"/>
                <a:gd name="T53" fmla="*/ 76 h 97"/>
                <a:gd name="T54" fmla="*/ 2 w 97"/>
                <a:gd name="T55" fmla="*/ 63 h 97"/>
                <a:gd name="T56" fmla="*/ 0 w 97"/>
                <a:gd name="T57" fmla="*/ 48 h 97"/>
                <a:gd name="T58" fmla="*/ 2 w 97"/>
                <a:gd name="T59" fmla="*/ 33 h 97"/>
                <a:gd name="T60" fmla="*/ 8 w 97"/>
                <a:gd name="T61" fmla="*/ 19 h 97"/>
                <a:gd name="T62" fmla="*/ 19 w 97"/>
                <a:gd name="T63" fmla="*/ 8 h 97"/>
                <a:gd name="T64" fmla="*/ 32 w 97"/>
                <a:gd name="T65" fmla="*/ 2 h 97"/>
                <a:gd name="T66" fmla="*/ 48 w 97"/>
                <a:gd name="T6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 h="97">
                  <a:moveTo>
                    <a:pt x="48" y="27"/>
                  </a:moveTo>
                  <a:lnTo>
                    <a:pt x="37" y="30"/>
                  </a:lnTo>
                  <a:lnTo>
                    <a:pt x="29" y="37"/>
                  </a:lnTo>
                  <a:lnTo>
                    <a:pt x="26" y="48"/>
                  </a:lnTo>
                  <a:lnTo>
                    <a:pt x="29" y="59"/>
                  </a:lnTo>
                  <a:lnTo>
                    <a:pt x="37" y="67"/>
                  </a:lnTo>
                  <a:lnTo>
                    <a:pt x="48" y="69"/>
                  </a:lnTo>
                  <a:lnTo>
                    <a:pt x="59" y="67"/>
                  </a:lnTo>
                  <a:lnTo>
                    <a:pt x="66" y="59"/>
                  </a:lnTo>
                  <a:lnTo>
                    <a:pt x="69" y="48"/>
                  </a:lnTo>
                  <a:lnTo>
                    <a:pt x="66" y="37"/>
                  </a:lnTo>
                  <a:lnTo>
                    <a:pt x="59" y="30"/>
                  </a:lnTo>
                  <a:lnTo>
                    <a:pt x="48" y="27"/>
                  </a:lnTo>
                  <a:close/>
                  <a:moveTo>
                    <a:pt x="48" y="0"/>
                  </a:moveTo>
                  <a:lnTo>
                    <a:pt x="63" y="2"/>
                  </a:lnTo>
                  <a:lnTo>
                    <a:pt x="76" y="8"/>
                  </a:lnTo>
                  <a:lnTo>
                    <a:pt x="87" y="19"/>
                  </a:lnTo>
                  <a:lnTo>
                    <a:pt x="94" y="33"/>
                  </a:lnTo>
                  <a:lnTo>
                    <a:pt x="97" y="48"/>
                  </a:lnTo>
                  <a:lnTo>
                    <a:pt x="94" y="63"/>
                  </a:lnTo>
                  <a:lnTo>
                    <a:pt x="87" y="76"/>
                  </a:lnTo>
                  <a:lnTo>
                    <a:pt x="76" y="87"/>
                  </a:lnTo>
                  <a:lnTo>
                    <a:pt x="63" y="94"/>
                  </a:lnTo>
                  <a:lnTo>
                    <a:pt x="48" y="97"/>
                  </a:lnTo>
                  <a:lnTo>
                    <a:pt x="32" y="94"/>
                  </a:lnTo>
                  <a:lnTo>
                    <a:pt x="19" y="87"/>
                  </a:lnTo>
                  <a:lnTo>
                    <a:pt x="8" y="76"/>
                  </a:lnTo>
                  <a:lnTo>
                    <a:pt x="2" y="63"/>
                  </a:lnTo>
                  <a:lnTo>
                    <a:pt x="0" y="48"/>
                  </a:lnTo>
                  <a:lnTo>
                    <a:pt x="2" y="33"/>
                  </a:lnTo>
                  <a:lnTo>
                    <a:pt x="8" y="19"/>
                  </a:lnTo>
                  <a:lnTo>
                    <a:pt x="19" y="8"/>
                  </a:lnTo>
                  <a:lnTo>
                    <a:pt x="32" y="2"/>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69" name="Freeform 63"/>
            <p:cNvSpPr>
              <a:spLocks noEditPoints="1"/>
            </p:cNvSpPr>
            <p:nvPr/>
          </p:nvSpPr>
          <p:spPr bwMode="auto">
            <a:xfrm>
              <a:off x="5461959" y="5788820"/>
              <a:ext cx="21834" cy="22289"/>
            </a:xfrm>
            <a:custGeom>
              <a:avLst/>
              <a:gdLst>
                <a:gd name="T0" fmla="*/ 48 w 96"/>
                <a:gd name="T1" fmla="*/ 28 h 97"/>
                <a:gd name="T2" fmla="*/ 37 w 96"/>
                <a:gd name="T3" fmla="*/ 30 h 97"/>
                <a:gd name="T4" fmla="*/ 30 w 96"/>
                <a:gd name="T5" fmla="*/ 37 h 97"/>
                <a:gd name="T6" fmla="*/ 26 w 96"/>
                <a:gd name="T7" fmla="*/ 48 h 97"/>
                <a:gd name="T8" fmla="*/ 30 w 96"/>
                <a:gd name="T9" fmla="*/ 59 h 97"/>
                <a:gd name="T10" fmla="*/ 37 w 96"/>
                <a:gd name="T11" fmla="*/ 66 h 97"/>
                <a:gd name="T12" fmla="*/ 48 w 96"/>
                <a:gd name="T13" fmla="*/ 70 h 97"/>
                <a:gd name="T14" fmla="*/ 59 w 96"/>
                <a:gd name="T15" fmla="*/ 66 h 97"/>
                <a:gd name="T16" fmla="*/ 66 w 96"/>
                <a:gd name="T17" fmla="*/ 59 h 97"/>
                <a:gd name="T18" fmla="*/ 70 w 96"/>
                <a:gd name="T19" fmla="*/ 48 h 97"/>
                <a:gd name="T20" fmla="*/ 66 w 96"/>
                <a:gd name="T21" fmla="*/ 37 h 97"/>
                <a:gd name="T22" fmla="*/ 59 w 96"/>
                <a:gd name="T23" fmla="*/ 30 h 97"/>
                <a:gd name="T24" fmla="*/ 48 w 96"/>
                <a:gd name="T25" fmla="*/ 28 h 97"/>
                <a:gd name="T26" fmla="*/ 48 w 96"/>
                <a:gd name="T27" fmla="*/ 0 h 97"/>
                <a:gd name="T28" fmla="*/ 64 w 96"/>
                <a:gd name="T29" fmla="*/ 2 h 97"/>
                <a:gd name="T30" fmla="*/ 77 w 96"/>
                <a:gd name="T31" fmla="*/ 10 h 97"/>
                <a:gd name="T32" fmla="*/ 87 w 96"/>
                <a:gd name="T33" fmla="*/ 19 h 97"/>
                <a:gd name="T34" fmla="*/ 94 w 96"/>
                <a:gd name="T35" fmla="*/ 33 h 97"/>
                <a:gd name="T36" fmla="*/ 96 w 96"/>
                <a:gd name="T37" fmla="*/ 48 h 97"/>
                <a:gd name="T38" fmla="*/ 94 w 96"/>
                <a:gd name="T39" fmla="*/ 64 h 97"/>
                <a:gd name="T40" fmla="*/ 87 w 96"/>
                <a:gd name="T41" fmla="*/ 77 h 97"/>
                <a:gd name="T42" fmla="*/ 77 w 96"/>
                <a:gd name="T43" fmla="*/ 87 h 97"/>
                <a:gd name="T44" fmla="*/ 64 w 96"/>
                <a:gd name="T45" fmla="*/ 94 h 97"/>
                <a:gd name="T46" fmla="*/ 48 w 96"/>
                <a:gd name="T47" fmla="*/ 97 h 97"/>
                <a:gd name="T48" fmla="*/ 32 w 96"/>
                <a:gd name="T49" fmla="*/ 94 h 97"/>
                <a:gd name="T50" fmla="*/ 19 w 96"/>
                <a:gd name="T51" fmla="*/ 87 h 97"/>
                <a:gd name="T52" fmla="*/ 9 w 96"/>
                <a:gd name="T53" fmla="*/ 77 h 97"/>
                <a:gd name="T54" fmla="*/ 2 w 96"/>
                <a:gd name="T55" fmla="*/ 64 h 97"/>
                <a:gd name="T56" fmla="*/ 0 w 96"/>
                <a:gd name="T57" fmla="*/ 48 h 97"/>
                <a:gd name="T58" fmla="*/ 2 w 96"/>
                <a:gd name="T59" fmla="*/ 33 h 97"/>
                <a:gd name="T60" fmla="*/ 9 w 96"/>
                <a:gd name="T61" fmla="*/ 19 h 97"/>
                <a:gd name="T62" fmla="*/ 19 w 96"/>
                <a:gd name="T63" fmla="*/ 10 h 97"/>
                <a:gd name="T64" fmla="*/ 32 w 96"/>
                <a:gd name="T65" fmla="*/ 2 h 97"/>
                <a:gd name="T66" fmla="*/ 48 w 96"/>
                <a:gd name="T6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6" h="97">
                  <a:moveTo>
                    <a:pt x="48" y="28"/>
                  </a:moveTo>
                  <a:lnTo>
                    <a:pt x="37" y="30"/>
                  </a:lnTo>
                  <a:lnTo>
                    <a:pt x="30" y="37"/>
                  </a:lnTo>
                  <a:lnTo>
                    <a:pt x="26" y="48"/>
                  </a:lnTo>
                  <a:lnTo>
                    <a:pt x="30" y="59"/>
                  </a:lnTo>
                  <a:lnTo>
                    <a:pt x="37" y="66"/>
                  </a:lnTo>
                  <a:lnTo>
                    <a:pt x="48" y="70"/>
                  </a:lnTo>
                  <a:lnTo>
                    <a:pt x="59" y="66"/>
                  </a:lnTo>
                  <a:lnTo>
                    <a:pt x="66" y="59"/>
                  </a:lnTo>
                  <a:lnTo>
                    <a:pt x="70" y="48"/>
                  </a:lnTo>
                  <a:lnTo>
                    <a:pt x="66" y="37"/>
                  </a:lnTo>
                  <a:lnTo>
                    <a:pt x="59" y="30"/>
                  </a:lnTo>
                  <a:lnTo>
                    <a:pt x="48" y="28"/>
                  </a:lnTo>
                  <a:close/>
                  <a:moveTo>
                    <a:pt x="48" y="0"/>
                  </a:moveTo>
                  <a:lnTo>
                    <a:pt x="64" y="2"/>
                  </a:lnTo>
                  <a:lnTo>
                    <a:pt x="77" y="10"/>
                  </a:lnTo>
                  <a:lnTo>
                    <a:pt x="87" y="19"/>
                  </a:lnTo>
                  <a:lnTo>
                    <a:pt x="94" y="33"/>
                  </a:lnTo>
                  <a:lnTo>
                    <a:pt x="96" y="48"/>
                  </a:lnTo>
                  <a:lnTo>
                    <a:pt x="94" y="64"/>
                  </a:lnTo>
                  <a:lnTo>
                    <a:pt x="87" y="77"/>
                  </a:lnTo>
                  <a:lnTo>
                    <a:pt x="77" y="87"/>
                  </a:lnTo>
                  <a:lnTo>
                    <a:pt x="64" y="94"/>
                  </a:lnTo>
                  <a:lnTo>
                    <a:pt x="48" y="97"/>
                  </a:lnTo>
                  <a:lnTo>
                    <a:pt x="32" y="94"/>
                  </a:lnTo>
                  <a:lnTo>
                    <a:pt x="19" y="87"/>
                  </a:lnTo>
                  <a:lnTo>
                    <a:pt x="9" y="77"/>
                  </a:lnTo>
                  <a:lnTo>
                    <a:pt x="2" y="64"/>
                  </a:lnTo>
                  <a:lnTo>
                    <a:pt x="0" y="48"/>
                  </a:lnTo>
                  <a:lnTo>
                    <a:pt x="2" y="33"/>
                  </a:lnTo>
                  <a:lnTo>
                    <a:pt x="9" y="19"/>
                  </a:lnTo>
                  <a:lnTo>
                    <a:pt x="19" y="10"/>
                  </a:lnTo>
                  <a:lnTo>
                    <a:pt x="32" y="2"/>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76" name="Freeform 64"/>
            <p:cNvSpPr>
              <a:spLocks noEditPoints="1"/>
            </p:cNvSpPr>
            <p:nvPr/>
          </p:nvSpPr>
          <p:spPr bwMode="auto">
            <a:xfrm>
              <a:off x="5464234" y="5756070"/>
              <a:ext cx="22289" cy="21833"/>
            </a:xfrm>
            <a:custGeom>
              <a:avLst/>
              <a:gdLst>
                <a:gd name="T0" fmla="*/ 49 w 97"/>
                <a:gd name="T1" fmla="*/ 27 h 96"/>
                <a:gd name="T2" fmla="*/ 38 w 97"/>
                <a:gd name="T3" fmla="*/ 30 h 96"/>
                <a:gd name="T4" fmla="*/ 31 w 97"/>
                <a:gd name="T5" fmla="*/ 37 h 96"/>
                <a:gd name="T6" fmla="*/ 27 w 97"/>
                <a:gd name="T7" fmla="*/ 48 h 96"/>
                <a:gd name="T8" fmla="*/ 31 w 97"/>
                <a:gd name="T9" fmla="*/ 59 h 96"/>
                <a:gd name="T10" fmla="*/ 38 w 97"/>
                <a:gd name="T11" fmla="*/ 66 h 96"/>
                <a:gd name="T12" fmla="*/ 49 w 97"/>
                <a:gd name="T13" fmla="*/ 70 h 96"/>
                <a:gd name="T14" fmla="*/ 60 w 97"/>
                <a:gd name="T15" fmla="*/ 66 h 96"/>
                <a:gd name="T16" fmla="*/ 67 w 97"/>
                <a:gd name="T17" fmla="*/ 59 h 96"/>
                <a:gd name="T18" fmla="*/ 71 w 97"/>
                <a:gd name="T19" fmla="*/ 48 h 96"/>
                <a:gd name="T20" fmla="*/ 67 w 97"/>
                <a:gd name="T21" fmla="*/ 37 h 96"/>
                <a:gd name="T22" fmla="*/ 60 w 97"/>
                <a:gd name="T23" fmla="*/ 30 h 96"/>
                <a:gd name="T24" fmla="*/ 49 w 97"/>
                <a:gd name="T25" fmla="*/ 27 h 96"/>
                <a:gd name="T26" fmla="*/ 49 w 97"/>
                <a:gd name="T27" fmla="*/ 0 h 96"/>
                <a:gd name="T28" fmla="*/ 65 w 97"/>
                <a:gd name="T29" fmla="*/ 2 h 96"/>
                <a:gd name="T30" fmla="*/ 78 w 97"/>
                <a:gd name="T31" fmla="*/ 9 h 96"/>
                <a:gd name="T32" fmla="*/ 88 w 97"/>
                <a:gd name="T33" fmla="*/ 20 h 96"/>
                <a:gd name="T34" fmla="*/ 95 w 97"/>
                <a:gd name="T35" fmla="*/ 33 h 96"/>
                <a:gd name="T36" fmla="*/ 97 w 97"/>
                <a:gd name="T37" fmla="*/ 48 h 96"/>
                <a:gd name="T38" fmla="*/ 95 w 97"/>
                <a:gd name="T39" fmla="*/ 64 h 96"/>
                <a:gd name="T40" fmla="*/ 88 w 97"/>
                <a:gd name="T41" fmla="*/ 77 h 96"/>
                <a:gd name="T42" fmla="*/ 78 w 97"/>
                <a:gd name="T43" fmla="*/ 87 h 96"/>
                <a:gd name="T44" fmla="*/ 65 w 97"/>
                <a:gd name="T45" fmla="*/ 94 h 96"/>
                <a:gd name="T46" fmla="*/ 49 w 97"/>
                <a:gd name="T47" fmla="*/ 96 h 96"/>
                <a:gd name="T48" fmla="*/ 33 w 97"/>
                <a:gd name="T49" fmla="*/ 94 h 96"/>
                <a:gd name="T50" fmla="*/ 20 w 97"/>
                <a:gd name="T51" fmla="*/ 87 h 96"/>
                <a:gd name="T52" fmla="*/ 10 w 97"/>
                <a:gd name="T53" fmla="*/ 77 h 96"/>
                <a:gd name="T54" fmla="*/ 3 w 97"/>
                <a:gd name="T55" fmla="*/ 64 h 96"/>
                <a:gd name="T56" fmla="*/ 0 w 97"/>
                <a:gd name="T57" fmla="*/ 48 h 96"/>
                <a:gd name="T58" fmla="*/ 3 w 97"/>
                <a:gd name="T59" fmla="*/ 33 h 96"/>
                <a:gd name="T60" fmla="*/ 10 w 97"/>
                <a:gd name="T61" fmla="*/ 20 h 96"/>
                <a:gd name="T62" fmla="*/ 20 w 97"/>
                <a:gd name="T63" fmla="*/ 9 h 96"/>
                <a:gd name="T64" fmla="*/ 33 w 97"/>
                <a:gd name="T65" fmla="*/ 2 h 96"/>
                <a:gd name="T66" fmla="*/ 49 w 97"/>
                <a:gd name="T6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 h="96">
                  <a:moveTo>
                    <a:pt x="49" y="27"/>
                  </a:moveTo>
                  <a:lnTo>
                    <a:pt x="38" y="30"/>
                  </a:lnTo>
                  <a:lnTo>
                    <a:pt x="31" y="37"/>
                  </a:lnTo>
                  <a:lnTo>
                    <a:pt x="27" y="48"/>
                  </a:lnTo>
                  <a:lnTo>
                    <a:pt x="31" y="59"/>
                  </a:lnTo>
                  <a:lnTo>
                    <a:pt x="38" y="66"/>
                  </a:lnTo>
                  <a:lnTo>
                    <a:pt x="49" y="70"/>
                  </a:lnTo>
                  <a:lnTo>
                    <a:pt x="60" y="66"/>
                  </a:lnTo>
                  <a:lnTo>
                    <a:pt x="67" y="59"/>
                  </a:lnTo>
                  <a:lnTo>
                    <a:pt x="71" y="48"/>
                  </a:lnTo>
                  <a:lnTo>
                    <a:pt x="67" y="37"/>
                  </a:lnTo>
                  <a:lnTo>
                    <a:pt x="60" y="30"/>
                  </a:lnTo>
                  <a:lnTo>
                    <a:pt x="49" y="27"/>
                  </a:lnTo>
                  <a:close/>
                  <a:moveTo>
                    <a:pt x="49" y="0"/>
                  </a:moveTo>
                  <a:lnTo>
                    <a:pt x="65" y="2"/>
                  </a:lnTo>
                  <a:lnTo>
                    <a:pt x="78" y="9"/>
                  </a:lnTo>
                  <a:lnTo>
                    <a:pt x="88" y="20"/>
                  </a:lnTo>
                  <a:lnTo>
                    <a:pt x="95" y="33"/>
                  </a:lnTo>
                  <a:lnTo>
                    <a:pt x="97" y="48"/>
                  </a:lnTo>
                  <a:lnTo>
                    <a:pt x="95" y="64"/>
                  </a:lnTo>
                  <a:lnTo>
                    <a:pt x="88" y="77"/>
                  </a:lnTo>
                  <a:lnTo>
                    <a:pt x="78" y="87"/>
                  </a:lnTo>
                  <a:lnTo>
                    <a:pt x="65" y="94"/>
                  </a:lnTo>
                  <a:lnTo>
                    <a:pt x="49" y="96"/>
                  </a:lnTo>
                  <a:lnTo>
                    <a:pt x="33" y="94"/>
                  </a:lnTo>
                  <a:lnTo>
                    <a:pt x="20" y="87"/>
                  </a:lnTo>
                  <a:lnTo>
                    <a:pt x="10" y="77"/>
                  </a:lnTo>
                  <a:lnTo>
                    <a:pt x="3" y="64"/>
                  </a:lnTo>
                  <a:lnTo>
                    <a:pt x="0" y="48"/>
                  </a:lnTo>
                  <a:lnTo>
                    <a:pt x="3" y="33"/>
                  </a:lnTo>
                  <a:lnTo>
                    <a:pt x="10" y="20"/>
                  </a:lnTo>
                  <a:lnTo>
                    <a:pt x="20" y="9"/>
                  </a:lnTo>
                  <a:lnTo>
                    <a:pt x="33" y="2"/>
                  </a:lnTo>
                  <a:lnTo>
                    <a:pt x="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78" name="Freeform 65"/>
            <p:cNvSpPr>
              <a:spLocks noEditPoints="1"/>
            </p:cNvSpPr>
            <p:nvPr/>
          </p:nvSpPr>
          <p:spPr bwMode="auto">
            <a:xfrm>
              <a:off x="5530644" y="5732417"/>
              <a:ext cx="21834" cy="22289"/>
            </a:xfrm>
            <a:custGeom>
              <a:avLst/>
              <a:gdLst>
                <a:gd name="T0" fmla="*/ 48 w 97"/>
                <a:gd name="T1" fmla="*/ 27 h 96"/>
                <a:gd name="T2" fmla="*/ 38 w 97"/>
                <a:gd name="T3" fmla="*/ 30 h 96"/>
                <a:gd name="T4" fmla="*/ 30 w 97"/>
                <a:gd name="T5" fmla="*/ 37 h 96"/>
                <a:gd name="T6" fmla="*/ 27 w 97"/>
                <a:gd name="T7" fmla="*/ 48 h 96"/>
                <a:gd name="T8" fmla="*/ 30 w 97"/>
                <a:gd name="T9" fmla="*/ 59 h 96"/>
                <a:gd name="T10" fmla="*/ 38 w 97"/>
                <a:gd name="T11" fmla="*/ 66 h 96"/>
                <a:gd name="T12" fmla="*/ 48 w 97"/>
                <a:gd name="T13" fmla="*/ 70 h 96"/>
                <a:gd name="T14" fmla="*/ 59 w 97"/>
                <a:gd name="T15" fmla="*/ 66 h 96"/>
                <a:gd name="T16" fmla="*/ 67 w 97"/>
                <a:gd name="T17" fmla="*/ 59 h 96"/>
                <a:gd name="T18" fmla="*/ 69 w 97"/>
                <a:gd name="T19" fmla="*/ 48 h 96"/>
                <a:gd name="T20" fmla="*/ 67 w 97"/>
                <a:gd name="T21" fmla="*/ 37 h 96"/>
                <a:gd name="T22" fmla="*/ 59 w 97"/>
                <a:gd name="T23" fmla="*/ 30 h 96"/>
                <a:gd name="T24" fmla="*/ 48 w 97"/>
                <a:gd name="T25" fmla="*/ 27 h 96"/>
                <a:gd name="T26" fmla="*/ 48 w 97"/>
                <a:gd name="T27" fmla="*/ 0 h 96"/>
                <a:gd name="T28" fmla="*/ 64 w 97"/>
                <a:gd name="T29" fmla="*/ 2 h 96"/>
                <a:gd name="T30" fmla="*/ 78 w 97"/>
                <a:gd name="T31" fmla="*/ 9 h 96"/>
                <a:gd name="T32" fmla="*/ 87 w 97"/>
                <a:gd name="T33" fmla="*/ 20 h 96"/>
                <a:gd name="T34" fmla="*/ 95 w 97"/>
                <a:gd name="T35" fmla="*/ 34 h 96"/>
                <a:gd name="T36" fmla="*/ 97 w 97"/>
                <a:gd name="T37" fmla="*/ 48 h 96"/>
                <a:gd name="T38" fmla="*/ 95 w 97"/>
                <a:gd name="T39" fmla="*/ 64 h 96"/>
                <a:gd name="T40" fmla="*/ 87 w 97"/>
                <a:gd name="T41" fmla="*/ 77 h 96"/>
                <a:gd name="T42" fmla="*/ 78 w 97"/>
                <a:gd name="T43" fmla="*/ 88 h 96"/>
                <a:gd name="T44" fmla="*/ 64 w 97"/>
                <a:gd name="T45" fmla="*/ 94 h 96"/>
                <a:gd name="T46" fmla="*/ 48 w 97"/>
                <a:gd name="T47" fmla="*/ 96 h 96"/>
                <a:gd name="T48" fmla="*/ 33 w 97"/>
                <a:gd name="T49" fmla="*/ 94 h 96"/>
                <a:gd name="T50" fmla="*/ 19 w 97"/>
                <a:gd name="T51" fmla="*/ 88 h 96"/>
                <a:gd name="T52" fmla="*/ 10 w 97"/>
                <a:gd name="T53" fmla="*/ 77 h 96"/>
                <a:gd name="T54" fmla="*/ 2 w 97"/>
                <a:gd name="T55" fmla="*/ 64 h 96"/>
                <a:gd name="T56" fmla="*/ 0 w 97"/>
                <a:gd name="T57" fmla="*/ 48 h 96"/>
                <a:gd name="T58" fmla="*/ 2 w 97"/>
                <a:gd name="T59" fmla="*/ 34 h 96"/>
                <a:gd name="T60" fmla="*/ 10 w 97"/>
                <a:gd name="T61" fmla="*/ 20 h 96"/>
                <a:gd name="T62" fmla="*/ 19 w 97"/>
                <a:gd name="T63" fmla="*/ 9 h 96"/>
                <a:gd name="T64" fmla="*/ 33 w 97"/>
                <a:gd name="T65" fmla="*/ 2 h 96"/>
                <a:gd name="T66" fmla="*/ 48 w 97"/>
                <a:gd name="T6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 h="96">
                  <a:moveTo>
                    <a:pt x="48" y="27"/>
                  </a:moveTo>
                  <a:lnTo>
                    <a:pt x="38" y="30"/>
                  </a:lnTo>
                  <a:lnTo>
                    <a:pt x="30" y="37"/>
                  </a:lnTo>
                  <a:lnTo>
                    <a:pt x="27" y="48"/>
                  </a:lnTo>
                  <a:lnTo>
                    <a:pt x="30" y="59"/>
                  </a:lnTo>
                  <a:lnTo>
                    <a:pt x="38" y="66"/>
                  </a:lnTo>
                  <a:lnTo>
                    <a:pt x="48" y="70"/>
                  </a:lnTo>
                  <a:lnTo>
                    <a:pt x="59" y="66"/>
                  </a:lnTo>
                  <a:lnTo>
                    <a:pt x="67" y="59"/>
                  </a:lnTo>
                  <a:lnTo>
                    <a:pt x="69" y="48"/>
                  </a:lnTo>
                  <a:lnTo>
                    <a:pt x="67" y="37"/>
                  </a:lnTo>
                  <a:lnTo>
                    <a:pt x="59" y="30"/>
                  </a:lnTo>
                  <a:lnTo>
                    <a:pt x="48" y="27"/>
                  </a:lnTo>
                  <a:close/>
                  <a:moveTo>
                    <a:pt x="48" y="0"/>
                  </a:moveTo>
                  <a:lnTo>
                    <a:pt x="64" y="2"/>
                  </a:lnTo>
                  <a:lnTo>
                    <a:pt x="78" y="9"/>
                  </a:lnTo>
                  <a:lnTo>
                    <a:pt x="87" y="20"/>
                  </a:lnTo>
                  <a:lnTo>
                    <a:pt x="95" y="34"/>
                  </a:lnTo>
                  <a:lnTo>
                    <a:pt x="97" y="48"/>
                  </a:lnTo>
                  <a:lnTo>
                    <a:pt x="95" y="64"/>
                  </a:lnTo>
                  <a:lnTo>
                    <a:pt x="87" y="77"/>
                  </a:lnTo>
                  <a:lnTo>
                    <a:pt x="78" y="88"/>
                  </a:lnTo>
                  <a:lnTo>
                    <a:pt x="64" y="94"/>
                  </a:lnTo>
                  <a:lnTo>
                    <a:pt x="48" y="96"/>
                  </a:lnTo>
                  <a:lnTo>
                    <a:pt x="33" y="94"/>
                  </a:lnTo>
                  <a:lnTo>
                    <a:pt x="19" y="88"/>
                  </a:lnTo>
                  <a:lnTo>
                    <a:pt x="10" y="77"/>
                  </a:lnTo>
                  <a:lnTo>
                    <a:pt x="2" y="64"/>
                  </a:lnTo>
                  <a:lnTo>
                    <a:pt x="0" y="48"/>
                  </a:lnTo>
                  <a:lnTo>
                    <a:pt x="2" y="34"/>
                  </a:lnTo>
                  <a:lnTo>
                    <a:pt x="10" y="20"/>
                  </a:lnTo>
                  <a:lnTo>
                    <a:pt x="19" y="9"/>
                  </a:lnTo>
                  <a:lnTo>
                    <a:pt x="33" y="2"/>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82" name="Freeform 67"/>
            <p:cNvSpPr>
              <a:spLocks noEditPoints="1"/>
            </p:cNvSpPr>
            <p:nvPr/>
          </p:nvSpPr>
          <p:spPr bwMode="auto">
            <a:xfrm>
              <a:off x="5295024" y="5868877"/>
              <a:ext cx="316586" cy="316586"/>
            </a:xfrm>
            <a:custGeom>
              <a:avLst/>
              <a:gdLst>
                <a:gd name="T0" fmla="*/ 28 w 1392"/>
                <a:gd name="T1" fmla="*/ 28 h 1393"/>
                <a:gd name="T2" fmla="*/ 28 w 1392"/>
                <a:gd name="T3" fmla="*/ 1365 h 1393"/>
                <a:gd name="T4" fmla="*/ 1364 w 1392"/>
                <a:gd name="T5" fmla="*/ 1365 h 1393"/>
                <a:gd name="T6" fmla="*/ 1364 w 1392"/>
                <a:gd name="T7" fmla="*/ 28 h 1393"/>
                <a:gd name="T8" fmla="*/ 28 w 1392"/>
                <a:gd name="T9" fmla="*/ 28 h 1393"/>
                <a:gd name="T10" fmla="*/ 13 w 1392"/>
                <a:gd name="T11" fmla="*/ 0 h 1393"/>
                <a:gd name="T12" fmla="*/ 1379 w 1392"/>
                <a:gd name="T13" fmla="*/ 0 h 1393"/>
                <a:gd name="T14" fmla="*/ 1383 w 1392"/>
                <a:gd name="T15" fmla="*/ 1 h 1393"/>
                <a:gd name="T16" fmla="*/ 1386 w 1392"/>
                <a:gd name="T17" fmla="*/ 2 h 1393"/>
                <a:gd name="T18" fmla="*/ 1390 w 1392"/>
                <a:gd name="T19" fmla="*/ 6 h 1393"/>
                <a:gd name="T20" fmla="*/ 1391 w 1392"/>
                <a:gd name="T21" fmla="*/ 10 h 1393"/>
                <a:gd name="T22" fmla="*/ 1392 w 1392"/>
                <a:gd name="T23" fmla="*/ 13 h 1393"/>
                <a:gd name="T24" fmla="*/ 1392 w 1392"/>
                <a:gd name="T25" fmla="*/ 1379 h 1393"/>
                <a:gd name="T26" fmla="*/ 1391 w 1392"/>
                <a:gd name="T27" fmla="*/ 1383 h 1393"/>
                <a:gd name="T28" fmla="*/ 1390 w 1392"/>
                <a:gd name="T29" fmla="*/ 1386 h 1393"/>
                <a:gd name="T30" fmla="*/ 1386 w 1392"/>
                <a:gd name="T31" fmla="*/ 1390 h 1393"/>
                <a:gd name="T32" fmla="*/ 1383 w 1392"/>
                <a:gd name="T33" fmla="*/ 1391 h 1393"/>
                <a:gd name="T34" fmla="*/ 1379 w 1392"/>
                <a:gd name="T35" fmla="*/ 1393 h 1393"/>
                <a:gd name="T36" fmla="*/ 13 w 1392"/>
                <a:gd name="T37" fmla="*/ 1393 h 1393"/>
                <a:gd name="T38" fmla="*/ 9 w 1392"/>
                <a:gd name="T39" fmla="*/ 1391 h 1393"/>
                <a:gd name="T40" fmla="*/ 6 w 1392"/>
                <a:gd name="T41" fmla="*/ 1390 h 1393"/>
                <a:gd name="T42" fmla="*/ 2 w 1392"/>
                <a:gd name="T43" fmla="*/ 1386 h 1393"/>
                <a:gd name="T44" fmla="*/ 1 w 1392"/>
                <a:gd name="T45" fmla="*/ 1383 h 1393"/>
                <a:gd name="T46" fmla="*/ 0 w 1392"/>
                <a:gd name="T47" fmla="*/ 1379 h 1393"/>
                <a:gd name="T48" fmla="*/ 0 w 1392"/>
                <a:gd name="T49" fmla="*/ 13 h 1393"/>
                <a:gd name="T50" fmla="*/ 1 w 1392"/>
                <a:gd name="T51" fmla="*/ 10 h 1393"/>
                <a:gd name="T52" fmla="*/ 2 w 1392"/>
                <a:gd name="T53" fmla="*/ 6 h 1393"/>
                <a:gd name="T54" fmla="*/ 6 w 1392"/>
                <a:gd name="T55" fmla="*/ 2 h 1393"/>
                <a:gd name="T56" fmla="*/ 9 w 1392"/>
                <a:gd name="T57" fmla="*/ 1 h 1393"/>
                <a:gd name="T58" fmla="*/ 13 w 1392"/>
                <a:gd name="T59" fmla="*/ 0 h 1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92" h="1393">
                  <a:moveTo>
                    <a:pt x="28" y="28"/>
                  </a:moveTo>
                  <a:lnTo>
                    <a:pt x="28" y="1365"/>
                  </a:lnTo>
                  <a:lnTo>
                    <a:pt x="1364" y="1365"/>
                  </a:lnTo>
                  <a:lnTo>
                    <a:pt x="1364" y="28"/>
                  </a:lnTo>
                  <a:lnTo>
                    <a:pt x="28" y="28"/>
                  </a:lnTo>
                  <a:close/>
                  <a:moveTo>
                    <a:pt x="13" y="0"/>
                  </a:moveTo>
                  <a:lnTo>
                    <a:pt x="1379" y="0"/>
                  </a:lnTo>
                  <a:lnTo>
                    <a:pt x="1383" y="1"/>
                  </a:lnTo>
                  <a:lnTo>
                    <a:pt x="1386" y="2"/>
                  </a:lnTo>
                  <a:lnTo>
                    <a:pt x="1390" y="6"/>
                  </a:lnTo>
                  <a:lnTo>
                    <a:pt x="1391" y="10"/>
                  </a:lnTo>
                  <a:lnTo>
                    <a:pt x="1392" y="13"/>
                  </a:lnTo>
                  <a:lnTo>
                    <a:pt x="1392" y="1379"/>
                  </a:lnTo>
                  <a:lnTo>
                    <a:pt x="1391" y="1383"/>
                  </a:lnTo>
                  <a:lnTo>
                    <a:pt x="1390" y="1386"/>
                  </a:lnTo>
                  <a:lnTo>
                    <a:pt x="1386" y="1390"/>
                  </a:lnTo>
                  <a:lnTo>
                    <a:pt x="1383" y="1391"/>
                  </a:lnTo>
                  <a:lnTo>
                    <a:pt x="1379" y="1393"/>
                  </a:lnTo>
                  <a:lnTo>
                    <a:pt x="13" y="1393"/>
                  </a:lnTo>
                  <a:lnTo>
                    <a:pt x="9" y="1391"/>
                  </a:lnTo>
                  <a:lnTo>
                    <a:pt x="6" y="1390"/>
                  </a:lnTo>
                  <a:lnTo>
                    <a:pt x="2" y="1386"/>
                  </a:lnTo>
                  <a:lnTo>
                    <a:pt x="1" y="1383"/>
                  </a:lnTo>
                  <a:lnTo>
                    <a:pt x="0" y="1379"/>
                  </a:lnTo>
                  <a:lnTo>
                    <a:pt x="0" y="13"/>
                  </a:lnTo>
                  <a:lnTo>
                    <a:pt x="1" y="10"/>
                  </a:lnTo>
                  <a:lnTo>
                    <a:pt x="2" y="6"/>
                  </a:lnTo>
                  <a:lnTo>
                    <a:pt x="6" y="2"/>
                  </a:lnTo>
                  <a:lnTo>
                    <a:pt x="9" y="1"/>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83" name="Rectangle 68"/>
            <p:cNvSpPr>
              <a:spLocks noChangeArrowheads="1"/>
            </p:cNvSpPr>
            <p:nvPr/>
          </p:nvSpPr>
          <p:spPr bwMode="auto">
            <a:xfrm>
              <a:off x="5354156" y="5850227"/>
              <a:ext cx="21834" cy="2183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86" name="Rectangle 69"/>
            <p:cNvSpPr>
              <a:spLocks noChangeArrowheads="1"/>
            </p:cNvSpPr>
            <p:nvPr/>
          </p:nvSpPr>
          <p:spPr bwMode="auto">
            <a:xfrm>
              <a:off x="5398733" y="5850227"/>
              <a:ext cx="21379" cy="2183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87" name="Rectangle 70"/>
            <p:cNvSpPr>
              <a:spLocks noChangeArrowheads="1"/>
            </p:cNvSpPr>
            <p:nvPr/>
          </p:nvSpPr>
          <p:spPr bwMode="auto">
            <a:xfrm>
              <a:off x="5442400" y="5850227"/>
              <a:ext cx="21834" cy="2183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88" name="Rectangle 71"/>
            <p:cNvSpPr>
              <a:spLocks noChangeArrowheads="1"/>
            </p:cNvSpPr>
            <p:nvPr/>
          </p:nvSpPr>
          <p:spPr bwMode="auto">
            <a:xfrm>
              <a:off x="5486522" y="5850227"/>
              <a:ext cx="21834" cy="2183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89" name="Rectangle 72"/>
            <p:cNvSpPr>
              <a:spLocks noChangeArrowheads="1"/>
            </p:cNvSpPr>
            <p:nvPr/>
          </p:nvSpPr>
          <p:spPr bwMode="auto">
            <a:xfrm>
              <a:off x="5530644" y="5850227"/>
              <a:ext cx="21379" cy="2183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92" name="Rectangle 73"/>
            <p:cNvSpPr>
              <a:spLocks noChangeArrowheads="1"/>
            </p:cNvSpPr>
            <p:nvPr/>
          </p:nvSpPr>
          <p:spPr bwMode="auto">
            <a:xfrm>
              <a:off x="5354156" y="6182733"/>
              <a:ext cx="21834" cy="2137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95" name="Rectangle 74"/>
            <p:cNvSpPr>
              <a:spLocks noChangeArrowheads="1"/>
            </p:cNvSpPr>
            <p:nvPr/>
          </p:nvSpPr>
          <p:spPr bwMode="auto">
            <a:xfrm>
              <a:off x="5398733" y="6182733"/>
              <a:ext cx="21379" cy="2137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98" name="Rectangle 75"/>
            <p:cNvSpPr>
              <a:spLocks noChangeArrowheads="1"/>
            </p:cNvSpPr>
            <p:nvPr/>
          </p:nvSpPr>
          <p:spPr bwMode="auto">
            <a:xfrm>
              <a:off x="5442400" y="6182733"/>
              <a:ext cx="21834" cy="2137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01" name="Rectangle 76"/>
            <p:cNvSpPr>
              <a:spLocks noChangeArrowheads="1"/>
            </p:cNvSpPr>
            <p:nvPr/>
          </p:nvSpPr>
          <p:spPr bwMode="auto">
            <a:xfrm>
              <a:off x="5486522" y="6182733"/>
              <a:ext cx="21834" cy="2137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04" name="Rectangle 77"/>
            <p:cNvSpPr>
              <a:spLocks noChangeArrowheads="1"/>
            </p:cNvSpPr>
            <p:nvPr/>
          </p:nvSpPr>
          <p:spPr bwMode="auto">
            <a:xfrm>
              <a:off x="5530644" y="6182733"/>
              <a:ext cx="21379" cy="2137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07" name="Rectangle 78"/>
            <p:cNvSpPr>
              <a:spLocks noChangeArrowheads="1"/>
            </p:cNvSpPr>
            <p:nvPr/>
          </p:nvSpPr>
          <p:spPr bwMode="auto">
            <a:xfrm>
              <a:off x="5276375" y="5928464"/>
              <a:ext cx="21834" cy="2183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10" name="Rectangle 79"/>
            <p:cNvSpPr>
              <a:spLocks noChangeArrowheads="1"/>
            </p:cNvSpPr>
            <p:nvPr/>
          </p:nvSpPr>
          <p:spPr bwMode="auto">
            <a:xfrm>
              <a:off x="5276375" y="5972586"/>
              <a:ext cx="21834" cy="2183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13" name="Rectangle 80"/>
            <p:cNvSpPr>
              <a:spLocks noChangeArrowheads="1"/>
            </p:cNvSpPr>
            <p:nvPr/>
          </p:nvSpPr>
          <p:spPr bwMode="auto">
            <a:xfrm>
              <a:off x="5276375" y="6016708"/>
              <a:ext cx="21834" cy="2183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14" name="Rectangle 81"/>
            <p:cNvSpPr>
              <a:spLocks noChangeArrowheads="1"/>
            </p:cNvSpPr>
            <p:nvPr/>
          </p:nvSpPr>
          <p:spPr bwMode="auto">
            <a:xfrm>
              <a:off x="5276375" y="6060375"/>
              <a:ext cx="21834" cy="2228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15" name="Rectangle 82"/>
            <p:cNvSpPr>
              <a:spLocks noChangeArrowheads="1"/>
            </p:cNvSpPr>
            <p:nvPr/>
          </p:nvSpPr>
          <p:spPr bwMode="auto">
            <a:xfrm>
              <a:off x="5276375" y="6104497"/>
              <a:ext cx="21834" cy="2183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16" name="Rectangle 83"/>
            <p:cNvSpPr>
              <a:spLocks noChangeArrowheads="1"/>
            </p:cNvSpPr>
            <p:nvPr/>
          </p:nvSpPr>
          <p:spPr bwMode="auto">
            <a:xfrm>
              <a:off x="5608426" y="5928464"/>
              <a:ext cx="21834" cy="2183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17" name="Rectangle 84"/>
            <p:cNvSpPr>
              <a:spLocks noChangeArrowheads="1"/>
            </p:cNvSpPr>
            <p:nvPr/>
          </p:nvSpPr>
          <p:spPr bwMode="auto">
            <a:xfrm>
              <a:off x="5608426" y="5972586"/>
              <a:ext cx="21834" cy="2183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18" name="Rectangle 85"/>
            <p:cNvSpPr>
              <a:spLocks noChangeArrowheads="1"/>
            </p:cNvSpPr>
            <p:nvPr/>
          </p:nvSpPr>
          <p:spPr bwMode="auto">
            <a:xfrm>
              <a:off x="5608426" y="6016708"/>
              <a:ext cx="21834" cy="2183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19" name="Rectangle 86"/>
            <p:cNvSpPr>
              <a:spLocks noChangeArrowheads="1"/>
            </p:cNvSpPr>
            <p:nvPr/>
          </p:nvSpPr>
          <p:spPr bwMode="auto">
            <a:xfrm>
              <a:off x="5608426" y="6060375"/>
              <a:ext cx="21834" cy="2228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20" name="Rectangle 87"/>
            <p:cNvSpPr>
              <a:spLocks noChangeArrowheads="1"/>
            </p:cNvSpPr>
            <p:nvPr/>
          </p:nvSpPr>
          <p:spPr bwMode="auto">
            <a:xfrm>
              <a:off x="5608426" y="6104497"/>
              <a:ext cx="21834" cy="2183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21" name="Freeform 88"/>
            <p:cNvSpPr>
              <a:spLocks noEditPoints="1"/>
            </p:cNvSpPr>
            <p:nvPr/>
          </p:nvSpPr>
          <p:spPr bwMode="auto">
            <a:xfrm>
              <a:off x="5351427" y="5847498"/>
              <a:ext cx="27747" cy="27292"/>
            </a:xfrm>
            <a:custGeom>
              <a:avLst/>
              <a:gdLst>
                <a:gd name="T0" fmla="*/ 25 w 121"/>
                <a:gd name="T1" fmla="*/ 24 h 121"/>
                <a:gd name="T2" fmla="*/ 25 w 121"/>
                <a:gd name="T3" fmla="*/ 95 h 121"/>
                <a:gd name="T4" fmla="*/ 96 w 121"/>
                <a:gd name="T5" fmla="*/ 95 h 121"/>
                <a:gd name="T6" fmla="*/ 96 w 121"/>
                <a:gd name="T7" fmla="*/ 24 h 121"/>
                <a:gd name="T8" fmla="*/ 25 w 121"/>
                <a:gd name="T9" fmla="*/ 24 h 121"/>
                <a:gd name="T10" fmla="*/ 12 w 121"/>
                <a:gd name="T11" fmla="*/ 0 h 121"/>
                <a:gd name="T12" fmla="*/ 109 w 121"/>
                <a:gd name="T13" fmla="*/ 0 h 121"/>
                <a:gd name="T14" fmla="*/ 113 w 121"/>
                <a:gd name="T15" fmla="*/ 0 h 121"/>
                <a:gd name="T16" fmla="*/ 116 w 121"/>
                <a:gd name="T17" fmla="*/ 2 h 121"/>
                <a:gd name="T18" fmla="*/ 119 w 121"/>
                <a:gd name="T19" fmla="*/ 4 h 121"/>
                <a:gd name="T20" fmla="*/ 121 w 121"/>
                <a:gd name="T21" fmla="*/ 8 h 121"/>
                <a:gd name="T22" fmla="*/ 121 w 121"/>
                <a:gd name="T23" fmla="*/ 12 h 121"/>
                <a:gd name="T24" fmla="*/ 121 w 121"/>
                <a:gd name="T25" fmla="*/ 107 h 121"/>
                <a:gd name="T26" fmla="*/ 121 w 121"/>
                <a:gd name="T27" fmla="*/ 112 h 121"/>
                <a:gd name="T28" fmla="*/ 119 w 121"/>
                <a:gd name="T29" fmla="*/ 115 h 121"/>
                <a:gd name="T30" fmla="*/ 116 w 121"/>
                <a:gd name="T31" fmla="*/ 118 h 121"/>
                <a:gd name="T32" fmla="*/ 113 w 121"/>
                <a:gd name="T33" fmla="*/ 119 h 121"/>
                <a:gd name="T34" fmla="*/ 109 w 121"/>
                <a:gd name="T35" fmla="*/ 121 h 121"/>
                <a:gd name="T36" fmla="*/ 12 w 121"/>
                <a:gd name="T37" fmla="*/ 121 h 121"/>
                <a:gd name="T38" fmla="*/ 8 w 121"/>
                <a:gd name="T39" fmla="*/ 119 h 121"/>
                <a:gd name="T40" fmla="*/ 5 w 121"/>
                <a:gd name="T41" fmla="*/ 118 h 121"/>
                <a:gd name="T42" fmla="*/ 2 w 121"/>
                <a:gd name="T43" fmla="*/ 115 h 121"/>
                <a:gd name="T44" fmla="*/ 1 w 121"/>
                <a:gd name="T45" fmla="*/ 112 h 121"/>
                <a:gd name="T46" fmla="*/ 0 w 121"/>
                <a:gd name="T47" fmla="*/ 107 h 121"/>
                <a:gd name="T48" fmla="*/ 0 w 121"/>
                <a:gd name="T49" fmla="*/ 12 h 121"/>
                <a:gd name="T50" fmla="*/ 1 w 121"/>
                <a:gd name="T51" fmla="*/ 8 h 121"/>
                <a:gd name="T52" fmla="*/ 2 w 121"/>
                <a:gd name="T53" fmla="*/ 4 h 121"/>
                <a:gd name="T54" fmla="*/ 5 w 121"/>
                <a:gd name="T55" fmla="*/ 2 h 121"/>
                <a:gd name="T56" fmla="*/ 8 w 121"/>
                <a:gd name="T57" fmla="*/ 0 h 121"/>
                <a:gd name="T58" fmla="*/ 12 w 121"/>
                <a:gd name="T5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1" h="121">
                  <a:moveTo>
                    <a:pt x="25" y="24"/>
                  </a:moveTo>
                  <a:lnTo>
                    <a:pt x="25" y="95"/>
                  </a:lnTo>
                  <a:lnTo>
                    <a:pt x="96" y="95"/>
                  </a:lnTo>
                  <a:lnTo>
                    <a:pt x="96" y="24"/>
                  </a:lnTo>
                  <a:lnTo>
                    <a:pt x="25" y="24"/>
                  </a:lnTo>
                  <a:close/>
                  <a:moveTo>
                    <a:pt x="12" y="0"/>
                  </a:moveTo>
                  <a:lnTo>
                    <a:pt x="109" y="0"/>
                  </a:lnTo>
                  <a:lnTo>
                    <a:pt x="113" y="0"/>
                  </a:lnTo>
                  <a:lnTo>
                    <a:pt x="116" y="2"/>
                  </a:lnTo>
                  <a:lnTo>
                    <a:pt x="119" y="4"/>
                  </a:lnTo>
                  <a:lnTo>
                    <a:pt x="121" y="8"/>
                  </a:lnTo>
                  <a:lnTo>
                    <a:pt x="121" y="12"/>
                  </a:lnTo>
                  <a:lnTo>
                    <a:pt x="121" y="107"/>
                  </a:lnTo>
                  <a:lnTo>
                    <a:pt x="121" y="112"/>
                  </a:lnTo>
                  <a:lnTo>
                    <a:pt x="119" y="115"/>
                  </a:lnTo>
                  <a:lnTo>
                    <a:pt x="116" y="118"/>
                  </a:lnTo>
                  <a:lnTo>
                    <a:pt x="113" y="119"/>
                  </a:lnTo>
                  <a:lnTo>
                    <a:pt x="109" y="121"/>
                  </a:lnTo>
                  <a:lnTo>
                    <a:pt x="12" y="121"/>
                  </a:lnTo>
                  <a:lnTo>
                    <a:pt x="8" y="119"/>
                  </a:lnTo>
                  <a:lnTo>
                    <a:pt x="5" y="118"/>
                  </a:lnTo>
                  <a:lnTo>
                    <a:pt x="2" y="115"/>
                  </a:lnTo>
                  <a:lnTo>
                    <a:pt x="1" y="112"/>
                  </a:lnTo>
                  <a:lnTo>
                    <a:pt x="0" y="107"/>
                  </a:lnTo>
                  <a:lnTo>
                    <a:pt x="0" y="12"/>
                  </a:lnTo>
                  <a:lnTo>
                    <a:pt x="1" y="8"/>
                  </a:lnTo>
                  <a:lnTo>
                    <a:pt x="2" y="4"/>
                  </a:lnTo>
                  <a:lnTo>
                    <a:pt x="5" y="2"/>
                  </a:lnTo>
                  <a:lnTo>
                    <a:pt x="8" y="0"/>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22" name="Freeform 89"/>
            <p:cNvSpPr>
              <a:spLocks noEditPoints="1"/>
            </p:cNvSpPr>
            <p:nvPr/>
          </p:nvSpPr>
          <p:spPr bwMode="auto">
            <a:xfrm>
              <a:off x="5395549" y="5847498"/>
              <a:ext cx="27292" cy="27292"/>
            </a:xfrm>
            <a:custGeom>
              <a:avLst/>
              <a:gdLst>
                <a:gd name="T0" fmla="*/ 25 w 121"/>
                <a:gd name="T1" fmla="*/ 24 h 121"/>
                <a:gd name="T2" fmla="*/ 25 w 121"/>
                <a:gd name="T3" fmla="*/ 95 h 121"/>
                <a:gd name="T4" fmla="*/ 95 w 121"/>
                <a:gd name="T5" fmla="*/ 95 h 121"/>
                <a:gd name="T6" fmla="*/ 95 w 121"/>
                <a:gd name="T7" fmla="*/ 24 h 121"/>
                <a:gd name="T8" fmla="*/ 25 w 121"/>
                <a:gd name="T9" fmla="*/ 24 h 121"/>
                <a:gd name="T10" fmla="*/ 13 w 121"/>
                <a:gd name="T11" fmla="*/ 0 h 121"/>
                <a:gd name="T12" fmla="*/ 109 w 121"/>
                <a:gd name="T13" fmla="*/ 0 h 121"/>
                <a:gd name="T14" fmla="*/ 112 w 121"/>
                <a:gd name="T15" fmla="*/ 0 h 121"/>
                <a:gd name="T16" fmla="*/ 116 w 121"/>
                <a:gd name="T17" fmla="*/ 2 h 121"/>
                <a:gd name="T18" fmla="*/ 118 w 121"/>
                <a:gd name="T19" fmla="*/ 4 h 121"/>
                <a:gd name="T20" fmla="*/ 121 w 121"/>
                <a:gd name="T21" fmla="*/ 8 h 121"/>
                <a:gd name="T22" fmla="*/ 121 w 121"/>
                <a:gd name="T23" fmla="*/ 12 h 121"/>
                <a:gd name="T24" fmla="*/ 121 w 121"/>
                <a:gd name="T25" fmla="*/ 107 h 121"/>
                <a:gd name="T26" fmla="*/ 121 w 121"/>
                <a:gd name="T27" fmla="*/ 112 h 121"/>
                <a:gd name="T28" fmla="*/ 118 w 121"/>
                <a:gd name="T29" fmla="*/ 115 h 121"/>
                <a:gd name="T30" fmla="*/ 116 w 121"/>
                <a:gd name="T31" fmla="*/ 118 h 121"/>
                <a:gd name="T32" fmla="*/ 112 w 121"/>
                <a:gd name="T33" fmla="*/ 119 h 121"/>
                <a:gd name="T34" fmla="*/ 109 w 121"/>
                <a:gd name="T35" fmla="*/ 121 h 121"/>
                <a:gd name="T36" fmla="*/ 13 w 121"/>
                <a:gd name="T37" fmla="*/ 121 h 121"/>
                <a:gd name="T38" fmla="*/ 8 w 121"/>
                <a:gd name="T39" fmla="*/ 119 h 121"/>
                <a:gd name="T40" fmla="*/ 5 w 121"/>
                <a:gd name="T41" fmla="*/ 118 h 121"/>
                <a:gd name="T42" fmla="*/ 2 w 121"/>
                <a:gd name="T43" fmla="*/ 115 h 121"/>
                <a:gd name="T44" fmla="*/ 1 w 121"/>
                <a:gd name="T45" fmla="*/ 112 h 121"/>
                <a:gd name="T46" fmla="*/ 0 w 121"/>
                <a:gd name="T47" fmla="*/ 107 h 121"/>
                <a:gd name="T48" fmla="*/ 0 w 121"/>
                <a:gd name="T49" fmla="*/ 12 h 121"/>
                <a:gd name="T50" fmla="*/ 1 w 121"/>
                <a:gd name="T51" fmla="*/ 8 h 121"/>
                <a:gd name="T52" fmla="*/ 2 w 121"/>
                <a:gd name="T53" fmla="*/ 4 h 121"/>
                <a:gd name="T54" fmla="*/ 5 w 121"/>
                <a:gd name="T55" fmla="*/ 2 h 121"/>
                <a:gd name="T56" fmla="*/ 8 w 121"/>
                <a:gd name="T57" fmla="*/ 0 h 121"/>
                <a:gd name="T58" fmla="*/ 13 w 121"/>
                <a:gd name="T5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1" h="121">
                  <a:moveTo>
                    <a:pt x="25" y="24"/>
                  </a:moveTo>
                  <a:lnTo>
                    <a:pt x="25" y="95"/>
                  </a:lnTo>
                  <a:lnTo>
                    <a:pt x="95" y="95"/>
                  </a:lnTo>
                  <a:lnTo>
                    <a:pt x="95" y="24"/>
                  </a:lnTo>
                  <a:lnTo>
                    <a:pt x="25" y="24"/>
                  </a:lnTo>
                  <a:close/>
                  <a:moveTo>
                    <a:pt x="13" y="0"/>
                  </a:moveTo>
                  <a:lnTo>
                    <a:pt x="109" y="0"/>
                  </a:lnTo>
                  <a:lnTo>
                    <a:pt x="112" y="0"/>
                  </a:lnTo>
                  <a:lnTo>
                    <a:pt x="116" y="2"/>
                  </a:lnTo>
                  <a:lnTo>
                    <a:pt x="118" y="4"/>
                  </a:lnTo>
                  <a:lnTo>
                    <a:pt x="121" y="8"/>
                  </a:lnTo>
                  <a:lnTo>
                    <a:pt x="121" y="12"/>
                  </a:lnTo>
                  <a:lnTo>
                    <a:pt x="121" y="107"/>
                  </a:lnTo>
                  <a:lnTo>
                    <a:pt x="121" y="112"/>
                  </a:lnTo>
                  <a:lnTo>
                    <a:pt x="118" y="115"/>
                  </a:lnTo>
                  <a:lnTo>
                    <a:pt x="116" y="118"/>
                  </a:lnTo>
                  <a:lnTo>
                    <a:pt x="112" y="119"/>
                  </a:lnTo>
                  <a:lnTo>
                    <a:pt x="109" y="121"/>
                  </a:lnTo>
                  <a:lnTo>
                    <a:pt x="13" y="121"/>
                  </a:lnTo>
                  <a:lnTo>
                    <a:pt x="8" y="119"/>
                  </a:lnTo>
                  <a:lnTo>
                    <a:pt x="5" y="118"/>
                  </a:lnTo>
                  <a:lnTo>
                    <a:pt x="2" y="115"/>
                  </a:lnTo>
                  <a:lnTo>
                    <a:pt x="1" y="112"/>
                  </a:lnTo>
                  <a:lnTo>
                    <a:pt x="0" y="107"/>
                  </a:lnTo>
                  <a:lnTo>
                    <a:pt x="0" y="12"/>
                  </a:lnTo>
                  <a:lnTo>
                    <a:pt x="1" y="8"/>
                  </a:lnTo>
                  <a:lnTo>
                    <a:pt x="2" y="4"/>
                  </a:lnTo>
                  <a:lnTo>
                    <a:pt x="5" y="2"/>
                  </a:lnTo>
                  <a:lnTo>
                    <a:pt x="8" y="0"/>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23" name="Freeform 90"/>
            <p:cNvSpPr>
              <a:spLocks noEditPoints="1"/>
            </p:cNvSpPr>
            <p:nvPr/>
          </p:nvSpPr>
          <p:spPr bwMode="auto">
            <a:xfrm>
              <a:off x="5439671" y="5847498"/>
              <a:ext cx="27292" cy="27292"/>
            </a:xfrm>
            <a:custGeom>
              <a:avLst/>
              <a:gdLst>
                <a:gd name="T0" fmla="*/ 26 w 122"/>
                <a:gd name="T1" fmla="*/ 24 h 121"/>
                <a:gd name="T2" fmla="*/ 26 w 122"/>
                <a:gd name="T3" fmla="*/ 95 h 121"/>
                <a:gd name="T4" fmla="*/ 96 w 122"/>
                <a:gd name="T5" fmla="*/ 95 h 121"/>
                <a:gd name="T6" fmla="*/ 96 w 122"/>
                <a:gd name="T7" fmla="*/ 24 h 121"/>
                <a:gd name="T8" fmla="*/ 26 w 122"/>
                <a:gd name="T9" fmla="*/ 24 h 121"/>
                <a:gd name="T10" fmla="*/ 14 w 122"/>
                <a:gd name="T11" fmla="*/ 0 h 121"/>
                <a:gd name="T12" fmla="*/ 109 w 122"/>
                <a:gd name="T13" fmla="*/ 0 h 121"/>
                <a:gd name="T14" fmla="*/ 113 w 122"/>
                <a:gd name="T15" fmla="*/ 0 h 121"/>
                <a:gd name="T16" fmla="*/ 117 w 122"/>
                <a:gd name="T17" fmla="*/ 2 h 121"/>
                <a:gd name="T18" fmla="*/ 119 w 122"/>
                <a:gd name="T19" fmla="*/ 4 h 121"/>
                <a:gd name="T20" fmla="*/ 122 w 122"/>
                <a:gd name="T21" fmla="*/ 8 h 121"/>
                <a:gd name="T22" fmla="*/ 122 w 122"/>
                <a:gd name="T23" fmla="*/ 12 h 121"/>
                <a:gd name="T24" fmla="*/ 122 w 122"/>
                <a:gd name="T25" fmla="*/ 107 h 121"/>
                <a:gd name="T26" fmla="*/ 122 w 122"/>
                <a:gd name="T27" fmla="*/ 112 h 121"/>
                <a:gd name="T28" fmla="*/ 119 w 122"/>
                <a:gd name="T29" fmla="*/ 115 h 121"/>
                <a:gd name="T30" fmla="*/ 117 w 122"/>
                <a:gd name="T31" fmla="*/ 118 h 121"/>
                <a:gd name="T32" fmla="*/ 113 w 122"/>
                <a:gd name="T33" fmla="*/ 119 h 121"/>
                <a:gd name="T34" fmla="*/ 109 w 122"/>
                <a:gd name="T35" fmla="*/ 121 h 121"/>
                <a:gd name="T36" fmla="*/ 14 w 122"/>
                <a:gd name="T37" fmla="*/ 121 h 121"/>
                <a:gd name="T38" fmla="*/ 9 w 122"/>
                <a:gd name="T39" fmla="*/ 119 h 121"/>
                <a:gd name="T40" fmla="*/ 5 w 122"/>
                <a:gd name="T41" fmla="*/ 118 h 121"/>
                <a:gd name="T42" fmla="*/ 3 w 122"/>
                <a:gd name="T43" fmla="*/ 115 h 121"/>
                <a:gd name="T44" fmla="*/ 2 w 122"/>
                <a:gd name="T45" fmla="*/ 112 h 121"/>
                <a:gd name="T46" fmla="*/ 0 w 122"/>
                <a:gd name="T47" fmla="*/ 107 h 121"/>
                <a:gd name="T48" fmla="*/ 0 w 122"/>
                <a:gd name="T49" fmla="*/ 12 h 121"/>
                <a:gd name="T50" fmla="*/ 2 w 122"/>
                <a:gd name="T51" fmla="*/ 8 h 121"/>
                <a:gd name="T52" fmla="*/ 3 w 122"/>
                <a:gd name="T53" fmla="*/ 4 h 121"/>
                <a:gd name="T54" fmla="*/ 5 w 122"/>
                <a:gd name="T55" fmla="*/ 2 h 121"/>
                <a:gd name="T56" fmla="*/ 9 w 122"/>
                <a:gd name="T57" fmla="*/ 0 h 121"/>
                <a:gd name="T58" fmla="*/ 14 w 122"/>
                <a:gd name="T5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2" h="121">
                  <a:moveTo>
                    <a:pt x="26" y="24"/>
                  </a:moveTo>
                  <a:lnTo>
                    <a:pt x="26" y="95"/>
                  </a:lnTo>
                  <a:lnTo>
                    <a:pt x="96" y="95"/>
                  </a:lnTo>
                  <a:lnTo>
                    <a:pt x="96" y="24"/>
                  </a:lnTo>
                  <a:lnTo>
                    <a:pt x="26" y="24"/>
                  </a:lnTo>
                  <a:close/>
                  <a:moveTo>
                    <a:pt x="14" y="0"/>
                  </a:moveTo>
                  <a:lnTo>
                    <a:pt x="109" y="0"/>
                  </a:lnTo>
                  <a:lnTo>
                    <a:pt x="113" y="0"/>
                  </a:lnTo>
                  <a:lnTo>
                    <a:pt x="117" y="2"/>
                  </a:lnTo>
                  <a:lnTo>
                    <a:pt x="119" y="4"/>
                  </a:lnTo>
                  <a:lnTo>
                    <a:pt x="122" y="8"/>
                  </a:lnTo>
                  <a:lnTo>
                    <a:pt x="122" y="12"/>
                  </a:lnTo>
                  <a:lnTo>
                    <a:pt x="122" y="107"/>
                  </a:lnTo>
                  <a:lnTo>
                    <a:pt x="122" y="112"/>
                  </a:lnTo>
                  <a:lnTo>
                    <a:pt x="119" y="115"/>
                  </a:lnTo>
                  <a:lnTo>
                    <a:pt x="117" y="118"/>
                  </a:lnTo>
                  <a:lnTo>
                    <a:pt x="113" y="119"/>
                  </a:lnTo>
                  <a:lnTo>
                    <a:pt x="109" y="121"/>
                  </a:lnTo>
                  <a:lnTo>
                    <a:pt x="14" y="121"/>
                  </a:lnTo>
                  <a:lnTo>
                    <a:pt x="9" y="119"/>
                  </a:lnTo>
                  <a:lnTo>
                    <a:pt x="5" y="118"/>
                  </a:lnTo>
                  <a:lnTo>
                    <a:pt x="3" y="115"/>
                  </a:lnTo>
                  <a:lnTo>
                    <a:pt x="2" y="112"/>
                  </a:lnTo>
                  <a:lnTo>
                    <a:pt x="0" y="107"/>
                  </a:lnTo>
                  <a:lnTo>
                    <a:pt x="0" y="12"/>
                  </a:lnTo>
                  <a:lnTo>
                    <a:pt x="2" y="8"/>
                  </a:lnTo>
                  <a:lnTo>
                    <a:pt x="3" y="4"/>
                  </a:lnTo>
                  <a:lnTo>
                    <a:pt x="5" y="2"/>
                  </a:lnTo>
                  <a:lnTo>
                    <a:pt x="9" y="0"/>
                  </a:lnTo>
                  <a:lnTo>
                    <a:pt x="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24" name="Freeform 91"/>
            <p:cNvSpPr>
              <a:spLocks noEditPoints="1"/>
            </p:cNvSpPr>
            <p:nvPr/>
          </p:nvSpPr>
          <p:spPr bwMode="auto">
            <a:xfrm>
              <a:off x="5483793" y="5847498"/>
              <a:ext cx="27292" cy="27292"/>
            </a:xfrm>
            <a:custGeom>
              <a:avLst/>
              <a:gdLst>
                <a:gd name="T0" fmla="*/ 26 w 121"/>
                <a:gd name="T1" fmla="*/ 24 h 121"/>
                <a:gd name="T2" fmla="*/ 26 w 121"/>
                <a:gd name="T3" fmla="*/ 95 h 121"/>
                <a:gd name="T4" fmla="*/ 96 w 121"/>
                <a:gd name="T5" fmla="*/ 95 h 121"/>
                <a:gd name="T6" fmla="*/ 96 w 121"/>
                <a:gd name="T7" fmla="*/ 24 h 121"/>
                <a:gd name="T8" fmla="*/ 26 w 121"/>
                <a:gd name="T9" fmla="*/ 24 h 121"/>
                <a:gd name="T10" fmla="*/ 14 w 121"/>
                <a:gd name="T11" fmla="*/ 0 h 121"/>
                <a:gd name="T12" fmla="*/ 109 w 121"/>
                <a:gd name="T13" fmla="*/ 0 h 121"/>
                <a:gd name="T14" fmla="*/ 113 w 121"/>
                <a:gd name="T15" fmla="*/ 0 h 121"/>
                <a:gd name="T16" fmla="*/ 116 w 121"/>
                <a:gd name="T17" fmla="*/ 2 h 121"/>
                <a:gd name="T18" fmla="*/ 119 w 121"/>
                <a:gd name="T19" fmla="*/ 4 h 121"/>
                <a:gd name="T20" fmla="*/ 121 w 121"/>
                <a:gd name="T21" fmla="*/ 8 h 121"/>
                <a:gd name="T22" fmla="*/ 121 w 121"/>
                <a:gd name="T23" fmla="*/ 12 h 121"/>
                <a:gd name="T24" fmla="*/ 121 w 121"/>
                <a:gd name="T25" fmla="*/ 107 h 121"/>
                <a:gd name="T26" fmla="*/ 121 w 121"/>
                <a:gd name="T27" fmla="*/ 112 h 121"/>
                <a:gd name="T28" fmla="*/ 119 w 121"/>
                <a:gd name="T29" fmla="*/ 115 h 121"/>
                <a:gd name="T30" fmla="*/ 116 w 121"/>
                <a:gd name="T31" fmla="*/ 118 h 121"/>
                <a:gd name="T32" fmla="*/ 113 w 121"/>
                <a:gd name="T33" fmla="*/ 119 h 121"/>
                <a:gd name="T34" fmla="*/ 109 w 121"/>
                <a:gd name="T35" fmla="*/ 121 h 121"/>
                <a:gd name="T36" fmla="*/ 14 w 121"/>
                <a:gd name="T37" fmla="*/ 121 h 121"/>
                <a:gd name="T38" fmla="*/ 9 w 121"/>
                <a:gd name="T39" fmla="*/ 119 h 121"/>
                <a:gd name="T40" fmla="*/ 5 w 121"/>
                <a:gd name="T41" fmla="*/ 118 h 121"/>
                <a:gd name="T42" fmla="*/ 3 w 121"/>
                <a:gd name="T43" fmla="*/ 115 h 121"/>
                <a:gd name="T44" fmla="*/ 1 w 121"/>
                <a:gd name="T45" fmla="*/ 112 h 121"/>
                <a:gd name="T46" fmla="*/ 0 w 121"/>
                <a:gd name="T47" fmla="*/ 107 h 121"/>
                <a:gd name="T48" fmla="*/ 0 w 121"/>
                <a:gd name="T49" fmla="*/ 12 h 121"/>
                <a:gd name="T50" fmla="*/ 1 w 121"/>
                <a:gd name="T51" fmla="*/ 8 h 121"/>
                <a:gd name="T52" fmla="*/ 3 w 121"/>
                <a:gd name="T53" fmla="*/ 4 h 121"/>
                <a:gd name="T54" fmla="*/ 5 w 121"/>
                <a:gd name="T55" fmla="*/ 2 h 121"/>
                <a:gd name="T56" fmla="*/ 9 w 121"/>
                <a:gd name="T57" fmla="*/ 0 h 121"/>
                <a:gd name="T58" fmla="*/ 14 w 121"/>
                <a:gd name="T5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1" h="121">
                  <a:moveTo>
                    <a:pt x="26" y="24"/>
                  </a:moveTo>
                  <a:lnTo>
                    <a:pt x="26" y="95"/>
                  </a:lnTo>
                  <a:lnTo>
                    <a:pt x="96" y="95"/>
                  </a:lnTo>
                  <a:lnTo>
                    <a:pt x="96" y="24"/>
                  </a:lnTo>
                  <a:lnTo>
                    <a:pt x="26" y="24"/>
                  </a:lnTo>
                  <a:close/>
                  <a:moveTo>
                    <a:pt x="14" y="0"/>
                  </a:moveTo>
                  <a:lnTo>
                    <a:pt x="109" y="0"/>
                  </a:lnTo>
                  <a:lnTo>
                    <a:pt x="113" y="0"/>
                  </a:lnTo>
                  <a:lnTo>
                    <a:pt x="116" y="2"/>
                  </a:lnTo>
                  <a:lnTo>
                    <a:pt x="119" y="4"/>
                  </a:lnTo>
                  <a:lnTo>
                    <a:pt x="121" y="8"/>
                  </a:lnTo>
                  <a:lnTo>
                    <a:pt x="121" y="12"/>
                  </a:lnTo>
                  <a:lnTo>
                    <a:pt x="121" y="107"/>
                  </a:lnTo>
                  <a:lnTo>
                    <a:pt x="121" y="112"/>
                  </a:lnTo>
                  <a:lnTo>
                    <a:pt x="119" y="115"/>
                  </a:lnTo>
                  <a:lnTo>
                    <a:pt x="116" y="118"/>
                  </a:lnTo>
                  <a:lnTo>
                    <a:pt x="113" y="119"/>
                  </a:lnTo>
                  <a:lnTo>
                    <a:pt x="109" y="121"/>
                  </a:lnTo>
                  <a:lnTo>
                    <a:pt x="14" y="121"/>
                  </a:lnTo>
                  <a:lnTo>
                    <a:pt x="9" y="119"/>
                  </a:lnTo>
                  <a:lnTo>
                    <a:pt x="5" y="118"/>
                  </a:lnTo>
                  <a:lnTo>
                    <a:pt x="3" y="115"/>
                  </a:lnTo>
                  <a:lnTo>
                    <a:pt x="1" y="112"/>
                  </a:lnTo>
                  <a:lnTo>
                    <a:pt x="0" y="107"/>
                  </a:lnTo>
                  <a:lnTo>
                    <a:pt x="0" y="12"/>
                  </a:lnTo>
                  <a:lnTo>
                    <a:pt x="1" y="8"/>
                  </a:lnTo>
                  <a:lnTo>
                    <a:pt x="3" y="4"/>
                  </a:lnTo>
                  <a:lnTo>
                    <a:pt x="5" y="2"/>
                  </a:lnTo>
                  <a:lnTo>
                    <a:pt x="9" y="0"/>
                  </a:lnTo>
                  <a:lnTo>
                    <a:pt x="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25" name="Freeform 92"/>
            <p:cNvSpPr>
              <a:spLocks noEditPoints="1"/>
            </p:cNvSpPr>
            <p:nvPr/>
          </p:nvSpPr>
          <p:spPr bwMode="auto">
            <a:xfrm>
              <a:off x="5527460" y="5847498"/>
              <a:ext cx="27747" cy="27292"/>
            </a:xfrm>
            <a:custGeom>
              <a:avLst/>
              <a:gdLst>
                <a:gd name="T0" fmla="*/ 25 w 121"/>
                <a:gd name="T1" fmla="*/ 24 h 121"/>
                <a:gd name="T2" fmla="*/ 25 w 121"/>
                <a:gd name="T3" fmla="*/ 95 h 121"/>
                <a:gd name="T4" fmla="*/ 96 w 121"/>
                <a:gd name="T5" fmla="*/ 95 h 121"/>
                <a:gd name="T6" fmla="*/ 96 w 121"/>
                <a:gd name="T7" fmla="*/ 24 h 121"/>
                <a:gd name="T8" fmla="*/ 25 w 121"/>
                <a:gd name="T9" fmla="*/ 24 h 121"/>
                <a:gd name="T10" fmla="*/ 12 w 121"/>
                <a:gd name="T11" fmla="*/ 0 h 121"/>
                <a:gd name="T12" fmla="*/ 108 w 121"/>
                <a:gd name="T13" fmla="*/ 0 h 121"/>
                <a:gd name="T14" fmla="*/ 113 w 121"/>
                <a:gd name="T15" fmla="*/ 0 h 121"/>
                <a:gd name="T16" fmla="*/ 116 w 121"/>
                <a:gd name="T17" fmla="*/ 2 h 121"/>
                <a:gd name="T18" fmla="*/ 119 w 121"/>
                <a:gd name="T19" fmla="*/ 4 h 121"/>
                <a:gd name="T20" fmla="*/ 120 w 121"/>
                <a:gd name="T21" fmla="*/ 8 h 121"/>
                <a:gd name="T22" fmla="*/ 121 w 121"/>
                <a:gd name="T23" fmla="*/ 12 h 121"/>
                <a:gd name="T24" fmla="*/ 121 w 121"/>
                <a:gd name="T25" fmla="*/ 107 h 121"/>
                <a:gd name="T26" fmla="*/ 120 w 121"/>
                <a:gd name="T27" fmla="*/ 112 h 121"/>
                <a:gd name="T28" fmla="*/ 119 w 121"/>
                <a:gd name="T29" fmla="*/ 115 h 121"/>
                <a:gd name="T30" fmla="*/ 116 w 121"/>
                <a:gd name="T31" fmla="*/ 118 h 121"/>
                <a:gd name="T32" fmla="*/ 113 w 121"/>
                <a:gd name="T33" fmla="*/ 119 h 121"/>
                <a:gd name="T34" fmla="*/ 108 w 121"/>
                <a:gd name="T35" fmla="*/ 121 h 121"/>
                <a:gd name="T36" fmla="*/ 12 w 121"/>
                <a:gd name="T37" fmla="*/ 121 h 121"/>
                <a:gd name="T38" fmla="*/ 8 w 121"/>
                <a:gd name="T39" fmla="*/ 119 h 121"/>
                <a:gd name="T40" fmla="*/ 5 w 121"/>
                <a:gd name="T41" fmla="*/ 118 h 121"/>
                <a:gd name="T42" fmla="*/ 2 w 121"/>
                <a:gd name="T43" fmla="*/ 115 h 121"/>
                <a:gd name="T44" fmla="*/ 0 w 121"/>
                <a:gd name="T45" fmla="*/ 112 h 121"/>
                <a:gd name="T46" fmla="*/ 0 w 121"/>
                <a:gd name="T47" fmla="*/ 107 h 121"/>
                <a:gd name="T48" fmla="*/ 0 w 121"/>
                <a:gd name="T49" fmla="*/ 12 h 121"/>
                <a:gd name="T50" fmla="*/ 0 w 121"/>
                <a:gd name="T51" fmla="*/ 8 h 121"/>
                <a:gd name="T52" fmla="*/ 2 w 121"/>
                <a:gd name="T53" fmla="*/ 4 h 121"/>
                <a:gd name="T54" fmla="*/ 5 w 121"/>
                <a:gd name="T55" fmla="*/ 2 h 121"/>
                <a:gd name="T56" fmla="*/ 8 w 121"/>
                <a:gd name="T57" fmla="*/ 0 h 121"/>
                <a:gd name="T58" fmla="*/ 12 w 121"/>
                <a:gd name="T5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1" h="121">
                  <a:moveTo>
                    <a:pt x="25" y="24"/>
                  </a:moveTo>
                  <a:lnTo>
                    <a:pt x="25" y="95"/>
                  </a:lnTo>
                  <a:lnTo>
                    <a:pt x="96" y="95"/>
                  </a:lnTo>
                  <a:lnTo>
                    <a:pt x="96" y="24"/>
                  </a:lnTo>
                  <a:lnTo>
                    <a:pt x="25" y="24"/>
                  </a:lnTo>
                  <a:close/>
                  <a:moveTo>
                    <a:pt x="12" y="0"/>
                  </a:moveTo>
                  <a:lnTo>
                    <a:pt x="108" y="0"/>
                  </a:lnTo>
                  <a:lnTo>
                    <a:pt x="113" y="0"/>
                  </a:lnTo>
                  <a:lnTo>
                    <a:pt x="116" y="2"/>
                  </a:lnTo>
                  <a:lnTo>
                    <a:pt x="119" y="4"/>
                  </a:lnTo>
                  <a:lnTo>
                    <a:pt x="120" y="8"/>
                  </a:lnTo>
                  <a:lnTo>
                    <a:pt x="121" y="12"/>
                  </a:lnTo>
                  <a:lnTo>
                    <a:pt x="121" y="107"/>
                  </a:lnTo>
                  <a:lnTo>
                    <a:pt x="120" y="112"/>
                  </a:lnTo>
                  <a:lnTo>
                    <a:pt x="119" y="115"/>
                  </a:lnTo>
                  <a:lnTo>
                    <a:pt x="116" y="118"/>
                  </a:lnTo>
                  <a:lnTo>
                    <a:pt x="113" y="119"/>
                  </a:lnTo>
                  <a:lnTo>
                    <a:pt x="108" y="121"/>
                  </a:lnTo>
                  <a:lnTo>
                    <a:pt x="12" y="121"/>
                  </a:lnTo>
                  <a:lnTo>
                    <a:pt x="8" y="119"/>
                  </a:lnTo>
                  <a:lnTo>
                    <a:pt x="5" y="118"/>
                  </a:lnTo>
                  <a:lnTo>
                    <a:pt x="2" y="115"/>
                  </a:lnTo>
                  <a:lnTo>
                    <a:pt x="0" y="112"/>
                  </a:lnTo>
                  <a:lnTo>
                    <a:pt x="0" y="107"/>
                  </a:lnTo>
                  <a:lnTo>
                    <a:pt x="0" y="12"/>
                  </a:lnTo>
                  <a:lnTo>
                    <a:pt x="0" y="8"/>
                  </a:lnTo>
                  <a:lnTo>
                    <a:pt x="2" y="4"/>
                  </a:lnTo>
                  <a:lnTo>
                    <a:pt x="5" y="2"/>
                  </a:lnTo>
                  <a:lnTo>
                    <a:pt x="8" y="0"/>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26" name="Freeform 93"/>
            <p:cNvSpPr>
              <a:spLocks noEditPoints="1"/>
            </p:cNvSpPr>
            <p:nvPr/>
          </p:nvSpPr>
          <p:spPr bwMode="auto">
            <a:xfrm>
              <a:off x="5351427" y="6179549"/>
              <a:ext cx="27747" cy="27747"/>
            </a:xfrm>
            <a:custGeom>
              <a:avLst/>
              <a:gdLst>
                <a:gd name="T0" fmla="*/ 25 w 121"/>
                <a:gd name="T1" fmla="*/ 25 h 121"/>
                <a:gd name="T2" fmla="*/ 25 w 121"/>
                <a:gd name="T3" fmla="*/ 97 h 121"/>
                <a:gd name="T4" fmla="*/ 96 w 121"/>
                <a:gd name="T5" fmla="*/ 97 h 121"/>
                <a:gd name="T6" fmla="*/ 96 w 121"/>
                <a:gd name="T7" fmla="*/ 25 h 121"/>
                <a:gd name="T8" fmla="*/ 25 w 121"/>
                <a:gd name="T9" fmla="*/ 25 h 121"/>
                <a:gd name="T10" fmla="*/ 12 w 121"/>
                <a:gd name="T11" fmla="*/ 0 h 121"/>
                <a:gd name="T12" fmla="*/ 109 w 121"/>
                <a:gd name="T13" fmla="*/ 0 h 121"/>
                <a:gd name="T14" fmla="*/ 113 w 121"/>
                <a:gd name="T15" fmla="*/ 1 h 121"/>
                <a:gd name="T16" fmla="*/ 116 w 121"/>
                <a:gd name="T17" fmla="*/ 2 h 121"/>
                <a:gd name="T18" fmla="*/ 119 w 121"/>
                <a:gd name="T19" fmla="*/ 6 h 121"/>
                <a:gd name="T20" fmla="*/ 121 w 121"/>
                <a:gd name="T21" fmla="*/ 8 h 121"/>
                <a:gd name="T22" fmla="*/ 121 w 121"/>
                <a:gd name="T23" fmla="*/ 13 h 121"/>
                <a:gd name="T24" fmla="*/ 121 w 121"/>
                <a:gd name="T25" fmla="*/ 109 h 121"/>
                <a:gd name="T26" fmla="*/ 121 w 121"/>
                <a:gd name="T27" fmla="*/ 113 h 121"/>
                <a:gd name="T28" fmla="*/ 119 w 121"/>
                <a:gd name="T29" fmla="*/ 116 h 121"/>
                <a:gd name="T30" fmla="*/ 116 w 121"/>
                <a:gd name="T31" fmla="*/ 119 h 121"/>
                <a:gd name="T32" fmla="*/ 113 w 121"/>
                <a:gd name="T33" fmla="*/ 121 h 121"/>
                <a:gd name="T34" fmla="*/ 109 w 121"/>
                <a:gd name="T35" fmla="*/ 121 h 121"/>
                <a:gd name="T36" fmla="*/ 12 w 121"/>
                <a:gd name="T37" fmla="*/ 121 h 121"/>
                <a:gd name="T38" fmla="*/ 8 w 121"/>
                <a:gd name="T39" fmla="*/ 121 h 121"/>
                <a:gd name="T40" fmla="*/ 5 w 121"/>
                <a:gd name="T41" fmla="*/ 119 h 121"/>
                <a:gd name="T42" fmla="*/ 2 w 121"/>
                <a:gd name="T43" fmla="*/ 116 h 121"/>
                <a:gd name="T44" fmla="*/ 1 w 121"/>
                <a:gd name="T45" fmla="*/ 113 h 121"/>
                <a:gd name="T46" fmla="*/ 0 w 121"/>
                <a:gd name="T47" fmla="*/ 109 h 121"/>
                <a:gd name="T48" fmla="*/ 0 w 121"/>
                <a:gd name="T49" fmla="*/ 13 h 121"/>
                <a:gd name="T50" fmla="*/ 1 w 121"/>
                <a:gd name="T51" fmla="*/ 8 h 121"/>
                <a:gd name="T52" fmla="*/ 2 w 121"/>
                <a:gd name="T53" fmla="*/ 6 h 121"/>
                <a:gd name="T54" fmla="*/ 5 w 121"/>
                <a:gd name="T55" fmla="*/ 2 h 121"/>
                <a:gd name="T56" fmla="*/ 8 w 121"/>
                <a:gd name="T57" fmla="*/ 1 h 121"/>
                <a:gd name="T58" fmla="*/ 12 w 121"/>
                <a:gd name="T5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1" h="121">
                  <a:moveTo>
                    <a:pt x="25" y="25"/>
                  </a:moveTo>
                  <a:lnTo>
                    <a:pt x="25" y="97"/>
                  </a:lnTo>
                  <a:lnTo>
                    <a:pt x="96" y="97"/>
                  </a:lnTo>
                  <a:lnTo>
                    <a:pt x="96" y="25"/>
                  </a:lnTo>
                  <a:lnTo>
                    <a:pt x="25" y="25"/>
                  </a:lnTo>
                  <a:close/>
                  <a:moveTo>
                    <a:pt x="12" y="0"/>
                  </a:moveTo>
                  <a:lnTo>
                    <a:pt x="109" y="0"/>
                  </a:lnTo>
                  <a:lnTo>
                    <a:pt x="113" y="1"/>
                  </a:lnTo>
                  <a:lnTo>
                    <a:pt x="116" y="2"/>
                  </a:lnTo>
                  <a:lnTo>
                    <a:pt x="119" y="6"/>
                  </a:lnTo>
                  <a:lnTo>
                    <a:pt x="121" y="8"/>
                  </a:lnTo>
                  <a:lnTo>
                    <a:pt x="121" y="13"/>
                  </a:lnTo>
                  <a:lnTo>
                    <a:pt x="121" y="109"/>
                  </a:lnTo>
                  <a:lnTo>
                    <a:pt x="121" y="113"/>
                  </a:lnTo>
                  <a:lnTo>
                    <a:pt x="119" y="116"/>
                  </a:lnTo>
                  <a:lnTo>
                    <a:pt x="116" y="119"/>
                  </a:lnTo>
                  <a:lnTo>
                    <a:pt x="113" y="121"/>
                  </a:lnTo>
                  <a:lnTo>
                    <a:pt x="109" y="121"/>
                  </a:lnTo>
                  <a:lnTo>
                    <a:pt x="12" y="121"/>
                  </a:lnTo>
                  <a:lnTo>
                    <a:pt x="8" y="121"/>
                  </a:lnTo>
                  <a:lnTo>
                    <a:pt x="5" y="119"/>
                  </a:lnTo>
                  <a:lnTo>
                    <a:pt x="2" y="116"/>
                  </a:lnTo>
                  <a:lnTo>
                    <a:pt x="1" y="113"/>
                  </a:lnTo>
                  <a:lnTo>
                    <a:pt x="0" y="109"/>
                  </a:lnTo>
                  <a:lnTo>
                    <a:pt x="0" y="13"/>
                  </a:lnTo>
                  <a:lnTo>
                    <a:pt x="1" y="8"/>
                  </a:lnTo>
                  <a:lnTo>
                    <a:pt x="2" y="6"/>
                  </a:lnTo>
                  <a:lnTo>
                    <a:pt x="5" y="2"/>
                  </a:lnTo>
                  <a:lnTo>
                    <a:pt x="8" y="1"/>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27" name="Freeform 94"/>
            <p:cNvSpPr>
              <a:spLocks noEditPoints="1"/>
            </p:cNvSpPr>
            <p:nvPr/>
          </p:nvSpPr>
          <p:spPr bwMode="auto">
            <a:xfrm>
              <a:off x="5395549" y="6179549"/>
              <a:ext cx="27292" cy="27747"/>
            </a:xfrm>
            <a:custGeom>
              <a:avLst/>
              <a:gdLst>
                <a:gd name="T0" fmla="*/ 25 w 121"/>
                <a:gd name="T1" fmla="*/ 25 h 121"/>
                <a:gd name="T2" fmla="*/ 25 w 121"/>
                <a:gd name="T3" fmla="*/ 97 h 121"/>
                <a:gd name="T4" fmla="*/ 95 w 121"/>
                <a:gd name="T5" fmla="*/ 97 h 121"/>
                <a:gd name="T6" fmla="*/ 95 w 121"/>
                <a:gd name="T7" fmla="*/ 25 h 121"/>
                <a:gd name="T8" fmla="*/ 25 w 121"/>
                <a:gd name="T9" fmla="*/ 25 h 121"/>
                <a:gd name="T10" fmla="*/ 13 w 121"/>
                <a:gd name="T11" fmla="*/ 0 h 121"/>
                <a:gd name="T12" fmla="*/ 109 w 121"/>
                <a:gd name="T13" fmla="*/ 0 h 121"/>
                <a:gd name="T14" fmla="*/ 112 w 121"/>
                <a:gd name="T15" fmla="*/ 1 h 121"/>
                <a:gd name="T16" fmla="*/ 116 w 121"/>
                <a:gd name="T17" fmla="*/ 2 h 121"/>
                <a:gd name="T18" fmla="*/ 118 w 121"/>
                <a:gd name="T19" fmla="*/ 6 h 121"/>
                <a:gd name="T20" fmla="*/ 121 w 121"/>
                <a:gd name="T21" fmla="*/ 8 h 121"/>
                <a:gd name="T22" fmla="*/ 121 w 121"/>
                <a:gd name="T23" fmla="*/ 13 h 121"/>
                <a:gd name="T24" fmla="*/ 121 w 121"/>
                <a:gd name="T25" fmla="*/ 109 h 121"/>
                <a:gd name="T26" fmla="*/ 121 w 121"/>
                <a:gd name="T27" fmla="*/ 113 h 121"/>
                <a:gd name="T28" fmla="*/ 118 w 121"/>
                <a:gd name="T29" fmla="*/ 116 h 121"/>
                <a:gd name="T30" fmla="*/ 116 w 121"/>
                <a:gd name="T31" fmla="*/ 119 h 121"/>
                <a:gd name="T32" fmla="*/ 112 w 121"/>
                <a:gd name="T33" fmla="*/ 121 h 121"/>
                <a:gd name="T34" fmla="*/ 109 w 121"/>
                <a:gd name="T35" fmla="*/ 121 h 121"/>
                <a:gd name="T36" fmla="*/ 13 w 121"/>
                <a:gd name="T37" fmla="*/ 121 h 121"/>
                <a:gd name="T38" fmla="*/ 8 w 121"/>
                <a:gd name="T39" fmla="*/ 121 h 121"/>
                <a:gd name="T40" fmla="*/ 5 w 121"/>
                <a:gd name="T41" fmla="*/ 119 h 121"/>
                <a:gd name="T42" fmla="*/ 2 w 121"/>
                <a:gd name="T43" fmla="*/ 116 h 121"/>
                <a:gd name="T44" fmla="*/ 1 w 121"/>
                <a:gd name="T45" fmla="*/ 113 h 121"/>
                <a:gd name="T46" fmla="*/ 0 w 121"/>
                <a:gd name="T47" fmla="*/ 109 h 121"/>
                <a:gd name="T48" fmla="*/ 0 w 121"/>
                <a:gd name="T49" fmla="*/ 13 h 121"/>
                <a:gd name="T50" fmla="*/ 1 w 121"/>
                <a:gd name="T51" fmla="*/ 8 h 121"/>
                <a:gd name="T52" fmla="*/ 2 w 121"/>
                <a:gd name="T53" fmla="*/ 6 h 121"/>
                <a:gd name="T54" fmla="*/ 5 w 121"/>
                <a:gd name="T55" fmla="*/ 2 h 121"/>
                <a:gd name="T56" fmla="*/ 8 w 121"/>
                <a:gd name="T57" fmla="*/ 1 h 121"/>
                <a:gd name="T58" fmla="*/ 13 w 121"/>
                <a:gd name="T5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1" h="121">
                  <a:moveTo>
                    <a:pt x="25" y="25"/>
                  </a:moveTo>
                  <a:lnTo>
                    <a:pt x="25" y="97"/>
                  </a:lnTo>
                  <a:lnTo>
                    <a:pt x="95" y="97"/>
                  </a:lnTo>
                  <a:lnTo>
                    <a:pt x="95" y="25"/>
                  </a:lnTo>
                  <a:lnTo>
                    <a:pt x="25" y="25"/>
                  </a:lnTo>
                  <a:close/>
                  <a:moveTo>
                    <a:pt x="13" y="0"/>
                  </a:moveTo>
                  <a:lnTo>
                    <a:pt x="109" y="0"/>
                  </a:lnTo>
                  <a:lnTo>
                    <a:pt x="112" y="1"/>
                  </a:lnTo>
                  <a:lnTo>
                    <a:pt x="116" y="2"/>
                  </a:lnTo>
                  <a:lnTo>
                    <a:pt x="118" y="6"/>
                  </a:lnTo>
                  <a:lnTo>
                    <a:pt x="121" y="8"/>
                  </a:lnTo>
                  <a:lnTo>
                    <a:pt x="121" y="13"/>
                  </a:lnTo>
                  <a:lnTo>
                    <a:pt x="121" y="109"/>
                  </a:lnTo>
                  <a:lnTo>
                    <a:pt x="121" y="113"/>
                  </a:lnTo>
                  <a:lnTo>
                    <a:pt x="118" y="116"/>
                  </a:lnTo>
                  <a:lnTo>
                    <a:pt x="116" y="119"/>
                  </a:lnTo>
                  <a:lnTo>
                    <a:pt x="112" y="121"/>
                  </a:lnTo>
                  <a:lnTo>
                    <a:pt x="109" y="121"/>
                  </a:lnTo>
                  <a:lnTo>
                    <a:pt x="13" y="121"/>
                  </a:lnTo>
                  <a:lnTo>
                    <a:pt x="8" y="121"/>
                  </a:lnTo>
                  <a:lnTo>
                    <a:pt x="5" y="119"/>
                  </a:lnTo>
                  <a:lnTo>
                    <a:pt x="2" y="116"/>
                  </a:lnTo>
                  <a:lnTo>
                    <a:pt x="1" y="113"/>
                  </a:lnTo>
                  <a:lnTo>
                    <a:pt x="0" y="109"/>
                  </a:lnTo>
                  <a:lnTo>
                    <a:pt x="0" y="13"/>
                  </a:lnTo>
                  <a:lnTo>
                    <a:pt x="1" y="8"/>
                  </a:lnTo>
                  <a:lnTo>
                    <a:pt x="2" y="6"/>
                  </a:lnTo>
                  <a:lnTo>
                    <a:pt x="5" y="2"/>
                  </a:lnTo>
                  <a:lnTo>
                    <a:pt x="8" y="1"/>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28" name="Freeform 95"/>
            <p:cNvSpPr>
              <a:spLocks noEditPoints="1"/>
            </p:cNvSpPr>
            <p:nvPr/>
          </p:nvSpPr>
          <p:spPr bwMode="auto">
            <a:xfrm>
              <a:off x="5439671" y="6179549"/>
              <a:ext cx="27292" cy="27747"/>
            </a:xfrm>
            <a:custGeom>
              <a:avLst/>
              <a:gdLst>
                <a:gd name="T0" fmla="*/ 26 w 122"/>
                <a:gd name="T1" fmla="*/ 25 h 121"/>
                <a:gd name="T2" fmla="*/ 26 w 122"/>
                <a:gd name="T3" fmla="*/ 97 h 121"/>
                <a:gd name="T4" fmla="*/ 96 w 122"/>
                <a:gd name="T5" fmla="*/ 97 h 121"/>
                <a:gd name="T6" fmla="*/ 96 w 122"/>
                <a:gd name="T7" fmla="*/ 25 h 121"/>
                <a:gd name="T8" fmla="*/ 26 w 122"/>
                <a:gd name="T9" fmla="*/ 25 h 121"/>
                <a:gd name="T10" fmla="*/ 14 w 122"/>
                <a:gd name="T11" fmla="*/ 0 h 121"/>
                <a:gd name="T12" fmla="*/ 109 w 122"/>
                <a:gd name="T13" fmla="*/ 0 h 121"/>
                <a:gd name="T14" fmla="*/ 113 w 122"/>
                <a:gd name="T15" fmla="*/ 1 h 121"/>
                <a:gd name="T16" fmla="*/ 117 w 122"/>
                <a:gd name="T17" fmla="*/ 2 h 121"/>
                <a:gd name="T18" fmla="*/ 119 w 122"/>
                <a:gd name="T19" fmla="*/ 6 h 121"/>
                <a:gd name="T20" fmla="*/ 122 w 122"/>
                <a:gd name="T21" fmla="*/ 8 h 121"/>
                <a:gd name="T22" fmla="*/ 122 w 122"/>
                <a:gd name="T23" fmla="*/ 13 h 121"/>
                <a:gd name="T24" fmla="*/ 122 w 122"/>
                <a:gd name="T25" fmla="*/ 109 h 121"/>
                <a:gd name="T26" fmla="*/ 122 w 122"/>
                <a:gd name="T27" fmla="*/ 113 h 121"/>
                <a:gd name="T28" fmla="*/ 119 w 122"/>
                <a:gd name="T29" fmla="*/ 116 h 121"/>
                <a:gd name="T30" fmla="*/ 117 w 122"/>
                <a:gd name="T31" fmla="*/ 119 h 121"/>
                <a:gd name="T32" fmla="*/ 113 w 122"/>
                <a:gd name="T33" fmla="*/ 121 h 121"/>
                <a:gd name="T34" fmla="*/ 109 w 122"/>
                <a:gd name="T35" fmla="*/ 121 h 121"/>
                <a:gd name="T36" fmla="*/ 14 w 122"/>
                <a:gd name="T37" fmla="*/ 121 h 121"/>
                <a:gd name="T38" fmla="*/ 9 w 122"/>
                <a:gd name="T39" fmla="*/ 121 h 121"/>
                <a:gd name="T40" fmla="*/ 5 w 122"/>
                <a:gd name="T41" fmla="*/ 119 h 121"/>
                <a:gd name="T42" fmla="*/ 3 w 122"/>
                <a:gd name="T43" fmla="*/ 116 h 121"/>
                <a:gd name="T44" fmla="*/ 2 w 122"/>
                <a:gd name="T45" fmla="*/ 113 h 121"/>
                <a:gd name="T46" fmla="*/ 0 w 122"/>
                <a:gd name="T47" fmla="*/ 109 h 121"/>
                <a:gd name="T48" fmla="*/ 0 w 122"/>
                <a:gd name="T49" fmla="*/ 13 h 121"/>
                <a:gd name="T50" fmla="*/ 2 w 122"/>
                <a:gd name="T51" fmla="*/ 8 h 121"/>
                <a:gd name="T52" fmla="*/ 3 w 122"/>
                <a:gd name="T53" fmla="*/ 6 h 121"/>
                <a:gd name="T54" fmla="*/ 5 w 122"/>
                <a:gd name="T55" fmla="*/ 2 h 121"/>
                <a:gd name="T56" fmla="*/ 9 w 122"/>
                <a:gd name="T57" fmla="*/ 1 h 121"/>
                <a:gd name="T58" fmla="*/ 14 w 122"/>
                <a:gd name="T5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2" h="121">
                  <a:moveTo>
                    <a:pt x="26" y="25"/>
                  </a:moveTo>
                  <a:lnTo>
                    <a:pt x="26" y="97"/>
                  </a:lnTo>
                  <a:lnTo>
                    <a:pt x="96" y="97"/>
                  </a:lnTo>
                  <a:lnTo>
                    <a:pt x="96" y="25"/>
                  </a:lnTo>
                  <a:lnTo>
                    <a:pt x="26" y="25"/>
                  </a:lnTo>
                  <a:close/>
                  <a:moveTo>
                    <a:pt x="14" y="0"/>
                  </a:moveTo>
                  <a:lnTo>
                    <a:pt x="109" y="0"/>
                  </a:lnTo>
                  <a:lnTo>
                    <a:pt x="113" y="1"/>
                  </a:lnTo>
                  <a:lnTo>
                    <a:pt x="117" y="2"/>
                  </a:lnTo>
                  <a:lnTo>
                    <a:pt x="119" y="6"/>
                  </a:lnTo>
                  <a:lnTo>
                    <a:pt x="122" y="8"/>
                  </a:lnTo>
                  <a:lnTo>
                    <a:pt x="122" y="13"/>
                  </a:lnTo>
                  <a:lnTo>
                    <a:pt x="122" y="109"/>
                  </a:lnTo>
                  <a:lnTo>
                    <a:pt x="122" y="113"/>
                  </a:lnTo>
                  <a:lnTo>
                    <a:pt x="119" y="116"/>
                  </a:lnTo>
                  <a:lnTo>
                    <a:pt x="117" y="119"/>
                  </a:lnTo>
                  <a:lnTo>
                    <a:pt x="113" y="121"/>
                  </a:lnTo>
                  <a:lnTo>
                    <a:pt x="109" y="121"/>
                  </a:lnTo>
                  <a:lnTo>
                    <a:pt x="14" y="121"/>
                  </a:lnTo>
                  <a:lnTo>
                    <a:pt x="9" y="121"/>
                  </a:lnTo>
                  <a:lnTo>
                    <a:pt x="5" y="119"/>
                  </a:lnTo>
                  <a:lnTo>
                    <a:pt x="3" y="116"/>
                  </a:lnTo>
                  <a:lnTo>
                    <a:pt x="2" y="113"/>
                  </a:lnTo>
                  <a:lnTo>
                    <a:pt x="0" y="109"/>
                  </a:lnTo>
                  <a:lnTo>
                    <a:pt x="0" y="13"/>
                  </a:lnTo>
                  <a:lnTo>
                    <a:pt x="2" y="8"/>
                  </a:lnTo>
                  <a:lnTo>
                    <a:pt x="3" y="6"/>
                  </a:lnTo>
                  <a:lnTo>
                    <a:pt x="5" y="2"/>
                  </a:lnTo>
                  <a:lnTo>
                    <a:pt x="9" y="1"/>
                  </a:lnTo>
                  <a:lnTo>
                    <a:pt x="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29" name="Freeform 96"/>
            <p:cNvSpPr>
              <a:spLocks noEditPoints="1"/>
            </p:cNvSpPr>
            <p:nvPr/>
          </p:nvSpPr>
          <p:spPr bwMode="auto">
            <a:xfrm>
              <a:off x="5483793" y="6179549"/>
              <a:ext cx="27292" cy="27747"/>
            </a:xfrm>
            <a:custGeom>
              <a:avLst/>
              <a:gdLst>
                <a:gd name="T0" fmla="*/ 26 w 121"/>
                <a:gd name="T1" fmla="*/ 25 h 121"/>
                <a:gd name="T2" fmla="*/ 26 w 121"/>
                <a:gd name="T3" fmla="*/ 97 h 121"/>
                <a:gd name="T4" fmla="*/ 96 w 121"/>
                <a:gd name="T5" fmla="*/ 97 h 121"/>
                <a:gd name="T6" fmla="*/ 96 w 121"/>
                <a:gd name="T7" fmla="*/ 25 h 121"/>
                <a:gd name="T8" fmla="*/ 26 w 121"/>
                <a:gd name="T9" fmla="*/ 25 h 121"/>
                <a:gd name="T10" fmla="*/ 14 w 121"/>
                <a:gd name="T11" fmla="*/ 0 h 121"/>
                <a:gd name="T12" fmla="*/ 109 w 121"/>
                <a:gd name="T13" fmla="*/ 0 h 121"/>
                <a:gd name="T14" fmla="*/ 113 w 121"/>
                <a:gd name="T15" fmla="*/ 1 h 121"/>
                <a:gd name="T16" fmla="*/ 116 w 121"/>
                <a:gd name="T17" fmla="*/ 2 h 121"/>
                <a:gd name="T18" fmla="*/ 119 w 121"/>
                <a:gd name="T19" fmla="*/ 6 h 121"/>
                <a:gd name="T20" fmla="*/ 121 w 121"/>
                <a:gd name="T21" fmla="*/ 8 h 121"/>
                <a:gd name="T22" fmla="*/ 121 w 121"/>
                <a:gd name="T23" fmla="*/ 13 h 121"/>
                <a:gd name="T24" fmla="*/ 121 w 121"/>
                <a:gd name="T25" fmla="*/ 109 h 121"/>
                <a:gd name="T26" fmla="*/ 121 w 121"/>
                <a:gd name="T27" fmla="*/ 113 h 121"/>
                <a:gd name="T28" fmla="*/ 119 w 121"/>
                <a:gd name="T29" fmla="*/ 116 h 121"/>
                <a:gd name="T30" fmla="*/ 116 w 121"/>
                <a:gd name="T31" fmla="*/ 119 h 121"/>
                <a:gd name="T32" fmla="*/ 113 w 121"/>
                <a:gd name="T33" fmla="*/ 121 h 121"/>
                <a:gd name="T34" fmla="*/ 109 w 121"/>
                <a:gd name="T35" fmla="*/ 121 h 121"/>
                <a:gd name="T36" fmla="*/ 14 w 121"/>
                <a:gd name="T37" fmla="*/ 121 h 121"/>
                <a:gd name="T38" fmla="*/ 9 w 121"/>
                <a:gd name="T39" fmla="*/ 121 h 121"/>
                <a:gd name="T40" fmla="*/ 5 w 121"/>
                <a:gd name="T41" fmla="*/ 119 h 121"/>
                <a:gd name="T42" fmla="*/ 3 w 121"/>
                <a:gd name="T43" fmla="*/ 116 h 121"/>
                <a:gd name="T44" fmla="*/ 1 w 121"/>
                <a:gd name="T45" fmla="*/ 113 h 121"/>
                <a:gd name="T46" fmla="*/ 0 w 121"/>
                <a:gd name="T47" fmla="*/ 109 h 121"/>
                <a:gd name="T48" fmla="*/ 0 w 121"/>
                <a:gd name="T49" fmla="*/ 13 h 121"/>
                <a:gd name="T50" fmla="*/ 1 w 121"/>
                <a:gd name="T51" fmla="*/ 8 h 121"/>
                <a:gd name="T52" fmla="*/ 3 w 121"/>
                <a:gd name="T53" fmla="*/ 6 h 121"/>
                <a:gd name="T54" fmla="*/ 5 w 121"/>
                <a:gd name="T55" fmla="*/ 2 h 121"/>
                <a:gd name="T56" fmla="*/ 9 w 121"/>
                <a:gd name="T57" fmla="*/ 1 h 121"/>
                <a:gd name="T58" fmla="*/ 14 w 121"/>
                <a:gd name="T5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1" h="121">
                  <a:moveTo>
                    <a:pt x="26" y="25"/>
                  </a:moveTo>
                  <a:lnTo>
                    <a:pt x="26" y="97"/>
                  </a:lnTo>
                  <a:lnTo>
                    <a:pt x="96" y="97"/>
                  </a:lnTo>
                  <a:lnTo>
                    <a:pt x="96" y="25"/>
                  </a:lnTo>
                  <a:lnTo>
                    <a:pt x="26" y="25"/>
                  </a:lnTo>
                  <a:close/>
                  <a:moveTo>
                    <a:pt x="14" y="0"/>
                  </a:moveTo>
                  <a:lnTo>
                    <a:pt x="109" y="0"/>
                  </a:lnTo>
                  <a:lnTo>
                    <a:pt x="113" y="1"/>
                  </a:lnTo>
                  <a:lnTo>
                    <a:pt x="116" y="2"/>
                  </a:lnTo>
                  <a:lnTo>
                    <a:pt x="119" y="6"/>
                  </a:lnTo>
                  <a:lnTo>
                    <a:pt x="121" y="8"/>
                  </a:lnTo>
                  <a:lnTo>
                    <a:pt x="121" y="13"/>
                  </a:lnTo>
                  <a:lnTo>
                    <a:pt x="121" y="109"/>
                  </a:lnTo>
                  <a:lnTo>
                    <a:pt x="121" y="113"/>
                  </a:lnTo>
                  <a:lnTo>
                    <a:pt x="119" y="116"/>
                  </a:lnTo>
                  <a:lnTo>
                    <a:pt x="116" y="119"/>
                  </a:lnTo>
                  <a:lnTo>
                    <a:pt x="113" y="121"/>
                  </a:lnTo>
                  <a:lnTo>
                    <a:pt x="109" y="121"/>
                  </a:lnTo>
                  <a:lnTo>
                    <a:pt x="14" y="121"/>
                  </a:lnTo>
                  <a:lnTo>
                    <a:pt x="9" y="121"/>
                  </a:lnTo>
                  <a:lnTo>
                    <a:pt x="5" y="119"/>
                  </a:lnTo>
                  <a:lnTo>
                    <a:pt x="3" y="116"/>
                  </a:lnTo>
                  <a:lnTo>
                    <a:pt x="1" y="113"/>
                  </a:lnTo>
                  <a:lnTo>
                    <a:pt x="0" y="109"/>
                  </a:lnTo>
                  <a:lnTo>
                    <a:pt x="0" y="13"/>
                  </a:lnTo>
                  <a:lnTo>
                    <a:pt x="1" y="8"/>
                  </a:lnTo>
                  <a:lnTo>
                    <a:pt x="3" y="6"/>
                  </a:lnTo>
                  <a:lnTo>
                    <a:pt x="5" y="2"/>
                  </a:lnTo>
                  <a:lnTo>
                    <a:pt x="9" y="1"/>
                  </a:lnTo>
                  <a:lnTo>
                    <a:pt x="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30" name="Freeform 97"/>
            <p:cNvSpPr>
              <a:spLocks noEditPoints="1"/>
            </p:cNvSpPr>
            <p:nvPr/>
          </p:nvSpPr>
          <p:spPr bwMode="auto">
            <a:xfrm>
              <a:off x="5527460" y="6179549"/>
              <a:ext cx="27747" cy="27747"/>
            </a:xfrm>
            <a:custGeom>
              <a:avLst/>
              <a:gdLst>
                <a:gd name="T0" fmla="*/ 25 w 121"/>
                <a:gd name="T1" fmla="*/ 25 h 121"/>
                <a:gd name="T2" fmla="*/ 25 w 121"/>
                <a:gd name="T3" fmla="*/ 97 h 121"/>
                <a:gd name="T4" fmla="*/ 96 w 121"/>
                <a:gd name="T5" fmla="*/ 97 h 121"/>
                <a:gd name="T6" fmla="*/ 96 w 121"/>
                <a:gd name="T7" fmla="*/ 25 h 121"/>
                <a:gd name="T8" fmla="*/ 25 w 121"/>
                <a:gd name="T9" fmla="*/ 25 h 121"/>
                <a:gd name="T10" fmla="*/ 12 w 121"/>
                <a:gd name="T11" fmla="*/ 0 h 121"/>
                <a:gd name="T12" fmla="*/ 108 w 121"/>
                <a:gd name="T13" fmla="*/ 0 h 121"/>
                <a:gd name="T14" fmla="*/ 113 w 121"/>
                <a:gd name="T15" fmla="*/ 1 h 121"/>
                <a:gd name="T16" fmla="*/ 116 w 121"/>
                <a:gd name="T17" fmla="*/ 2 h 121"/>
                <a:gd name="T18" fmla="*/ 119 w 121"/>
                <a:gd name="T19" fmla="*/ 6 h 121"/>
                <a:gd name="T20" fmla="*/ 120 w 121"/>
                <a:gd name="T21" fmla="*/ 8 h 121"/>
                <a:gd name="T22" fmla="*/ 121 w 121"/>
                <a:gd name="T23" fmla="*/ 13 h 121"/>
                <a:gd name="T24" fmla="*/ 121 w 121"/>
                <a:gd name="T25" fmla="*/ 109 h 121"/>
                <a:gd name="T26" fmla="*/ 120 w 121"/>
                <a:gd name="T27" fmla="*/ 113 h 121"/>
                <a:gd name="T28" fmla="*/ 119 w 121"/>
                <a:gd name="T29" fmla="*/ 116 h 121"/>
                <a:gd name="T30" fmla="*/ 116 w 121"/>
                <a:gd name="T31" fmla="*/ 119 h 121"/>
                <a:gd name="T32" fmla="*/ 113 w 121"/>
                <a:gd name="T33" fmla="*/ 121 h 121"/>
                <a:gd name="T34" fmla="*/ 108 w 121"/>
                <a:gd name="T35" fmla="*/ 121 h 121"/>
                <a:gd name="T36" fmla="*/ 12 w 121"/>
                <a:gd name="T37" fmla="*/ 121 h 121"/>
                <a:gd name="T38" fmla="*/ 8 w 121"/>
                <a:gd name="T39" fmla="*/ 121 h 121"/>
                <a:gd name="T40" fmla="*/ 5 w 121"/>
                <a:gd name="T41" fmla="*/ 119 h 121"/>
                <a:gd name="T42" fmla="*/ 2 w 121"/>
                <a:gd name="T43" fmla="*/ 116 h 121"/>
                <a:gd name="T44" fmla="*/ 0 w 121"/>
                <a:gd name="T45" fmla="*/ 113 h 121"/>
                <a:gd name="T46" fmla="*/ 0 w 121"/>
                <a:gd name="T47" fmla="*/ 109 h 121"/>
                <a:gd name="T48" fmla="*/ 0 w 121"/>
                <a:gd name="T49" fmla="*/ 13 h 121"/>
                <a:gd name="T50" fmla="*/ 0 w 121"/>
                <a:gd name="T51" fmla="*/ 8 h 121"/>
                <a:gd name="T52" fmla="*/ 2 w 121"/>
                <a:gd name="T53" fmla="*/ 6 h 121"/>
                <a:gd name="T54" fmla="*/ 5 w 121"/>
                <a:gd name="T55" fmla="*/ 2 h 121"/>
                <a:gd name="T56" fmla="*/ 8 w 121"/>
                <a:gd name="T57" fmla="*/ 1 h 121"/>
                <a:gd name="T58" fmla="*/ 12 w 121"/>
                <a:gd name="T5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1" h="121">
                  <a:moveTo>
                    <a:pt x="25" y="25"/>
                  </a:moveTo>
                  <a:lnTo>
                    <a:pt x="25" y="97"/>
                  </a:lnTo>
                  <a:lnTo>
                    <a:pt x="96" y="97"/>
                  </a:lnTo>
                  <a:lnTo>
                    <a:pt x="96" y="25"/>
                  </a:lnTo>
                  <a:lnTo>
                    <a:pt x="25" y="25"/>
                  </a:lnTo>
                  <a:close/>
                  <a:moveTo>
                    <a:pt x="12" y="0"/>
                  </a:moveTo>
                  <a:lnTo>
                    <a:pt x="108" y="0"/>
                  </a:lnTo>
                  <a:lnTo>
                    <a:pt x="113" y="1"/>
                  </a:lnTo>
                  <a:lnTo>
                    <a:pt x="116" y="2"/>
                  </a:lnTo>
                  <a:lnTo>
                    <a:pt x="119" y="6"/>
                  </a:lnTo>
                  <a:lnTo>
                    <a:pt x="120" y="8"/>
                  </a:lnTo>
                  <a:lnTo>
                    <a:pt x="121" y="13"/>
                  </a:lnTo>
                  <a:lnTo>
                    <a:pt x="121" y="109"/>
                  </a:lnTo>
                  <a:lnTo>
                    <a:pt x="120" y="113"/>
                  </a:lnTo>
                  <a:lnTo>
                    <a:pt x="119" y="116"/>
                  </a:lnTo>
                  <a:lnTo>
                    <a:pt x="116" y="119"/>
                  </a:lnTo>
                  <a:lnTo>
                    <a:pt x="113" y="121"/>
                  </a:lnTo>
                  <a:lnTo>
                    <a:pt x="108" y="121"/>
                  </a:lnTo>
                  <a:lnTo>
                    <a:pt x="12" y="121"/>
                  </a:lnTo>
                  <a:lnTo>
                    <a:pt x="8" y="121"/>
                  </a:lnTo>
                  <a:lnTo>
                    <a:pt x="5" y="119"/>
                  </a:lnTo>
                  <a:lnTo>
                    <a:pt x="2" y="116"/>
                  </a:lnTo>
                  <a:lnTo>
                    <a:pt x="0" y="113"/>
                  </a:lnTo>
                  <a:lnTo>
                    <a:pt x="0" y="109"/>
                  </a:lnTo>
                  <a:lnTo>
                    <a:pt x="0" y="13"/>
                  </a:lnTo>
                  <a:lnTo>
                    <a:pt x="0" y="8"/>
                  </a:lnTo>
                  <a:lnTo>
                    <a:pt x="2" y="6"/>
                  </a:lnTo>
                  <a:lnTo>
                    <a:pt x="5" y="2"/>
                  </a:lnTo>
                  <a:lnTo>
                    <a:pt x="8" y="1"/>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31" name="Freeform 98"/>
            <p:cNvSpPr>
              <a:spLocks noEditPoints="1"/>
            </p:cNvSpPr>
            <p:nvPr/>
          </p:nvSpPr>
          <p:spPr bwMode="auto">
            <a:xfrm>
              <a:off x="5273645" y="5925735"/>
              <a:ext cx="27292" cy="27292"/>
            </a:xfrm>
            <a:custGeom>
              <a:avLst/>
              <a:gdLst>
                <a:gd name="T0" fmla="*/ 24 w 121"/>
                <a:gd name="T1" fmla="*/ 26 h 122"/>
                <a:gd name="T2" fmla="*/ 24 w 121"/>
                <a:gd name="T3" fmla="*/ 96 h 122"/>
                <a:gd name="T4" fmla="*/ 96 w 121"/>
                <a:gd name="T5" fmla="*/ 96 h 122"/>
                <a:gd name="T6" fmla="*/ 96 w 121"/>
                <a:gd name="T7" fmla="*/ 26 h 122"/>
                <a:gd name="T8" fmla="*/ 24 w 121"/>
                <a:gd name="T9" fmla="*/ 26 h 122"/>
                <a:gd name="T10" fmla="*/ 12 w 121"/>
                <a:gd name="T11" fmla="*/ 0 h 122"/>
                <a:gd name="T12" fmla="*/ 108 w 121"/>
                <a:gd name="T13" fmla="*/ 0 h 122"/>
                <a:gd name="T14" fmla="*/ 113 w 121"/>
                <a:gd name="T15" fmla="*/ 2 h 122"/>
                <a:gd name="T16" fmla="*/ 115 w 121"/>
                <a:gd name="T17" fmla="*/ 3 h 122"/>
                <a:gd name="T18" fmla="*/ 119 w 121"/>
                <a:gd name="T19" fmla="*/ 5 h 122"/>
                <a:gd name="T20" fmla="*/ 120 w 121"/>
                <a:gd name="T21" fmla="*/ 9 h 122"/>
                <a:gd name="T22" fmla="*/ 121 w 121"/>
                <a:gd name="T23" fmla="*/ 13 h 122"/>
                <a:gd name="T24" fmla="*/ 121 w 121"/>
                <a:gd name="T25" fmla="*/ 109 h 122"/>
                <a:gd name="T26" fmla="*/ 120 w 121"/>
                <a:gd name="T27" fmla="*/ 113 h 122"/>
                <a:gd name="T28" fmla="*/ 119 w 121"/>
                <a:gd name="T29" fmla="*/ 117 h 122"/>
                <a:gd name="T30" fmla="*/ 115 w 121"/>
                <a:gd name="T31" fmla="*/ 119 h 122"/>
                <a:gd name="T32" fmla="*/ 113 w 121"/>
                <a:gd name="T33" fmla="*/ 120 h 122"/>
                <a:gd name="T34" fmla="*/ 108 w 121"/>
                <a:gd name="T35" fmla="*/ 122 h 122"/>
                <a:gd name="T36" fmla="*/ 12 w 121"/>
                <a:gd name="T37" fmla="*/ 122 h 122"/>
                <a:gd name="T38" fmla="*/ 9 w 121"/>
                <a:gd name="T39" fmla="*/ 120 h 122"/>
                <a:gd name="T40" fmla="*/ 5 w 121"/>
                <a:gd name="T41" fmla="*/ 119 h 122"/>
                <a:gd name="T42" fmla="*/ 3 w 121"/>
                <a:gd name="T43" fmla="*/ 117 h 122"/>
                <a:gd name="T44" fmla="*/ 0 w 121"/>
                <a:gd name="T45" fmla="*/ 113 h 122"/>
                <a:gd name="T46" fmla="*/ 0 w 121"/>
                <a:gd name="T47" fmla="*/ 109 h 122"/>
                <a:gd name="T48" fmla="*/ 0 w 121"/>
                <a:gd name="T49" fmla="*/ 13 h 122"/>
                <a:gd name="T50" fmla="*/ 0 w 121"/>
                <a:gd name="T51" fmla="*/ 9 h 122"/>
                <a:gd name="T52" fmla="*/ 3 w 121"/>
                <a:gd name="T53" fmla="*/ 5 h 122"/>
                <a:gd name="T54" fmla="*/ 5 w 121"/>
                <a:gd name="T55" fmla="*/ 3 h 122"/>
                <a:gd name="T56" fmla="*/ 9 w 121"/>
                <a:gd name="T57" fmla="*/ 2 h 122"/>
                <a:gd name="T58" fmla="*/ 12 w 121"/>
                <a:gd name="T59"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1" h="122">
                  <a:moveTo>
                    <a:pt x="24" y="26"/>
                  </a:moveTo>
                  <a:lnTo>
                    <a:pt x="24" y="96"/>
                  </a:lnTo>
                  <a:lnTo>
                    <a:pt x="96" y="96"/>
                  </a:lnTo>
                  <a:lnTo>
                    <a:pt x="96" y="26"/>
                  </a:lnTo>
                  <a:lnTo>
                    <a:pt x="24" y="26"/>
                  </a:lnTo>
                  <a:close/>
                  <a:moveTo>
                    <a:pt x="12" y="0"/>
                  </a:moveTo>
                  <a:lnTo>
                    <a:pt x="108" y="0"/>
                  </a:lnTo>
                  <a:lnTo>
                    <a:pt x="113" y="2"/>
                  </a:lnTo>
                  <a:lnTo>
                    <a:pt x="115" y="3"/>
                  </a:lnTo>
                  <a:lnTo>
                    <a:pt x="119" y="5"/>
                  </a:lnTo>
                  <a:lnTo>
                    <a:pt x="120" y="9"/>
                  </a:lnTo>
                  <a:lnTo>
                    <a:pt x="121" y="13"/>
                  </a:lnTo>
                  <a:lnTo>
                    <a:pt x="121" y="109"/>
                  </a:lnTo>
                  <a:lnTo>
                    <a:pt x="120" y="113"/>
                  </a:lnTo>
                  <a:lnTo>
                    <a:pt x="119" y="117"/>
                  </a:lnTo>
                  <a:lnTo>
                    <a:pt x="115" y="119"/>
                  </a:lnTo>
                  <a:lnTo>
                    <a:pt x="113" y="120"/>
                  </a:lnTo>
                  <a:lnTo>
                    <a:pt x="108" y="122"/>
                  </a:lnTo>
                  <a:lnTo>
                    <a:pt x="12" y="122"/>
                  </a:lnTo>
                  <a:lnTo>
                    <a:pt x="9" y="120"/>
                  </a:lnTo>
                  <a:lnTo>
                    <a:pt x="5" y="119"/>
                  </a:lnTo>
                  <a:lnTo>
                    <a:pt x="3" y="117"/>
                  </a:lnTo>
                  <a:lnTo>
                    <a:pt x="0" y="113"/>
                  </a:lnTo>
                  <a:lnTo>
                    <a:pt x="0" y="109"/>
                  </a:lnTo>
                  <a:lnTo>
                    <a:pt x="0" y="13"/>
                  </a:lnTo>
                  <a:lnTo>
                    <a:pt x="0" y="9"/>
                  </a:lnTo>
                  <a:lnTo>
                    <a:pt x="3" y="5"/>
                  </a:lnTo>
                  <a:lnTo>
                    <a:pt x="5" y="3"/>
                  </a:lnTo>
                  <a:lnTo>
                    <a:pt x="9" y="2"/>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32" name="Freeform 99"/>
            <p:cNvSpPr>
              <a:spLocks noEditPoints="1"/>
            </p:cNvSpPr>
            <p:nvPr/>
          </p:nvSpPr>
          <p:spPr bwMode="auto">
            <a:xfrm>
              <a:off x="5273645" y="5969856"/>
              <a:ext cx="27292" cy="27292"/>
            </a:xfrm>
            <a:custGeom>
              <a:avLst/>
              <a:gdLst>
                <a:gd name="T0" fmla="*/ 24 w 121"/>
                <a:gd name="T1" fmla="*/ 26 h 121"/>
                <a:gd name="T2" fmla="*/ 24 w 121"/>
                <a:gd name="T3" fmla="*/ 96 h 121"/>
                <a:gd name="T4" fmla="*/ 96 w 121"/>
                <a:gd name="T5" fmla="*/ 96 h 121"/>
                <a:gd name="T6" fmla="*/ 96 w 121"/>
                <a:gd name="T7" fmla="*/ 26 h 121"/>
                <a:gd name="T8" fmla="*/ 24 w 121"/>
                <a:gd name="T9" fmla="*/ 26 h 121"/>
                <a:gd name="T10" fmla="*/ 12 w 121"/>
                <a:gd name="T11" fmla="*/ 0 h 121"/>
                <a:gd name="T12" fmla="*/ 108 w 121"/>
                <a:gd name="T13" fmla="*/ 0 h 121"/>
                <a:gd name="T14" fmla="*/ 113 w 121"/>
                <a:gd name="T15" fmla="*/ 1 h 121"/>
                <a:gd name="T16" fmla="*/ 115 w 121"/>
                <a:gd name="T17" fmla="*/ 3 h 121"/>
                <a:gd name="T18" fmla="*/ 119 w 121"/>
                <a:gd name="T19" fmla="*/ 5 h 121"/>
                <a:gd name="T20" fmla="*/ 120 w 121"/>
                <a:gd name="T21" fmla="*/ 9 h 121"/>
                <a:gd name="T22" fmla="*/ 121 w 121"/>
                <a:gd name="T23" fmla="*/ 12 h 121"/>
                <a:gd name="T24" fmla="*/ 121 w 121"/>
                <a:gd name="T25" fmla="*/ 109 h 121"/>
                <a:gd name="T26" fmla="*/ 120 w 121"/>
                <a:gd name="T27" fmla="*/ 113 h 121"/>
                <a:gd name="T28" fmla="*/ 119 w 121"/>
                <a:gd name="T29" fmla="*/ 116 h 121"/>
                <a:gd name="T30" fmla="*/ 115 w 121"/>
                <a:gd name="T31" fmla="*/ 119 h 121"/>
                <a:gd name="T32" fmla="*/ 113 w 121"/>
                <a:gd name="T33" fmla="*/ 120 h 121"/>
                <a:gd name="T34" fmla="*/ 108 w 121"/>
                <a:gd name="T35" fmla="*/ 121 h 121"/>
                <a:gd name="T36" fmla="*/ 12 w 121"/>
                <a:gd name="T37" fmla="*/ 121 h 121"/>
                <a:gd name="T38" fmla="*/ 9 w 121"/>
                <a:gd name="T39" fmla="*/ 120 h 121"/>
                <a:gd name="T40" fmla="*/ 5 w 121"/>
                <a:gd name="T41" fmla="*/ 119 h 121"/>
                <a:gd name="T42" fmla="*/ 3 w 121"/>
                <a:gd name="T43" fmla="*/ 116 h 121"/>
                <a:gd name="T44" fmla="*/ 0 w 121"/>
                <a:gd name="T45" fmla="*/ 113 h 121"/>
                <a:gd name="T46" fmla="*/ 0 w 121"/>
                <a:gd name="T47" fmla="*/ 109 h 121"/>
                <a:gd name="T48" fmla="*/ 0 w 121"/>
                <a:gd name="T49" fmla="*/ 12 h 121"/>
                <a:gd name="T50" fmla="*/ 0 w 121"/>
                <a:gd name="T51" fmla="*/ 9 h 121"/>
                <a:gd name="T52" fmla="*/ 3 w 121"/>
                <a:gd name="T53" fmla="*/ 5 h 121"/>
                <a:gd name="T54" fmla="*/ 5 w 121"/>
                <a:gd name="T55" fmla="*/ 3 h 121"/>
                <a:gd name="T56" fmla="*/ 9 w 121"/>
                <a:gd name="T57" fmla="*/ 1 h 121"/>
                <a:gd name="T58" fmla="*/ 12 w 121"/>
                <a:gd name="T5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1" h="121">
                  <a:moveTo>
                    <a:pt x="24" y="26"/>
                  </a:moveTo>
                  <a:lnTo>
                    <a:pt x="24" y="96"/>
                  </a:lnTo>
                  <a:lnTo>
                    <a:pt x="96" y="96"/>
                  </a:lnTo>
                  <a:lnTo>
                    <a:pt x="96" y="26"/>
                  </a:lnTo>
                  <a:lnTo>
                    <a:pt x="24" y="26"/>
                  </a:lnTo>
                  <a:close/>
                  <a:moveTo>
                    <a:pt x="12" y="0"/>
                  </a:moveTo>
                  <a:lnTo>
                    <a:pt x="108" y="0"/>
                  </a:lnTo>
                  <a:lnTo>
                    <a:pt x="113" y="1"/>
                  </a:lnTo>
                  <a:lnTo>
                    <a:pt x="115" y="3"/>
                  </a:lnTo>
                  <a:lnTo>
                    <a:pt x="119" y="5"/>
                  </a:lnTo>
                  <a:lnTo>
                    <a:pt x="120" y="9"/>
                  </a:lnTo>
                  <a:lnTo>
                    <a:pt x="121" y="12"/>
                  </a:lnTo>
                  <a:lnTo>
                    <a:pt x="121" y="109"/>
                  </a:lnTo>
                  <a:lnTo>
                    <a:pt x="120" y="113"/>
                  </a:lnTo>
                  <a:lnTo>
                    <a:pt x="119" y="116"/>
                  </a:lnTo>
                  <a:lnTo>
                    <a:pt x="115" y="119"/>
                  </a:lnTo>
                  <a:lnTo>
                    <a:pt x="113" y="120"/>
                  </a:lnTo>
                  <a:lnTo>
                    <a:pt x="108" y="121"/>
                  </a:lnTo>
                  <a:lnTo>
                    <a:pt x="12" y="121"/>
                  </a:lnTo>
                  <a:lnTo>
                    <a:pt x="9" y="120"/>
                  </a:lnTo>
                  <a:lnTo>
                    <a:pt x="5" y="119"/>
                  </a:lnTo>
                  <a:lnTo>
                    <a:pt x="3" y="116"/>
                  </a:lnTo>
                  <a:lnTo>
                    <a:pt x="0" y="113"/>
                  </a:lnTo>
                  <a:lnTo>
                    <a:pt x="0" y="109"/>
                  </a:lnTo>
                  <a:lnTo>
                    <a:pt x="0" y="12"/>
                  </a:lnTo>
                  <a:lnTo>
                    <a:pt x="0" y="9"/>
                  </a:lnTo>
                  <a:lnTo>
                    <a:pt x="3" y="5"/>
                  </a:lnTo>
                  <a:lnTo>
                    <a:pt x="5" y="3"/>
                  </a:lnTo>
                  <a:lnTo>
                    <a:pt x="9" y="1"/>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33" name="Freeform 100"/>
            <p:cNvSpPr>
              <a:spLocks noEditPoints="1"/>
            </p:cNvSpPr>
            <p:nvPr/>
          </p:nvSpPr>
          <p:spPr bwMode="auto">
            <a:xfrm>
              <a:off x="5273645" y="6013523"/>
              <a:ext cx="27292" cy="27747"/>
            </a:xfrm>
            <a:custGeom>
              <a:avLst/>
              <a:gdLst>
                <a:gd name="T0" fmla="*/ 24 w 121"/>
                <a:gd name="T1" fmla="*/ 25 h 121"/>
                <a:gd name="T2" fmla="*/ 24 w 121"/>
                <a:gd name="T3" fmla="*/ 96 h 121"/>
                <a:gd name="T4" fmla="*/ 96 w 121"/>
                <a:gd name="T5" fmla="*/ 96 h 121"/>
                <a:gd name="T6" fmla="*/ 96 w 121"/>
                <a:gd name="T7" fmla="*/ 25 h 121"/>
                <a:gd name="T8" fmla="*/ 24 w 121"/>
                <a:gd name="T9" fmla="*/ 25 h 121"/>
                <a:gd name="T10" fmla="*/ 12 w 121"/>
                <a:gd name="T11" fmla="*/ 0 h 121"/>
                <a:gd name="T12" fmla="*/ 108 w 121"/>
                <a:gd name="T13" fmla="*/ 0 h 121"/>
                <a:gd name="T14" fmla="*/ 113 w 121"/>
                <a:gd name="T15" fmla="*/ 1 h 121"/>
                <a:gd name="T16" fmla="*/ 115 w 121"/>
                <a:gd name="T17" fmla="*/ 2 h 121"/>
                <a:gd name="T18" fmla="*/ 119 w 121"/>
                <a:gd name="T19" fmla="*/ 5 h 121"/>
                <a:gd name="T20" fmla="*/ 120 w 121"/>
                <a:gd name="T21" fmla="*/ 8 h 121"/>
                <a:gd name="T22" fmla="*/ 121 w 121"/>
                <a:gd name="T23" fmla="*/ 12 h 121"/>
                <a:gd name="T24" fmla="*/ 121 w 121"/>
                <a:gd name="T25" fmla="*/ 109 h 121"/>
                <a:gd name="T26" fmla="*/ 120 w 121"/>
                <a:gd name="T27" fmla="*/ 113 h 121"/>
                <a:gd name="T28" fmla="*/ 119 w 121"/>
                <a:gd name="T29" fmla="*/ 116 h 121"/>
                <a:gd name="T30" fmla="*/ 115 w 121"/>
                <a:gd name="T31" fmla="*/ 119 h 121"/>
                <a:gd name="T32" fmla="*/ 113 w 121"/>
                <a:gd name="T33" fmla="*/ 120 h 121"/>
                <a:gd name="T34" fmla="*/ 108 w 121"/>
                <a:gd name="T35" fmla="*/ 121 h 121"/>
                <a:gd name="T36" fmla="*/ 12 w 121"/>
                <a:gd name="T37" fmla="*/ 121 h 121"/>
                <a:gd name="T38" fmla="*/ 9 w 121"/>
                <a:gd name="T39" fmla="*/ 120 h 121"/>
                <a:gd name="T40" fmla="*/ 5 w 121"/>
                <a:gd name="T41" fmla="*/ 119 h 121"/>
                <a:gd name="T42" fmla="*/ 3 w 121"/>
                <a:gd name="T43" fmla="*/ 116 h 121"/>
                <a:gd name="T44" fmla="*/ 0 w 121"/>
                <a:gd name="T45" fmla="*/ 113 h 121"/>
                <a:gd name="T46" fmla="*/ 0 w 121"/>
                <a:gd name="T47" fmla="*/ 109 h 121"/>
                <a:gd name="T48" fmla="*/ 0 w 121"/>
                <a:gd name="T49" fmla="*/ 12 h 121"/>
                <a:gd name="T50" fmla="*/ 0 w 121"/>
                <a:gd name="T51" fmla="*/ 8 h 121"/>
                <a:gd name="T52" fmla="*/ 3 w 121"/>
                <a:gd name="T53" fmla="*/ 5 h 121"/>
                <a:gd name="T54" fmla="*/ 5 w 121"/>
                <a:gd name="T55" fmla="*/ 2 h 121"/>
                <a:gd name="T56" fmla="*/ 9 w 121"/>
                <a:gd name="T57" fmla="*/ 1 h 121"/>
                <a:gd name="T58" fmla="*/ 12 w 121"/>
                <a:gd name="T5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1" h="121">
                  <a:moveTo>
                    <a:pt x="24" y="25"/>
                  </a:moveTo>
                  <a:lnTo>
                    <a:pt x="24" y="96"/>
                  </a:lnTo>
                  <a:lnTo>
                    <a:pt x="96" y="96"/>
                  </a:lnTo>
                  <a:lnTo>
                    <a:pt x="96" y="25"/>
                  </a:lnTo>
                  <a:lnTo>
                    <a:pt x="24" y="25"/>
                  </a:lnTo>
                  <a:close/>
                  <a:moveTo>
                    <a:pt x="12" y="0"/>
                  </a:moveTo>
                  <a:lnTo>
                    <a:pt x="108" y="0"/>
                  </a:lnTo>
                  <a:lnTo>
                    <a:pt x="113" y="1"/>
                  </a:lnTo>
                  <a:lnTo>
                    <a:pt x="115" y="2"/>
                  </a:lnTo>
                  <a:lnTo>
                    <a:pt x="119" y="5"/>
                  </a:lnTo>
                  <a:lnTo>
                    <a:pt x="120" y="8"/>
                  </a:lnTo>
                  <a:lnTo>
                    <a:pt x="121" y="12"/>
                  </a:lnTo>
                  <a:lnTo>
                    <a:pt x="121" y="109"/>
                  </a:lnTo>
                  <a:lnTo>
                    <a:pt x="120" y="113"/>
                  </a:lnTo>
                  <a:lnTo>
                    <a:pt x="119" y="116"/>
                  </a:lnTo>
                  <a:lnTo>
                    <a:pt x="115" y="119"/>
                  </a:lnTo>
                  <a:lnTo>
                    <a:pt x="113" y="120"/>
                  </a:lnTo>
                  <a:lnTo>
                    <a:pt x="108" y="121"/>
                  </a:lnTo>
                  <a:lnTo>
                    <a:pt x="12" y="121"/>
                  </a:lnTo>
                  <a:lnTo>
                    <a:pt x="9" y="120"/>
                  </a:lnTo>
                  <a:lnTo>
                    <a:pt x="5" y="119"/>
                  </a:lnTo>
                  <a:lnTo>
                    <a:pt x="3" y="116"/>
                  </a:lnTo>
                  <a:lnTo>
                    <a:pt x="0" y="113"/>
                  </a:lnTo>
                  <a:lnTo>
                    <a:pt x="0" y="109"/>
                  </a:lnTo>
                  <a:lnTo>
                    <a:pt x="0" y="12"/>
                  </a:lnTo>
                  <a:lnTo>
                    <a:pt x="0" y="8"/>
                  </a:lnTo>
                  <a:lnTo>
                    <a:pt x="3" y="5"/>
                  </a:lnTo>
                  <a:lnTo>
                    <a:pt x="5" y="2"/>
                  </a:lnTo>
                  <a:lnTo>
                    <a:pt x="9" y="1"/>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34" name="Freeform 101"/>
            <p:cNvSpPr>
              <a:spLocks noEditPoints="1"/>
            </p:cNvSpPr>
            <p:nvPr/>
          </p:nvSpPr>
          <p:spPr bwMode="auto">
            <a:xfrm>
              <a:off x="5273645" y="6057645"/>
              <a:ext cx="27292" cy="27747"/>
            </a:xfrm>
            <a:custGeom>
              <a:avLst/>
              <a:gdLst>
                <a:gd name="T0" fmla="*/ 24 w 121"/>
                <a:gd name="T1" fmla="*/ 25 h 121"/>
                <a:gd name="T2" fmla="*/ 24 w 121"/>
                <a:gd name="T3" fmla="*/ 95 h 121"/>
                <a:gd name="T4" fmla="*/ 96 w 121"/>
                <a:gd name="T5" fmla="*/ 95 h 121"/>
                <a:gd name="T6" fmla="*/ 96 w 121"/>
                <a:gd name="T7" fmla="*/ 25 h 121"/>
                <a:gd name="T8" fmla="*/ 24 w 121"/>
                <a:gd name="T9" fmla="*/ 25 h 121"/>
                <a:gd name="T10" fmla="*/ 12 w 121"/>
                <a:gd name="T11" fmla="*/ 0 h 121"/>
                <a:gd name="T12" fmla="*/ 108 w 121"/>
                <a:gd name="T13" fmla="*/ 0 h 121"/>
                <a:gd name="T14" fmla="*/ 113 w 121"/>
                <a:gd name="T15" fmla="*/ 1 h 121"/>
                <a:gd name="T16" fmla="*/ 115 w 121"/>
                <a:gd name="T17" fmla="*/ 2 h 121"/>
                <a:gd name="T18" fmla="*/ 119 w 121"/>
                <a:gd name="T19" fmla="*/ 5 h 121"/>
                <a:gd name="T20" fmla="*/ 120 w 121"/>
                <a:gd name="T21" fmla="*/ 8 h 121"/>
                <a:gd name="T22" fmla="*/ 121 w 121"/>
                <a:gd name="T23" fmla="*/ 12 h 121"/>
                <a:gd name="T24" fmla="*/ 121 w 121"/>
                <a:gd name="T25" fmla="*/ 109 h 121"/>
                <a:gd name="T26" fmla="*/ 120 w 121"/>
                <a:gd name="T27" fmla="*/ 112 h 121"/>
                <a:gd name="T28" fmla="*/ 119 w 121"/>
                <a:gd name="T29" fmla="*/ 116 h 121"/>
                <a:gd name="T30" fmla="*/ 115 w 121"/>
                <a:gd name="T31" fmla="*/ 118 h 121"/>
                <a:gd name="T32" fmla="*/ 113 w 121"/>
                <a:gd name="T33" fmla="*/ 120 h 121"/>
                <a:gd name="T34" fmla="*/ 108 w 121"/>
                <a:gd name="T35" fmla="*/ 121 h 121"/>
                <a:gd name="T36" fmla="*/ 12 w 121"/>
                <a:gd name="T37" fmla="*/ 121 h 121"/>
                <a:gd name="T38" fmla="*/ 9 w 121"/>
                <a:gd name="T39" fmla="*/ 120 h 121"/>
                <a:gd name="T40" fmla="*/ 5 w 121"/>
                <a:gd name="T41" fmla="*/ 118 h 121"/>
                <a:gd name="T42" fmla="*/ 3 w 121"/>
                <a:gd name="T43" fmla="*/ 116 h 121"/>
                <a:gd name="T44" fmla="*/ 0 w 121"/>
                <a:gd name="T45" fmla="*/ 112 h 121"/>
                <a:gd name="T46" fmla="*/ 0 w 121"/>
                <a:gd name="T47" fmla="*/ 109 h 121"/>
                <a:gd name="T48" fmla="*/ 0 w 121"/>
                <a:gd name="T49" fmla="*/ 12 h 121"/>
                <a:gd name="T50" fmla="*/ 0 w 121"/>
                <a:gd name="T51" fmla="*/ 8 h 121"/>
                <a:gd name="T52" fmla="*/ 3 w 121"/>
                <a:gd name="T53" fmla="*/ 5 h 121"/>
                <a:gd name="T54" fmla="*/ 5 w 121"/>
                <a:gd name="T55" fmla="*/ 2 h 121"/>
                <a:gd name="T56" fmla="*/ 9 w 121"/>
                <a:gd name="T57" fmla="*/ 1 h 121"/>
                <a:gd name="T58" fmla="*/ 12 w 121"/>
                <a:gd name="T5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1" h="121">
                  <a:moveTo>
                    <a:pt x="24" y="25"/>
                  </a:moveTo>
                  <a:lnTo>
                    <a:pt x="24" y="95"/>
                  </a:lnTo>
                  <a:lnTo>
                    <a:pt x="96" y="95"/>
                  </a:lnTo>
                  <a:lnTo>
                    <a:pt x="96" y="25"/>
                  </a:lnTo>
                  <a:lnTo>
                    <a:pt x="24" y="25"/>
                  </a:lnTo>
                  <a:close/>
                  <a:moveTo>
                    <a:pt x="12" y="0"/>
                  </a:moveTo>
                  <a:lnTo>
                    <a:pt x="108" y="0"/>
                  </a:lnTo>
                  <a:lnTo>
                    <a:pt x="113" y="1"/>
                  </a:lnTo>
                  <a:lnTo>
                    <a:pt x="115" y="2"/>
                  </a:lnTo>
                  <a:lnTo>
                    <a:pt x="119" y="5"/>
                  </a:lnTo>
                  <a:lnTo>
                    <a:pt x="120" y="8"/>
                  </a:lnTo>
                  <a:lnTo>
                    <a:pt x="121" y="12"/>
                  </a:lnTo>
                  <a:lnTo>
                    <a:pt x="121" y="109"/>
                  </a:lnTo>
                  <a:lnTo>
                    <a:pt x="120" y="112"/>
                  </a:lnTo>
                  <a:lnTo>
                    <a:pt x="119" y="116"/>
                  </a:lnTo>
                  <a:lnTo>
                    <a:pt x="115" y="118"/>
                  </a:lnTo>
                  <a:lnTo>
                    <a:pt x="113" y="120"/>
                  </a:lnTo>
                  <a:lnTo>
                    <a:pt x="108" y="121"/>
                  </a:lnTo>
                  <a:lnTo>
                    <a:pt x="12" y="121"/>
                  </a:lnTo>
                  <a:lnTo>
                    <a:pt x="9" y="120"/>
                  </a:lnTo>
                  <a:lnTo>
                    <a:pt x="5" y="118"/>
                  </a:lnTo>
                  <a:lnTo>
                    <a:pt x="3" y="116"/>
                  </a:lnTo>
                  <a:lnTo>
                    <a:pt x="0" y="112"/>
                  </a:lnTo>
                  <a:lnTo>
                    <a:pt x="0" y="109"/>
                  </a:lnTo>
                  <a:lnTo>
                    <a:pt x="0" y="12"/>
                  </a:lnTo>
                  <a:lnTo>
                    <a:pt x="0" y="8"/>
                  </a:lnTo>
                  <a:lnTo>
                    <a:pt x="3" y="5"/>
                  </a:lnTo>
                  <a:lnTo>
                    <a:pt x="5" y="2"/>
                  </a:lnTo>
                  <a:lnTo>
                    <a:pt x="9" y="1"/>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35" name="Freeform 102"/>
            <p:cNvSpPr>
              <a:spLocks noEditPoints="1"/>
            </p:cNvSpPr>
            <p:nvPr/>
          </p:nvSpPr>
          <p:spPr bwMode="auto">
            <a:xfrm>
              <a:off x="5273645" y="6101767"/>
              <a:ext cx="27292" cy="27747"/>
            </a:xfrm>
            <a:custGeom>
              <a:avLst/>
              <a:gdLst>
                <a:gd name="T0" fmla="*/ 24 w 121"/>
                <a:gd name="T1" fmla="*/ 26 h 122"/>
                <a:gd name="T2" fmla="*/ 24 w 121"/>
                <a:gd name="T3" fmla="*/ 96 h 122"/>
                <a:gd name="T4" fmla="*/ 96 w 121"/>
                <a:gd name="T5" fmla="*/ 96 h 122"/>
                <a:gd name="T6" fmla="*/ 96 w 121"/>
                <a:gd name="T7" fmla="*/ 26 h 122"/>
                <a:gd name="T8" fmla="*/ 24 w 121"/>
                <a:gd name="T9" fmla="*/ 26 h 122"/>
                <a:gd name="T10" fmla="*/ 12 w 121"/>
                <a:gd name="T11" fmla="*/ 0 h 122"/>
                <a:gd name="T12" fmla="*/ 108 w 121"/>
                <a:gd name="T13" fmla="*/ 0 h 122"/>
                <a:gd name="T14" fmla="*/ 113 w 121"/>
                <a:gd name="T15" fmla="*/ 0 h 122"/>
                <a:gd name="T16" fmla="*/ 115 w 121"/>
                <a:gd name="T17" fmla="*/ 3 h 122"/>
                <a:gd name="T18" fmla="*/ 119 w 121"/>
                <a:gd name="T19" fmla="*/ 5 h 122"/>
                <a:gd name="T20" fmla="*/ 120 w 121"/>
                <a:gd name="T21" fmla="*/ 9 h 122"/>
                <a:gd name="T22" fmla="*/ 121 w 121"/>
                <a:gd name="T23" fmla="*/ 13 h 122"/>
                <a:gd name="T24" fmla="*/ 121 w 121"/>
                <a:gd name="T25" fmla="*/ 108 h 122"/>
                <a:gd name="T26" fmla="*/ 120 w 121"/>
                <a:gd name="T27" fmla="*/ 113 h 122"/>
                <a:gd name="T28" fmla="*/ 119 w 121"/>
                <a:gd name="T29" fmla="*/ 115 h 122"/>
                <a:gd name="T30" fmla="*/ 115 w 121"/>
                <a:gd name="T31" fmla="*/ 119 h 122"/>
                <a:gd name="T32" fmla="*/ 113 w 121"/>
                <a:gd name="T33" fmla="*/ 120 h 122"/>
                <a:gd name="T34" fmla="*/ 108 w 121"/>
                <a:gd name="T35" fmla="*/ 122 h 122"/>
                <a:gd name="T36" fmla="*/ 12 w 121"/>
                <a:gd name="T37" fmla="*/ 122 h 122"/>
                <a:gd name="T38" fmla="*/ 9 w 121"/>
                <a:gd name="T39" fmla="*/ 120 h 122"/>
                <a:gd name="T40" fmla="*/ 5 w 121"/>
                <a:gd name="T41" fmla="*/ 119 h 122"/>
                <a:gd name="T42" fmla="*/ 3 w 121"/>
                <a:gd name="T43" fmla="*/ 115 h 122"/>
                <a:gd name="T44" fmla="*/ 0 w 121"/>
                <a:gd name="T45" fmla="*/ 113 h 122"/>
                <a:gd name="T46" fmla="*/ 0 w 121"/>
                <a:gd name="T47" fmla="*/ 108 h 122"/>
                <a:gd name="T48" fmla="*/ 0 w 121"/>
                <a:gd name="T49" fmla="*/ 13 h 122"/>
                <a:gd name="T50" fmla="*/ 0 w 121"/>
                <a:gd name="T51" fmla="*/ 9 h 122"/>
                <a:gd name="T52" fmla="*/ 3 w 121"/>
                <a:gd name="T53" fmla="*/ 5 h 122"/>
                <a:gd name="T54" fmla="*/ 5 w 121"/>
                <a:gd name="T55" fmla="*/ 3 h 122"/>
                <a:gd name="T56" fmla="*/ 9 w 121"/>
                <a:gd name="T57" fmla="*/ 0 h 122"/>
                <a:gd name="T58" fmla="*/ 12 w 121"/>
                <a:gd name="T59"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1" h="122">
                  <a:moveTo>
                    <a:pt x="24" y="26"/>
                  </a:moveTo>
                  <a:lnTo>
                    <a:pt x="24" y="96"/>
                  </a:lnTo>
                  <a:lnTo>
                    <a:pt x="96" y="96"/>
                  </a:lnTo>
                  <a:lnTo>
                    <a:pt x="96" y="26"/>
                  </a:lnTo>
                  <a:lnTo>
                    <a:pt x="24" y="26"/>
                  </a:lnTo>
                  <a:close/>
                  <a:moveTo>
                    <a:pt x="12" y="0"/>
                  </a:moveTo>
                  <a:lnTo>
                    <a:pt x="108" y="0"/>
                  </a:lnTo>
                  <a:lnTo>
                    <a:pt x="113" y="0"/>
                  </a:lnTo>
                  <a:lnTo>
                    <a:pt x="115" y="3"/>
                  </a:lnTo>
                  <a:lnTo>
                    <a:pt x="119" y="5"/>
                  </a:lnTo>
                  <a:lnTo>
                    <a:pt x="120" y="9"/>
                  </a:lnTo>
                  <a:lnTo>
                    <a:pt x="121" y="13"/>
                  </a:lnTo>
                  <a:lnTo>
                    <a:pt x="121" y="108"/>
                  </a:lnTo>
                  <a:lnTo>
                    <a:pt x="120" y="113"/>
                  </a:lnTo>
                  <a:lnTo>
                    <a:pt x="119" y="115"/>
                  </a:lnTo>
                  <a:lnTo>
                    <a:pt x="115" y="119"/>
                  </a:lnTo>
                  <a:lnTo>
                    <a:pt x="113" y="120"/>
                  </a:lnTo>
                  <a:lnTo>
                    <a:pt x="108" y="122"/>
                  </a:lnTo>
                  <a:lnTo>
                    <a:pt x="12" y="122"/>
                  </a:lnTo>
                  <a:lnTo>
                    <a:pt x="9" y="120"/>
                  </a:lnTo>
                  <a:lnTo>
                    <a:pt x="5" y="119"/>
                  </a:lnTo>
                  <a:lnTo>
                    <a:pt x="3" y="115"/>
                  </a:lnTo>
                  <a:lnTo>
                    <a:pt x="0" y="113"/>
                  </a:lnTo>
                  <a:lnTo>
                    <a:pt x="0" y="108"/>
                  </a:lnTo>
                  <a:lnTo>
                    <a:pt x="0" y="13"/>
                  </a:lnTo>
                  <a:lnTo>
                    <a:pt x="0" y="9"/>
                  </a:lnTo>
                  <a:lnTo>
                    <a:pt x="3" y="5"/>
                  </a:lnTo>
                  <a:lnTo>
                    <a:pt x="5" y="3"/>
                  </a:lnTo>
                  <a:lnTo>
                    <a:pt x="9" y="0"/>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36" name="Freeform 103"/>
            <p:cNvSpPr>
              <a:spLocks noEditPoints="1"/>
            </p:cNvSpPr>
            <p:nvPr/>
          </p:nvSpPr>
          <p:spPr bwMode="auto">
            <a:xfrm>
              <a:off x="5605697" y="5925735"/>
              <a:ext cx="27292" cy="27292"/>
            </a:xfrm>
            <a:custGeom>
              <a:avLst/>
              <a:gdLst>
                <a:gd name="T0" fmla="*/ 25 w 121"/>
                <a:gd name="T1" fmla="*/ 26 h 122"/>
                <a:gd name="T2" fmla="*/ 25 w 121"/>
                <a:gd name="T3" fmla="*/ 96 h 122"/>
                <a:gd name="T4" fmla="*/ 97 w 121"/>
                <a:gd name="T5" fmla="*/ 96 h 122"/>
                <a:gd name="T6" fmla="*/ 97 w 121"/>
                <a:gd name="T7" fmla="*/ 26 h 122"/>
                <a:gd name="T8" fmla="*/ 25 w 121"/>
                <a:gd name="T9" fmla="*/ 26 h 122"/>
                <a:gd name="T10" fmla="*/ 13 w 121"/>
                <a:gd name="T11" fmla="*/ 0 h 122"/>
                <a:gd name="T12" fmla="*/ 109 w 121"/>
                <a:gd name="T13" fmla="*/ 0 h 122"/>
                <a:gd name="T14" fmla="*/ 112 w 121"/>
                <a:gd name="T15" fmla="*/ 2 h 122"/>
                <a:gd name="T16" fmla="*/ 116 w 121"/>
                <a:gd name="T17" fmla="*/ 3 h 122"/>
                <a:gd name="T18" fmla="*/ 118 w 121"/>
                <a:gd name="T19" fmla="*/ 5 h 122"/>
                <a:gd name="T20" fmla="*/ 121 w 121"/>
                <a:gd name="T21" fmla="*/ 9 h 122"/>
                <a:gd name="T22" fmla="*/ 121 w 121"/>
                <a:gd name="T23" fmla="*/ 13 h 122"/>
                <a:gd name="T24" fmla="*/ 121 w 121"/>
                <a:gd name="T25" fmla="*/ 109 h 122"/>
                <a:gd name="T26" fmla="*/ 121 w 121"/>
                <a:gd name="T27" fmla="*/ 113 h 122"/>
                <a:gd name="T28" fmla="*/ 118 w 121"/>
                <a:gd name="T29" fmla="*/ 117 h 122"/>
                <a:gd name="T30" fmla="*/ 116 w 121"/>
                <a:gd name="T31" fmla="*/ 119 h 122"/>
                <a:gd name="T32" fmla="*/ 112 w 121"/>
                <a:gd name="T33" fmla="*/ 120 h 122"/>
                <a:gd name="T34" fmla="*/ 109 w 121"/>
                <a:gd name="T35" fmla="*/ 122 h 122"/>
                <a:gd name="T36" fmla="*/ 13 w 121"/>
                <a:gd name="T37" fmla="*/ 122 h 122"/>
                <a:gd name="T38" fmla="*/ 8 w 121"/>
                <a:gd name="T39" fmla="*/ 120 h 122"/>
                <a:gd name="T40" fmla="*/ 6 w 121"/>
                <a:gd name="T41" fmla="*/ 119 h 122"/>
                <a:gd name="T42" fmla="*/ 2 w 121"/>
                <a:gd name="T43" fmla="*/ 117 h 122"/>
                <a:gd name="T44" fmla="*/ 1 w 121"/>
                <a:gd name="T45" fmla="*/ 113 h 122"/>
                <a:gd name="T46" fmla="*/ 0 w 121"/>
                <a:gd name="T47" fmla="*/ 109 h 122"/>
                <a:gd name="T48" fmla="*/ 0 w 121"/>
                <a:gd name="T49" fmla="*/ 13 h 122"/>
                <a:gd name="T50" fmla="*/ 1 w 121"/>
                <a:gd name="T51" fmla="*/ 9 h 122"/>
                <a:gd name="T52" fmla="*/ 2 w 121"/>
                <a:gd name="T53" fmla="*/ 5 h 122"/>
                <a:gd name="T54" fmla="*/ 6 w 121"/>
                <a:gd name="T55" fmla="*/ 3 h 122"/>
                <a:gd name="T56" fmla="*/ 8 w 121"/>
                <a:gd name="T57" fmla="*/ 2 h 122"/>
                <a:gd name="T58" fmla="*/ 13 w 121"/>
                <a:gd name="T59"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1" h="122">
                  <a:moveTo>
                    <a:pt x="25" y="26"/>
                  </a:moveTo>
                  <a:lnTo>
                    <a:pt x="25" y="96"/>
                  </a:lnTo>
                  <a:lnTo>
                    <a:pt x="97" y="96"/>
                  </a:lnTo>
                  <a:lnTo>
                    <a:pt x="97" y="26"/>
                  </a:lnTo>
                  <a:lnTo>
                    <a:pt x="25" y="26"/>
                  </a:lnTo>
                  <a:close/>
                  <a:moveTo>
                    <a:pt x="13" y="0"/>
                  </a:moveTo>
                  <a:lnTo>
                    <a:pt x="109" y="0"/>
                  </a:lnTo>
                  <a:lnTo>
                    <a:pt x="112" y="2"/>
                  </a:lnTo>
                  <a:lnTo>
                    <a:pt x="116" y="3"/>
                  </a:lnTo>
                  <a:lnTo>
                    <a:pt x="118" y="5"/>
                  </a:lnTo>
                  <a:lnTo>
                    <a:pt x="121" y="9"/>
                  </a:lnTo>
                  <a:lnTo>
                    <a:pt x="121" y="13"/>
                  </a:lnTo>
                  <a:lnTo>
                    <a:pt x="121" y="109"/>
                  </a:lnTo>
                  <a:lnTo>
                    <a:pt x="121" y="113"/>
                  </a:lnTo>
                  <a:lnTo>
                    <a:pt x="118" y="117"/>
                  </a:lnTo>
                  <a:lnTo>
                    <a:pt x="116" y="119"/>
                  </a:lnTo>
                  <a:lnTo>
                    <a:pt x="112" y="120"/>
                  </a:lnTo>
                  <a:lnTo>
                    <a:pt x="109" y="122"/>
                  </a:lnTo>
                  <a:lnTo>
                    <a:pt x="13" y="122"/>
                  </a:lnTo>
                  <a:lnTo>
                    <a:pt x="8" y="120"/>
                  </a:lnTo>
                  <a:lnTo>
                    <a:pt x="6" y="119"/>
                  </a:lnTo>
                  <a:lnTo>
                    <a:pt x="2" y="117"/>
                  </a:lnTo>
                  <a:lnTo>
                    <a:pt x="1" y="113"/>
                  </a:lnTo>
                  <a:lnTo>
                    <a:pt x="0" y="109"/>
                  </a:lnTo>
                  <a:lnTo>
                    <a:pt x="0" y="13"/>
                  </a:lnTo>
                  <a:lnTo>
                    <a:pt x="1" y="9"/>
                  </a:lnTo>
                  <a:lnTo>
                    <a:pt x="2" y="5"/>
                  </a:lnTo>
                  <a:lnTo>
                    <a:pt x="6" y="3"/>
                  </a:lnTo>
                  <a:lnTo>
                    <a:pt x="8" y="2"/>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37" name="Freeform 104"/>
            <p:cNvSpPr>
              <a:spLocks noEditPoints="1"/>
            </p:cNvSpPr>
            <p:nvPr/>
          </p:nvSpPr>
          <p:spPr bwMode="auto">
            <a:xfrm>
              <a:off x="5605697" y="5969856"/>
              <a:ext cx="27292" cy="27292"/>
            </a:xfrm>
            <a:custGeom>
              <a:avLst/>
              <a:gdLst>
                <a:gd name="T0" fmla="*/ 25 w 121"/>
                <a:gd name="T1" fmla="*/ 26 h 121"/>
                <a:gd name="T2" fmla="*/ 25 w 121"/>
                <a:gd name="T3" fmla="*/ 96 h 121"/>
                <a:gd name="T4" fmla="*/ 97 w 121"/>
                <a:gd name="T5" fmla="*/ 96 h 121"/>
                <a:gd name="T6" fmla="*/ 97 w 121"/>
                <a:gd name="T7" fmla="*/ 26 h 121"/>
                <a:gd name="T8" fmla="*/ 25 w 121"/>
                <a:gd name="T9" fmla="*/ 26 h 121"/>
                <a:gd name="T10" fmla="*/ 13 w 121"/>
                <a:gd name="T11" fmla="*/ 0 h 121"/>
                <a:gd name="T12" fmla="*/ 109 w 121"/>
                <a:gd name="T13" fmla="*/ 0 h 121"/>
                <a:gd name="T14" fmla="*/ 112 w 121"/>
                <a:gd name="T15" fmla="*/ 1 h 121"/>
                <a:gd name="T16" fmla="*/ 116 w 121"/>
                <a:gd name="T17" fmla="*/ 3 h 121"/>
                <a:gd name="T18" fmla="*/ 118 w 121"/>
                <a:gd name="T19" fmla="*/ 5 h 121"/>
                <a:gd name="T20" fmla="*/ 121 w 121"/>
                <a:gd name="T21" fmla="*/ 9 h 121"/>
                <a:gd name="T22" fmla="*/ 121 w 121"/>
                <a:gd name="T23" fmla="*/ 12 h 121"/>
                <a:gd name="T24" fmla="*/ 121 w 121"/>
                <a:gd name="T25" fmla="*/ 109 h 121"/>
                <a:gd name="T26" fmla="*/ 121 w 121"/>
                <a:gd name="T27" fmla="*/ 113 h 121"/>
                <a:gd name="T28" fmla="*/ 118 w 121"/>
                <a:gd name="T29" fmla="*/ 116 h 121"/>
                <a:gd name="T30" fmla="*/ 116 w 121"/>
                <a:gd name="T31" fmla="*/ 119 h 121"/>
                <a:gd name="T32" fmla="*/ 112 w 121"/>
                <a:gd name="T33" fmla="*/ 120 h 121"/>
                <a:gd name="T34" fmla="*/ 109 w 121"/>
                <a:gd name="T35" fmla="*/ 121 h 121"/>
                <a:gd name="T36" fmla="*/ 13 w 121"/>
                <a:gd name="T37" fmla="*/ 121 h 121"/>
                <a:gd name="T38" fmla="*/ 8 w 121"/>
                <a:gd name="T39" fmla="*/ 120 h 121"/>
                <a:gd name="T40" fmla="*/ 6 w 121"/>
                <a:gd name="T41" fmla="*/ 119 h 121"/>
                <a:gd name="T42" fmla="*/ 2 w 121"/>
                <a:gd name="T43" fmla="*/ 116 h 121"/>
                <a:gd name="T44" fmla="*/ 1 w 121"/>
                <a:gd name="T45" fmla="*/ 113 h 121"/>
                <a:gd name="T46" fmla="*/ 0 w 121"/>
                <a:gd name="T47" fmla="*/ 109 h 121"/>
                <a:gd name="T48" fmla="*/ 0 w 121"/>
                <a:gd name="T49" fmla="*/ 12 h 121"/>
                <a:gd name="T50" fmla="*/ 1 w 121"/>
                <a:gd name="T51" fmla="*/ 9 h 121"/>
                <a:gd name="T52" fmla="*/ 2 w 121"/>
                <a:gd name="T53" fmla="*/ 5 h 121"/>
                <a:gd name="T54" fmla="*/ 6 w 121"/>
                <a:gd name="T55" fmla="*/ 3 h 121"/>
                <a:gd name="T56" fmla="*/ 8 w 121"/>
                <a:gd name="T57" fmla="*/ 1 h 121"/>
                <a:gd name="T58" fmla="*/ 13 w 121"/>
                <a:gd name="T5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1" h="121">
                  <a:moveTo>
                    <a:pt x="25" y="26"/>
                  </a:moveTo>
                  <a:lnTo>
                    <a:pt x="25" y="96"/>
                  </a:lnTo>
                  <a:lnTo>
                    <a:pt x="97" y="96"/>
                  </a:lnTo>
                  <a:lnTo>
                    <a:pt x="97" y="26"/>
                  </a:lnTo>
                  <a:lnTo>
                    <a:pt x="25" y="26"/>
                  </a:lnTo>
                  <a:close/>
                  <a:moveTo>
                    <a:pt x="13" y="0"/>
                  </a:moveTo>
                  <a:lnTo>
                    <a:pt x="109" y="0"/>
                  </a:lnTo>
                  <a:lnTo>
                    <a:pt x="112" y="1"/>
                  </a:lnTo>
                  <a:lnTo>
                    <a:pt x="116" y="3"/>
                  </a:lnTo>
                  <a:lnTo>
                    <a:pt x="118" y="5"/>
                  </a:lnTo>
                  <a:lnTo>
                    <a:pt x="121" y="9"/>
                  </a:lnTo>
                  <a:lnTo>
                    <a:pt x="121" y="12"/>
                  </a:lnTo>
                  <a:lnTo>
                    <a:pt x="121" y="109"/>
                  </a:lnTo>
                  <a:lnTo>
                    <a:pt x="121" y="113"/>
                  </a:lnTo>
                  <a:lnTo>
                    <a:pt x="118" y="116"/>
                  </a:lnTo>
                  <a:lnTo>
                    <a:pt x="116" y="119"/>
                  </a:lnTo>
                  <a:lnTo>
                    <a:pt x="112" y="120"/>
                  </a:lnTo>
                  <a:lnTo>
                    <a:pt x="109" y="121"/>
                  </a:lnTo>
                  <a:lnTo>
                    <a:pt x="13" y="121"/>
                  </a:lnTo>
                  <a:lnTo>
                    <a:pt x="8" y="120"/>
                  </a:lnTo>
                  <a:lnTo>
                    <a:pt x="6" y="119"/>
                  </a:lnTo>
                  <a:lnTo>
                    <a:pt x="2" y="116"/>
                  </a:lnTo>
                  <a:lnTo>
                    <a:pt x="1" y="113"/>
                  </a:lnTo>
                  <a:lnTo>
                    <a:pt x="0" y="109"/>
                  </a:lnTo>
                  <a:lnTo>
                    <a:pt x="0" y="12"/>
                  </a:lnTo>
                  <a:lnTo>
                    <a:pt x="1" y="9"/>
                  </a:lnTo>
                  <a:lnTo>
                    <a:pt x="2" y="5"/>
                  </a:lnTo>
                  <a:lnTo>
                    <a:pt x="6" y="3"/>
                  </a:lnTo>
                  <a:lnTo>
                    <a:pt x="8" y="1"/>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38" name="Freeform 105"/>
            <p:cNvSpPr>
              <a:spLocks noEditPoints="1"/>
            </p:cNvSpPr>
            <p:nvPr/>
          </p:nvSpPr>
          <p:spPr bwMode="auto">
            <a:xfrm>
              <a:off x="5605697" y="6013523"/>
              <a:ext cx="27292" cy="27747"/>
            </a:xfrm>
            <a:custGeom>
              <a:avLst/>
              <a:gdLst>
                <a:gd name="T0" fmla="*/ 25 w 121"/>
                <a:gd name="T1" fmla="*/ 25 h 121"/>
                <a:gd name="T2" fmla="*/ 25 w 121"/>
                <a:gd name="T3" fmla="*/ 96 h 121"/>
                <a:gd name="T4" fmla="*/ 97 w 121"/>
                <a:gd name="T5" fmla="*/ 96 h 121"/>
                <a:gd name="T6" fmla="*/ 97 w 121"/>
                <a:gd name="T7" fmla="*/ 25 h 121"/>
                <a:gd name="T8" fmla="*/ 25 w 121"/>
                <a:gd name="T9" fmla="*/ 25 h 121"/>
                <a:gd name="T10" fmla="*/ 13 w 121"/>
                <a:gd name="T11" fmla="*/ 0 h 121"/>
                <a:gd name="T12" fmla="*/ 109 w 121"/>
                <a:gd name="T13" fmla="*/ 0 h 121"/>
                <a:gd name="T14" fmla="*/ 112 w 121"/>
                <a:gd name="T15" fmla="*/ 1 h 121"/>
                <a:gd name="T16" fmla="*/ 116 w 121"/>
                <a:gd name="T17" fmla="*/ 2 h 121"/>
                <a:gd name="T18" fmla="*/ 118 w 121"/>
                <a:gd name="T19" fmla="*/ 5 h 121"/>
                <a:gd name="T20" fmla="*/ 121 w 121"/>
                <a:gd name="T21" fmla="*/ 8 h 121"/>
                <a:gd name="T22" fmla="*/ 121 w 121"/>
                <a:gd name="T23" fmla="*/ 12 h 121"/>
                <a:gd name="T24" fmla="*/ 121 w 121"/>
                <a:gd name="T25" fmla="*/ 109 h 121"/>
                <a:gd name="T26" fmla="*/ 121 w 121"/>
                <a:gd name="T27" fmla="*/ 113 h 121"/>
                <a:gd name="T28" fmla="*/ 118 w 121"/>
                <a:gd name="T29" fmla="*/ 116 h 121"/>
                <a:gd name="T30" fmla="*/ 116 w 121"/>
                <a:gd name="T31" fmla="*/ 119 h 121"/>
                <a:gd name="T32" fmla="*/ 112 w 121"/>
                <a:gd name="T33" fmla="*/ 120 h 121"/>
                <a:gd name="T34" fmla="*/ 109 w 121"/>
                <a:gd name="T35" fmla="*/ 121 h 121"/>
                <a:gd name="T36" fmla="*/ 13 w 121"/>
                <a:gd name="T37" fmla="*/ 121 h 121"/>
                <a:gd name="T38" fmla="*/ 8 w 121"/>
                <a:gd name="T39" fmla="*/ 120 h 121"/>
                <a:gd name="T40" fmla="*/ 6 w 121"/>
                <a:gd name="T41" fmla="*/ 119 h 121"/>
                <a:gd name="T42" fmla="*/ 2 w 121"/>
                <a:gd name="T43" fmla="*/ 116 h 121"/>
                <a:gd name="T44" fmla="*/ 1 w 121"/>
                <a:gd name="T45" fmla="*/ 113 h 121"/>
                <a:gd name="T46" fmla="*/ 0 w 121"/>
                <a:gd name="T47" fmla="*/ 109 h 121"/>
                <a:gd name="T48" fmla="*/ 0 w 121"/>
                <a:gd name="T49" fmla="*/ 12 h 121"/>
                <a:gd name="T50" fmla="*/ 1 w 121"/>
                <a:gd name="T51" fmla="*/ 8 h 121"/>
                <a:gd name="T52" fmla="*/ 2 w 121"/>
                <a:gd name="T53" fmla="*/ 5 h 121"/>
                <a:gd name="T54" fmla="*/ 6 w 121"/>
                <a:gd name="T55" fmla="*/ 2 h 121"/>
                <a:gd name="T56" fmla="*/ 8 w 121"/>
                <a:gd name="T57" fmla="*/ 1 h 121"/>
                <a:gd name="T58" fmla="*/ 13 w 121"/>
                <a:gd name="T5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1" h="121">
                  <a:moveTo>
                    <a:pt x="25" y="25"/>
                  </a:moveTo>
                  <a:lnTo>
                    <a:pt x="25" y="96"/>
                  </a:lnTo>
                  <a:lnTo>
                    <a:pt x="97" y="96"/>
                  </a:lnTo>
                  <a:lnTo>
                    <a:pt x="97" y="25"/>
                  </a:lnTo>
                  <a:lnTo>
                    <a:pt x="25" y="25"/>
                  </a:lnTo>
                  <a:close/>
                  <a:moveTo>
                    <a:pt x="13" y="0"/>
                  </a:moveTo>
                  <a:lnTo>
                    <a:pt x="109" y="0"/>
                  </a:lnTo>
                  <a:lnTo>
                    <a:pt x="112" y="1"/>
                  </a:lnTo>
                  <a:lnTo>
                    <a:pt x="116" y="2"/>
                  </a:lnTo>
                  <a:lnTo>
                    <a:pt x="118" y="5"/>
                  </a:lnTo>
                  <a:lnTo>
                    <a:pt x="121" y="8"/>
                  </a:lnTo>
                  <a:lnTo>
                    <a:pt x="121" y="12"/>
                  </a:lnTo>
                  <a:lnTo>
                    <a:pt x="121" y="109"/>
                  </a:lnTo>
                  <a:lnTo>
                    <a:pt x="121" y="113"/>
                  </a:lnTo>
                  <a:lnTo>
                    <a:pt x="118" y="116"/>
                  </a:lnTo>
                  <a:lnTo>
                    <a:pt x="116" y="119"/>
                  </a:lnTo>
                  <a:lnTo>
                    <a:pt x="112" y="120"/>
                  </a:lnTo>
                  <a:lnTo>
                    <a:pt x="109" y="121"/>
                  </a:lnTo>
                  <a:lnTo>
                    <a:pt x="13" y="121"/>
                  </a:lnTo>
                  <a:lnTo>
                    <a:pt x="8" y="120"/>
                  </a:lnTo>
                  <a:lnTo>
                    <a:pt x="6" y="119"/>
                  </a:lnTo>
                  <a:lnTo>
                    <a:pt x="2" y="116"/>
                  </a:lnTo>
                  <a:lnTo>
                    <a:pt x="1" y="113"/>
                  </a:lnTo>
                  <a:lnTo>
                    <a:pt x="0" y="109"/>
                  </a:lnTo>
                  <a:lnTo>
                    <a:pt x="0" y="12"/>
                  </a:lnTo>
                  <a:lnTo>
                    <a:pt x="1" y="8"/>
                  </a:lnTo>
                  <a:lnTo>
                    <a:pt x="2" y="5"/>
                  </a:lnTo>
                  <a:lnTo>
                    <a:pt x="6" y="2"/>
                  </a:lnTo>
                  <a:lnTo>
                    <a:pt x="8" y="1"/>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39" name="Freeform 106"/>
            <p:cNvSpPr>
              <a:spLocks noEditPoints="1"/>
            </p:cNvSpPr>
            <p:nvPr/>
          </p:nvSpPr>
          <p:spPr bwMode="auto">
            <a:xfrm>
              <a:off x="5605697" y="6057645"/>
              <a:ext cx="27292" cy="27747"/>
            </a:xfrm>
            <a:custGeom>
              <a:avLst/>
              <a:gdLst>
                <a:gd name="T0" fmla="*/ 25 w 121"/>
                <a:gd name="T1" fmla="*/ 25 h 121"/>
                <a:gd name="T2" fmla="*/ 25 w 121"/>
                <a:gd name="T3" fmla="*/ 95 h 121"/>
                <a:gd name="T4" fmla="*/ 97 w 121"/>
                <a:gd name="T5" fmla="*/ 95 h 121"/>
                <a:gd name="T6" fmla="*/ 97 w 121"/>
                <a:gd name="T7" fmla="*/ 25 h 121"/>
                <a:gd name="T8" fmla="*/ 25 w 121"/>
                <a:gd name="T9" fmla="*/ 25 h 121"/>
                <a:gd name="T10" fmla="*/ 13 w 121"/>
                <a:gd name="T11" fmla="*/ 0 h 121"/>
                <a:gd name="T12" fmla="*/ 109 w 121"/>
                <a:gd name="T13" fmla="*/ 0 h 121"/>
                <a:gd name="T14" fmla="*/ 112 w 121"/>
                <a:gd name="T15" fmla="*/ 1 h 121"/>
                <a:gd name="T16" fmla="*/ 116 w 121"/>
                <a:gd name="T17" fmla="*/ 2 h 121"/>
                <a:gd name="T18" fmla="*/ 118 w 121"/>
                <a:gd name="T19" fmla="*/ 5 h 121"/>
                <a:gd name="T20" fmla="*/ 121 w 121"/>
                <a:gd name="T21" fmla="*/ 8 h 121"/>
                <a:gd name="T22" fmla="*/ 121 w 121"/>
                <a:gd name="T23" fmla="*/ 12 h 121"/>
                <a:gd name="T24" fmla="*/ 121 w 121"/>
                <a:gd name="T25" fmla="*/ 109 h 121"/>
                <a:gd name="T26" fmla="*/ 121 w 121"/>
                <a:gd name="T27" fmla="*/ 112 h 121"/>
                <a:gd name="T28" fmla="*/ 118 w 121"/>
                <a:gd name="T29" fmla="*/ 116 h 121"/>
                <a:gd name="T30" fmla="*/ 116 w 121"/>
                <a:gd name="T31" fmla="*/ 118 h 121"/>
                <a:gd name="T32" fmla="*/ 112 w 121"/>
                <a:gd name="T33" fmla="*/ 120 h 121"/>
                <a:gd name="T34" fmla="*/ 109 w 121"/>
                <a:gd name="T35" fmla="*/ 121 h 121"/>
                <a:gd name="T36" fmla="*/ 13 w 121"/>
                <a:gd name="T37" fmla="*/ 121 h 121"/>
                <a:gd name="T38" fmla="*/ 8 w 121"/>
                <a:gd name="T39" fmla="*/ 120 h 121"/>
                <a:gd name="T40" fmla="*/ 6 w 121"/>
                <a:gd name="T41" fmla="*/ 118 h 121"/>
                <a:gd name="T42" fmla="*/ 2 w 121"/>
                <a:gd name="T43" fmla="*/ 116 h 121"/>
                <a:gd name="T44" fmla="*/ 1 w 121"/>
                <a:gd name="T45" fmla="*/ 112 h 121"/>
                <a:gd name="T46" fmla="*/ 0 w 121"/>
                <a:gd name="T47" fmla="*/ 109 h 121"/>
                <a:gd name="T48" fmla="*/ 0 w 121"/>
                <a:gd name="T49" fmla="*/ 12 h 121"/>
                <a:gd name="T50" fmla="*/ 1 w 121"/>
                <a:gd name="T51" fmla="*/ 8 h 121"/>
                <a:gd name="T52" fmla="*/ 2 w 121"/>
                <a:gd name="T53" fmla="*/ 5 h 121"/>
                <a:gd name="T54" fmla="*/ 6 w 121"/>
                <a:gd name="T55" fmla="*/ 2 h 121"/>
                <a:gd name="T56" fmla="*/ 8 w 121"/>
                <a:gd name="T57" fmla="*/ 1 h 121"/>
                <a:gd name="T58" fmla="*/ 13 w 121"/>
                <a:gd name="T5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1" h="121">
                  <a:moveTo>
                    <a:pt x="25" y="25"/>
                  </a:moveTo>
                  <a:lnTo>
                    <a:pt x="25" y="95"/>
                  </a:lnTo>
                  <a:lnTo>
                    <a:pt x="97" y="95"/>
                  </a:lnTo>
                  <a:lnTo>
                    <a:pt x="97" y="25"/>
                  </a:lnTo>
                  <a:lnTo>
                    <a:pt x="25" y="25"/>
                  </a:lnTo>
                  <a:close/>
                  <a:moveTo>
                    <a:pt x="13" y="0"/>
                  </a:moveTo>
                  <a:lnTo>
                    <a:pt x="109" y="0"/>
                  </a:lnTo>
                  <a:lnTo>
                    <a:pt x="112" y="1"/>
                  </a:lnTo>
                  <a:lnTo>
                    <a:pt x="116" y="2"/>
                  </a:lnTo>
                  <a:lnTo>
                    <a:pt x="118" y="5"/>
                  </a:lnTo>
                  <a:lnTo>
                    <a:pt x="121" y="8"/>
                  </a:lnTo>
                  <a:lnTo>
                    <a:pt x="121" y="12"/>
                  </a:lnTo>
                  <a:lnTo>
                    <a:pt x="121" y="109"/>
                  </a:lnTo>
                  <a:lnTo>
                    <a:pt x="121" y="112"/>
                  </a:lnTo>
                  <a:lnTo>
                    <a:pt x="118" y="116"/>
                  </a:lnTo>
                  <a:lnTo>
                    <a:pt x="116" y="118"/>
                  </a:lnTo>
                  <a:lnTo>
                    <a:pt x="112" y="120"/>
                  </a:lnTo>
                  <a:lnTo>
                    <a:pt x="109" y="121"/>
                  </a:lnTo>
                  <a:lnTo>
                    <a:pt x="13" y="121"/>
                  </a:lnTo>
                  <a:lnTo>
                    <a:pt x="8" y="120"/>
                  </a:lnTo>
                  <a:lnTo>
                    <a:pt x="6" y="118"/>
                  </a:lnTo>
                  <a:lnTo>
                    <a:pt x="2" y="116"/>
                  </a:lnTo>
                  <a:lnTo>
                    <a:pt x="1" y="112"/>
                  </a:lnTo>
                  <a:lnTo>
                    <a:pt x="0" y="109"/>
                  </a:lnTo>
                  <a:lnTo>
                    <a:pt x="0" y="12"/>
                  </a:lnTo>
                  <a:lnTo>
                    <a:pt x="1" y="8"/>
                  </a:lnTo>
                  <a:lnTo>
                    <a:pt x="2" y="5"/>
                  </a:lnTo>
                  <a:lnTo>
                    <a:pt x="6" y="2"/>
                  </a:lnTo>
                  <a:lnTo>
                    <a:pt x="8" y="1"/>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40" name="Freeform 107"/>
            <p:cNvSpPr>
              <a:spLocks noEditPoints="1"/>
            </p:cNvSpPr>
            <p:nvPr/>
          </p:nvSpPr>
          <p:spPr bwMode="auto">
            <a:xfrm>
              <a:off x="5605697" y="6101767"/>
              <a:ext cx="27292" cy="27747"/>
            </a:xfrm>
            <a:custGeom>
              <a:avLst/>
              <a:gdLst>
                <a:gd name="T0" fmla="*/ 25 w 121"/>
                <a:gd name="T1" fmla="*/ 26 h 122"/>
                <a:gd name="T2" fmla="*/ 25 w 121"/>
                <a:gd name="T3" fmla="*/ 96 h 122"/>
                <a:gd name="T4" fmla="*/ 97 w 121"/>
                <a:gd name="T5" fmla="*/ 96 h 122"/>
                <a:gd name="T6" fmla="*/ 97 w 121"/>
                <a:gd name="T7" fmla="*/ 26 h 122"/>
                <a:gd name="T8" fmla="*/ 25 w 121"/>
                <a:gd name="T9" fmla="*/ 26 h 122"/>
                <a:gd name="T10" fmla="*/ 13 w 121"/>
                <a:gd name="T11" fmla="*/ 0 h 122"/>
                <a:gd name="T12" fmla="*/ 109 w 121"/>
                <a:gd name="T13" fmla="*/ 0 h 122"/>
                <a:gd name="T14" fmla="*/ 112 w 121"/>
                <a:gd name="T15" fmla="*/ 0 h 122"/>
                <a:gd name="T16" fmla="*/ 116 w 121"/>
                <a:gd name="T17" fmla="*/ 3 h 122"/>
                <a:gd name="T18" fmla="*/ 118 w 121"/>
                <a:gd name="T19" fmla="*/ 5 h 122"/>
                <a:gd name="T20" fmla="*/ 121 w 121"/>
                <a:gd name="T21" fmla="*/ 9 h 122"/>
                <a:gd name="T22" fmla="*/ 121 w 121"/>
                <a:gd name="T23" fmla="*/ 13 h 122"/>
                <a:gd name="T24" fmla="*/ 121 w 121"/>
                <a:gd name="T25" fmla="*/ 108 h 122"/>
                <a:gd name="T26" fmla="*/ 121 w 121"/>
                <a:gd name="T27" fmla="*/ 113 h 122"/>
                <a:gd name="T28" fmla="*/ 118 w 121"/>
                <a:gd name="T29" fmla="*/ 115 h 122"/>
                <a:gd name="T30" fmla="*/ 116 w 121"/>
                <a:gd name="T31" fmla="*/ 119 h 122"/>
                <a:gd name="T32" fmla="*/ 112 w 121"/>
                <a:gd name="T33" fmla="*/ 120 h 122"/>
                <a:gd name="T34" fmla="*/ 109 w 121"/>
                <a:gd name="T35" fmla="*/ 122 h 122"/>
                <a:gd name="T36" fmla="*/ 13 w 121"/>
                <a:gd name="T37" fmla="*/ 122 h 122"/>
                <a:gd name="T38" fmla="*/ 8 w 121"/>
                <a:gd name="T39" fmla="*/ 120 h 122"/>
                <a:gd name="T40" fmla="*/ 6 w 121"/>
                <a:gd name="T41" fmla="*/ 119 h 122"/>
                <a:gd name="T42" fmla="*/ 2 w 121"/>
                <a:gd name="T43" fmla="*/ 115 h 122"/>
                <a:gd name="T44" fmla="*/ 1 w 121"/>
                <a:gd name="T45" fmla="*/ 113 h 122"/>
                <a:gd name="T46" fmla="*/ 0 w 121"/>
                <a:gd name="T47" fmla="*/ 108 h 122"/>
                <a:gd name="T48" fmla="*/ 0 w 121"/>
                <a:gd name="T49" fmla="*/ 13 h 122"/>
                <a:gd name="T50" fmla="*/ 1 w 121"/>
                <a:gd name="T51" fmla="*/ 9 h 122"/>
                <a:gd name="T52" fmla="*/ 2 w 121"/>
                <a:gd name="T53" fmla="*/ 5 h 122"/>
                <a:gd name="T54" fmla="*/ 6 w 121"/>
                <a:gd name="T55" fmla="*/ 3 h 122"/>
                <a:gd name="T56" fmla="*/ 8 w 121"/>
                <a:gd name="T57" fmla="*/ 0 h 122"/>
                <a:gd name="T58" fmla="*/ 13 w 121"/>
                <a:gd name="T59"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1" h="122">
                  <a:moveTo>
                    <a:pt x="25" y="26"/>
                  </a:moveTo>
                  <a:lnTo>
                    <a:pt x="25" y="96"/>
                  </a:lnTo>
                  <a:lnTo>
                    <a:pt x="97" y="96"/>
                  </a:lnTo>
                  <a:lnTo>
                    <a:pt x="97" y="26"/>
                  </a:lnTo>
                  <a:lnTo>
                    <a:pt x="25" y="26"/>
                  </a:lnTo>
                  <a:close/>
                  <a:moveTo>
                    <a:pt x="13" y="0"/>
                  </a:moveTo>
                  <a:lnTo>
                    <a:pt x="109" y="0"/>
                  </a:lnTo>
                  <a:lnTo>
                    <a:pt x="112" y="0"/>
                  </a:lnTo>
                  <a:lnTo>
                    <a:pt x="116" y="3"/>
                  </a:lnTo>
                  <a:lnTo>
                    <a:pt x="118" y="5"/>
                  </a:lnTo>
                  <a:lnTo>
                    <a:pt x="121" y="9"/>
                  </a:lnTo>
                  <a:lnTo>
                    <a:pt x="121" y="13"/>
                  </a:lnTo>
                  <a:lnTo>
                    <a:pt x="121" y="108"/>
                  </a:lnTo>
                  <a:lnTo>
                    <a:pt x="121" y="113"/>
                  </a:lnTo>
                  <a:lnTo>
                    <a:pt x="118" y="115"/>
                  </a:lnTo>
                  <a:lnTo>
                    <a:pt x="116" y="119"/>
                  </a:lnTo>
                  <a:lnTo>
                    <a:pt x="112" y="120"/>
                  </a:lnTo>
                  <a:lnTo>
                    <a:pt x="109" y="122"/>
                  </a:lnTo>
                  <a:lnTo>
                    <a:pt x="13" y="122"/>
                  </a:lnTo>
                  <a:lnTo>
                    <a:pt x="8" y="120"/>
                  </a:lnTo>
                  <a:lnTo>
                    <a:pt x="6" y="119"/>
                  </a:lnTo>
                  <a:lnTo>
                    <a:pt x="2" y="115"/>
                  </a:lnTo>
                  <a:lnTo>
                    <a:pt x="1" y="113"/>
                  </a:lnTo>
                  <a:lnTo>
                    <a:pt x="0" y="108"/>
                  </a:lnTo>
                  <a:lnTo>
                    <a:pt x="0" y="13"/>
                  </a:lnTo>
                  <a:lnTo>
                    <a:pt x="1" y="9"/>
                  </a:lnTo>
                  <a:lnTo>
                    <a:pt x="2" y="5"/>
                  </a:lnTo>
                  <a:lnTo>
                    <a:pt x="6" y="3"/>
                  </a:lnTo>
                  <a:lnTo>
                    <a:pt x="8" y="0"/>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42" name="Freeform 109"/>
            <p:cNvSpPr>
              <a:spLocks/>
            </p:cNvSpPr>
            <p:nvPr/>
          </p:nvSpPr>
          <p:spPr bwMode="auto">
            <a:xfrm>
              <a:off x="5370077" y="5943929"/>
              <a:ext cx="10917" cy="11372"/>
            </a:xfrm>
            <a:custGeom>
              <a:avLst/>
              <a:gdLst>
                <a:gd name="T0" fmla="*/ 25 w 49"/>
                <a:gd name="T1" fmla="*/ 0 h 48"/>
                <a:gd name="T2" fmla="*/ 37 w 49"/>
                <a:gd name="T3" fmla="*/ 3 h 48"/>
                <a:gd name="T4" fmla="*/ 45 w 49"/>
                <a:gd name="T5" fmla="*/ 12 h 48"/>
                <a:gd name="T6" fmla="*/ 49 w 49"/>
                <a:gd name="T7" fmla="*/ 24 h 48"/>
                <a:gd name="T8" fmla="*/ 45 w 49"/>
                <a:gd name="T9" fmla="*/ 36 h 48"/>
                <a:gd name="T10" fmla="*/ 37 w 49"/>
                <a:gd name="T11" fmla="*/ 44 h 48"/>
                <a:gd name="T12" fmla="*/ 25 w 49"/>
                <a:gd name="T13" fmla="*/ 48 h 48"/>
                <a:gd name="T14" fmla="*/ 12 w 49"/>
                <a:gd name="T15" fmla="*/ 44 h 48"/>
                <a:gd name="T16" fmla="*/ 4 w 49"/>
                <a:gd name="T17" fmla="*/ 36 h 48"/>
                <a:gd name="T18" fmla="*/ 0 w 49"/>
                <a:gd name="T19" fmla="*/ 24 h 48"/>
                <a:gd name="T20" fmla="*/ 4 w 49"/>
                <a:gd name="T21" fmla="*/ 12 h 48"/>
                <a:gd name="T22" fmla="*/ 12 w 49"/>
                <a:gd name="T23" fmla="*/ 3 h 48"/>
                <a:gd name="T24" fmla="*/ 25 w 4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8">
                  <a:moveTo>
                    <a:pt x="25" y="0"/>
                  </a:moveTo>
                  <a:lnTo>
                    <a:pt x="37" y="3"/>
                  </a:lnTo>
                  <a:lnTo>
                    <a:pt x="45" y="12"/>
                  </a:lnTo>
                  <a:lnTo>
                    <a:pt x="49" y="24"/>
                  </a:lnTo>
                  <a:lnTo>
                    <a:pt x="45" y="36"/>
                  </a:lnTo>
                  <a:lnTo>
                    <a:pt x="37" y="44"/>
                  </a:lnTo>
                  <a:lnTo>
                    <a:pt x="25" y="48"/>
                  </a:lnTo>
                  <a:lnTo>
                    <a:pt x="12" y="44"/>
                  </a:lnTo>
                  <a:lnTo>
                    <a:pt x="4" y="36"/>
                  </a:lnTo>
                  <a:lnTo>
                    <a:pt x="0" y="24"/>
                  </a:lnTo>
                  <a:lnTo>
                    <a:pt x="4" y="12"/>
                  </a:lnTo>
                  <a:lnTo>
                    <a:pt x="12" y="3"/>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43" name="Freeform 110"/>
            <p:cNvSpPr>
              <a:spLocks/>
            </p:cNvSpPr>
            <p:nvPr/>
          </p:nvSpPr>
          <p:spPr bwMode="auto">
            <a:xfrm>
              <a:off x="5396004" y="5943929"/>
              <a:ext cx="10917" cy="11372"/>
            </a:xfrm>
            <a:custGeom>
              <a:avLst/>
              <a:gdLst>
                <a:gd name="T0" fmla="*/ 24 w 49"/>
                <a:gd name="T1" fmla="*/ 0 h 48"/>
                <a:gd name="T2" fmla="*/ 36 w 49"/>
                <a:gd name="T3" fmla="*/ 3 h 48"/>
                <a:gd name="T4" fmla="*/ 45 w 49"/>
                <a:gd name="T5" fmla="*/ 12 h 48"/>
                <a:gd name="T6" fmla="*/ 49 w 49"/>
                <a:gd name="T7" fmla="*/ 24 h 48"/>
                <a:gd name="T8" fmla="*/ 45 w 49"/>
                <a:gd name="T9" fmla="*/ 36 h 48"/>
                <a:gd name="T10" fmla="*/ 36 w 49"/>
                <a:gd name="T11" fmla="*/ 44 h 48"/>
                <a:gd name="T12" fmla="*/ 24 w 49"/>
                <a:gd name="T13" fmla="*/ 48 h 48"/>
                <a:gd name="T14" fmla="*/ 12 w 49"/>
                <a:gd name="T15" fmla="*/ 44 h 48"/>
                <a:gd name="T16" fmla="*/ 4 w 49"/>
                <a:gd name="T17" fmla="*/ 36 h 48"/>
                <a:gd name="T18" fmla="*/ 0 w 49"/>
                <a:gd name="T19" fmla="*/ 24 h 48"/>
                <a:gd name="T20" fmla="*/ 4 w 49"/>
                <a:gd name="T21" fmla="*/ 12 h 48"/>
                <a:gd name="T22" fmla="*/ 12 w 49"/>
                <a:gd name="T23" fmla="*/ 3 h 48"/>
                <a:gd name="T24" fmla="*/ 24 w 4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8">
                  <a:moveTo>
                    <a:pt x="24" y="0"/>
                  </a:moveTo>
                  <a:lnTo>
                    <a:pt x="36" y="3"/>
                  </a:lnTo>
                  <a:lnTo>
                    <a:pt x="45" y="12"/>
                  </a:lnTo>
                  <a:lnTo>
                    <a:pt x="49" y="24"/>
                  </a:lnTo>
                  <a:lnTo>
                    <a:pt x="45" y="36"/>
                  </a:lnTo>
                  <a:lnTo>
                    <a:pt x="36" y="44"/>
                  </a:lnTo>
                  <a:lnTo>
                    <a:pt x="24" y="48"/>
                  </a:lnTo>
                  <a:lnTo>
                    <a:pt x="12" y="44"/>
                  </a:lnTo>
                  <a:lnTo>
                    <a:pt x="4" y="36"/>
                  </a:lnTo>
                  <a:lnTo>
                    <a:pt x="0" y="24"/>
                  </a:lnTo>
                  <a:lnTo>
                    <a:pt x="4" y="12"/>
                  </a:lnTo>
                  <a:lnTo>
                    <a:pt x="12" y="3"/>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44" name="Freeform 111"/>
            <p:cNvSpPr>
              <a:spLocks/>
            </p:cNvSpPr>
            <p:nvPr/>
          </p:nvSpPr>
          <p:spPr bwMode="auto">
            <a:xfrm>
              <a:off x="5421931" y="5943929"/>
              <a:ext cx="10917" cy="11372"/>
            </a:xfrm>
            <a:custGeom>
              <a:avLst/>
              <a:gdLst>
                <a:gd name="T0" fmla="*/ 24 w 48"/>
                <a:gd name="T1" fmla="*/ 0 h 48"/>
                <a:gd name="T2" fmla="*/ 36 w 48"/>
                <a:gd name="T3" fmla="*/ 3 h 48"/>
                <a:gd name="T4" fmla="*/ 45 w 48"/>
                <a:gd name="T5" fmla="*/ 12 h 48"/>
                <a:gd name="T6" fmla="*/ 48 w 48"/>
                <a:gd name="T7" fmla="*/ 24 h 48"/>
                <a:gd name="T8" fmla="*/ 45 w 48"/>
                <a:gd name="T9" fmla="*/ 36 h 48"/>
                <a:gd name="T10" fmla="*/ 36 w 48"/>
                <a:gd name="T11" fmla="*/ 44 h 48"/>
                <a:gd name="T12" fmla="*/ 24 w 48"/>
                <a:gd name="T13" fmla="*/ 48 h 48"/>
                <a:gd name="T14" fmla="*/ 12 w 48"/>
                <a:gd name="T15" fmla="*/ 44 h 48"/>
                <a:gd name="T16" fmla="*/ 4 w 48"/>
                <a:gd name="T17" fmla="*/ 36 h 48"/>
                <a:gd name="T18" fmla="*/ 0 w 48"/>
                <a:gd name="T19" fmla="*/ 24 h 48"/>
                <a:gd name="T20" fmla="*/ 4 w 48"/>
                <a:gd name="T21" fmla="*/ 12 h 48"/>
                <a:gd name="T22" fmla="*/ 12 w 48"/>
                <a:gd name="T23" fmla="*/ 3 h 48"/>
                <a:gd name="T24" fmla="*/ 24 w 48"/>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8">
                  <a:moveTo>
                    <a:pt x="24" y="0"/>
                  </a:moveTo>
                  <a:lnTo>
                    <a:pt x="36" y="3"/>
                  </a:lnTo>
                  <a:lnTo>
                    <a:pt x="45" y="12"/>
                  </a:lnTo>
                  <a:lnTo>
                    <a:pt x="48" y="24"/>
                  </a:lnTo>
                  <a:lnTo>
                    <a:pt x="45" y="36"/>
                  </a:lnTo>
                  <a:lnTo>
                    <a:pt x="36" y="44"/>
                  </a:lnTo>
                  <a:lnTo>
                    <a:pt x="24" y="48"/>
                  </a:lnTo>
                  <a:lnTo>
                    <a:pt x="12" y="44"/>
                  </a:lnTo>
                  <a:lnTo>
                    <a:pt x="4" y="36"/>
                  </a:lnTo>
                  <a:lnTo>
                    <a:pt x="0" y="24"/>
                  </a:lnTo>
                  <a:lnTo>
                    <a:pt x="4" y="12"/>
                  </a:lnTo>
                  <a:lnTo>
                    <a:pt x="12" y="3"/>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45" name="Freeform 112"/>
            <p:cNvSpPr>
              <a:spLocks/>
            </p:cNvSpPr>
            <p:nvPr/>
          </p:nvSpPr>
          <p:spPr bwMode="auto">
            <a:xfrm>
              <a:off x="5447858" y="5943929"/>
              <a:ext cx="10917" cy="11372"/>
            </a:xfrm>
            <a:custGeom>
              <a:avLst/>
              <a:gdLst>
                <a:gd name="T0" fmla="*/ 24 w 48"/>
                <a:gd name="T1" fmla="*/ 0 h 48"/>
                <a:gd name="T2" fmla="*/ 36 w 48"/>
                <a:gd name="T3" fmla="*/ 3 h 48"/>
                <a:gd name="T4" fmla="*/ 45 w 48"/>
                <a:gd name="T5" fmla="*/ 12 h 48"/>
                <a:gd name="T6" fmla="*/ 48 w 48"/>
                <a:gd name="T7" fmla="*/ 24 h 48"/>
                <a:gd name="T8" fmla="*/ 45 w 48"/>
                <a:gd name="T9" fmla="*/ 36 h 48"/>
                <a:gd name="T10" fmla="*/ 36 w 48"/>
                <a:gd name="T11" fmla="*/ 44 h 48"/>
                <a:gd name="T12" fmla="*/ 24 w 48"/>
                <a:gd name="T13" fmla="*/ 48 h 48"/>
                <a:gd name="T14" fmla="*/ 12 w 48"/>
                <a:gd name="T15" fmla="*/ 44 h 48"/>
                <a:gd name="T16" fmla="*/ 3 w 48"/>
                <a:gd name="T17" fmla="*/ 36 h 48"/>
                <a:gd name="T18" fmla="*/ 0 w 48"/>
                <a:gd name="T19" fmla="*/ 24 h 48"/>
                <a:gd name="T20" fmla="*/ 3 w 48"/>
                <a:gd name="T21" fmla="*/ 12 h 48"/>
                <a:gd name="T22" fmla="*/ 12 w 48"/>
                <a:gd name="T23" fmla="*/ 3 h 48"/>
                <a:gd name="T24" fmla="*/ 24 w 48"/>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8">
                  <a:moveTo>
                    <a:pt x="24" y="0"/>
                  </a:moveTo>
                  <a:lnTo>
                    <a:pt x="36" y="3"/>
                  </a:lnTo>
                  <a:lnTo>
                    <a:pt x="45" y="12"/>
                  </a:lnTo>
                  <a:lnTo>
                    <a:pt x="48" y="24"/>
                  </a:lnTo>
                  <a:lnTo>
                    <a:pt x="45" y="36"/>
                  </a:lnTo>
                  <a:lnTo>
                    <a:pt x="36" y="44"/>
                  </a:lnTo>
                  <a:lnTo>
                    <a:pt x="24" y="48"/>
                  </a:lnTo>
                  <a:lnTo>
                    <a:pt x="12" y="44"/>
                  </a:lnTo>
                  <a:lnTo>
                    <a:pt x="3" y="36"/>
                  </a:lnTo>
                  <a:lnTo>
                    <a:pt x="0" y="24"/>
                  </a:lnTo>
                  <a:lnTo>
                    <a:pt x="3" y="12"/>
                  </a:lnTo>
                  <a:lnTo>
                    <a:pt x="12" y="3"/>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46" name="Freeform 113"/>
            <p:cNvSpPr>
              <a:spLocks/>
            </p:cNvSpPr>
            <p:nvPr/>
          </p:nvSpPr>
          <p:spPr bwMode="auto">
            <a:xfrm>
              <a:off x="5473786" y="5943929"/>
              <a:ext cx="10917" cy="11372"/>
            </a:xfrm>
            <a:custGeom>
              <a:avLst/>
              <a:gdLst>
                <a:gd name="T0" fmla="*/ 24 w 48"/>
                <a:gd name="T1" fmla="*/ 0 h 48"/>
                <a:gd name="T2" fmla="*/ 36 w 48"/>
                <a:gd name="T3" fmla="*/ 3 h 48"/>
                <a:gd name="T4" fmla="*/ 44 w 48"/>
                <a:gd name="T5" fmla="*/ 12 h 48"/>
                <a:gd name="T6" fmla="*/ 48 w 48"/>
                <a:gd name="T7" fmla="*/ 24 h 48"/>
                <a:gd name="T8" fmla="*/ 44 w 48"/>
                <a:gd name="T9" fmla="*/ 36 h 48"/>
                <a:gd name="T10" fmla="*/ 36 w 48"/>
                <a:gd name="T11" fmla="*/ 44 h 48"/>
                <a:gd name="T12" fmla="*/ 24 w 48"/>
                <a:gd name="T13" fmla="*/ 48 h 48"/>
                <a:gd name="T14" fmla="*/ 12 w 48"/>
                <a:gd name="T15" fmla="*/ 44 h 48"/>
                <a:gd name="T16" fmla="*/ 3 w 48"/>
                <a:gd name="T17" fmla="*/ 36 h 48"/>
                <a:gd name="T18" fmla="*/ 0 w 48"/>
                <a:gd name="T19" fmla="*/ 24 h 48"/>
                <a:gd name="T20" fmla="*/ 3 w 48"/>
                <a:gd name="T21" fmla="*/ 12 h 48"/>
                <a:gd name="T22" fmla="*/ 12 w 48"/>
                <a:gd name="T23" fmla="*/ 3 h 48"/>
                <a:gd name="T24" fmla="*/ 24 w 48"/>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8">
                  <a:moveTo>
                    <a:pt x="24" y="0"/>
                  </a:moveTo>
                  <a:lnTo>
                    <a:pt x="36" y="3"/>
                  </a:lnTo>
                  <a:lnTo>
                    <a:pt x="44" y="12"/>
                  </a:lnTo>
                  <a:lnTo>
                    <a:pt x="48" y="24"/>
                  </a:lnTo>
                  <a:lnTo>
                    <a:pt x="44" y="36"/>
                  </a:lnTo>
                  <a:lnTo>
                    <a:pt x="36" y="44"/>
                  </a:lnTo>
                  <a:lnTo>
                    <a:pt x="24" y="48"/>
                  </a:lnTo>
                  <a:lnTo>
                    <a:pt x="12" y="44"/>
                  </a:lnTo>
                  <a:lnTo>
                    <a:pt x="3" y="36"/>
                  </a:lnTo>
                  <a:lnTo>
                    <a:pt x="0" y="24"/>
                  </a:lnTo>
                  <a:lnTo>
                    <a:pt x="3" y="12"/>
                  </a:lnTo>
                  <a:lnTo>
                    <a:pt x="12" y="3"/>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47" name="Freeform 114"/>
            <p:cNvSpPr>
              <a:spLocks/>
            </p:cNvSpPr>
            <p:nvPr/>
          </p:nvSpPr>
          <p:spPr bwMode="auto">
            <a:xfrm>
              <a:off x="5499713" y="5943929"/>
              <a:ext cx="10917" cy="11372"/>
            </a:xfrm>
            <a:custGeom>
              <a:avLst/>
              <a:gdLst>
                <a:gd name="T0" fmla="*/ 25 w 49"/>
                <a:gd name="T1" fmla="*/ 0 h 48"/>
                <a:gd name="T2" fmla="*/ 37 w 49"/>
                <a:gd name="T3" fmla="*/ 3 h 48"/>
                <a:gd name="T4" fmla="*/ 45 w 49"/>
                <a:gd name="T5" fmla="*/ 12 h 48"/>
                <a:gd name="T6" fmla="*/ 49 w 49"/>
                <a:gd name="T7" fmla="*/ 24 h 48"/>
                <a:gd name="T8" fmla="*/ 45 w 49"/>
                <a:gd name="T9" fmla="*/ 36 h 48"/>
                <a:gd name="T10" fmla="*/ 37 w 49"/>
                <a:gd name="T11" fmla="*/ 44 h 48"/>
                <a:gd name="T12" fmla="*/ 25 w 49"/>
                <a:gd name="T13" fmla="*/ 48 h 48"/>
                <a:gd name="T14" fmla="*/ 13 w 49"/>
                <a:gd name="T15" fmla="*/ 44 h 48"/>
                <a:gd name="T16" fmla="*/ 4 w 49"/>
                <a:gd name="T17" fmla="*/ 36 h 48"/>
                <a:gd name="T18" fmla="*/ 0 w 49"/>
                <a:gd name="T19" fmla="*/ 24 h 48"/>
                <a:gd name="T20" fmla="*/ 4 w 49"/>
                <a:gd name="T21" fmla="*/ 12 h 48"/>
                <a:gd name="T22" fmla="*/ 13 w 49"/>
                <a:gd name="T23" fmla="*/ 3 h 48"/>
                <a:gd name="T24" fmla="*/ 25 w 4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8">
                  <a:moveTo>
                    <a:pt x="25" y="0"/>
                  </a:moveTo>
                  <a:lnTo>
                    <a:pt x="37" y="3"/>
                  </a:lnTo>
                  <a:lnTo>
                    <a:pt x="45" y="12"/>
                  </a:lnTo>
                  <a:lnTo>
                    <a:pt x="49" y="24"/>
                  </a:lnTo>
                  <a:lnTo>
                    <a:pt x="45" y="36"/>
                  </a:lnTo>
                  <a:lnTo>
                    <a:pt x="37" y="44"/>
                  </a:lnTo>
                  <a:lnTo>
                    <a:pt x="25" y="48"/>
                  </a:lnTo>
                  <a:lnTo>
                    <a:pt x="13" y="44"/>
                  </a:lnTo>
                  <a:lnTo>
                    <a:pt x="4" y="36"/>
                  </a:lnTo>
                  <a:lnTo>
                    <a:pt x="0" y="24"/>
                  </a:lnTo>
                  <a:lnTo>
                    <a:pt x="4" y="12"/>
                  </a:lnTo>
                  <a:lnTo>
                    <a:pt x="13" y="3"/>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48" name="Freeform 115"/>
            <p:cNvSpPr>
              <a:spLocks/>
            </p:cNvSpPr>
            <p:nvPr/>
          </p:nvSpPr>
          <p:spPr bwMode="auto">
            <a:xfrm>
              <a:off x="5525640" y="5943929"/>
              <a:ext cx="10917" cy="11372"/>
            </a:xfrm>
            <a:custGeom>
              <a:avLst/>
              <a:gdLst>
                <a:gd name="T0" fmla="*/ 24 w 49"/>
                <a:gd name="T1" fmla="*/ 0 h 48"/>
                <a:gd name="T2" fmla="*/ 37 w 49"/>
                <a:gd name="T3" fmla="*/ 3 h 48"/>
                <a:gd name="T4" fmla="*/ 45 w 49"/>
                <a:gd name="T5" fmla="*/ 12 h 48"/>
                <a:gd name="T6" fmla="*/ 49 w 49"/>
                <a:gd name="T7" fmla="*/ 24 h 48"/>
                <a:gd name="T8" fmla="*/ 45 w 49"/>
                <a:gd name="T9" fmla="*/ 36 h 48"/>
                <a:gd name="T10" fmla="*/ 37 w 49"/>
                <a:gd name="T11" fmla="*/ 44 h 48"/>
                <a:gd name="T12" fmla="*/ 24 w 49"/>
                <a:gd name="T13" fmla="*/ 48 h 48"/>
                <a:gd name="T14" fmla="*/ 12 w 49"/>
                <a:gd name="T15" fmla="*/ 44 h 48"/>
                <a:gd name="T16" fmla="*/ 4 w 49"/>
                <a:gd name="T17" fmla="*/ 36 h 48"/>
                <a:gd name="T18" fmla="*/ 0 w 49"/>
                <a:gd name="T19" fmla="*/ 24 h 48"/>
                <a:gd name="T20" fmla="*/ 4 w 49"/>
                <a:gd name="T21" fmla="*/ 12 h 48"/>
                <a:gd name="T22" fmla="*/ 12 w 49"/>
                <a:gd name="T23" fmla="*/ 3 h 48"/>
                <a:gd name="T24" fmla="*/ 24 w 4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8">
                  <a:moveTo>
                    <a:pt x="24" y="0"/>
                  </a:moveTo>
                  <a:lnTo>
                    <a:pt x="37" y="3"/>
                  </a:lnTo>
                  <a:lnTo>
                    <a:pt x="45" y="12"/>
                  </a:lnTo>
                  <a:lnTo>
                    <a:pt x="49" y="24"/>
                  </a:lnTo>
                  <a:lnTo>
                    <a:pt x="45" y="36"/>
                  </a:lnTo>
                  <a:lnTo>
                    <a:pt x="37" y="44"/>
                  </a:lnTo>
                  <a:lnTo>
                    <a:pt x="24" y="48"/>
                  </a:lnTo>
                  <a:lnTo>
                    <a:pt x="12" y="44"/>
                  </a:lnTo>
                  <a:lnTo>
                    <a:pt x="4" y="36"/>
                  </a:lnTo>
                  <a:lnTo>
                    <a:pt x="0" y="24"/>
                  </a:lnTo>
                  <a:lnTo>
                    <a:pt x="4" y="12"/>
                  </a:lnTo>
                  <a:lnTo>
                    <a:pt x="12" y="3"/>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49" name="Freeform 116"/>
            <p:cNvSpPr>
              <a:spLocks/>
            </p:cNvSpPr>
            <p:nvPr/>
          </p:nvSpPr>
          <p:spPr bwMode="auto">
            <a:xfrm>
              <a:off x="5370077" y="5969856"/>
              <a:ext cx="10917" cy="10917"/>
            </a:xfrm>
            <a:custGeom>
              <a:avLst/>
              <a:gdLst>
                <a:gd name="T0" fmla="*/ 25 w 49"/>
                <a:gd name="T1" fmla="*/ 0 h 49"/>
                <a:gd name="T2" fmla="*/ 37 w 49"/>
                <a:gd name="T3" fmla="*/ 4 h 49"/>
                <a:gd name="T4" fmla="*/ 45 w 49"/>
                <a:gd name="T5" fmla="*/ 13 h 49"/>
                <a:gd name="T6" fmla="*/ 49 w 49"/>
                <a:gd name="T7" fmla="*/ 25 h 49"/>
                <a:gd name="T8" fmla="*/ 45 w 49"/>
                <a:gd name="T9" fmla="*/ 37 h 49"/>
                <a:gd name="T10" fmla="*/ 37 w 49"/>
                <a:gd name="T11" fmla="*/ 45 h 49"/>
                <a:gd name="T12" fmla="*/ 25 w 49"/>
                <a:gd name="T13" fmla="*/ 49 h 49"/>
                <a:gd name="T14" fmla="*/ 12 w 49"/>
                <a:gd name="T15" fmla="*/ 45 h 49"/>
                <a:gd name="T16" fmla="*/ 4 w 49"/>
                <a:gd name="T17" fmla="*/ 37 h 49"/>
                <a:gd name="T18" fmla="*/ 0 w 49"/>
                <a:gd name="T19" fmla="*/ 25 h 49"/>
                <a:gd name="T20" fmla="*/ 4 w 49"/>
                <a:gd name="T21" fmla="*/ 13 h 49"/>
                <a:gd name="T22" fmla="*/ 12 w 49"/>
                <a:gd name="T23" fmla="*/ 4 h 49"/>
                <a:gd name="T24" fmla="*/ 25 w 49"/>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9">
                  <a:moveTo>
                    <a:pt x="25" y="0"/>
                  </a:moveTo>
                  <a:lnTo>
                    <a:pt x="37" y="4"/>
                  </a:lnTo>
                  <a:lnTo>
                    <a:pt x="45" y="13"/>
                  </a:lnTo>
                  <a:lnTo>
                    <a:pt x="49" y="25"/>
                  </a:lnTo>
                  <a:lnTo>
                    <a:pt x="45" y="37"/>
                  </a:lnTo>
                  <a:lnTo>
                    <a:pt x="37" y="45"/>
                  </a:lnTo>
                  <a:lnTo>
                    <a:pt x="25" y="49"/>
                  </a:lnTo>
                  <a:lnTo>
                    <a:pt x="12" y="45"/>
                  </a:lnTo>
                  <a:lnTo>
                    <a:pt x="4" y="37"/>
                  </a:lnTo>
                  <a:lnTo>
                    <a:pt x="0" y="25"/>
                  </a:lnTo>
                  <a:lnTo>
                    <a:pt x="4" y="13"/>
                  </a:lnTo>
                  <a:lnTo>
                    <a:pt x="12" y="4"/>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50" name="Freeform 117"/>
            <p:cNvSpPr>
              <a:spLocks/>
            </p:cNvSpPr>
            <p:nvPr/>
          </p:nvSpPr>
          <p:spPr bwMode="auto">
            <a:xfrm>
              <a:off x="5396004" y="5969856"/>
              <a:ext cx="10917" cy="10917"/>
            </a:xfrm>
            <a:custGeom>
              <a:avLst/>
              <a:gdLst>
                <a:gd name="T0" fmla="*/ 24 w 49"/>
                <a:gd name="T1" fmla="*/ 0 h 49"/>
                <a:gd name="T2" fmla="*/ 36 w 49"/>
                <a:gd name="T3" fmla="*/ 4 h 49"/>
                <a:gd name="T4" fmla="*/ 45 w 49"/>
                <a:gd name="T5" fmla="*/ 13 h 49"/>
                <a:gd name="T6" fmla="*/ 49 w 49"/>
                <a:gd name="T7" fmla="*/ 25 h 49"/>
                <a:gd name="T8" fmla="*/ 45 w 49"/>
                <a:gd name="T9" fmla="*/ 37 h 49"/>
                <a:gd name="T10" fmla="*/ 36 w 49"/>
                <a:gd name="T11" fmla="*/ 45 h 49"/>
                <a:gd name="T12" fmla="*/ 24 w 49"/>
                <a:gd name="T13" fmla="*/ 49 h 49"/>
                <a:gd name="T14" fmla="*/ 12 w 49"/>
                <a:gd name="T15" fmla="*/ 45 h 49"/>
                <a:gd name="T16" fmla="*/ 4 w 49"/>
                <a:gd name="T17" fmla="*/ 37 h 49"/>
                <a:gd name="T18" fmla="*/ 0 w 49"/>
                <a:gd name="T19" fmla="*/ 25 h 49"/>
                <a:gd name="T20" fmla="*/ 4 w 49"/>
                <a:gd name="T21" fmla="*/ 13 h 49"/>
                <a:gd name="T22" fmla="*/ 12 w 49"/>
                <a:gd name="T23" fmla="*/ 4 h 49"/>
                <a:gd name="T24" fmla="*/ 24 w 49"/>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9">
                  <a:moveTo>
                    <a:pt x="24" y="0"/>
                  </a:moveTo>
                  <a:lnTo>
                    <a:pt x="36" y="4"/>
                  </a:lnTo>
                  <a:lnTo>
                    <a:pt x="45" y="13"/>
                  </a:lnTo>
                  <a:lnTo>
                    <a:pt x="49" y="25"/>
                  </a:lnTo>
                  <a:lnTo>
                    <a:pt x="45" y="37"/>
                  </a:lnTo>
                  <a:lnTo>
                    <a:pt x="36" y="45"/>
                  </a:lnTo>
                  <a:lnTo>
                    <a:pt x="24" y="49"/>
                  </a:lnTo>
                  <a:lnTo>
                    <a:pt x="12" y="45"/>
                  </a:lnTo>
                  <a:lnTo>
                    <a:pt x="4" y="37"/>
                  </a:lnTo>
                  <a:lnTo>
                    <a:pt x="0" y="25"/>
                  </a:lnTo>
                  <a:lnTo>
                    <a:pt x="4" y="13"/>
                  </a:lnTo>
                  <a:lnTo>
                    <a:pt x="12" y="4"/>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51" name="Freeform 118"/>
            <p:cNvSpPr>
              <a:spLocks/>
            </p:cNvSpPr>
            <p:nvPr/>
          </p:nvSpPr>
          <p:spPr bwMode="auto">
            <a:xfrm>
              <a:off x="5421931" y="5969856"/>
              <a:ext cx="10917" cy="10917"/>
            </a:xfrm>
            <a:custGeom>
              <a:avLst/>
              <a:gdLst>
                <a:gd name="T0" fmla="*/ 24 w 48"/>
                <a:gd name="T1" fmla="*/ 0 h 49"/>
                <a:gd name="T2" fmla="*/ 36 w 48"/>
                <a:gd name="T3" fmla="*/ 4 h 49"/>
                <a:gd name="T4" fmla="*/ 45 w 48"/>
                <a:gd name="T5" fmla="*/ 13 h 49"/>
                <a:gd name="T6" fmla="*/ 48 w 48"/>
                <a:gd name="T7" fmla="*/ 25 h 49"/>
                <a:gd name="T8" fmla="*/ 45 w 48"/>
                <a:gd name="T9" fmla="*/ 37 h 49"/>
                <a:gd name="T10" fmla="*/ 36 w 48"/>
                <a:gd name="T11" fmla="*/ 45 h 49"/>
                <a:gd name="T12" fmla="*/ 24 w 48"/>
                <a:gd name="T13" fmla="*/ 49 h 49"/>
                <a:gd name="T14" fmla="*/ 12 w 48"/>
                <a:gd name="T15" fmla="*/ 45 h 49"/>
                <a:gd name="T16" fmla="*/ 4 w 48"/>
                <a:gd name="T17" fmla="*/ 37 h 49"/>
                <a:gd name="T18" fmla="*/ 0 w 48"/>
                <a:gd name="T19" fmla="*/ 25 h 49"/>
                <a:gd name="T20" fmla="*/ 4 w 48"/>
                <a:gd name="T21" fmla="*/ 13 h 49"/>
                <a:gd name="T22" fmla="*/ 12 w 48"/>
                <a:gd name="T23" fmla="*/ 4 h 49"/>
                <a:gd name="T24" fmla="*/ 24 w 48"/>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9">
                  <a:moveTo>
                    <a:pt x="24" y="0"/>
                  </a:moveTo>
                  <a:lnTo>
                    <a:pt x="36" y="4"/>
                  </a:lnTo>
                  <a:lnTo>
                    <a:pt x="45" y="13"/>
                  </a:lnTo>
                  <a:lnTo>
                    <a:pt x="48" y="25"/>
                  </a:lnTo>
                  <a:lnTo>
                    <a:pt x="45" y="37"/>
                  </a:lnTo>
                  <a:lnTo>
                    <a:pt x="36" y="45"/>
                  </a:lnTo>
                  <a:lnTo>
                    <a:pt x="24" y="49"/>
                  </a:lnTo>
                  <a:lnTo>
                    <a:pt x="12" y="45"/>
                  </a:lnTo>
                  <a:lnTo>
                    <a:pt x="4" y="37"/>
                  </a:lnTo>
                  <a:lnTo>
                    <a:pt x="0" y="25"/>
                  </a:lnTo>
                  <a:lnTo>
                    <a:pt x="4" y="13"/>
                  </a:lnTo>
                  <a:lnTo>
                    <a:pt x="12" y="4"/>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52" name="Freeform 119"/>
            <p:cNvSpPr>
              <a:spLocks/>
            </p:cNvSpPr>
            <p:nvPr/>
          </p:nvSpPr>
          <p:spPr bwMode="auto">
            <a:xfrm>
              <a:off x="5447858" y="5969856"/>
              <a:ext cx="10917" cy="10917"/>
            </a:xfrm>
            <a:custGeom>
              <a:avLst/>
              <a:gdLst>
                <a:gd name="T0" fmla="*/ 24 w 48"/>
                <a:gd name="T1" fmla="*/ 0 h 49"/>
                <a:gd name="T2" fmla="*/ 36 w 48"/>
                <a:gd name="T3" fmla="*/ 4 h 49"/>
                <a:gd name="T4" fmla="*/ 45 w 48"/>
                <a:gd name="T5" fmla="*/ 13 h 49"/>
                <a:gd name="T6" fmla="*/ 48 w 48"/>
                <a:gd name="T7" fmla="*/ 25 h 49"/>
                <a:gd name="T8" fmla="*/ 45 w 48"/>
                <a:gd name="T9" fmla="*/ 37 h 49"/>
                <a:gd name="T10" fmla="*/ 36 w 48"/>
                <a:gd name="T11" fmla="*/ 45 h 49"/>
                <a:gd name="T12" fmla="*/ 24 w 48"/>
                <a:gd name="T13" fmla="*/ 49 h 49"/>
                <a:gd name="T14" fmla="*/ 12 w 48"/>
                <a:gd name="T15" fmla="*/ 45 h 49"/>
                <a:gd name="T16" fmla="*/ 3 w 48"/>
                <a:gd name="T17" fmla="*/ 37 h 49"/>
                <a:gd name="T18" fmla="*/ 0 w 48"/>
                <a:gd name="T19" fmla="*/ 25 h 49"/>
                <a:gd name="T20" fmla="*/ 3 w 48"/>
                <a:gd name="T21" fmla="*/ 13 h 49"/>
                <a:gd name="T22" fmla="*/ 12 w 48"/>
                <a:gd name="T23" fmla="*/ 4 h 49"/>
                <a:gd name="T24" fmla="*/ 24 w 48"/>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9">
                  <a:moveTo>
                    <a:pt x="24" y="0"/>
                  </a:moveTo>
                  <a:lnTo>
                    <a:pt x="36" y="4"/>
                  </a:lnTo>
                  <a:lnTo>
                    <a:pt x="45" y="13"/>
                  </a:lnTo>
                  <a:lnTo>
                    <a:pt x="48" y="25"/>
                  </a:lnTo>
                  <a:lnTo>
                    <a:pt x="45" y="37"/>
                  </a:lnTo>
                  <a:lnTo>
                    <a:pt x="36" y="45"/>
                  </a:lnTo>
                  <a:lnTo>
                    <a:pt x="24" y="49"/>
                  </a:lnTo>
                  <a:lnTo>
                    <a:pt x="12" y="45"/>
                  </a:lnTo>
                  <a:lnTo>
                    <a:pt x="3" y="37"/>
                  </a:lnTo>
                  <a:lnTo>
                    <a:pt x="0" y="25"/>
                  </a:lnTo>
                  <a:lnTo>
                    <a:pt x="3" y="13"/>
                  </a:lnTo>
                  <a:lnTo>
                    <a:pt x="12" y="4"/>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53" name="Freeform 120"/>
            <p:cNvSpPr>
              <a:spLocks/>
            </p:cNvSpPr>
            <p:nvPr/>
          </p:nvSpPr>
          <p:spPr bwMode="auto">
            <a:xfrm>
              <a:off x="5473786" y="5969856"/>
              <a:ext cx="10917" cy="10917"/>
            </a:xfrm>
            <a:custGeom>
              <a:avLst/>
              <a:gdLst>
                <a:gd name="T0" fmla="*/ 24 w 48"/>
                <a:gd name="T1" fmla="*/ 0 h 49"/>
                <a:gd name="T2" fmla="*/ 36 w 48"/>
                <a:gd name="T3" fmla="*/ 4 h 49"/>
                <a:gd name="T4" fmla="*/ 44 w 48"/>
                <a:gd name="T5" fmla="*/ 13 h 49"/>
                <a:gd name="T6" fmla="*/ 48 w 48"/>
                <a:gd name="T7" fmla="*/ 25 h 49"/>
                <a:gd name="T8" fmla="*/ 44 w 48"/>
                <a:gd name="T9" fmla="*/ 37 h 49"/>
                <a:gd name="T10" fmla="*/ 36 w 48"/>
                <a:gd name="T11" fmla="*/ 45 h 49"/>
                <a:gd name="T12" fmla="*/ 24 w 48"/>
                <a:gd name="T13" fmla="*/ 49 h 49"/>
                <a:gd name="T14" fmla="*/ 12 w 48"/>
                <a:gd name="T15" fmla="*/ 45 h 49"/>
                <a:gd name="T16" fmla="*/ 3 w 48"/>
                <a:gd name="T17" fmla="*/ 37 h 49"/>
                <a:gd name="T18" fmla="*/ 0 w 48"/>
                <a:gd name="T19" fmla="*/ 25 h 49"/>
                <a:gd name="T20" fmla="*/ 3 w 48"/>
                <a:gd name="T21" fmla="*/ 13 h 49"/>
                <a:gd name="T22" fmla="*/ 12 w 48"/>
                <a:gd name="T23" fmla="*/ 4 h 49"/>
                <a:gd name="T24" fmla="*/ 24 w 48"/>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9">
                  <a:moveTo>
                    <a:pt x="24" y="0"/>
                  </a:moveTo>
                  <a:lnTo>
                    <a:pt x="36" y="4"/>
                  </a:lnTo>
                  <a:lnTo>
                    <a:pt x="44" y="13"/>
                  </a:lnTo>
                  <a:lnTo>
                    <a:pt x="48" y="25"/>
                  </a:lnTo>
                  <a:lnTo>
                    <a:pt x="44" y="37"/>
                  </a:lnTo>
                  <a:lnTo>
                    <a:pt x="36" y="45"/>
                  </a:lnTo>
                  <a:lnTo>
                    <a:pt x="24" y="49"/>
                  </a:lnTo>
                  <a:lnTo>
                    <a:pt x="12" y="45"/>
                  </a:lnTo>
                  <a:lnTo>
                    <a:pt x="3" y="37"/>
                  </a:lnTo>
                  <a:lnTo>
                    <a:pt x="0" y="25"/>
                  </a:lnTo>
                  <a:lnTo>
                    <a:pt x="3" y="13"/>
                  </a:lnTo>
                  <a:lnTo>
                    <a:pt x="12" y="4"/>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54" name="Freeform 121"/>
            <p:cNvSpPr>
              <a:spLocks/>
            </p:cNvSpPr>
            <p:nvPr/>
          </p:nvSpPr>
          <p:spPr bwMode="auto">
            <a:xfrm>
              <a:off x="5499713" y="5969856"/>
              <a:ext cx="10917" cy="10917"/>
            </a:xfrm>
            <a:custGeom>
              <a:avLst/>
              <a:gdLst>
                <a:gd name="T0" fmla="*/ 25 w 49"/>
                <a:gd name="T1" fmla="*/ 0 h 49"/>
                <a:gd name="T2" fmla="*/ 37 w 49"/>
                <a:gd name="T3" fmla="*/ 4 h 49"/>
                <a:gd name="T4" fmla="*/ 45 w 49"/>
                <a:gd name="T5" fmla="*/ 13 h 49"/>
                <a:gd name="T6" fmla="*/ 49 w 49"/>
                <a:gd name="T7" fmla="*/ 25 h 49"/>
                <a:gd name="T8" fmla="*/ 45 w 49"/>
                <a:gd name="T9" fmla="*/ 37 h 49"/>
                <a:gd name="T10" fmla="*/ 37 w 49"/>
                <a:gd name="T11" fmla="*/ 45 h 49"/>
                <a:gd name="T12" fmla="*/ 25 w 49"/>
                <a:gd name="T13" fmla="*/ 49 h 49"/>
                <a:gd name="T14" fmla="*/ 13 w 49"/>
                <a:gd name="T15" fmla="*/ 45 h 49"/>
                <a:gd name="T16" fmla="*/ 4 w 49"/>
                <a:gd name="T17" fmla="*/ 37 h 49"/>
                <a:gd name="T18" fmla="*/ 0 w 49"/>
                <a:gd name="T19" fmla="*/ 25 h 49"/>
                <a:gd name="T20" fmla="*/ 4 w 49"/>
                <a:gd name="T21" fmla="*/ 13 h 49"/>
                <a:gd name="T22" fmla="*/ 13 w 49"/>
                <a:gd name="T23" fmla="*/ 4 h 49"/>
                <a:gd name="T24" fmla="*/ 25 w 49"/>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9">
                  <a:moveTo>
                    <a:pt x="25" y="0"/>
                  </a:moveTo>
                  <a:lnTo>
                    <a:pt x="37" y="4"/>
                  </a:lnTo>
                  <a:lnTo>
                    <a:pt x="45" y="13"/>
                  </a:lnTo>
                  <a:lnTo>
                    <a:pt x="49" y="25"/>
                  </a:lnTo>
                  <a:lnTo>
                    <a:pt x="45" y="37"/>
                  </a:lnTo>
                  <a:lnTo>
                    <a:pt x="37" y="45"/>
                  </a:lnTo>
                  <a:lnTo>
                    <a:pt x="25" y="49"/>
                  </a:lnTo>
                  <a:lnTo>
                    <a:pt x="13" y="45"/>
                  </a:lnTo>
                  <a:lnTo>
                    <a:pt x="4" y="37"/>
                  </a:lnTo>
                  <a:lnTo>
                    <a:pt x="0" y="25"/>
                  </a:lnTo>
                  <a:lnTo>
                    <a:pt x="4" y="13"/>
                  </a:lnTo>
                  <a:lnTo>
                    <a:pt x="13" y="4"/>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255" name="Freeform 122"/>
            <p:cNvSpPr>
              <a:spLocks/>
            </p:cNvSpPr>
            <p:nvPr/>
          </p:nvSpPr>
          <p:spPr bwMode="auto">
            <a:xfrm>
              <a:off x="5525640" y="5969856"/>
              <a:ext cx="10917" cy="10917"/>
            </a:xfrm>
            <a:custGeom>
              <a:avLst/>
              <a:gdLst>
                <a:gd name="T0" fmla="*/ 24 w 49"/>
                <a:gd name="T1" fmla="*/ 0 h 49"/>
                <a:gd name="T2" fmla="*/ 37 w 49"/>
                <a:gd name="T3" fmla="*/ 4 h 49"/>
                <a:gd name="T4" fmla="*/ 45 w 49"/>
                <a:gd name="T5" fmla="*/ 13 h 49"/>
                <a:gd name="T6" fmla="*/ 49 w 49"/>
                <a:gd name="T7" fmla="*/ 25 h 49"/>
                <a:gd name="T8" fmla="*/ 45 w 49"/>
                <a:gd name="T9" fmla="*/ 37 h 49"/>
                <a:gd name="T10" fmla="*/ 37 w 49"/>
                <a:gd name="T11" fmla="*/ 45 h 49"/>
                <a:gd name="T12" fmla="*/ 24 w 49"/>
                <a:gd name="T13" fmla="*/ 49 h 49"/>
                <a:gd name="T14" fmla="*/ 12 w 49"/>
                <a:gd name="T15" fmla="*/ 45 h 49"/>
                <a:gd name="T16" fmla="*/ 4 w 49"/>
                <a:gd name="T17" fmla="*/ 37 h 49"/>
                <a:gd name="T18" fmla="*/ 0 w 49"/>
                <a:gd name="T19" fmla="*/ 25 h 49"/>
                <a:gd name="T20" fmla="*/ 4 w 49"/>
                <a:gd name="T21" fmla="*/ 13 h 49"/>
                <a:gd name="T22" fmla="*/ 12 w 49"/>
                <a:gd name="T23" fmla="*/ 4 h 49"/>
                <a:gd name="T24" fmla="*/ 24 w 49"/>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9">
                  <a:moveTo>
                    <a:pt x="24" y="0"/>
                  </a:moveTo>
                  <a:lnTo>
                    <a:pt x="37" y="4"/>
                  </a:lnTo>
                  <a:lnTo>
                    <a:pt x="45" y="13"/>
                  </a:lnTo>
                  <a:lnTo>
                    <a:pt x="49" y="25"/>
                  </a:lnTo>
                  <a:lnTo>
                    <a:pt x="45" y="37"/>
                  </a:lnTo>
                  <a:lnTo>
                    <a:pt x="37" y="45"/>
                  </a:lnTo>
                  <a:lnTo>
                    <a:pt x="24" y="49"/>
                  </a:lnTo>
                  <a:lnTo>
                    <a:pt x="12" y="45"/>
                  </a:lnTo>
                  <a:lnTo>
                    <a:pt x="4" y="37"/>
                  </a:lnTo>
                  <a:lnTo>
                    <a:pt x="0" y="25"/>
                  </a:lnTo>
                  <a:lnTo>
                    <a:pt x="4" y="13"/>
                  </a:lnTo>
                  <a:lnTo>
                    <a:pt x="12" y="4"/>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60" name="Freeform 123"/>
            <p:cNvSpPr>
              <a:spLocks/>
            </p:cNvSpPr>
            <p:nvPr/>
          </p:nvSpPr>
          <p:spPr bwMode="auto">
            <a:xfrm>
              <a:off x="5370077" y="5995784"/>
              <a:ext cx="10917" cy="10917"/>
            </a:xfrm>
            <a:custGeom>
              <a:avLst/>
              <a:gdLst>
                <a:gd name="T0" fmla="*/ 25 w 49"/>
                <a:gd name="T1" fmla="*/ 0 h 49"/>
                <a:gd name="T2" fmla="*/ 37 w 49"/>
                <a:gd name="T3" fmla="*/ 4 h 49"/>
                <a:gd name="T4" fmla="*/ 45 w 49"/>
                <a:gd name="T5" fmla="*/ 12 h 49"/>
                <a:gd name="T6" fmla="*/ 49 w 49"/>
                <a:gd name="T7" fmla="*/ 24 h 49"/>
                <a:gd name="T8" fmla="*/ 45 w 49"/>
                <a:gd name="T9" fmla="*/ 37 h 49"/>
                <a:gd name="T10" fmla="*/ 37 w 49"/>
                <a:gd name="T11" fmla="*/ 45 h 49"/>
                <a:gd name="T12" fmla="*/ 25 w 49"/>
                <a:gd name="T13" fmla="*/ 49 h 49"/>
                <a:gd name="T14" fmla="*/ 12 w 49"/>
                <a:gd name="T15" fmla="*/ 45 h 49"/>
                <a:gd name="T16" fmla="*/ 4 w 49"/>
                <a:gd name="T17" fmla="*/ 37 h 49"/>
                <a:gd name="T18" fmla="*/ 0 w 49"/>
                <a:gd name="T19" fmla="*/ 24 h 49"/>
                <a:gd name="T20" fmla="*/ 4 w 49"/>
                <a:gd name="T21" fmla="*/ 12 h 49"/>
                <a:gd name="T22" fmla="*/ 12 w 49"/>
                <a:gd name="T23" fmla="*/ 4 h 49"/>
                <a:gd name="T24" fmla="*/ 25 w 49"/>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9">
                  <a:moveTo>
                    <a:pt x="25" y="0"/>
                  </a:moveTo>
                  <a:lnTo>
                    <a:pt x="37" y="4"/>
                  </a:lnTo>
                  <a:lnTo>
                    <a:pt x="45" y="12"/>
                  </a:lnTo>
                  <a:lnTo>
                    <a:pt x="49" y="24"/>
                  </a:lnTo>
                  <a:lnTo>
                    <a:pt x="45" y="37"/>
                  </a:lnTo>
                  <a:lnTo>
                    <a:pt x="37" y="45"/>
                  </a:lnTo>
                  <a:lnTo>
                    <a:pt x="25" y="49"/>
                  </a:lnTo>
                  <a:lnTo>
                    <a:pt x="12" y="45"/>
                  </a:lnTo>
                  <a:lnTo>
                    <a:pt x="4" y="37"/>
                  </a:lnTo>
                  <a:lnTo>
                    <a:pt x="0" y="24"/>
                  </a:lnTo>
                  <a:lnTo>
                    <a:pt x="4" y="12"/>
                  </a:lnTo>
                  <a:lnTo>
                    <a:pt x="12" y="4"/>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61" name="Freeform 124"/>
            <p:cNvSpPr>
              <a:spLocks/>
            </p:cNvSpPr>
            <p:nvPr/>
          </p:nvSpPr>
          <p:spPr bwMode="auto">
            <a:xfrm>
              <a:off x="5396004" y="5995784"/>
              <a:ext cx="10917" cy="10917"/>
            </a:xfrm>
            <a:custGeom>
              <a:avLst/>
              <a:gdLst>
                <a:gd name="T0" fmla="*/ 24 w 49"/>
                <a:gd name="T1" fmla="*/ 0 h 49"/>
                <a:gd name="T2" fmla="*/ 36 w 49"/>
                <a:gd name="T3" fmla="*/ 4 h 49"/>
                <a:gd name="T4" fmla="*/ 45 w 49"/>
                <a:gd name="T5" fmla="*/ 12 h 49"/>
                <a:gd name="T6" fmla="*/ 49 w 49"/>
                <a:gd name="T7" fmla="*/ 24 h 49"/>
                <a:gd name="T8" fmla="*/ 45 w 49"/>
                <a:gd name="T9" fmla="*/ 37 h 49"/>
                <a:gd name="T10" fmla="*/ 36 w 49"/>
                <a:gd name="T11" fmla="*/ 45 h 49"/>
                <a:gd name="T12" fmla="*/ 24 w 49"/>
                <a:gd name="T13" fmla="*/ 49 h 49"/>
                <a:gd name="T14" fmla="*/ 12 w 49"/>
                <a:gd name="T15" fmla="*/ 45 h 49"/>
                <a:gd name="T16" fmla="*/ 4 w 49"/>
                <a:gd name="T17" fmla="*/ 37 h 49"/>
                <a:gd name="T18" fmla="*/ 0 w 49"/>
                <a:gd name="T19" fmla="*/ 24 h 49"/>
                <a:gd name="T20" fmla="*/ 4 w 49"/>
                <a:gd name="T21" fmla="*/ 12 h 49"/>
                <a:gd name="T22" fmla="*/ 12 w 49"/>
                <a:gd name="T23" fmla="*/ 4 h 49"/>
                <a:gd name="T24" fmla="*/ 24 w 49"/>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9">
                  <a:moveTo>
                    <a:pt x="24" y="0"/>
                  </a:moveTo>
                  <a:lnTo>
                    <a:pt x="36" y="4"/>
                  </a:lnTo>
                  <a:lnTo>
                    <a:pt x="45" y="12"/>
                  </a:lnTo>
                  <a:lnTo>
                    <a:pt x="49" y="24"/>
                  </a:lnTo>
                  <a:lnTo>
                    <a:pt x="45" y="37"/>
                  </a:lnTo>
                  <a:lnTo>
                    <a:pt x="36" y="45"/>
                  </a:lnTo>
                  <a:lnTo>
                    <a:pt x="24" y="49"/>
                  </a:lnTo>
                  <a:lnTo>
                    <a:pt x="12" y="45"/>
                  </a:lnTo>
                  <a:lnTo>
                    <a:pt x="4" y="37"/>
                  </a:lnTo>
                  <a:lnTo>
                    <a:pt x="0" y="24"/>
                  </a:lnTo>
                  <a:lnTo>
                    <a:pt x="4" y="12"/>
                  </a:lnTo>
                  <a:lnTo>
                    <a:pt x="12" y="4"/>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62" name="Freeform 125"/>
            <p:cNvSpPr>
              <a:spLocks/>
            </p:cNvSpPr>
            <p:nvPr/>
          </p:nvSpPr>
          <p:spPr bwMode="auto">
            <a:xfrm>
              <a:off x="5421931" y="5995784"/>
              <a:ext cx="10917" cy="10917"/>
            </a:xfrm>
            <a:custGeom>
              <a:avLst/>
              <a:gdLst>
                <a:gd name="T0" fmla="*/ 24 w 48"/>
                <a:gd name="T1" fmla="*/ 0 h 49"/>
                <a:gd name="T2" fmla="*/ 36 w 48"/>
                <a:gd name="T3" fmla="*/ 4 h 49"/>
                <a:gd name="T4" fmla="*/ 45 w 48"/>
                <a:gd name="T5" fmla="*/ 12 h 49"/>
                <a:gd name="T6" fmla="*/ 48 w 48"/>
                <a:gd name="T7" fmla="*/ 24 h 49"/>
                <a:gd name="T8" fmla="*/ 45 w 48"/>
                <a:gd name="T9" fmla="*/ 37 h 49"/>
                <a:gd name="T10" fmla="*/ 36 w 48"/>
                <a:gd name="T11" fmla="*/ 45 h 49"/>
                <a:gd name="T12" fmla="*/ 24 w 48"/>
                <a:gd name="T13" fmla="*/ 49 h 49"/>
                <a:gd name="T14" fmla="*/ 12 w 48"/>
                <a:gd name="T15" fmla="*/ 45 h 49"/>
                <a:gd name="T16" fmla="*/ 4 w 48"/>
                <a:gd name="T17" fmla="*/ 37 h 49"/>
                <a:gd name="T18" fmla="*/ 0 w 48"/>
                <a:gd name="T19" fmla="*/ 24 h 49"/>
                <a:gd name="T20" fmla="*/ 4 w 48"/>
                <a:gd name="T21" fmla="*/ 12 h 49"/>
                <a:gd name="T22" fmla="*/ 12 w 48"/>
                <a:gd name="T23" fmla="*/ 4 h 49"/>
                <a:gd name="T24" fmla="*/ 24 w 48"/>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9">
                  <a:moveTo>
                    <a:pt x="24" y="0"/>
                  </a:moveTo>
                  <a:lnTo>
                    <a:pt x="36" y="4"/>
                  </a:lnTo>
                  <a:lnTo>
                    <a:pt x="45" y="12"/>
                  </a:lnTo>
                  <a:lnTo>
                    <a:pt x="48" y="24"/>
                  </a:lnTo>
                  <a:lnTo>
                    <a:pt x="45" y="37"/>
                  </a:lnTo>
                  <a:lnTo>
                    <a:pt x="36" y="45"/>
                  </a:lnTo>
                  <a:lnTo>
                    <a:pt x="24" y="49"/>
                  </a:lnTo>
                  <a:lnTo>
                    <a:pt x="12" y="45"/>
                  </a:lnTo>
                  <a:lnTo>
                    <a:pt x="4" y="37"/>
                  </a:lnTo>
                  <a:lnTo>
                    <a:pt x="0" y="24"/>
                  </a:lnTo>
                  <a:lnTo>
                    <a:pt x="4" y="12"/>
                  </a:lnTo>
                  <a:lnTo>
                    <a:pt x="12" y="4"/>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63" name="Freeform 126"/>
            <p:cNvSpPr>
              <a:spLocks/>
            </p:cNvSpPr>
            <p:nvPr/>
          </p:nvSpPr>
          <p:spPr bwMode="auto">
            <a:xfrm>
              <a:off x="5447858" y="5995784"/>
              <a:ext cx="10917" cy="10917"/>
            </a:xfrm>
            <a:custGeom>
              <a:avLst/>
              <a:gdLst>
                <a:gd name="T0" fmla="*/ 24 w 48"/>
                <a:gd name="T1" fmla="*/ 0 h 49"/>
                <a:gd name="T2" fmla="*/ 36 w 48"/>
                <a:gd name="T3" fmla="*/ 4 h 49"/>
                <a:gd name="T4" fmla="*/ 45 w 48"/>
                <a:gd name="T5" fmla="*/ 12 h 49"/>
                <a:gd name="T6" fmla="*/ 48 w 48"/>
                <a:gd name="T7" fmla="*/ 24 h 49"/>
                <a:gd name="T8" fmla="*/ 45 w 48"/>
                <a:gd name="T9" fmla="*/ 37 h 49"/>
                <a:gd name="T10" fmla="*/ 36 w 48"/>
                <a:gd name="T11" fmla="*/ 45 h 49"/>
                <a:gd name="T12" fmla="*/ 24 w 48"/>
                <a:gd name="T13" fmla="*/ 49 h 49"/>
                <a:gd name="T14" fmla="*/ 12 w 48"/>
                <a:gd name="T15" fmla="*/ 45 h 49"/>
                <a:gd name="T16" fmla="*/ 3 w 48"/>
                <a:gd name="T17" fmla="*/ 37 h 49"/>
                <a:gd name="T18" fmla="*/ 0 w 48"/>
                <a:gd name="T19" fmla="*/ 24 h 49"/>
                <a:gd name="T20" fmla="*/ 3 w 48"/>
                <a:gd name="T21" fmla="*/ 12 h 49"/>
                <a:gd name="T22" fmla="*/ 12 w 48"/>
                <a:gd name="T23" fmla="*/ 4 h 49"/>
                <a:gd name="T24" fmla="*/ 24 w 48"/>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9">
                  <a:moveTo>
                    <a:pt x="24" y="0"/>
                  </a:moveTo>
                  <a:lnTo>
                    <a:pt x="36" y="4"/>
                  </a:lnTo>
                  <a:lnTo>
                    <a:pt x="45" y="12"/>
                  </a:lnTo>
                  <a:lnTo>
                    <a:pt x="48" y="24"/>
                  </a:lnTo>
                  <a:lnTo>
                    <a:pt x="45" y="37"/>
                  </a:lnTo>
                  <a:lnTo>
                    <a:pt x="36" y="45"/>
                  </a:lnTo>
                  <a:lnTo>
                    <a:pt x="24" y="49"/>
                  </a:lnTo>
                  <a:lnTo>
                    <a:pt x="12" y="45"/>
                  </a:lnTo>
                  <a:lnTo>
                    <a:pt x="3" y="37"/>
                  </a:lnTo>
                  <a:lnTo>
                    <a:pt x="0" y="24"/>
                  </a:lnTo>
                  <a:lnTo>
                    <a:pt x="3" y="12"/>
                  </a:lnTo>
                  <a:lnTo>
                    <a:pt x="12" y="4"/>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64" name="Freeform 127"/>
            <p:cNvSpPr>
              <a:spLocks/>
            </p:cNvSpPr>
            <p:nvPr/>
          </p:nvSpPr>
          <p:spPr bwMode="auto">
            <a:xfrm>
              <a:off x="5473786" y="5995784"/>
              <a:ext cx="10917" cy="10917"/>
            </a:xfrm>
            <a:custGeom>
              <a:avLst/>
              <a:gdLst>
                <a:gd name="T0" fmla="*/ 24 w 48"/>
                <a:gd name="T1" fmla="*/ 0 h 49"/>
                <a:gd name="T2" fmla="*/ 36 w 48"/>
                <a:gd name="T3" fmla="*/ 4 h 49"/>
                <a:gd name="T4" fmla="*/ 44 w 48"/>
                <a:gd name="T5" fmla="*/ 12 h 49"/>
                <a:gd name="T6" fmla="*/ 48 w 48"/>
                <a:gd name="T7" fmla="*/ 24 h 49"/>
                <a:gd name="T8" fmla="*/ 44 w 48"/>
                <a:gd name="T9" fmla="*/ 37 h 49"/>
                <a:gd name="T10" fmla="*/ 36 w 48"/>
                <a:gd name="T11" fmla="*/ 45 h 49"/>
                <a:gd name="T12" fmla="*/ 24 w 48"/>
                <a:gd name="T13" fmla="*/ 49 h 49"/>
                <a:gd name="T14" fmla="*/ 12 w 48"/>
                <a:gd name="T15" fmla="*/ 45 h 49"/>
                <a:gd name="T16" fmla="*/ 3 w 48"/>
                <a:gd name="T17" fmla="*/ 37 h 49"/>
                <a:gd name="T18" fmla="*/ 0 w 48"/>
                <a:gd name="T19" fmla="*/ 24 h 49"/>
                <a:gd name="T20" fmla="*/ 3 w 48"/>
                <a:gd name="T21" fmla="*/ 12 h 49"/>
                <a:gd name="T22" fmla="*/ 12 w 48"/>
                <a:gd name="T23" fmla="*/ 4 h 49"/>
                <a:gd name="T24" fmla="*/ 24 w 48"/>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9">
                  <a:moveTo>
                    <a:pt x="24" y="0"/>
                  </a:moveTo>
                  <a:lnTo>
                    <a:pt x="36" y="4"/>
                  </a:lnTo>
                  <a:lnTo>
                    <a:pt x="44" y="12"/>
                  </a:lnTo>
                  <a:lnTo>
                    <a:pt x="48" y="24"/>
                  </a:lnTo>
                  <a:lnTo>
                    <a:pt x="44" y="37"/>
                  </a:lnTo>
                  <a:lnTo>
                    <a:pt x="36" y="45"/>
                  </a:lnTo>
                  <a:lnTo>
                    <a:pt x="24" y="49"/>
                  </a:lnTo>
                  <a:lnTo>
                    <a:pt x="12" y="45"/>
                  </a:lnTo>
                  <a:lnTo>
                    <a:pt x="3" y="37"/>
                  </a:lnTo>
                  <a:lnTo>
                    <a:pt x="0" y="24"/>
                  </a:lnTo>
                  <a:lnTo>
                    <a:pt x="3" y="12"/>
                  </a:lnTo>
                  <a:lnTo>
                    <a:pt x="12" y="4"/>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65" name="Freeform 128"/>
            <p:cNvSpPr>
              <a:spLocks/>
            </p:cNvSpPr>
            <p:nvPr/>
          </p:nvSpPr>
          <p:spPr bwMode="auto">
            <a:xfrm>
              <a:off x="5499713" y="5995784"/>
              <a:ext cx="10917" cy="10917"/>
            </a:xfrm>
            <a:custGeom>
              <a:avLst/>
              <a:gdLst>
                <a:gd name="T0" fmla="*/ 25 w 49"/>
                <a:gd name="T1" fmla="*/ 0 h 49"/>
                <a:gd name="T2" fmla="*/ 37 w 49"/>
                <a:gd name="T3" fmla="*/ 4 h 49"/>
                <a:gd name="T4" fmla="*/ 45 w 49"/>
                <a:gd name="T5" fmla="*/ 12 h 49"/>
                <a:gd name="T6" fmla="*/ 49 w 49"/>
                <a:gd name="T7" fmla="*/ 24 h 49"/>
                <a:gd name="T8" fmla="*/ 45 w 49"/>
                <a:gd name="T9" fmla="*/ 37 h 49"/>
                <a:gd name="T10" fmla="*/ 37 w 49"/>
                <a:gd name="T11" fmla="*/ 45 h 49"/>
                <a:gd name="T12" fmla="*/ 25 w 49"/>
                <a:gd name="T13" fmla="*/ 49 h 49"/>
                <a:gd name="T14" fmla="*/ 13 w 49"/>
                <a:gd name="T15" fmla="*/ 45 h 49"/>
                <a:gd name="T16" fmla="*/ 4 w 49"/>
                <a:gd name="T17" fmla="*/ 37 h 49"/>
                <a:gd name="T18" fmla="*/ 0 w 49"/>
                <a:gd name="T19" fmla="*/ 24 h 49"/>
                <a:gd name="T20" fmla="*/ 4 w 49"/>
                <a:gd name="T21" fmla="*/ 12 h 49"/>
                <a:gd name="T22" fmla="*/ 13 w 49"/>
                <a:gd name="T23" fmla="*/ 4 h 49"/>
                <a:gd name="T24" fmla="*/ 25 w 49"/>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9">
                  <a:moveTo>
                    <a:pt x="25" y="0"/>
                  </a:moveTo>
                  <a:lnTo>
                    <a:pt x="37" y="4"/>
                  </a:lnTo>
                  <a:lnTo>
                    <a:pt x="45" y="12"/>
                  </a:lnTo>
                  <a:lnTo>
                    <a:pt x="49" y="24"/>
                  </a:lnTo>
                  <a:lnTo>
                    <a:pt x="45" y="37"/>
                  </a:lnTo>
                  <a:lnTo>
                    <a:pt x="37" y="45"/>
                  </a:lnTo>
                  <a:lnTo>
                    <a:pt x="25" y="49"/>
                  </a:lnTo>
                  <a:lnTo>
                    <a:pt x="13" y="45"/>
                  </a:lnTo>
                  <a:lnTo>
                    <a:pt x="4" y="37"/>
                  </a:lnTo>
                  <a:lnTo>
                    <a:pt x="0" y="24"/>
                  </a:lnTo>
                  <a:lnTo>
                    <a:pt x="4" y="12"/>
                  </a:lnTo>
                  <a:lnTo>
                    <a:pt x="13" y="4"/>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66" name="Freeform 129"/>
            <p:cNvSpPr>
              <a:spLocks/>
            </p:cNvSpPr>
            <p:nvPr/>
          </p:nvSpPr>
          <p:spPr bwMode="auto">
            <a:xfrm>
              <a:off x="5525640" y="5995784"/>
              <a:ext cx="10917" cy="10917"/>
            </a:xfrm>
            <a:custGeom>
              <a:avLst/>
              <a:gdLst>
                <a:gd name="T0" fmla="*/ 24 w 49"/>
                <a:gd name="T1" fmla="*/ 0 h 49"/>
                <a:gd name="T2" fmla="*/ 37 w 49"/>
                <a:gd name="T3" fmla="*/ 4 h 49"/>
                <a:gd name="T4" fmla="*/ 45 w 49"/>
                <a:gd name="T5" fmla="*/ 12 h 49"/>
                <a:gd name="T6" fmla="*/ 49 w 49"/>
                <a:gd name="T7" fmla="*/ 24 h 49"/>
                <a:gd name="T8" fmla="*/ 45 w 49"/>
                <a:gd name="T9" fmla="*/ 37 h 49"/>
                <a:gd name="T10" fmla="*/ 37 w 49"/>
                <a:gd name="T11" fmla="*/ 45 h 49"/>
                <a:gd name="T12" fmla="*/ 24 w 49"/>
                <a:gd name="T13" fmla="*/ 49 h 49"/>
                <a:gd name="T14" fmla="*/ 12 w 49"/>
                <a:gd name="T15" fmla="*/ 45 h 49"/>
                <a:gd name="T16" fmla="*/ 4 w 49"/>
                <a:gd name="T17" fmla="*/ 37 h 49"/>
                <a:gd name="T18" fmla="*/ 0 w 49"/>
                <a:gd name="T19" fmla="*/ 24 h 49"/>
                <a:gd name="T20" fmla="*/ 4 w 49"/>
                <a:gd name="T21" fmla="*/ 12 h 49"/>
                <a:gd name="T22" fmla="*/ 12 w 49"/>
                <a:gd name="T23" fmla="*/ 4 h 49"/>
                <a:gd name="T24" fmla="*/ 24 w 49"/>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9">
                  <a:moveTo>
                    <a:pt x="24" y="0"/>
                  </a:moveTo>
                  <a:lnTo>
                    <a:pt x="37" y="4"/>
                  </a:lnTo>
                  <a:lnTo>
                    <a:pt x="45" y="12"/>
                  </a:lnTo>
                  <a:lnTo>
                    <a:pt x="49" y="24"/>
                  </a:lnTo>
                  <a:lnTo>
                    <a:pt x="45" y="37"/>
                  </a:lnTo>
                  <a:lnTo>
                    <a:pt x="37" y="45"/>
                  </a:lnTo>
                  <a:lnTo>
                    <a:pt x="24" y="49"/>
                  </a:lnTo>
                  <a:lnTo>
                    <a:pt x="12" y="45"/>
                  </a:lnTo>
                  <a:lnTo>
                    <a:pt x="4" y="37"/>
                  </a:lnTo>
                  <a:lnTo>
                    <a:pt x="0" y="24"/>
                  </a:lnTo>
                  <a:lnTo>
                    <a:pt x="4" y="12"/>
                  </a:lnTo>
                  <a:lnTo>
                    <a:pt x="12" y="4"/>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67" name="Freeform 130"/>
            <p:cNvSpPr>
              <a:spLocks/>
            </p:cNvSpPr>
            <p:nvPr/>
          </p:nvSpPr>
          <p:spPr bwMode="auto">
            <a:xfrm>
              <a:off x="5370077" y="6021711"/>
              <a:ext cx="10917" cy="10917"/>
            </a:xfrm>
            <a:custGeom>
              <a:avLst/>
              <a:gdLst>
                <a:gd name="T0" fmla="*/ 25 w 49"/>
                <a:gd name="T1" fmla="*/ 0 h 48"/>
                <a:gd name="T2" fmla="*/ 37 w 49"/>
                <a:gd name="T3" fmla="*/ 4 h 48"/>
                <a:gd name="T4" fmla="*/ 45 w 49"/>
                <a:gd name="T5" fmla="*/ 12 h 48"/>
                <a:gd name="T6" fmla="*/ 49 w 49"/>
                <a:gd name="T7" fmla="*/ 24 h 48"/>
                <a:gd name="T8" fmla="*/ 45 w 49"/>
                <a:gd name="T9" fmla="*/ 36 h 48"/>
                <a:gd name="T10" fmla="*/ 37 w 49"/>
                <a:gd name="T11" fmla="*/ 45 h 48"/>
                <a:gd name="T12" fmla="*/ 25 w 49"/>
                <a:gd name="T13" fmla="*/ 48 h 48"/>
                <a:gd name="T14" fmla="*/ 12 w 49"/>
                <a:gd name="T15" fmla="*/ 45 h 48"/>
                <a:gd name="T16" fmla="*/ 4 w 49"/>
                <a:gd name="T17" fmla="*/ 36 h 48"/>
                <a:gd name="T18" fmla="*/ 0 w 49"/>
                <a:gd name="T19" fmla="*/ 24 h 48"/>
                <a:gd name="T20" fmla="*/ 4 w 49"/>
                <a:gd name="T21" fmla="*/ 12 h 48"/>
                <a:gd name="T22" fmla="*/ 12 w 49"/>
                <a:gd name="T23" fmla="*/ 4 h 48"/>
                <a:gd name="T24" fmla="*/ 25 w 4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8">
                  <a:moveTo>
                    <a:pt x="25" y="0"/>
                  </a:moveTo>
                  <a:lnTo>
                    <a:pt x="37" y="4"/>
                  </a:lnTo>
                  <a:lnTo>
                    <a:pt x="45" y="12"/>
                  </a:lnTo>
                  <a:lnTo>
                    <a:pt x="49" y="24"/>
                  </a:lnTo>
                  <a:lnTo>
                    <a:pt x="45" y="36"/>
                  </a:lnTo>
                  <a:lnTo>
                    <a:pt x="37" y="45"/>
                  </a:lnTo>
                  <a:lnTo>
                    <a:pt x="25" y="48"/>
                  </a:lnTo>
                  <a:lnTo>
                    <a:pt x="12" y="45"/>
                  </a:lnTo>
                  <a:lnTo>
                    <a:pt x="4" y="36"/>
                  </a:lnTo>
                  <a:lnTo>
                    <a:pt x="0" y="24"/>
                  </a:lnTo>
                  <a:lnTo>
                    <a:pt x="4" y="12"/>
                  </a:lnTo>
                  <a:lnTo>
                    <a:pt x="12" y="4"/>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69" name="Freeform 131"/>
            <p:cNvSpPr>
              <a:spLocks/>
            </p:cNvSpPr>
            <p:nvPr/>
          </p:nvSpPr>
          <p:spPr bwMode="auto">
            <a:xfrm>
              <a:off x="5396004" y="6021711"/>
              <a:ext cx="10917" cy="10917"/>
            </a:xfrm>
            <a:custGeom>
              <a:avLst/>
              <a:gdLst>
                <a:gd name="T0" fmla="*/ 24 w 49"/>
                <a:gd name="T1" fmla="*/ 0 h 48"/>
                <a:gd name="T2" fmla="*/ 36 w 49"/>
                <a:gd name="T3" fmla="*/ 4 h 48"/>
                <a:gd name="T4" fmla="*/ 45 w 49"/>
                <a:gd name="T5" fmla="*/ 12 h 48"/>
                <a:gd name="T6" fmla="*/ 49 w 49"/>
                <a:gd name="T7" fmla="*/ 24 h 48"/>
                <a:gd name="T8" fmla="*/ 45 w 49"/>
                <a:gd name="T9" fmla="*/ 36 h 48"/>
                <a:gd name="T10" fmla="*/ 36 w 49"/>
                <a:gd name="T11" fmla="*/ 45 h 48"/>
                <a:gd name="T12" fmla="*/ 24 w 49"/>
                <a:gd name="T13" fmla="*/ 48 h 48"/>
                <a:gd name="T14" fmla="*/ 12 w 49"/>
                <a:gd name="T15" fmla="*/ 45 h 48"/>
                <a:gd name="T16" fmla="*/ 4 w 49"/>
                <a:gd name="T17" fmla="*/ 36 h 48"/>
                <a:gd name="T18" fmla="*/ 0 w 49"/>
                <a:gd name="T19" fmla="*/ 24 h 48"/>
                <a:gd name="T20" fmla="*/ 4 w 49"/>
                <a:gd name="T21" fmla="*/ 12 h 48"/>
                <a:gd name="T22" fmla="*/ 12 w 49"/>
                <a:gd name="T23" fmla="*/ 4 h 48"/>
                <a:gd name="T24" fmla="*/ 24 w 4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8">
                  <a:moveTo>
                    <a:pt x="24" y="0"/>
                  </a:moveTo>
                  <a:lnTo>
                    <a:pt x="36" y="4"/>
                  </a:lnTo>
                  <a:lnTo>
                    <a:pt x="45" y="12"/>
                  </a:lnTo>
                  <a:lnTo>
                    <a:pt x="49" y="24"/>
                  </a:lnTo>
                  <a:lnTo>
                    <a:pt x="45" y="36"/>
                  </a:lnTo>
                  <a:lnTo>
                    <a:pt x="36" y="45"/>
                  </a:lnTo>
                  <a:lnTo>
                    <a:pt x="24" y="48"/>
                  </a:lnTo>
                  <a:lnTo>
                    <a:pt x="12" y="45"/>
                  </a:lnTo>
                  <a:lnTo>
                    <a:pt x="4" y="36"/>
                  </a:lnTo>
                  <a:lnTo>
                    <a:pt x="0" y="24"/>
                  </a:lnTo>
                  <a:lnTo>
                    <a:pt x="4" y="12"/>
                  </a:lnTo>
                  <a:lnTo>
                    <a:pt x="12" y="4"/>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70" name="Freeform 132"/>
            <p:cNvSpPr>
              <a:spLocks/>
            </p:cNvSpPr>
            <p:nvPr/>
          </p:nvSpPr>
          <p:spPr bwMode="auto">
            <a:xfrm>
              <a:off x="5421931" y="6021711"/>
              <a:ext cx="10917" cy="10917"/>
            </a:xfrm>
            <a:custGeom>
              <a:avLst/>
              <a:gdLst>
                <a:gd name="T0" fmla="*/ 24 w 48"/>
                <a:gd name="T1" fmla="*/ 0 h 48"/>
                <a:gd name="T2" fmla="*/ 36 w 48"/>
                <a:gd name="T3" fmla="*/ 4 h 48"/>
                <a:gd name="T4" fmla="*/ 45 w 48"/>
                <a:gd name="T5" fmla="*/ 12 h 48"/>
                <a:gd name="T6" fmla="*/ 48 w 48"/>
                <a:gd name="T7" fmla="*/ 24 h 48"/>
                <a:gd name="T8" fmla="*/ 45 w 48"/>
                <a:gd name="T9" fmla="*/ 36 h 48"/>
                <a:gd name="T10" fmla="*/ 36 w 48"/>
                <a:gd name="T11" fmla="*/ 45 h 48"/>
                <a:gd name="T12" fmla="*/ 24 w 48"/>
                <a:gd name="T13" fmla="*/ 48 h 48"/>
                <a:gd name="T14" fmla="*/ 12 w 48"/>
                <a:gd name="T15" fmla="*/ 45 h 48"/>
                <a:gd name="T16" fmla="*/ 4 w 48"/>
                <a:gd name="T17" fmla="*/ 36 h 48"/>
                <a:gd name="T18" fmla="*/ 0 w 48"/>
                <a:gd name="T19" fmla="*/ 24 h 48"/>
                <a:gd name="T20" fmla="*/ 4 w 48"/>
                <a:gd name="T21" fmla="*/ 12 h 48"/>
                <a:gd name="T22" fmla="*/ 12 w 48"/>
                <a:gd name="T23" fmla="*/ 4 h 48"/>
                <a:gd name="T24" fmla="*/ 24 w 48"/>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8">
                  <a:moveTo>
                    <a:pt x="24" y="0"/>
                  </a:moveTo>
                  <a:lnTo>
                    <a:pt x="36" y="4"/>
                  </a:lnTo>
                  <a:lnTo>
                    <a:pt x="45" y="12"/>
                  </a:lnTo>
                  <a:lnTo>
                    <a:pt x="48" y="24"/>
                  </a:lnTo>
                  <a:lnTo>
                    <a:pt x="45" y="36"/>
                  </a:lnTo>
                  <a:lnTo>
                    <a:pt x="36" y="45"/>
                  </a:lnTo>
                  <a:lnTo>
                    <a:pt x="24" y="48"/>
                  </a:lnTo>
                  <a:lnTo>
                    <a:pt x="12" y="45"/>
                  </a:lnTo>
                  <a:lnTo>
                    <a:pt x="4" y="36"/>
                  </a:lnTo>
                  <a:lnTo>
                    <a:pt x="0" y="24"/>
                  </a:lnTo>
                  <a:lnTo>
                    <a:pt x="4" y="12"/>
                  </a:lnTo>
                  <a:lnTo>
                    <a:pt x="12" y="4"/>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71" name="Freeform 133"/>
            <p:cNvSpPr>
              <a:spLocks/>
            </p:cNvSpPr>
            <p:nvPr/>
          </p:nvSpPr>
          <p:spPr bwMode="auto">
            <a:xfrm>
              <a:off x="5447858" y="6021711"/>
              <a:ext cx="10917" cy="10917"/>
            </a:xfrm>
            <a:custGeom>
              <a:avLst/>
              <a:gdLst>
                <a:gd name="T0" fmla="*/ 24 w 48"/>
                <a:gd name="T1" fmla="*/ 0 h 48"/>
                <a:gd name="T2" fmla="*/ 36 w 48"/>
                <a:gd name="T3" fmla="*/ 4 h 48"/>
                <a:gd name="T4" fmla="*/ 45 w 48"/>
                <a:gd name="T5" fmla="*/ 12 h 48"/>
                <a:gd name="T6" fmla="*/ 48 w 48"/>
                <a:gd name="T7" fmla="*/ 24 h 48"/>
                <a:gd name="T8" fmla="*/ 45 w 48"/>
                <a:gd name="T9" fmla="*/ 36 h 48"/>
                <a:gd name="T10" fmla="*/ 36 w 48"/>
                <a:gd name="T11" fmla="*/ 45 h 48"/>
                <a:gd name="T12" fmla="*/ 24 w 48"/>
                <a:gd name="T13" fmla="*/ 48 h 48"/>
                <a:gd name="T14" fmla="*/ 12 w 48"/>
                <a:gd name="T15" fmla="*/ 45 h 48"/>
                <a:gd name="T16" fmla="*/ 3 w 48"/>
                <a:gd name="T17" fmla="*/ 36 h 48"/>
                <a:gd name="T18" fmla="*/ 0 w 48"/>
                <a:gd name="T19" fmla="*/ 24 h 48"/>
                <a:gd name="T20" fmla="*/ 3 w 48"/>
                <a:gd name="T21" fmla="*/ 12 h 48"/>
                <a:gd name="T22" fmla="*/ 12 w 48"/>
                <a:gd name="T23" fmla="*/ 4 h 48"/>
                <a:gd name="T24" fmla="*/ 24 w 48"/>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8">
                  <a:moveTo>
                    <a:pt x="24" y="0"/>
                  </a:moveTo>
                  <a:lnTo>
                    <a:pt x="36" y="4"/>
                  </a:lnTo>
                  <a:lnTo>
                    <a:pt x="45" y="12"/>
                  </a:lnTo>
                  <a:lnTo>
                    <a:pt x="48" y="24"/>
                  </a:lnTo>
                  <a:lnTo>
                    <a:pt x="45" y="36"/>
                  </a:lnTo>
                  <a:lnTo>
                    <a:pt x="36" y="45"/>
                  </a:lnTo>
                  <a:lnTo>
                    <a:pt x="24" y="48"/>
                  </a:lnTo>
                  <a:lnTo>
                    <a:pt x="12" y="45"/>
                  </a:lnTo>
                  <a:lnTo>
                    <a:pt x="3" y="36"/>
                  </a:lnTo>
                  <a:lnTo>
                    <a:pt x="0" y="24"/>
                  </a:lnTo>
                  <a:lnTo>
                    <a:pt x="3" y="12"/>
                  </a:lnTo>
                  <a:lnTo>
                    <a:pt x="12" y="4"/>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72" name="Freeform 134"/>
            <p:cNvSpPr>
              <a:spLocks/>
            </p:cNvSpPr>
            <p:nvPr/>
          </p:nvSpPr>
          <p:spPr bwMode="auto">
            <a:xfrm>
              <a:off x="5473786" y="6021711"/>
              <a:ext cx="10917" cy="10917"/>
            </a:xfrm>
            <a:custGeom>
              <a:avLst/>
              <a:gdLst>
                <a:gd name="T0" fmla="*/ 24 w 48"/>
                <a:gd name="T1" fmla="*/ 0 h 48"/>
                <a:gd name="T2" fmla="*/ 36 w 48"/>
                <a:gd name="T3" fmla="*/ 4 h 48"/>
                <a:gd name="T4" fmla="*/ 44 w 48"/>
                <a:gd name="T5" fmla="*/ 12 h 48"/>
                <a:gd name="T6" fmla="*/ 48 w 48"/>
                <a:gd name="T7" fmla="*/ 24 h 48"/>
                <a:gd name="T8" fmla="*/ 44 w 48"/>
                <a:gd name="T9" fmla="*/ 36 h 48"/>
                <a:gd name="T10" fmla="*/ 36 w 48"/>
                <a:gd name="T11" fmla="*/ 45 h 48"/>
                <a:gd name="T12" fmla="*/ 24 w 48"/>
                <a:gd name="T13" fmla="*/ 48 h 48"/>
                <a:gd name="T14" fmla="*/ 12 w 48"/>
                <a:gd name="T15" fmla="*/ 45 h 48"/>
                <a:gd name="T16" fmla="*/ 3 w 48"/>
                <a:gd name="T17" fmla="*/ 36 h 48"/>
                <a:gd name="T18" fmla="*/ 0 w 48"/>
                <a:gd name="T19" fmla="*/ 24 h 48"/>
                <a:gd name="T20" fmla="*/ 3 w 48"/>
                <a:gd name="T21" fmla="*/ 12 h 48"/>
                <a:gd name="T22" fmla="*/ 12 w 48"/>
                <a:gd name="T23" fmla="*/ 4 h 48"/>
                <a:gd name="T24" fmla="*/ 24 w 48"/>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8">
                  <a:moveTo>
                    <a:pt x="24" y="0"/>
                  </a:moveTo>
                  <a:lnTo>
                    <a:pt x="36" y="4"/>
                  </a:lnTo>
                  <a:lnTo>
                    <a:pt x="44" y="12"/>
                  </a:lnTo>
                  <a:lnTo>
                    <a:pt x="48" y="24"/>
                  </a:lnTo>
                  <a:lnTo>
                    <a:pt x="44" y="36"/>
                  </a:lnTo>
                  <a:lnTo>
                    <a:pt x="36" y="45"/>
                  </a:lnTo>
                  <a:lnTo>
                    <a:pt x="24" y="48"/>
                  </a:lnTo>
                  <a:lnTo>
                    <a:pt x="12" y="45"/>
                  </a:lnTo>
                  <a:lnTo>
                    <a:pt x="3" y="36"/>
                  </a:lnTo>
                  <a:lnTo>
                    <a:pt x="0" y="24"/>
                  </a:lnTo>
                  <a:lnTo>
                    <a:pt x="3" y="12"/>
                  </a:lnTo>
                  <a:lnTo>
                    <a:pt x="12" y="4"/>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73" name="Freeform 135"/>
            <p:cNvSpPr>
              <a:spLocks/>
            </p:cNvSpPr>
            <p:nvPr/>
          </p:nvSpPr>
          <p:spPr bwMode="auto">
            <a:xfrm>
              <a:off x="5499713" y="6021711"/>
              <a:ext cx="10917" cy="10917"/>
            </a:xfrm>
            <a:custGeom>
              <a:avLst/>
              <a:gdLst>
                <a:gd name="T0" fmla="*/ 25 w 49"/>
                <a:gd name="T1" fmla="*/ 0 h 48"/>
                <a:gd name="T2" fmla="*/ 37 w 49"/>
                <a:gd name="T3" fmla="*/ 4 h 48"/>
                <a:gd name="T4" fmla="*/ 45 w 49"/>
                <a:gd name="T5" fmla="*/ 12 h 48"/>
                <a:gd name="T6" fmla="*/ 49 w 49"/>
                <a:gd name="T7" fmla="*/ 24 h 48"/>
                <a:gd name="T8" fmla="*/ 45 w 49"/>
                <a:gd name="T9" fmla="*/ 36 h 48"/>
                <a:gd name="T10" fmla="*/ 37 w 49"/>
                <a:gd name="T11" fmla="*/ 45 h 48"/>
                <a:gd name="T12" fmla="*/ 25 w 49"/>
                <a:gd name="T13" fmla="*/ 48 h 48"/>
                <a:gd name="T14" fmla="*/ 13 w 49"/>
                <a:gd name="T15" fmla="*/ 45 h 48"/>
                <a:gd name="T16" fmla="*/ 4 w 49"/>
                <a:gd name="T17" fmla="*/ 36 h 48"/>
                <a:gd name="T18" fmla="*/ 0 w 49"/>
                <a:gd name="T19" fmla="*/ 24 h 48"/>
                <a:gd name="T20" fmla="*/ 4 w 49"/>
                <a:gd name="T21" fmla="*/ 12 h 48"/>
                <a:gd name="T22" fmla="*/ 13 w 49"/>
                <a:gd name="T23" fmla="*/ 4 h 48"/>
                <a:gd name="T24" fmla="*/ 25 w 4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8">
                  <a:moveTo>
                    <a:pt x="25" y="0"/>
                  </a:moveTo>
                  <a:lnTo>
                    <a:pt x="37" y="4"/>
                  </a:lnTo>
                  <a:lnTo>
                    <a:pt x="45" y="12"/>
                  </a:lnTo>
                  <a:lnTo>
                    <a:pt x="49" y="24"/>
                  </a:lnTo>
                  <a:lnTo>
                    <a:pt x="45" y="36"/>
                  </a:lnTo>
                  <a:lnTo>
                    <a:pt x="37" y="45"/>
                  </a:lnTo>
                  <a:lnTo>
                    <a:pt x="25" y="48"/>
                  </a:lnTo>
                  <a:lnTo>
                    <a:pt x="13" y="45"/>
                  </a:lnTo>
                  <a:lnTo>
                    <a:pt x="4" y="36"/>
                  </a:lnTo>
                  <a:lnTo>
                    <a:pt x="0" y="24"/>
                  </a:lnTo>
                  <a:lnTo>
                    <a:pt x="4" y="12"/>
                  </a:lnTo>
                  <a:lnTo>
                    <a:pt x="13" y="4"/>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74" name="Freeform 136"/>
            <p:cNvSpPr>
              <a:spLocks/>
            </p:cNvSpPr>
            <p:nvPr/>
          </p:nvSpPr>
          <p:spPr bwMode="auto">
            <a:xfrm>
              <a:off x="5525640" y="6021711"/>
              <a:ext cx="10917" cy="10917"/>
            </a:xfrm>
            <a:custGeom>
              <a:avLst/>
              <a:gdLst>
                <a:gd name="T0" fmla="*/ 24 w 49"/>
                <a:gd name="T1" fmla="*/ 0 h 48"/>
                <a:gd name="T2" fmla="*/ 37 w 49"/>
                <a:gd name="T3" fmla="*/ 4 h 48"/>
                <a:gd name="T4" fmla="*/ 45 w 49"/>
                <a:gd name="T5" fmla="*/ 12 h 48"/>
                <a:gd name="T6" fmla="*/ 49 w 49"/>
                <a:gd name="T7" fmla="*/ 24 h 48"/>
                <a:gd name="T8" fmla="*/ 45 w 49"/>
                <a:gd name="T9" fmla="*/ 36 h 48"/>
                <a:gd name="T10" fmla="*/ 37 w 49"/>
                <a:gd name="T11" fmla="*/ 45 h 48"/>
                <a:gd name="T12" fmla="*/ 24 w 49"/>
                <a:gd name="T13" fmla="*/ 48 h 48"/>
                <a:gd name="T14" fmla="*/ 12 w 49"/>
                <a:gd name="T15" fmla="*/ 45 h 48"/>
                <a:gd name="T16" fmla="*/ 4 w 49"/>
                <a:gd name="T17" fmla="*/ 36 h 48"/>
                <a:gd name="T18" fmla="*/ 0 w 49"/>
                <a:gd name="T19" fmla="*/ 24 h 48"/>
                <a:gd name="T20" fmla="*/ 4 w 49"/>
                <a:gd name="T21" fmla="*/ 12 h 48"/>
                <a:gd name="T22" fmla="*/ 12 w 49"/>
                <a:gd name="T23" fmla="*/ 4 h 48"/>
                <a:gd name="T24" fmla="*/ 24 w 4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8">
                  <a:moveTo>
                    <a:pt x="24" y="0"/>
                  </a:moveTo>
                  <a:lnTo>
                    <a:pt x="37" y="4"/>
                  </a:lnTo>
                  <a:lnTo>
                    <a:pt x="45" y="12"/>
                  </a:lnTo>
                  <a:lnTo>
                    <a:pt x="49" y="24"/>
                  </a:lnTo>
                  <a:lnTo>
                    <a:pt x="45" y="36"/>
                  </a:lnTo>
                  <a:lnTo>
                    <a:pt x="37" y="45"/>
                  </a:lnTo>
                  <a:lnTo>
                    <a:pt x="24" y="48"/>
                  </a:lnTo>
                  <a:lnTo>
                    <a:pt x="12" y="45"/>
                  </a:lnTo>
                  <a:lnTo>
                    <a:pt x="4" y="36"/>
                  </a:lnTo>
                  <a:lnTo>
                    <a:pt x="0" y="24"/>
                  </a:lnTo>
                  <a:lnTo>
                    <a:pt x="4" y="12"/>
                  </a:lnTo>
                  <a:lnTo>
                    <a:pt x="12" y="4"/>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75" name="Freeform 137"/>
            <p:cNvSpPr>
              <a:spLocks/>
            </p:cNvSpPr>
            <p:nvPr/>
          </p:nvSpPr>
          <p:spPr bwMode="auto">
            <a:xfrm>
              <a:off x="5370077" y="6047638"/>
              <a:ext cx="10917" cy="10917"/>
            </a:xfrm>
            <a:custGeom>
              <a:avLst/>
              <a:gdLst>
                <a:gd name="T0" fmla="*/ 25 w 49"/>
                <a:gd name="T1" fmla="*/ 0 h 48"/>
                <a:gd name="T2" fmla="*/ 37 w 49"/>
                <a:gd name="T3" fmla="*/ 4 h 48"/>
                <a:gd name="T4" fmla="*/ 45 w 49"/>
                <a:gd name="T5" fmla="*/ 12 h 48"/>
                <a:gd name="T6" fmla="*/ 49 w 49"/>
                <a:gd name="T7" fmla="*/ 24 h 48"/>
                <a:gd name="T8" fmla="*/ 45 w 49"/>
                <a:gd name="T9" fmla="*/ 36 h 48"/>
                <a:gd name="T10" fmla="*/ 37 w 49"/>
                <a:gd name="T11" fmla="*/ 45 h 48"/>
                <a:gd name="T12" fmla="*/ 25 w 49"/>
                <a:gd name="T13" fmla="*/ 48 h 48"/>
                <a:gd name="T14" fmla="*/ 12 w 49"/>
                <a:gd name="T15" fmla="*/ 45 h 48"/>
                <a:gd name="T16" fmla="*/ 4 w 49"/>
                <a:gd name="T17" fmla="*/ 36 h 48"/>
                <a:gd name="T18" fmla="*/ 0 w 49"/>
                <a:gd name="T19" fmla="*/ 24 h 48"/>
                <a:gd name="T20" fmla="*/ 4 w 49"/>
                <a:gd name="T21" fmla="*/ 12 h 48"/>
                <a:gd name="T22" fmla="*/ 12 w 49"/>
                <a:gd name="T23" fmla="*/ 4 h 48"/>
                <a:gd name="T24" fmla="*/ 25 w 4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8">
                  <a:moveTo>
                    <a:pt x="25" y="0"/>
                  </a:moveTo>
                  <a:lnTo>
                    <a:pt x="37" y="4"/>
                  </a:lnTo>
                  <a:lnTo>
                    <a:pt x="45" y="12"/>
                  </a:lnTo>
                  <a:lnTo>
                    <a:pt x="49" y="24"/>
                  </a:lnTo>
                  <a:lnTo>
                    <a:pt x="45" y="36"/>
                  </a:lnTo>
                  <a:lnTo>
                    <a:pt x="37" y="45"/>
                  </a:lnTo>
                  <a:lnTo>
                    <a:pt x="25" y="48"/>
                  </a:lnTo>
                  <a:lnTo>
                    <a:pt x="12" y="45"/>
                  </a:lnTo>
                  <a:lnTo>
                    <a:pt x="4" y="36"/>
                  </a:lnTo>
                  <a:lnTo>
                    <a:pt x="0" y="24"/>
                  </a:lnTo>
                  <a:lnTo>
                    <a:pt x="4" y="12"/>
                  </a:lnTo>
                  <a:lnTo>
                    <a:pt x="12" y="4"/>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76" name="Freeform 138"/>
            <p:cNvSpPr>
              <a:spLocks/>
            </p:cNvSpPr>
            <p:nvPr/>
          </p:nvSpPr>
          <p:spPr bwMode="auto">
            <a:xfrm>
              <a:off x="5396004" y="6047638"/>
              <a:ext cx="10917" cy="10917"/>
            </a:xfrm>
            <a:custGeom>
              <a:avLst/>
              <a:gdLst>
                <a:gd name="T0" fmla="*/ 24 w 49"/>
                <a:gd name="T1" fmla="*/ 0 h 48"/>
                <a:gd name="T2" fmla="*/ 36 w 49"/>
                <a:gd name="T3" fmla="*/ 4 h 48"/>
                <a:gd name="T4" fmla="*/ 45 w 49"/>
                <a:gd name="T5" fmla="*/ 12 h 48"/>
                <a:gd name="T6" fmla="*/ 49 w 49"/>
                <a:gd name="T7" fmla="*/ 24 h 48"/>
                <a:gd name="T8" fmla="*/ 45 w 49"/>
                <a:gd name="T9" fmla="*/ 36 h 48"/>
                <a:gd name="T10" fmla="*/ 36 w 49"/>
                <a:gd name="T11" fmla="*/ 45 h 48"/>
                <a:gd name="T12" fmla="*/ 24 w 49"/>
                <a:gd name="T13" fmla="*/ 48 h 48"/>
                <a:gd name="T14" fmla="*/ 12 w 49"/>
                <a:gd name="T15" fmla="*/ 45 h 48"/>
                <a:gd name="T16" fmla="*/ 4 w 49"/>
                <a:gd name="T17" fmla="*/ 36 h 48"/>
                <a:gd name="T18" fmla="*/ 0 w 49"/>
                <a:gd name="T19" fmla="*/ 24 h 48"/>
                <a:gd name="T20" fmla="*/ 4 w 49"/>
                <a:gd name="T21" fmla="*/ 12 h 48"/>
                <a:gd name="T22" fmla="*/ 12 w 49"/>
                <a:gd name="T23" fmla="*/ 4 h 48"/>
                <a:gd name="T24" fmla="*/ 24 w 4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8">
                  <a:moveTo>
                    <a:pt x="24" y="0"/>
                  </a:moveTo>
                  <a:lnTo>
                    <a:pt x="36" y="4"/>
                  </a:lnTo>
                  <a:lnTo>
                    <a:pt x="45" y="12"/>
                  </a:lnTo>
                  <a:lnTo>
                    <a:pt x="49" y="24"/>
                  </a:lnTo>
                  <a:lnTo>
                    <a:pt x="45" y="36"/>
                  </a:lnTo>
                  <a:lnTo>
                    <a:pt x="36" y="45"/>
                  </a:lnTo>
                  <a:lnTo>
                    <a:pt x="24" y="48"/>
                  </a:lnTo>
                  <a:lnTo>
                    <a:pt x="12" y="45"/>
                  </a:lnTo>
                  <a:lnTo>
                    <a:pt x="4" y="36"/>
                  </a:lnTo>
                  <a:lnTo>
                    <a:pt x="0" y="24"/>
                  </a:lnTo>
                  <a:lnTo>
                    <a:pt x="4" y="12"/>
                  </a:lnTo>
                  <a:lnTo>
                    <a:pt x="12" y="4"/>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77" name="Freeform 139"/>
            <p:cNvSpPr>
              <a:spLocks/>
            </p:cNvSpPr>
            <p:nvPr/>
          </p:nvSpPr>
          <p:spPr bwMode="auto">
            <a:xfrm>
              <a:off x="5421931" y="6047638"/>
              <a:ext cx="10917" cy="10917"/>
            </a:xfrm>
            <a:custGeom>
              <a:avLst/>
              <a:gdLst>
                <a:gd name="T0" fmla="*/ 24 w 48"/>
                <a:gd name="T1" fmla="*/ 0 h 48"/>
                <a:gd name="T2" fmla="*/ 36 w 48"/>
                <a:gd name="T3" fmla="*/ 4 h 48"/>
                <a:gd name="T4" fmla="*/ 45 w 48"/>
                <a:gd name="T5" fmla="*/ 12 h 48"/>
                <a:gd name="T6" fmla="*/ 48 w 48"/>
                <a:gd name="T7" fmla="*/ 24 h 48"/>
                <a:gd name="T8" fmla="*/ 45 w 48"/>
                <a:gd name="T9" fmla="*/ 36 h 48"/>
                <a:gd name="T10" fmla="*/ 36 w 48"/>
                <a:gd name="T11" fmla="*/ 45 h 48"/>
                <a:gd name="T12" fmla="*/ 24 w 48"/>
                <a:gd name="T13" fmla="*/ 48 h 48"/>
                <a:gd name="T14" fmla="*/ 12 w 48"/>
                <a:gd name="T15" fmla="*/ 45 h 48"/>
                <a:gd name="T16" fmla="*/ 4 w 48"/>
                <a:gd name="T17" fmla="*/ 36 h 48"/>
                <a:gd name="T18" fmla="*/ 0 w 48"/>
                <a:gd name="T19" fmla="*/ 24 h 48"/>
                <a:gd name="T20" fmla="*/ 4 w 48"/>
                <a:gd name="T21" fmla="*/ 12 h 48"/>
                <a:gd name="T22" fmla="*/ 12 w 48"/>
                <a:gd name="T23" fmla="*/ 4 h 48"/>
                <a:gd name="T24" fmla="*/ 24 w 48"/>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8">
                  <a:moveTo>
                    <a:pt x="24" y="0"/>
                  </a:moveTo>
                  <a:lnTo>
                    <a:pt x="36" y="4"/>
                  </a:lnTo>
                  <a:lnTo>
                    <a:pt x="45" y="12"/>
                  </a:lnTo>
                  <a:lnTo>
                    <a:pt x="48" y="24"/>
                  </a:lnTo>
                  <a:lnTo>
                    <a:pt x="45" y="36"/>
                  </a:lnTo>
                  <a:lnTo>
                    <a:pt x="36" y="45"/>
                  </a:lnTo>
                  <a:lnTo>
                    <a:pt x="24" y="48"/>
                  </a:lnTo>
                  <a:lnTo>
                    <a:pt x="12" y="45"/>
                  </a:lnTo>
                  <a:lnTo>
                    <a:pt x="4" y="36"/>
                  </a:lnTo>
                  <a:lnTo>
                    <a:pt x="0" y="24"/>
                  </a:lnTo>
                  <a:lnTo>
                    <a:pt x="4" y="12"/>
                  </a:lnTo>
                  <a:lnTo>
                    <a:pt x="12" y="4"/>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78" name="Freeform 140"/>
            <p:cNvSpPr>
              <a:spLocks/>
            </p:cNvSpPr>
            <p:nvPr/>
          </p:nvSpPr>
          <p:spPr bwMode="auto">
            <a:xfrm>
              <a:off x="5447858" y="6047638"/>
              <a:ext cx="10917" cy="10917"/>
            </a:xfrm>
            <a:custGeom>
              <a:avLst/>
              <a:gdLst>
                <a:gd name="T0" fmla="*/ 24 w 48"/>
                <a:gd name="T1" fmla="*/ 0 h 48"/>
                <a:gd name="T2" fmla="*/ 36 w 48"/>
                <a:gd name="T3" fmla="*/ 4 h 48"/>
                <a:gd name="T4" fmla="*/ 45 w 48"/>
                <a:gd name="T5" fmla="*/ 12 h 48"/>
                <a:gd name="T6" fmla="*/ 48 w 48"/>
                <a:gd name="T7" fmla="*/ 24 h 48"/>
                <a:gd name="T8" fmla="*/ 45 w 48"/>
                <a:gd name="T9" fmla="*/ 36 h 48"/>
                <a:gd name="T10" fmla="*/ 36 w 48"/>
                <a:gd name="T11" fmla="*/ 45 h 48"/>
                <a:gd name="T12" fmla="*/ 24 w 48"/>
                <a:gd name="T13" fmla="*/ 48 h 48"/>
                <a:gd name="T14" fmla="*/ 12 w 48"/>
                <a:gd name="T15" fmla="*/ 45 h 48"/>
                <a:gd name="T16" fmla="*/ 3 w 48"/>
                <a:gd name="T17" fmla="*/ 36 h 48"/>
                <a:gd name="T18" fmla="*/ 0 w 48"/>
                <a:gd name="T19" fmla="*/ 24 h 48"/>
                <a:gd name="T20" fmla="*/ 3 w 48"/>
                <a:gd name="T21" fmla="*/ 12 h 48"/>
                <a:gd name="T22" fmla="*/ 12 w 48"/>
                <a:gd name="T23" fmla="*/ 4 h 48"/>
                <a:gd name="T24" fmla="*/ 24 w 48"/>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8">
                  <a:moveTo>
                    <a:pt x="24" y="0"/>
                  </a:moveTo>
                  <a:lnTo>
                    <a:pt x="36" y="4"/>
                  </a:lnTo>
                  <a:lnTo>
                    <a:pt x="45" y="12"/>
                  </a:lnTo>
                  <a:lnTo>
                    <a:pt x="48" y="24"/>
                  </a:lnTo>
                  <a:lnTo>
                    <a:pt x="45" y="36"/>
                  </a:lnTo>
                  <a:lnTo>
                    <a:pt x="36" y="45"/>
                  </a:lnTo>
                  <a:lnTo>
                    <a:pt x="24" y="48"/>
                  </a:lnTo>
                  <a:lnTo>
                    <a:pt x="12" y="45"/>
                  </a:lnTo>
                  <a:lnTo>
                    <a:pt x="3" y="36"/>
                  </a:lnTo>
                  <a:lnTo>
                    <a:pt x="0" y="24"/>
                  </a:lnTo>
                  <a:lnTo>
                    <a:pt x="3" y="12"/>
                  </a:lnTo>
                  <a:lnTo>
                    <a:pt x="12" y="4"/>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79" name="Freeform 141"/>
            <p:cNvSpPr>
              <a:spLocks/>
            </p:cNvSpPr>
            <p:nvPr/>
          </p:nvSpPr>
          <p:spPr bwMode="auto">
            <a:xfrm>
              <a:off x="5473786" y="6047638"/>
              <a:ext cx="10917" cy="10917"/>
            </a:xfrm>
            <a:custGeom>
              <a:avLst/>
              <a:gdLst>
                <a:gd name="T0" fmla="*/ 24 w 48"/>
                <a:gd name="T1" fmla="*/ 0 h 48"/>
                <a:gd name="T2" fmla="*/ 36 w 48"/>
                <a:gd name="T3" fmla="*/ 4 h 48"/>
                <a:gd name="T4" fmla="*/ 44 w 48"/>
                <a:gd name="T5" fmla="*/ 12 h 48"/>
                <a:gd name="T6" fmla="*/ 48 w 48"/>
                <a:gd name="T7" fmla="*/ 24 h 48"/>
                <a:gd name="T8" fmla="*/ 44 w 48"/>
                <a:gd name="T9" fmla="*/ 36 h 48"/>
                <a:gd name="T10" fmla="*/ 36 w 48"/>
                <a:gd name="T11" fmla="*/ 45 h 48"/>
                <a:gd name="T12" fmla="*/ 24 w 48"/>
                <a:gd name="T13" fmla="*/ 48 h 48"/>
                <a:gd name="T14" fmla="*/ 12 w 48"/>
                <a:gd name="T15" fmla="*/ 45 h 48"/>
                <a:gd name="T16" fmla="*/ 3 w 48"/>
                <a:gd name="T17" fmla="*/ 36 h 48"/>
                <a:gd name="T18" fmla="*/ 0 w 48"/>
                <a:gd name="T19" fmla="*/ 24 h 48"/>
                <a:gd name="T20" fmla="*/ 3 w 48"/>
                <a:gd name="T21" fmla="*/ 12 h 48"/>
                <a:gd name="T22" fmla="*/ 12 w 48"/>
                <a:gd name="T23" fmla="*/ 4 h 48"/>
                <a:gd name="T24" fmla="*/ 24 w 48"/>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8">
                  <a:moveTo>
                    <a:pt x="24" y="0"/>
                  </a:moveTo>
                  <a:lnTo>
                    <a:pt x="36" y="4"/>
                  </a:lnTo>
                  <a:lnTo>
                    <a:pt x="44" y="12"/>
                  </a:lnTo>
                  <a:lnTo>
                    <a:pt x="48" y="24"/>
                  </a:lnTo>
                  <a:lnTo>
                    <a:pt x="44" y="36"/>
                  </a:lnTo>
                  <a:lnTo>
                    <a:pt x="36" y="45"/>
                  </a:lnTo>
                  <a:lnTo>
                    <a:pt x="24" y="48"/>
                  </a:lnTo>
                  <a:lnTo>
                    <a:pt x="12" y="45"/>
                  </a:lnTo>
                  <a:lnTo>
                    <a:pt x="3" y="36"/>
                  </a:lnTo>
                  <a:lnTo>
                    <a:pt x="0" y="24"/>
                  </a:lnTo>
                  <a:lnTo>
                    <a:pt x="3" y="12"/>
                  </a:lnTo>
                  <a:lnTo>
                    <a:pt x="12" y="4"/>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80" name="Freeform 142"/>
            <p:cNvSpPr>
              <a:spLocks/>
            </p:cNvSpPr>
            <p:nvPr/>
          </p:nvSpPr>
          <p:spPr bwMode="auto">
            <a:xfrm>
              <a:off x="5499713" y="6047638"/>
              <a:ext cx="10917" cy="10917"/>
            </a:xfrm>
            <a:custGeom>
              <a:avLst/>
              <a:gdLst>
                <a:gd name="T0" fmla="*/ 25 w 49"/>
                <a:gd name="T1" fmla="*/ 0 h 48"/>
                <a:gd name="T2" fmla="*/ 37 w 49"/>
                <a:gd name="T3" fmla="*/ 4 h 48"/>
                <a:gd name="T4" fmla="*/ 45 w 49"/>
                <a:gd name="T5" fmla="*/ 12 h 48"/>
                <a:gd name="T6" fmla="*/ 49 w 49"/>
                <a:gd name="T7" fmla="*/ 24 h 48"/>
                <a:gd name="T8" fmla="*/ 45 w 49"/>
                <a:gd name="T9" fmla="*/ 36 h 48"/>
                <a:gd name="T10" fmla="*/ 37 w 49"/>
                <a:gd name="T11" fmla="*/ 45 h 48"/>
                <a:gd name="T12" fmla="*/ 25 w 49"/>
                <a:gd name="T13" fmla="*/ 48 h 48"/>
                <a:gd name="T14" fmla="*/ 13 w 49"/>
                <a:gd name="T15" fmla="*/ 45 h 48"/>
                <a:gd name="T16" fmla="*/ 4 w 49"/>
                <a:gd name="T17" fmla="*/ 36 h 48"/>
                <a:gd name="T18" fmla="*/ 0 w 49"/>
                <a:gd name="T19" fmla="*/ 24 h 48"/>
                <a:gd name="T20" fmla="*/ 4 w 49"/>
                <a:gd name="T21" fmla="*/ 12 h 48"/>
                <a:gd name="T22" fmla="*/ 13 w 49"/>
                <a:gd name="T23" fmla="*/ 4 h 48"/>
                <a:gd name="T24" fmla="*/ 25 w 4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8">
                  <a:moveTo>
                    <a:pt x="25" y="0"/>
                  </a:moveTo>
                  <a:lnTo>
                    <a:pt x="37" y="4"/>
                  </a:lnTo>
                  <a:lnTo>
                    <a:pt x="45" y="12"/>
                  </a:lnTo>
                  <a:lnTo>
                    <a:pt x="49" y="24"/>
                  </a:lnTo>
                  <a:lnTo>
                    <a:pt x="45" y="36"/>
                  </a:lnTo>
                  <a:lnTo>
                    <a:pt x="37" y="45"/>
                  </a:lnTo>
                  <a:lnTo>
                    <a:pt x="25" y="48"/>
                  </a:lnTo>
                  <a:lnTo>
                    <a:pt x="13" y="45"/>
                  </a:lnTo>
                  <a:lnTo>
                    <a:pt x="4" y="36"/>
                  </a:lnTo>
                  <a:lnTo>
                    <a:pt x="0" y="24"/>
                  </a:lnTo>
                  <a:lnTo>
                    <a:pt x="4" y="12"/>
                  </a:lnTo>
                  <a:lnTo>
                    <a:pt x="13" y="4"/>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81" name="Freeform 143"/>
            <p:cNvSpPr>
              <a:spLocks/>
            </p:cNvSpPr>
            <p:nvPr/>
          </p:nvSpPr>
          <p:spPr bwMode="auto">
            <a:xfrm>
              <a:off x="5525640" y="6047638"/>
              <a:ext cx="10917" cy="10917"/>
            </a:xfrm>
            <a:custGeom>
              <a:avLst/>
              <a:gdLst>
                <a:gd name="T0" fmla="*/ 24 w 49"/>
                <a:gd name="T1" fmla="*/ 0 h 48"/>
                <a:gd name="T2" fmla="*/ 37 w 49"/>
                <a:gd name="T3" fmla="*/ 4 h 48"/>
                <a:gd name="T4" fmla="*/ 45 w 49"/>
                <a:gd name="T5" fmla="*/ 12 h 48"/>
                <a:gd name="T6" fmla="*/ 49 w 49"/>
                <a:gd name="T7" fmla="*/ 24 h 48"/>
                <a:gd name="T8" fmla="*/ 45 w 49"/>
                <a:gd name="T9" fmla="*/ 36 h 48"/>
                <a:gd name="T10" fmla="*/ 37 w 49"/>
                <a:gd name="T11" fmla="*/ 45 h 48"/>
                <a:gd name="T12" fmla="*/ 24 w 49"/>
                <a:gd name="T13" fmla="*/ 48 h 48"/>
                <a:gd name="T14" fmla="*/ 12 w 49"/>
                <a:gd name="T15" fmla="*/ 45 h 48"/>
                <a:gd name="T16" fmla="*/ 4 w 49"/>
                <a:gd name="T17" fmla="*/ 36 h 48"/>
                <a:gd name="T18" fmla="*/ 0 w 49"/>
                <a:gd name="T19" fmla="*/ 24 h 48"/>
                <a:gd name="T20" fmla="*/ 4 w 49"/>
                <a:gd name="T21" fmla="*/ 12 h 48"/>
                <a:gd name="T22" fmla="*/ 12 w 49"/>
                <a:gd name="T23" fmla="*/ 4 h 48"/>
                <a:gd name="T24" fmla="*/ 24 w 4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8">
                  <a:moveTo>
                    <a:pt x="24" y="0"/>
                  </a:moveTo>
                  <a:lnTo>
                    <a:pt x="37" y="4"/>
                  </a:lnTo>
                  <a:lnTo>
                    <a:pt x="45" y="12"/>
                  </a:lnTo>
                  <a:lnTo>
                    <a:pt x="49" y="24"/>
                  </a:lnTo>
                  <a:lnTo>
                    <a:pt x="45" y="36"/>
                  </a:lnTo>
                  <a:lnTo>
                    <a:pt x="37" y="45"/>
                  </a:lnTo>
                  <a:lnTo>
                    <a:pt x="24" y="48"/>
                  </a:lnTo>
                  <a:lnTo>
                    <a:pt x="12" y="45"/>
                  </a:lnTo>
                  <a:lnTo>
                    <a:pt x="4" y="36"/>
                  </a:lnTo>
                  <a:lnTo>
                    <a:pt x="0" y="24"/>
                  </a:lnTo>
                  <a:lnTo>
                    <a:pt x="4" y="12"/>
                  </a:lnTo>
                  <a:lnTo>
                    <a:pt x="12" y="4"/>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82" name="Freeform 144"/>
            <p:cNvSpPr>
              <a:spLocks/>
            </p:cNvSpPr>
            <p:nvPr/>
          </p:nvSpPr>
          <p:spPr bwMode="auto">
            <a:xfrm>
              <a:off x="5370077" y="6073566"/>
              <a:ext cx="10917" cy="10917"/>
            </a:xfrm>
            <a:custGeom>
              <a:avLst/>
              <a:gdLst>
                <a:gd name="T0" fmla="*/ 25 w 49"/>
                <a:gd name="T1" fmla="*/ 0 h 48"/>
                <a:gd name="T2" fmla="*/ 37 w 49"/>
                <a:gd name="T3" fmla="*/ 3 h 48"/>
                <a:gd name="T4" fmla="*/ 45 w 49"/>
                <a:gd name="T5" fmla="*/ 12 h 48"/>
                <a:gd name="T6" fmla="*/ 49 w 49"/>
                <a:gd name="T7" fmla="*/ 24 h 48"/>
                <a:gd name="T8" fmla="*/ 45 w 49"/>
                <a:gd name="T9" fmla="*/ 36 h 48"/>
                <a:gd name="T10" fmla="*/ 37 w 49"/>
                <a:gd name="T11" fmla="*/ 45 h 48"/>
                <a:gd name="T12" fmla="*/ 25 w 49"/>
                <a:gd name="T13" fmla="*/ 48 h 48"/>
                <a:gd name="T14" fmla="*/ 12 w 49"/>
                <a:gd name="T15" fmla="*/ 45 h 48"/>
                <a:gd name="T16" fmla="*/ 4 w 49"/>
                <a:gd name="T17" fmla="*/ 36 h 48"/>
                <a:gd name="T18" fmla="*/ 0 w 49"/>
                <a:gd name="T19" fmla="*/ 24 h 48"/>
                <a:gd name="T20" fmla="*/ 4 w 49"/>
                <a:gd name="T21" fmla="*/ 12 h 48"/>
                <a:gd name="T22" fmla="*/ 12 w 49"/>
                <a:gd name="T23" fmla="*/ 3 h 48"/>
                <a:gd name="T24" fmla="*/ 25 w 4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8">
                  <a:moveTo>
                    <a:pt x="25" y="0"/>
                  </a:moveTo>
                  <a:lnTo>
                    <a:pt x="37" y="3"/>
                  </a:lnTo>
                  <a:lnTo>
                    <a:pt x="45" y="12"/>
                  </a:lnTo>
                  <a:lnTo>
                    <a:pt x="49" y="24"/>
                  </a:lnTo>
                  <a:lnTo>
                    <a:pt x="45" y="36"/>
                  </a:lnTo>
                  <a:lnTo>
                    <a:pt x="37" y="45"/>
                  </a:lnTo>
                  <a:lnTo>
                    <a:pt x="25" y="48"/>
                  </a:lnTo>
                  <a:lnTo>
                    <a:pt x="12" y="45"/>
                  </a:lnTo>
                  <a:lnTo>
                    <a:pt x="4" y="36"/>
                  </a:lnTo>
                  <a:lnTo>
                    <a:pt x="0" y="24"/>
                  </a:lnTo>
                  <a:lnTo>
                    <a:pt x="4" y="12"/>
                  </a:lnTo>
                  <a:lnTo>
                    <a:pt x="12" y="3"/>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83" name="Freeform 145"/>
            <p:cNvSpPr>
              <a:spLocks/>
            </p:cNvSpPr>
            <p:nvPr/>
          </p:nvSpPr>
          <p:spPr bwMode="auto">
            <a:xfrm>
              <a:off x="5396004" y="6073566"/>
              <a:ext cx="10917" cy="10917"/>
            </a:xfrm>
            <a:custGeom>
              <a:avLst/>
              <a:gdLst>
                <a:gd name="T0" fmla="*/ 24 w 49"/>
                <a:gd name="T1" fmla="*/ 0 h 48"/>
                <a:gd name="T2" fmla="*/ 36 w 49"/>
                <a:gd name="T3" fmla="*/ 3 h 48"/>
                <a:gd name="T4" fmla="*/ 45 w 49"/>
                <a:gd name="T5" fmla="*/ 12 h 48"/>
                <a:gd name="T6" fmla="*/ 49 w 49"/>
                <a:gd name="T7" fmla="*/ 24 h 48"/>
                <a:gd name="T8" fmla="*/ 45 w 49"/>
                <a:gd name="T9" fmla="*/ 36 h 48"/>
                <a:gd name="T10" fmla="*/ 36 w 49"/>
                <a:gd name="T11" fmla="*/ 45 h 48"/>
                <a:gd name="T12" fmla="*/ 24 w 49"/>
                <a:gd name="T13" fmla="*/ 48 h 48"/>
                <a:gd name="T14" fmla="*/ 12 w 49"/>
                <a:gd name="T15" fmla="*/ 45 h 48"/>
                <a:gd name="T16" fmla="*/ 4 w 49"/>
                <a:gd name="T17" fmla="*/ 36 h 48"/>
                <a:gd name="T18" fmla="*/ 0 w 49"/>
                <a:gd name="T19" fmla="*/ 24 h 48"/>
                <a:gd name="T20" fmla="*/ 4 w 49"/>
                <a:gd name="T21" fmla="*/ 12 h 48"/>
                <a:gd name="T22" fmla="*/ 12 w 49"/>
                <a:gd name="T23" fmla="*/ 3 h 48"/>
                <a:gd name="T24" fmla="*/ 24 w 4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8">
                  <a:moveTo>
                    <a:pt x="24" y="0"/>
                  </a:moveTo>
                  <a:lnTo>
                    <a:pt x="36" y="3"/>
                  </a:lnTo>
                  <a:lnTo>
                    <a:pt x="45" y="12"/>
                  </a:lnTo>
                  <a:lnTo>
                    <a:pt x="49" y="24"/>
                  </a:lnTo>
                  <a:lnTo>
                    <a:pt x="45" y="36"/>
                  </a:lnTo>
                  <a:lnTo>
                    <a:pt x="36" y="45"/>
                  </a:lnTo>
                  <a:lnTo>
                    <a:pt x="24" y="48"/>
                  </a:lnTo>
                  <a:lnTo>
                    <a:pt x="12" y="45"/>
                  </a:lnTo>
                  <a:lnTo>
                    <a:pt x="4" y="36"/>
                  </a:lnTo>
                  <a:lnTo>
                    <a:pt x="0" y="24"/>
                  </a:lnTo>
                  <a:lnTo>
                    <a:pt x="4" y="12"/>
                  </a:lnTo>
                  <a:lnTo>
                    <a:pt x="12" y="3"/>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84" name="Freeform 146"/>
            <p:cNvSpPr>
              <a:spLocks/>
            </p:cNvSpPr>
            <p:nvPr/>
          </p:nvSpPr>
          <p:spPr bwMode="auto">
            <a:xfrm>
              <a:off x="5421931" y="6073566"/>
              <a:ext cx="10917" cy="10917"/>
            </a:xfrm>
            <a:custGeom>
              <a:avLst/>
              <a:gdLst>
                <a:gd name="T0" fmla="*/ 24 w 48"/>
                <a:gd name="T1" fmla="*/ 0 h 48"/>
                <a:gd name="T2" fmla="*/ 36 w 48"/>
                <a:gd name="T3" fmla="*/ 3 h 48"/>
                <a:gd name="T4" fmla="*/ 45 w 48"/>
                <a:gd name="T5" fmla="*/ 12 h 48"/>
                <a:gd name="T6" fmla="*/ 48 w 48"/>
                <a:gd name="T7" fmla="*/ 24 h 48"/>
                <a:gd name="T8" fmla="*/ 45 w 48"/>
                <a:gd name="T9" fmla="*/ 36 h 48"/>
                <a:gd name="T10" fmla="*/ 36 w 48"/>
                <a:gd name="T11" fmla="*/ 45 h 48"/>
                <a:gd name="T12" fmla="*/ 24 w 48"/>
                <a:gd name="T13" fmla="*/ 48 h 48"/>
                <a:gd name="T14" fmla="*/ 12 w 48"/>
                <a:gd name="T15" fmla="*/ 45 h 48"/>
                <a:gd name="T16" fmla="*/ 4 w 48"/>
                <a:gd name="T17" fmla="*/ 36 h 48"/>
                <a:gd name="T18" fmla="*/ 0 w 48"/>
                <a:gd name="T19" fmla="*/ 24 h 48"/>
                <a:gd name="T20" fmla="*/ 4 w 48"/>
                <a:gd name="T21" fmla="*/ 12 h 48"/>
                <a:gd name="T22" fmla="*/ 12 w 48"/>
                <a:gd name="T23" fmla="*/ 3 h 48"/>
                <a:gd name="T24" fmla="*/ 24 w 48"/>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8">
                  <a:moveTo>
                    <a:pt x="24" y="0"/>
                  </a:moveTo>
                  <a:lnTo>
                    <a:pt x="36" y="3"/>
                  </a:lnTo>
                  <a:lnTo>
                    <a:pt x="45" y="12"/>
                  </a:lnTo>
                  <a:lnTo>
                    <a:pt x="48" y="24"/>
                  </a:lnTo>
                  <a:lnTo>
                    <a:pt x="45" y="36"/>
                  </a:lnTo>
                  <a:lnTo>
                    <a:pt x="36" y="45"/>
                  </a:lnTo>
                  <a:lnTo>
                    <a:pt x="24" y="48"/>
                  </a:lnTo>
                  <a:lnTo>
                    <a:pt x="12" y="45"/>
                  </a:lnTo>
                  <a:lnTo>
                    <a:pt x="4" y="36"/>
                  </a:lnTo>
                  <a:lnTo>
                    <a:pt x="0" y="24"/>
                  </a:lnTo>
                  <a:lnTo>
                    <a:pt x="4" y="12"/>
                  </a:lnTo>
                  <a:lnTo>
                    <a:pt x="12" y="3"/>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85" name="Freeform 147"/>
            <p:cNvSpPr>
              <a:spLocks/>
            </p:cNvSpPr>
            <p:nvPr/>
          </p:nvSpPr>
          <p:spPr bwMode="auto">
            <a:xfrm>
              <a:off x="5447858" y="6073566"/>
              <a:ext cx="10917" cy="10917"/>
            </a:xfrm>
            <a:custGeom>
              <a:avLst/>
              <a:gdLst>
                <a:gd name="T0" fmla="*/ 24 w 48"/>
                <a:gd name="T1" fmla="*/ 0 h 48"/>
                <a:gd name="T2" fmla="*/ 36 w 48"/>
                <a:gd name="T3" fmla="*/ 3 h 48"/>
                <a:gd name="T4" fmla="*/ 45 w 48"/>
                <a:gd name="T5" fmla="*/ 12 h 48"/>
                <a:gd name="T6" fmla="*/ 48 w 48"/>
                <a:gd name="T7" fmla="*/ 24 h 48"/>
                <a:gd name="T8" fmla="*/ 45 w 48"/>
                <a:gd name="T9" fmla="*/ 36 h 48"/>
                <a:gd name="T10" fmla="*/ 36 w 48"/>
                <a:gd name="T11" fmla="*/ 45 h 48"/>
                <a:gd name="T12" fmla="*/ 24 w 48"/>
                <a:gd name="T13" fmla="*/ 48 h 48"/>
                <a:gd name="T14" fmla="*/ 12 w 48"/>
                <a:gd name="T15" fmla="*/ 45 h 48"/>
                <a:gd name="T16" fmla="*/ 3 w 48"/>
                <a:gd name="T17" fmla="*/ 36 h 48"/>
                <a:gd name="T18" fmla="*/ 0 w 48"/>
                <a:gd name="T19" fmla="*/ 24 h 48"/>
                <a:gd name="T20" fmla="*/ 3 w 48"/>
                <a:gd name="T21" fmla="*/ 12 h 48"/>
                <a:gd name="T22" fmla="*/ 12 w 48"/>
                <a:gd name="T23" fmla="*/ 3 h 48"/>
                <a:gd name="T24" fmla="*/ 24 w 48"/>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8">
                  <a:moveTo>
                    <a:pt x="24" y="0"/>
                  </a:moveTo>
                  <a:lnTo>
                    <a:pt x="36" y="3"/>
                  </a:lnTo>
                  <a:lnTo>
                    <a:pt x="45" y="12"/>
                  </a:lnTo>
                  <a:lnTo>
                    <a:pt x="48" y="24"/>
                  </a:lnTo>
                  <a:lnTo>
                    <a:pt x="45" y="36"/>
                  </a:lnTo>
                  <a:lnTo>
                    <a:pt x="36" y="45"/>
                  </a:lnTo>
                  <a:lnTo>
                    <a:pt x="24" y="48"/>
                  </a:lnTo>
                  <a:lnTo>
                    <a:pt x="12" y="45"/>
                  </a:lnTo>
                  <a:lnTo>
                    <a:pt x="3" y="36"/>
                  </a:lnTo>
                  <a:lnTo>
                    <a:pt x="0" y="24"/>
                  </a:lnTo>
                  <a:lnTo>
                    <a:pt x="3" y="12"/>
                  </a:lnTo>
                  <a:lnTo>
                    <a:pt x="12" y="3"/>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86" name="Freeform 148"/>
            <p:cNvSpPr>
              <a:spLocks/>
            </p:cNvSpPr>
            <p:nvPr/>
          </p:nvSpPr>
          <p:spPr bwMode="auto">
            <a:xfrm>
              <a:off x="5473786" y="6073566"/>
              <a:ext cx="10917" cy="10917"/>
            </a:xfrm>
            <a:custGeom>
              <a:avLst/>
              <a:gdLst>
                <a:gd name="T0" fmla="*/ 24 w 48"/>
                <a:gd name="T1" fmla="*/ 0 h 48"/>
                <a:gd name="T2" fmla="*/ 36 w 48"/>
                <a:gd name="T3" fmla="*/ 3 h 48"/>
                <a:gd name="T4" fmla="*/ 44 w 48"/>
                <a:gd name="T5" fmla="*/ 12 h 48"/>
                <a:gd name="T6" fmla="*/ 48 w 48"/>
                <a:gd name="T7" fmla="*/ 24 h 48"/>
                <a:gd name="T8" fmla="*/ 44 w 48"/>
                <a:gd name="T9" fmla="*/ 36 h 48"/>
                <a:gd name="T10" fmla="*/ 36 w 48"/>
                <a:gd name="T11" fmla="*/ 45 h 48"/>
                <a:gd name="T12" fmla="*/ 24 w 48"/>
                <a:gd name="T13" fmla="*/ 48 h 48"/>
                <a:gd name="T14" fmla="*/ 12 w 48"/>
                <a:gd name="T15" fmla="*/ 45 h 48"/>
                <a:gd name="T16" fmla="*/ 3 w 48"/>
                <a:gd name="T17" fmla="*/ 36 h 48"/>
                <a:gd name="T18" fmla="*/ 0 w 48"/>
                <a:gd name="T19" fmla="*/ 24 h 48"/>
                <a:gd name="T20" fmla="*/ 3 w 48"/>
                <a:gd name="T21" fmla="*/ 12 h 48"/>
                <a:gd name="T22" fmla="*/ 12 w 48"/>
                <a:gd name="T23" fmla="*/ 3 h 48"/>
                <a:gd name="T24" fmla="*/ 24 w 48"/>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8">
                  <a:moveTo>
                    <a:pt x="24" y="0"/>
                  </a:moveTo>
                  <a:lnTo>
                    <a:pt x="36" y="3"/>
                  </a:lnTo>
                  <a:lnTo>
                    <a:pt x="44" y="12"/>
                  </a:lnTo>
                  <a:lnTo>
                    <a:pt x="48" y="24"/>
                  </a:lnTo>
                  <a:lnTo>
                    <a:pt x="44" y="36"/>
                  </a:lnTo>
                  <a:lnTo>
                    <a:pt x="36" y="45"/>
                  </a:lnTo>
                  <a:lnTo>
                    <a:pt x="24" y="48"/>
                  </a:lnTo>
                  <a:lnTo>
                    <a:pt x="12" y="45"/>
                  </a:lnTo>
                  <a:lnTo>
                    <a:pt x="3" y="36"/>
                  </a:lnTo>
                  <a:lnTo>
                    <a:pt x="0" y="24"/>
                  </a:lnTo>
                  <a:lnTo>
                    <a:pt x="3" y="12"/>
                  </a:lnTo>
                  <a:lnTo>
                    <a:pt x="12" y="3"/>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87" name="Freeform 149"/>
            <p:cNvSpPr>
              <a:spLocks/>
            </p:cNvSpPr>
            <p:nvPr/>
          </p:nvSpPr>
          <p:spPr bwMode="auto">
            <a:xfrm>
              <a:off x="5499713" y="6073566"/>
              <a:ext cx="10917" cy="10917"/>
            </a:xfrm>
            <a:custGeom>
              <a:avLst/>
              <a:gdLst>
                <a:gd name="T0" fmla="*/ 25 w 49"/>
                <a:gd name="T1" fmla="*/ 0 h 48"/>
                <a:gd name="T2" fmla="*/ 37 w 49"/>
                <a:gd name="T3" fmla="*/ 3 h 48"/>
                <a:gd name="T4" fmla="*/ 45 w 49"/>
                <a:gd name="T5" fmla="*/ 12 h 48"/>
                <a:gd name="T6" fmla="*/ 49 w 49"/>
                <a:gd name="T7" fmla="*/ 24 h 48"/>
                <a:gd name="T8" fmla="*/ 45 w 49"/>
                <a:gd name="T9" fmla="*/ 36 h 48"/>
                <a:gd name="T10" fmla="*/ 37 w 49"/>
                <a:gd name="T11" fmla="*/ 45 h 48"/>
                <a:gd name="T12" fmla="*/ 25 w 49"/>
                <a:gd name="T13" fmla="*/ 48 h 48"/>
                <a:gd name="T14" fmla="*/ 13 w 49"/>
                <a:gd name="T15" fmla="*/ 45 h 48"/>
                <a:gd name="T16" fmla="*/ 4 w 49"/>
                <a:gd name="T17" fmla="*/ 36 h 48"/>
                <a:gd name="T18" fmla="*/ 0 w 49"/>
                <a:gd name="T19" fmla="*/ 24 h 48"/>
                <a:gd name="T20" fmla="*/ 4 w 49"/>
                <a:gd name="T21" fmla="*/ 12 h 48"/>
                <a:gd name="T22" fmla="*/ 13 w 49"/>
                <a:gd name="T23" fmla="*/ 3 h 48"/>
                <a:gd name="T24" fmla="*/ 25 w 4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8">
                  <a:moveTo>
                    <a:pt x="25" y="0"/>
                  </a:moveTo>
                  <a:lnTo>
                    <a:pt x="37" y="3"/>
                  </a:lnTo>
                  <a:lnTo>
                    <a:pt x="45" y="12"/>
                  </a:lnTo>
                  <a:lnTo>
                    <a:pt x="49" y="24"/>
                  </a:lnTo>
                  <a:lnTo>
                    <a:pt x="45" y="36"/>
                  </a:lnTo>
                  <a:lnTo>
                    <a:pt x="37" y="45"/>
                  </a:lnTo>
                  <a:lnTo>
                    <a:pt x="25" y="48"/>
                  </a:lnTo>
                  <a:lnTo>
                    <a:pt x="13" y="45"/>
                  </a:lnTo>
                  <a:lnTo>
                    <a:pt x="4" y="36"/>
                  </a:lnTo>
                  <a:lnTo>
                    <a:pt x="0" y="24"/>
                  </a:lnTo>
                  <a:lnTo>
                    <a:pt x="4" y="12"/>
                  </a:lnTo>
                  <a:lnTo>
                    <a:pt x="13" y="3"/>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88" name="Freeform 150"/>
            <p:cNvSpPr>
              <a:spLocks/>
            </p:cNvSpPr>
            <p:nvPr/>
          </p:nvSpPr>
          <p:spPr bwMode="auto">
            <a:xfrm>
              <a:off x="5525640" y="6073566"/>
              <a:ext cx="10917" cy="10917"/>
            </a:xfrm>
            <a:custGeom>
              <a:avLst/>
              <a:gdLst>
                <a:gd name="T0" fmla="*/ 24 w 49"/>
                <a:gd name="T1" fmla="*/ 0 h 48"/>
                <a:gd name="T2" fmla="*/ 37 w 49"/>
                <a:gd name="T3" fmla="*/ 3 h 48"/>
                <a:gd name="T4" fmla="*/ 45 w 49"/>
                <a:gd name="T5" fmla="*/ 12 h 48"/>
                <a:gd name="T6" fmla="*/ 49 w 49"/>
                <a:gd name="T7" fmla="*/ 24 h 48"/>
                <a:gd name="T8" fmla="*/ 45 w 49"/>
                <a:gd name="T9" fmla="*/ 36 h 48"/>
                <a:gd name="T10" fmla="*/ 37 w 49"/>
                <a:gd name="T11" fmla="*/ 45 h 48"/>
                <a:gd name="T12" fmla="*/ 24 w 49"/>
                <a:gd name="T13" fmla="*/ 48 h 48"/>
                <a:gd name="T14" fmla="*/ 12 w 49"/>
                <a:gd name="T15" fmla="*/ 45 h 48"/>
                <a:gd name="T16" fmla="*/ 4 w 49"/>
                <a:gd name="T17" fmla="*/ 36 h 48"/>
                <a:gd name="T18" fmla="*/ 0 w 49"/>
                <a:gd name="T19" fmla="*/ 24 h 48"/>
                <a:gd name="T20" fmla="*/ 4 w 49"/>
                <a:gd name="T21" fmla="*/ 12 h 48"/>
                <a:gd name="T22" fmla="*/ 12 w 49"/>
                <a:gd name="T23" fmla="*/ 3 h 48"/>
                <a:gd name="T24" fmla="*/ 24 w 4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8">
                  <a:moveTo>
                    <a:pt x="24" y="0"/>
                  </a:moveTo>
                  <a:lnTo>
                    <a:pt x="37" y="3"/>
                  </a:lnTo>
                  <a:lnTo>
                    <a:pt x="45" y="12"/>
                  </a:lnTo>
                  <a:lnTo>
                    <a:pt x="49" y="24"/>
                  </a:lnTo>
                  <a:lnTo>
                    <a:pt x="45" y="36"/>
                  </a:lnTo>
                  <a:lnTo>
                    <a:pt x="37" y="45"/>
                  </a:lnTo>
                  <a:lnTo>
                    <a:pt x="24" y="48"/>
                  </a:lnTo>
                  <a:lnTo>
                    <a:pt x="12" y="45"/>
                  </a:lnTo>
                  <a:lnTo>
                    <a:pt x="4" y="36"/>
                  </a:lnTo>
                  <a:lnTo>
                    <a:pt x="0" y="24"/>
                  </a:lnTo>
                  <a:lnTo>
                    <a:pt x="4" y="12"/>
                  </a:lnTo>
                  <a:lnTo>
                    <a:pt x="12" y="3"/>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89" name="Freeform 151"/>
            <p:cNvSpPr>
              <a:spLocks/>
            </p:cNvSpPr>
            <p:nvPr/>
          </p:nvSpPr>
          <p:spPr bwMode="auto">
            <a:xfrm>
              <a:off x="5370077" y="6099493"/>
              <a:ext cx="10917" cy="10917"/>
            </a:xfrm>
            <a:custGeom>
              <a:avLst/>
              <a:gdLst>
                <a:gd name="T0" fmla="*/ 25 w 49"/>
                <a:gd name="T1" fmla="*/ 0 h 48"/>
                <a:gd name="T2" fmla="*/ 37 w 49"/>
                <a:gd name="T3" fmla="*/ 3 h 48"/>
                <a:gd name="T4" fmla="*/ 45 w 49"/>
                <a:gd name="T5" fmla="*/ 12 h 48"/>
                <a:gd name="T6" fmla="*/ 49 w 49"/>
                <a:gd name="T7" fmla="*/ 24 h 48"/>
                <a:gd name="T8" fmla="*/ 45 w 49"/>
                <a:gd name="T9" fmla="*/ 36 h 48"/>
                <a:gd name="T10" fmla="*/ 37 w 49"/>
                <a:gd name="T11" fmla="*/ 44 h 48"/>
                <a:gd name="T12" fmla="*/ 25 w 49"/>
                <a:gd name="T13" fmla="*/ 48 h 48"/>
                <a:gd name="T14" fmla="*/ 12 w 49"/>
                <a:gd name="T15" fmla="*/ 44 h 48"/>
                <a:gd name="T16" fmla="*/ 4 w 49"/>
                <a:gd name="T17" fmla="*/ 36 h 48"/>
                <a:gd name="T18" fmla="*/ 0 w 49"/>
                <a:gd name="T19" fmla="*/ 24 h 48"/>
                <a:gd name="T20" fmla="*/ 4 w 49"/>
                <a:gd name="T21" fmla="*/ 12 h 48"/>
                <a:gd name="T22" fmla="*/ 12 w 49"/>
                <a:gd name="T23" fmla="*/ 3 h 48"/>
                <a:gd name="T24" fmla="*/ 25 w 4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8">
                  <a:moveTo>
                    <a:pt x="25" y="0"/>
                  </a:moveTo>
                  <a:lnTo>
                    <a:pt x="37" y="3"/>
                  </a:lnTo>
                  <a:lnTo>
                    <a:pt x="45" y="12"/>
                  </a:lnTo>
                  <a:lnTo>
                    <a:pt x="49" y="24"/>
                  </a:lnTo>
                  <a:lnTo>
                    <a:pt x="45" y="36"/>
                  </a:lnTo>
                  <a:lnTo>
                    <a:pt x="37" y="44"/>
                  </a:lnTo>
                  <a:lnTo>
                    <a:pt x="25" y="48"/>
                  </a:lnTo>
                  <a:lnTo>
                    <a:pt x="12" y="44"/>
                  </a:lnTo>
                  <a:lnTo>
                    <a:pt x="4" y="36"/>
                  </a:lnTo>
                  <a:lnTo>
                    <a:pt x="0" y="24"/>
                  </a:lnTo>
                  <a:lnTo>
                    <a:pt x="4" y="12"/>
                  </a:lnTo>
                  <a:lnTo>
                    <a:pt x="12" y="3"/>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90" name="Freeform 152"/>
            <p:cNvSpPr>
              <a:spLocks/>
            </p:cNvSpPr>
            <p:nvPr/>
          </p:nvSpPr>
          <p:spPr bwMode="auto">
            <a:xfrm>
              <a:off x="5396004" y="6099493"/>
              <a:ext cx="10917" cy="10917"/>
            </a:xfrm>
            <a:custGeom>
              <a:avLst/>
              <a:gdLst>
                <a:gd name="T0" fmla="*/ 24 w 49"/>
                <a:gd name="T1" fmla="*/ 0 h 48"/>
                <a:gd name="T2" fmla="*/ 36 w 49"/>
                <a:gd name="T3" fmla="*/ 3 h 48"/>
                <a:gd name="T4" fmla="*/ 45 w 49"/>
                <a:gd name="T5" fmla="*/ 12 h 48"/>
                <a:gd name="T6" fmla="*/ 49 w 49"/>
                <a:gd name="T7" fmla="*/ 24 h 48"/>
                <a:gd name="T8" fmla="*/ 45 w 49"/>
                <a:gd name="T9" fmla="*/ 36 h 48"/>
                <a:gd name="T10" fmla="*/ 36 w 49"/>
                <a:gd name="T11" fmla="*/ 44 h 48"/>
                <a:gd name="T12" fmla="*/ 24 w 49"/>
                <a:gd name="T13" fmla="*/ 48 h 48"/>
                <a:gd name="T14" fmla="*/ 12 w 49"/>
                <a:gd name="T15" fmla="*/ 44 h 48"/>
                <a:gd name="T16" fmla="*/ 4 w 49"/>
                <a:gd name="T17" fmla="*/ 36 h 48"/>
                <a:gd name="T18" fmla="*/ 0 w 49"/>
                <a:gd name="T19" fmla="*/ 24 h 48"/>
                <a:gd name="T20" fmla="*/ 4 w 49"/>
                <a:gd name="T21" fmla="*/ 12 h 48"/>
                <a:gd name="T22" fmla="*/ 12 w 49"/>
                <a:gd name="T23" fmla="*/ 3 h 48"/>
                <a:gd name="T24" fmla="*/ 24 w 4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8">
                  <a:moveTo>
                    <a:pt x="24" y="0"/>
                  </a:moveTo>
                  <a:lnTo>
                    <a:pt x="36" y="3"/>
                  </a:lnTo>
                  <a:lnTo>
                    <a:pt x="45" y="12"/>
                  </a:lnTo>
                  <a:lnTo>
                    <a:pt x="49" y="24"/>
                  </a:lnTo>
                  <a:lnTo>
                    <a:pt x="45" y="36"/>
                  </a:lnTo>
                  <a:lnTo>
                    <a:pt x="36" y="44"/>
                  </a:lnTo>
                  <a:lnTo>
                    <a:pt x="24" y="48"/>
                  </a:lnTo>
                  <a:lnTo>
                    <a:pt x="12" y="44"/>
                  </a:lnTo>
                  <a:lnTo>
                    <a:pt x="4" y="36"/>
                  </a:lnTo>
                  <a:lnTo>
                    <a:pt x="0" y="24"/>
                  </a:lnTo>
                  <a:lnTo>
                    <a:pt x="4" y="12"/>
                  </a:lnTo>
                  <a:lnTo>
                    <a:pt x="12" y="3"/>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91" name="Freeform 153"/>
            <p:cNvSpPr>
              <a:spLocks/>
            </p:cNvSpPr>
            <p:nvPr/>
          </p:nvSpPr>
          <p:spPr bwMode="auto">
            <a:xfrm>
              <a:off x="5421931" y="6099493"/>
              <a:ext cx="10917" cy="10917"/>
            </a:xfrm>
            <a:custGeom>
              <a:avLst/>
              <a:gdLst>
                <a:gd name="T0" fmla="*/ 24 w 48"/>
                <a:gd name="T1" fmla="*/ 0 h 48"/>
                <a:gd name="T2" fmla="*/ 36 w 48"/>
                <a:gd name="T3" fmla="*/ 3 h 48"/>
                <a:gd name="T4" fmla="*/ 45 w 48"/>
                <a:gd name="T5" fmla="*/ 12 h 48"/>
                <a:gd name="T6" fmla="*/ 48 w 48"/>
                <a:gd name="T7" fmla="*/ 24 h 48"/>
                <a:gd name="T8" fmla="*/ 45 w 48"/>
                <a:gd name="T9" fmla="*/ 36 h 48"/>
                <a:gd name="T10" fmla="*/ 36 w 48"/>
                <a:gd name="T11" fmla="*/ 44 h 48"/>
                <a:gd name="T12" fmla="*/ 24 w 48"/>
                <a:gd name="T13" fmla="*/ 48 h 48"/>
                <a:gd name="T14" fmla="*/ 12 w 48"/>
                <a:gd name="T15" fmla="*/ 44 h 48"/>
                <a:gd name="T16" fmla="*/ 4 w 48"/>
                <a:gd name="T17" fmla="*/ 36 h 48"/>
                <a:gd name="T18" fmla="*/ 0 w 48"/>
                <a:gd name="T19" fmla="*/ 24 h 48"/>
                <a:gd name="T20" fmla="*/ 4 w 48"/>
                <a:gd name="T21" fmla="*/ 12 h 48"/>
                <a:gd name="T22" fmla="*/ 12 w 48"/>
                <a:gd name="T23" fmla="*/ 3 h 48"/>
                <a:gd name="T24" fmla="*/ 24 w 48"/>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8">
                  <a:moveTo>
                    <a:pt x="24" y="0"/>
                  </a:moveTo>
                  <a:lnTo>
                    <a:pt x="36" y="3"/>
                  </a:lnTo>
                  <a:lnTo>
                    <a:pt x="45" y="12"/>
                  </a:lnTo>
                  <a:lnTo>
                    <a:pt x="48" y="24"/>
                  </a:lnTo>
                  <a:lnTo>
                    <a:pt x="45" y="36"/>
                  </a:lnTo>
                  <a:lnTo>
                    <a:pt x="36" y="44"/>
                  </a:lnTo>
                  <a:lnTo>
                    <a:pt x="24" y="48"/>
                  </a:lnTo>
                  <a:lnTo>
                    <a:pt x="12" y="44"/>
                  </a:lnTo>
                  <a:lnTo>
                    <a:pt x="4" y="36"/>
                  </a:lnTo>
                  <a:lnTo>
                    <a:pt x="0" y="24"/>
                  </a:lnTo>
                  <a:lnTo>
                    <a:pt x="4" y="12"/>
                  </a:lnTo>
                  <a:lnTo>
                    <a:pt x="12" y="3"/>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92" name="Freeform 154"/>
            <p:cNvSpPr>
              <a:spLocks/>
            </p:cNvSpPr>
            <p:nvPr/>
          </p:nvSpPr>
          <p:spPr bwMode="auto">
            <a:xfrm>
              <a:off x="5447858" y="6099493"/>
              <a:ext cx="10917" cy="10917"/>
            </a:xfrm>
            <a:custGeom>
              <a:avLst/>
              <a:gdLst>
                <a:gd name="T0" fmla="*/ 24 w 48"/>
                <a:gd name="T1" fmla="*/ 0 h 48"/>
                <a:gd name="T2" fmla="*/ 36 w 48"/>
                <a:gd name="T3" fmla="*/ 3 h 48"/>
                <a:gd name="T4" fmla="*/ 45 w 48"/>
                <a:gd name="T5" fmla="*/ 12 h 48"/>
                <a:gd name="T6" fmla="*/ 48 w 48"/>
                <a:gd name="T7" fmla="*/ 24 h 48"/>
                <a:gd name="T8" fmla="*/ 45 w 48"/>
                <a:gd name="T9" fmla="*/ 36 h 48"/>
                <a:gd name="T10" fmla="*/ 36 w 48"/>
                <a:gd name="T11" fmla="*/ 44 h 48"/>
                <a:gd name="T12" fmla="*/ 24 w 48"/>
                <a:gd name="T13" fmla="*/ 48 h 48"/>
                <a:gd name="T14" fmla="*/ 12 w 48"/>
                <a:gd name="T15" fmla="*/ 44 h 48"/>
                <a:gd name="T16" fmla="*/ 3 w 48"/>
                <a:gd name="T17" fmla="*/ 36 h 48"/>
                <a:gd name="T18" fmla="*/ 0 w 48"/>
                <a:gd name="T19" fmla="*/ 24 h 48"/>
                <a:gd name="T20" fmla="*/ 3 w 48"/>
                <a:gd name="T21" fmla="*/ 12 h 48"/>
                <a:gd name="T22" fmla="*/ 12 w 48"/>
                <a:gd name="T23" fmla="*/ 3 h 48"/>
                <a:gd name="T24" fmla="*/ 24 w 48"/>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8">
                  <a:moveTo>
                    <a:pt x="24" y="0"/>
                  </a:moveTo>
                  <a:lnTo>
                    <a:pt x="36" y="3"/>
                  </a:lnTo>
                  <a:lnTo>
                    <a:pt x="45" y="12"/>
                  </a:lnTo>
                  <a:lnTo>
                    <a:pt x="48" y="24"/>
                  </a:lnTo>
                  <a:lnTo>
                    <a:pt x="45" y="36"/>
                  </a:lnTo>
                  <a:lnTo>
                    <a:pt x="36" y="44"/>
                  </a:lnTo>
                  <a:lnTo>
                    <a:pt x="24" y="48"/>
                  </a:lnTo>
                  <a:lnTo>
                    <a:pt x="12" y="44"/>
                  </a:lnTo>
                  <a:lnTo>
                    <a:pt x="3" y="36"/>
                  </a:lnTo>
                  <a:lnTo>
                    <a:pt x="0" y="24"/>
                  </a:lnTo>
                  <a:lnTo>
                    <a:pt x="3" y="12"/>
                  </a:lnTo>
                  <a:lnTo>
                    <a:pt x="12" y="3"/>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93" name="Freeform 155"/>
            <p:cNvSpPr>
              <a:spLocks/>
            </p:cNvSpPr>
            <p:nvPr/>
          </p:nvSpPr>
          <p:spPr bwMode="auto">
            <a:xfrm>
              <a:off x="5473786" y="6099493"/>
              <a:ext cx="10917" cy="10917"/>
            </a:xfrm>
            <a:custGeom>
              <a:avLst/>
              <a:gdLst>
                <a:gd name="T0" fmla="*/ 24 w 48"/>
                <a:gd name="T1" fmla="*/ 0 h 48"/>
                <a:gd name="T2" fmla="*/ 36 w 48"/>
                <a:gd name="T3" fmla="*/ 3 h 48"/>
                <a:gd name="T4" fmla="*/ 44 w 48"/>
                <a:gd name="T5" fmla="*/ 12 h 48"/>
                <a:gd name="T6" fmla="*/ 48 w 48"/>
                <a:gd name="T7" fmla="*/ 24 h 48"/>
                <a:gd name="T8" fmla="*/ 44 w 48"/>
                <a:gd name="T9" fmla="*/ 36 h 48"/>
                <a:gd name="T10" fmla="*/ 36 w 48"/>
                <a:gd name="T11" fmla="*/ 44 h 48"/>
                <a:gd name="T12" fmla="*/ 24 w 48"/>
                <a:gd name="T13" fmla="*/ 48 h 48"/>
                <a:gd name="T14" fmla="*/ 12 w 48"/>
                <a:gd name="T15" fmla="*/ 44 h 48"/>
                <a:gd name="T16" fmla="*/ 3 w 48"/>
                <a:gd name="T17" fmla="*/ 36 h 48"/>
                <a:gd name="T18" fmla="*/ 0 w 48"/>
                <a:gd name="T19" fmla="*/ 24 h 48"/>
                <a:gd name="T20" fmla="*/ 3 w 48"/>
                <a:gd name="T21" fmla="*/ 12 h 48"/>
                <a:gd name="T22" fmla="*/ 12 w 48"/>
                <a:gd name="T23" fmla="*/ 3 h 48"/>
                <a:gd name="T24" fmla="*/ 24 w 48"/>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8">
                  <a:moveTo>
                    <a:pt x="24" y="0"/>
                  </a:moveTo>
                  <a:lnTo>
                    <a:pt x="36" y="3"/>
                  </a:lnTo>
                  <a:lnTo>
                    <a:pt x="44" y="12"/>
                  </a:lnTo>
                  <a:lnTo>
                    <a:pt x="48" y="24"/>
                  </a:lnTo>
                  <a:lnTo>
                    <a:pt x="44" y="36"/>
                  </a:lnTo>
                  <a:lnTo>
                    <a:pt x="36" y="44"/>
                  </a:lnTo>
                  <a:lnTo>
                    <a:pt x="24" y="48"/>
                  </a:lnTo>
                  <a:lnTo>
                    <a:pt x="12" y="44"/>
                  </a:lnTo>
                  <a:lnTo>
                    <a:pt x="3" y="36"/>
                  </a:lnTo>
                  <a:lnTo>
                    <a:pt x="0" y="24"/>
                  </a:lnTo>
                  <a:lnTo>
                    <a:pt x="3" y="12"/>
                  </a:lnTo>
                  <a:lnTo>
                    <a:pt x="12" y="3"/>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94" name="Freeform 156"/>
            <p:cNvSpPr>
              <a:spLocks/>
            </p:cNvSpPr>
            <p:nvPr/>
          </p:nvSpPr>
          <p:spPr bwMode="auto">
            <a:xfrm>
              <a:off x="5499713" y="6099493"/>
              <a:ext cx="10917" cy="10917"/>
            </a:xfrm>
            <a:custGeom>
              <a:avLst/>
              <a:gdLst>
                <a:gd name="T0" fmla="*/ 25 w 49"/>
                <a:gd name="T1" fmla="*/ 0 h 48"/>
                <a:gd name="T2" fmla="*/ 37 w 49"/>
                <a:gd name="T3" fmla="*/ 3 h 48"/>
                <a:gd name="T4" fmla="*/ 45 w 49"/>
                <a:gd name="T5" fmla="*/ 12 h 48"/>
                <a:gd name="T6" fmla="*/ 49 w 49"/>
                <a:gd name="T7" fmla="*/ 24 h 48"/>
                <a:gd name="T8" fmla="*/ 45 w 49"/>
                <a:gd name="T9" fmla="*/ 36 h 48"/>
                <a:gd name="T10" fmla="*/ 37 w 49"/>
                <a:gd name="T11" fmla="*/ 44 h 48"/>
                <a:gd name="T12" fmla="*/ 25 w 49"/>
                <a:gd name="T13" fmla="*/ 48 h 48"/>
                <a:gd name="T14" fmla="*/ 13 w 49"/>
                <a:gd name="T15" fmla="*/ 44 h 48"/>
                <a:gd name="T16" fmla="*/ 4 w 49"/>
                <a:gd name="T17" fmla="*/ 36 h 48"/>
                <a:gd name="T18" fmla="*/ 0 w 49"/>
                <a:gd name="T19" fmla="*/ 24 h 48"/>
                <a:gd name="T20" fmla="*/ 4 w 49"/>
                <a:gd name="T21" fmla="*/ 12 h 48"/>
                <a:gd name="T22" fmla="*/ 13 w 49"/>
                <a:gd name="T23" fmla="*/ 3 h 48"/>
                <a:gd name="T24" fmla="*/ 25 w 4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8">
                  <a:moveTo>
                    <a:pt x="25" y="0"/>
                  </a:moveTo>
                  <a:lnTo>
                    <a:pt x="37" y="3"/>
                  </a:lnTo>
                  <a:lnTo>
                    <a:pt x="45" y="12"/>
                  </a:lnTo>
                  <a:lnTo>
                    <a:pt x="49" y="24"/>
                  </a:lnTo>
                  <a:lnTo>
                    <a:pt x="45" y="36"/>
                  </a:lnTo>
                  <a:lnTo>
                    <a:pt x="37" y="44"/>
                  </a:lnTo>
                  <a:lnTo>
                    <a:pt x="25" y="48"/>
                  </a:lnTo>
                  <a:lnTo>
                    <a:pt x="13" y="44"/>
                  </a:lnTo>
                  <a:lnTo>
                    <a:pt x="4" y="36"/>
                  </a:lnTo>
                  <a:lnTo>
                    <a:pt x="0" y="24"/>
                  </a:lnTo>
                  <a:lnTo>
                    <a:pt x="4" y="12"/>
                  </a:lnTo>
                  <a:lnTo>
                    <a:pt x="13" y="3"/>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95" name="Freeform 157"/>
            <p:cNvSpPr>
              <a:spLocks/>
            </p:cNvSpPr>
            <p:nvPr/>
          </p:nvSpPr>
          <p:spPr bwMode="auto">
            <a:xfrm>
              <a:off x="5525640" y="6099493"/>
              <a:ext cx="10917" cy="10917"/>
            </a:xfrm>
            <a:custGeom>
              <a:avLst/>
              <a:gdLst>
                <a:gd name="T0" fmla="*/ 24 w 49"/>
                <a:gd name="T1" fmla="*/ 0 h 48"/>
                <a:gd name="T2" fmla="*/ 37 w 49"/>
                <a:gd name="T3" fmla="*/ 3 h 48"/>
                <a:gd name="T4" fmla="*/ 45 w 49"/>
                <a:gd name="T5" fmla="*/ 12 h 48"/>
                <a:gd name="T6" fmla="*/ 49 w 49"/>
                <a:gd name="T7" fmla="*/ 24 h 48"/>
                <a:gd name="T8" fmla="*/ 45 w 49"/>
                <a:gd name="T9" fmla="*/ 36 h 48"/>
                <a:gd name="T10" fmla="*/ 37 w 49"/>
                <a:gd name="T11" fmla="*/ 44 h 48"/>
                <a:gd name="T12" fmla="*/ 24 w 49"/>
                <a:gd name="T13" fmla="*/ 48 h 48"/>
                <a:gd name="T14" fmla="*/ 12 w 49"/>
                <a:gd name="T15" fmla="*/ 44 h 48"/>
                <a:gd name="T16" fmla="*/ 4 w 49"/>
                <a:gd name="T17" fmla="*/ 36 h 48"/>
                <a:gd name="T18" fmla="*/ 0 w 49"/>
                <a:gd name="T19" fmla="*/ 24 h 48"/>
                <a:gd name="T20" fmla="*/ 4 w 49"/>
                <a:gd name="T21" fmla="*/ 12 h 48"/>
                <a:gd name="T22" fmla="*/ 12 w 49"/>
                <a:gd name="T23" fmla="*/ 3 h 48"/>
                <a:gd name="T24" fmla="*/ 24 w 4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8">
                  <a:moveTo>
                    <a:pt x="24" y="0"/>
                  </a:moveTo>
                  <a:lnTo>
                    <a:pt x="37" y="3"/>
                  </a:lnTo>
                  <a:lnTo>
                    <a:pt x="45" y="12"/>
                  </a:lnTo>
                  <a:lnTo>
                    <a:pt x="49" y="24"/>
                  </a:lnTo>
                  <a:lnTo>
                    <a:pt x="45" y="36"/>
                  </a:lnTo>
                  <a:lnTo>
                    <a:pt x="37" y="44"/>
                  </a:lnTo>
                  <a:lnTo>
                    <a:pt x="24" y="48"/>
                  </a:lnTo>
                  <a:lnTo>
                    <a:pt x="12" y="44"/>
                  </a:lnTo>
                  <a:lnTo>
                    <a:pt x="4" y="36"/>
                  </a:lnTo>
                  <a:lnTo>
                    <a:pt x="0" y="24"/>
                  </a:lnTo>
                  <a:lnTo>
                    <a:pt x="4" y="12"/>
                  </a:lnTo>
                  <a:lnTo>
                    <a:pt x="12" y="3"/>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sp>
          <p:nvSpPr>
            <p:cNvPr id="117796" name="Freeform 158"/>
            <p:cNvSpPr>
              <a:spLocks noEditPoints="1"/>
            </p:cNvSpPr>
            <p:nvPr/>
          </p:nvSpPr>
          <p:spPr bwMode="auto">
            <a:xfrm>
              <a:off x="5350517" y="5924370"/>
              <a:ext cx="205599" cy="206054"/>
            </a:xfrm>
            <a:custGeom>
              <a:avLst/>
              <a:gdLst>
                <a:gd name="T0" fmla="*/ 27 w 906"/>
                <a:gd name="T1" fmla="*/ 27 h 906"/>
                <a:gd name="T2" fmla="*/ 27 w 906"/>
                <a:gd name="T3" fmla="*/ 880 h 906"/>
                <a:gd name="T4" fmla="*/ 879 w 906"/>
                <a:gd name="T5" fmla="*/ 880 h 906"/>
                <a:gd name="T6" fmla="*/ 879 w 906"/>
                <a:gd name="T7" fmla="*/ 27 h 906"/>
                <a:gd name="T8" fmla="*/ 27 w 906"/>
                <a:gd name="T9" fmla="*/ 27 h 906"/>
                <a:gd name="T10" fmla="*/ 13 w 906"/>
                <a:gd name="T11" fmla="*/ 0 h 906"/>
                <a:gd name="T12" fmla="*/ 893 w 906"/>
                <a:gd name="T13" fmla="*/ 0 h 906"/>
                <a:gd name="T14" fmla="*/ 897 w 906"/>
                <a:gd name="T15" fmla="*/ 0 h 906"/>
                <a:gd name="T16" fmla="*/ 901 w 906"/>
                <a:gd name="T17" fmla="*/ 3 h 906"/>
                <a:gd name="T18" fmla="*/ 903 w 906"/>
                <a:gd name="T19" fmla="*/ 5 h 906"/>
                <a:gd name="T20" fmla="*/ 906 w 906"/>
                <a:gd name="T21" fmla="*/ 9 h 906"/>
                <a:gd name="T22" fmla="*/ 906 w 906"/>
                <a:gd name="T23" fmla="*/ 14 h 906"/>
                <a:gd name="T24" fmla="*/ 906 w 906"/>
                <a:gd name="T25" fmla="*/ 893 h 906"/>
                <a:gd name="T26" fmla="*/ 906 w 906"/>
                <a:gd name="T27" fmla="*/ 898 h 906"/>
                <a:gd name="T28" fmla="*/ 903 w 906"/>
                <a:gd name="T29" fmla="*/ 901 h 906"/>
                <a:gd name="T30" fmla="*/ 901 w 906"/>
                <a:gd name="T31" fmla="*/ 904 h 906"/>
                <a:gd name="T32" fmla="*/ 897 w 906"/>
                <a:gd name="T33" fmla="*/ 906 h 906"/>
                <a:gd name="T34" fmla="*/ 893 w 906"/>
                <a:gd name="T35" fmla="*/ 906 h 906"/>
                <a:gd name="T36" fmla="*/ 13 w 906"/>
                <a:gd name="T37" fmla="*/ 906 h 906"/>
                <a:gd name="T38" fmla="*/ 9 w 906"/>
                <a:gd name="T39" fmla="*/ 906 h 906"/>
                <a:gd name="T40" fmla="*/ 5 w 906"/>
                <a:gd name="T41" fmla="*/ 904 h 906"/>
                <a:gd name="T42" fmla="*/ 3 w 906"/>
                <a:gd name="T43" fmla="*/ 901 h 906"/>
                <a:gd name="T44" fmla="*/ 0 w 906"/>
                <a:gd name="T45" fmla="*/ 898 h 906"/>
                <a:gd name="T46" fmla="*/ 0 w 906"/>
                <a:gd name="T47" fmla="*/ 893 h 906"/>
                <a:gd name="T48" fmla="*/ 0 w 906"/>
                <a:gd name="T49" fmla="*/ 14 h 906"/>
                <a:gd name="T50" fmla="*/ 0 w 906"/>
                <a:gd name="T51" fmla="*/ 9 h 906"/>
                <a:gd name="T52" fmla="*/ 3 w 906"/>
                <a:gd name="T53" fmla="*/ 5 h 906"/>
                <a:gd name="T54" fmla="*/ 5 w 906"/>
                <a:gd name="T55" fmla="*/ 3 h 906"/>
                <a:gd name="T56" fmla="*/ 9 w 906"/>
                <a:gd name="T57" fmla="*/ 0 h 906"/>
                <a:gd name="T58" fmla="*/ 13 w 906"/>
                <a:gd name="T59" fmla="*/ 0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6" h="906">
                  <a:moveTo>
                    <a:pt x="27" y="27"/>
                  </a:moveTo>
                  <a:lnTo>
                    <a:pt x="27" y="880"/>
                  </a:lnTo>
                  <a:lnTo>
                    <a:pt x="879" y="880"/>
                  </a:lnTo>
                  <a:lnTo>
                    <a:pt x="879" y="27"/>
                  </a:lnTo>
                  <a:lnTo>
                    <a:pt x="27" y="27"/>
                  </a:lnTo>
                  <a:close/>
                  <a:moveTo>
                    <a:pt x="13" y="0"/>
                  </a:moveTo>
                  <a:lnTo>
                    <a:pt x="893" y="0"/>
                  </a:lnTo>
                  <a:lnTo>
                    <a:pt x="897" y="0"/>
                  </a:lnTo>
                  <a:lnTo>
                    <a:pt x="901" y="3"/>
                  </a:lnTo>
                  <a:lnTo>
                    <a:pt x="903" y="5"/>
                  </a:lnTo>
                  <a:lnTo>
                    <a:pt x="906" y="9"/>
                  </a:lnTo>
                  <a:lnTo>
                    <a:pt x="906" y="14"/>
                  </a:lnTo>
                  <a:lnTo>
                    <a:pt x="906" y="893"/>
                  </a:lnTo>
                  <a:lnTo>
                    <a:pt x="906" y="898"/>
                  </a:lnTo>
                  <a:lnTo>
                    <a:pt x="903" y="901"/>
                  </a:lnTo>
                  <a:lnTo>
                    <a:pt x="901" y="904"/>
                  </a:lnTo>
                  <a:lnTo>
                    <a:pt x="897" y="906"/>
                  </a:lnTo>
                  <a:lnTo>
                    <a:pt x="893" y="906"/>
                  </a:lnTo>
                  <a:lnTo>
                    <a:pt x="13" y="906"/>
                  </a:lnTo>
                  <a:lnTo>
                    <a:pt x="9" y="906"/>
                  </a:lnTo>
                  <a:lnTo>
                    <a:pt x="5" y="904"/>
                  </a:lnTo>
                  <a:lnTo>
                    <a:pt x="3" y="901"/>
                  </a:lnTo>
                  <a:lnTo>
                    <a:pt x="0" y="898"/>
                  </a:lnTo>
                  <a:lnTo>
                    <a:pt x="0" y="893"/>
                  </a:lnTo>
                  <a:lnTo>
                    <a:pt x="0" y="14"/>
                  </a:lnTo>
                  <a:lnTo>
                    <a:pt x="0" y="9"/>
                  </a:lnTo>
                  <a:lnTo>
                    <a:pt x="3" y="5"/>
                  </a:lnTo>
                  <a:lnTo>
                    <a:pt x="5" y="3"/>
                  </a:lnTo>
                  <a:lnTo>
                    <a:pt x="9" y="0"/>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mn-lt"/>
                <a:ea typeface="楷体" panose="02010609060101010101" pitchFamily="49" charset="-122"/>
              </a:endParaRPr>
            </a:p>
          </p:txBody>
        </p:sp>
      </p:grpSp>
      <p:grpSp>
        <p:nvGrpSpPr>
          <p:cNvPr id="10" name="Group 9"/>
          <p:cNvGrpSpPr/>
          <p:nvPr/>
        </p:nvGrpSpPr>
        <p:grpSpPr>
          <a:xfrm>
            <a:off x="7154883" y="3187942"/>
            <a:ext cx="441509" cy="424849"/>
            <a:chOff x="-1158110" y="2838090"/>
            <a:chExt cx="1143028" cy="1099896"/>
          </a:xfrm>
          <a:noFill/>
        </p:grpSpPr>
        <p:sp>
          <p:nvSpPr>
            <p:cNvPr id="5" name="Oval 4"/>
            <p:cNvSpPr>
              <a:spLocks/>
            </p:cNvSpPr>
            <p:nvPr/>
          </p:nvSpPr>
          <p:spPr>
            <a:xfrm>
              <a:off x="-690487" y="2838090"/>
              <a:ext cx="228629" cy="228629"/>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a typeface="楷体" panose="02010609060101010101" pitchFamily="49" charset="-122"/>
              </a:endParaRPr>
            </a:p>
          </p:txBody>
        </p:sp>
        <p:sp>
          <p:nvSpPr>
            <p:cNvPr id="262" name="Oval 261"/>
            <p:cNvSpPr>
              <a:spLocks/>
            </p:cNvSpPr>
            <p:nvPr/>
          </p:nvSpPr>
          <p:spPr>
            <a:xfrm>
              <a:off x="-1005710" y="3269410"/>
              <a:ext cx="228629" cy="228629"/>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a typeface="楷体" panose="02010609060101010101" pitchFamily="49" charset="-122"/>
              </a:endParaRPr>
            </a:p>
          </p:txBody>
        </p:sp>
        <p:sp>
          <p:nvSpPr>
            <p:cNvPr id="263" name="Oval 262"/>
            <p:cNvSpPr>
              <a:spLocks/>
            </p:cNvSpPr>
            <p:nvPr/>
          </p:nvSpPr>
          <p:spPr>
            <a:xfrm>
              <a:off x="-396110" y="3269410"/>
              <a:ext cx="228629" cy="228629"/>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a typeface="楷体" panose="02010609060101010101" pitchFamily="49" charset="-122"/>
              </a:endParaRPr>
            </a:p>
          </p:txBody>
        </p:sp>
        <p:sp>
          <p:nvSpPr>
            <p:cNvPr id="264" name="Oval 263"/>
            <p:cNvSpPr>
              <a:spLocks/>
            </p:cNvSpPr>
            <p:nvPr/>
          </p:nvSpPr>
          <p:spPr>
            <a:xfrm>
              <a:off x="-243711" y="3709357"/>
              <a:ext cx="228629" cy="228629"/>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a typeface="楷体" panose="02010609060101010101" pitchFamily="49" charset="-122"/>
              </a:endParaRPr>
            </a:p>
          </p:txBody>
        </p:sp>
        <p:sp>
          <p:nvSpPr>
            <p:cNvPr id="265" name="Oval 264"/>
            <p:cNvSpPr>
              <a:spLocks/>
            </p:cNvSpPr>
            <p:nvPr/>
          </p:nvSpPr>
          <p:spPr>
            <a:xfrm>
              <a:off x="-548510" y="3709357"/>
              <a:ext cx="228629" cy="228629"/>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a typeface="楷体" panose="02010609060101010101" pitchFamily="49" charset="-122"/>
              </a:endParaRPr>
            </a:p>
          </p:txBody>
        </p:sp>
        <p:sp>
          <p:nvSpPr>
            <p:cNvPr id="266" name="Oval 265"/>
            <p:cNvSpPr>
              <a:spLocks/>
            </p:cNvSpPr>
            <p:nvPr/>
          </p:nvSpPr>
          <p:spPr>
            <a:xfrm>
              <a:off x="-853310" y="3709357"/>
              <a:ext cx="228629" cy="228629"/>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a typeface="楷体" panose="02010609060101010101" pitchFamily="49" charset="-122"/>
              </a:endParaRPr>
            </a:p>
          </p:txBody>
        </p:sp>
        <p:sp>
          <p:nvSpPr>
            <p:cNvPr id="267" name="Oval 266"/>
            <p:cNvSpPr>
              <a:spLocks/>
            </p:cNvSpPr>
            <p:nvPr/>
          </p:nvSpPr>
          <p:spPr>
            <a:xfrm>
              <a:off x="-1158110" y="3709357"/>
              <a:ext cx="228629" cy="228629"/>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a typeface="楷体" panose="02010609060101010101" pitchFamily="49" charset="-122"/>
              </a:endParaRPr>
            </a:p>
          </p:txBody>
        </p:sp>
        <p:grpSp>
          <p:nvGrpSpPr>
            <p:cNvPr id="8" name="Group 7"/>
            <p:cNvGrpSpPr/>
            <p:nvPr/>
          </p:nvGrpSpPr>
          <p:grpSpPr>
            <a:xfrm>
              <a:off x="-988937" y="3088257"/>
              <a:ext cx="815076" cy="626494"/>
              <a:chOff x="-988937" y="3088257"/>
              <a:chExt cx="815076" cy="626494"/>
            </a:xfrm>
            <a:grpFill/>
          </p:grpSpPr>
          <p:sp>
            <p:nvSpPr>
              <p:cNvPr id="6" name="Freeform 5"/>
              <p:cNvSpPr/>
              <p:nvPr/>
            </p:nvSpPr>
            <p:spPr>
              <a:xfrm>
                <a:off x="-787175" y="3088257"/>
                <a:ext cx="146649" cy="198407"/>
              </a:xfrm>
              <a:custGeom>
                <a:avLst/>
                <a:gdLst>
                  <a:gd name="connsiteX0" fmla="*/ 0 w 146649"/>
                  <a:gd name="connsiteY0" fmla="*/ 198407 h 198407"/>
                  <a:gd name="connsiteX1" fmla="*/ 146649 w 146649"/>
                  <a:gd name="connsiteY1" fmla="*/ 0 h 198407"/>
                </a:gdLst>
                <a:ahLst/>
                <a:cxnLst>
                  <a:cxn ang="0">
                    <a:pos x="connsiteX0" y="connsiteY0"/>
                  </a:cxn>
                  <a:cxn ang="0">
                    <a:pos x="connsiteX1" y="connsiteY1"/>
                  </a:cxn>
                </a:cxnLst>
                <a:rect l="l" t="t" r="r" b="b"/>
                <a:pathLst>
                  <a:path w="146649" h="198407">
                    <a:moveTo>
                      <a:pt x="0" y="198407"/>
                    </a:moveTo>
                    <a:lnTo>
                      <a:pt x="146649" y="0"/>
                    </a:lnTo>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ea typeface="楷体" panose="02010609060101010101" pitchFamily="49" charset="-122"/>
                </a:endParaRPr>
              </a:p>
            </p:txBody>
          </p:sp>
          <p:sp>
            <p:nvSpPr>
              <p:cNvPr id="268" name="Freeform 267"/>
              <p:cNvSpPr/>
              <p:nvPr/>
            </p:nvSpPr>
            <p:spPr>
              <a:xfrm flipH="1">
                <a:off x="-502503" y="3088257"/>
                <a:ext cx="146649" cy="198407"/>
              </a:xfrm>
              <a:custGeom>
                <a:avLst/>
                <a:gdLst>
                  <a:gd name="connsiteX0" fmla="*/ 0 w 146649"/>
                  <a:gd name="connsiteY0" fmla="*/ 198407 h 198407"/>
                  <a:gd name="connsiteX1" fmla="*/ 146649 w 146649"/>
                  <a:gd name="connsiteY1" fmla="*/ 0 h 198407"/>
                </a:gdLst>
                <a:ahLst/>
                <a:cxnLst>
                  <a:cxn ang="0">
                    <a:pos x="connsiteX0" y="connsiteY0"/>
                  </a:cxn>
                  <a:cxn ang="0">
                    <a:pos x="connsiteX1" y="connsiteY1"/>
                  </a:cxn>
                </a:cxnLst>
                <a:rect l="l" t="t" r="r" b="b"/>
                <a:pathLst>
                  <a:path w="146649" h="198407">
                    <a:moveTo>
                      <a:pt x="0" y="198407"/>
                    </a:moveTo>
                    <a:lnTo>
                      <a:pt x="146649" y="0"/>
                    </a:lnTo>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ea typeface="楷体" panose="02010609060101010101" pitchFamily="49" charset="-122"/>
                </a:endParaRPr>
              </a:p>
            </p:txBody>
          </p:sp>
          <p:sp>
            <p:nvSpPr>
              <p:cNvPr id="269" name="Freeform 268"/>
              <p:cNvSpPr/>
              <p:nvPr/>
            </p:nvSpPr>
            <p:spPr>
              <a:xfrm flipH="1">
                <a:off x="-252337" y="3519579"/>
                <a:ext cx="78476" cy="195172"/>
              </a:xfrm>
              <a:custGeom>
                <a:avLst/>
                <a:gdLst>
                  <a:gd name="connsiteX0" fmla="*/ 0 w 146649"/>
                  <a:gd name="connsiteY0" fmla="*/ 198407 h 198407"/>
                  <a:gd name="connsiteX1" fmla="*/ 146649 w 146649"/>
                  <a:gd name="connsiteY1" fmla="*/ 0 h 198407"/>
                </a:gdLst>
                <a:ahLst/>
                <a:cxnLst>
                  <a:cxn ang="0">
                    <a:pos x="connsiteX0" y="connsiteY0"/>
                  </a:cxn>
                  <a:cxn ang="0">
                    <a:pos x="connsiteX1" y="connsiteY1"/>
                  </a:cxn>
                </a:cxnLst>
                <a:rect l="l" t="t" r="r" b="b"/>
                <a:pathLst>
                  <a:path w="146649" h="198407">
                    <a:moveTo>
                      <a:pt x="0" y="198407"/>
                    </a:moveTo>
                    <a:lnTo>
                      <a:pt x="146649" y="0"/>
                    </a:lnTo>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ea typeface="楷体" panose="02010609060101010101" pitchFamily="49" charset="-122"/>
                </a:endParaRPr>
              </a:p>
            </p:txBody>
          </p:sp>
          <p:sp>
            <p:nvSpPr>
              <p:cNvPr id="270" name="Freeform 269"/>
              <p:cNvSpPr/>
              <p:nvPr/>
            </p:nvSpPr>
            <p:spPr>
              <a:xfrm>
                <a:off x="-420612" y="3519579"/>
                <a:ext cx="78476" cy="195172"/>
              </a:xfrm>
              <a:custGeom>
                <a:avLst/>
                <a:gdLst>
                  <a:gd name="connsiteX0" fmla="*/ 0 w 146649"/>
                  <a:gd name="connsiteY0" fmla="*/ 198407 h 198407"/>
                  <a:gd name="connsiteX1" fmla="*/ 146649 w 146649"/>
                  <a:gd name="connsiteY1" fmla="*/ 0 h 198407"/>
                </a:gdLst>
                <a:ahLst/>
                <a:cxnLst>
                  <a:cxn ang="0">
                    <a:pos x="connsiteX0" y="connsiteY0"/>
                  </a:cxn>
                  <a:cxn ang="0">
                    <a:pos x="connsiteX1" y="connsiteY1"/>
                  </a:cxn>
                </a:cxnLst>
                <a:rect l="l" t="t" r="r" b="b"/>
                <a:pathLst>
                  <a:path w="146649" h="198407">
                    <a:moveTo>
                      <a:pt x="0" y="198407"/>
                    </a:moveTo>
                    <a:lnTo>
                      <a:pt x="146649" y="0"/>
                    </a:lnTo>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ea typeface="楷体" panose="02010609060101010101" pitchFamily="49" charset="-122"/>
                </a:endParaRPr>
              </a:p>
            </p:txBody>
          </p:sp>
          <p:sp>
            <p:nvSpPr>
              <p:cNvPr id="272" name="Freeform 271"/>
              <p:cNvSpPr/>
              <p:nvPr/>
            </p:nvSpPr>
            <p:spPr>
              <a:xfrm flipH="1">
                <a:off x="-820662" y="3519579"/>
                <a:ext cx="78476" cy="195172"/>
              </a:xfrm>
              <a:custGeom>
                <a:avLst/>
                <a:gdLst>
                  <a:gd name="connsiteX0" fmla="*/ 0 w 146649"/>
                  <a:gd name="connsiteY0" fmla="*/ 198407 h 198407"/>
                  <a:gd name="connsiteX1" fmla="*/ 146649 w 146649"/>
                  <a:gd name="connsiteY1" fmla="*/ 0 h 198407"/>
                </a:gdLst>
                <a:ahLst/>
                <a:cxnLst>
                  <a:cxn ang="0">
                    <a:pos x="connsiteX0" y="connsiteY0"/>
                  </a:cxn>
                  <a:cxn ang="0">
                    <a:pos x="connsiteX1" y="connsiteY1"/>
                  </a:cxn>
                </a:cxnLst>
                <a:rect l="l" t="t" r="r" b="b"/>
                <a:pathLst>
                  <a:path w="146649" h="198407">
                    <a:moveTo>
                      <a:pt x="0" y="198407"/>
                    </a:moveTo>
                    <a:lnTo>
                      <a:pt x="146649" y="0"/>
                    </a:lnTo>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ea typeface="楷体" panose="02010609060101010101" pitchFamily="49" charset="-122"/>
                </a:endParaRPr>
              </a:p>
            </p:txBody>
          </p:sp>
          <p:sp>
            <p:nvSpPr>
              <p:cNvPr id="273" name="Freeform 272"/>
              <p:cNvSpPr/>
              <p:nvPr/>
            </p:nvSpPr>
            <p:spPr>
              <a:xfrm>
                <a:off x="-988937" y="3519579"/>
                <a:ext cx="78476" cy="195172"/>
              </a:xfrm>
              <a:custGeom>
                <a:avLst/>
                <a:gdLst>
                  <a:gd name="connsiteX0" fmla="*/ 0 w 146649"/>
                  <a:gd name="connsiteY0" fmla="*/ 198407 h 198407"/>
                  <a:gd name="connsiteX1" fmla="*/ 146649 w 146649"/>
                  <a:gd name="connsiteY1" fmla="*/ 0 h 198407"/>
                </a:gdLst>
                <a:ahLst/>
                <a:cxnLst>
                  <a:cxn ang="0">
                    <a:pos x="connsiteX0" y="connsiteY0"/>
                  </a:cxn>
                  <a:cxn ang="0">
                    <a:pos x="connsiteX1" y="connsiteY1"/>
                  </a:cxn>
                </a:cxnLst>
                <a:rect l="l" t="t" r="r" b="b"/>
                <a:pathLst>
                  <a:path w="146649" h="198407">
                    <a:moveTo>
                      <a:pt x="0" y="198407"/>
                    </a:moveTo>
                    <a:lnTo>
                      <a:pt x="146649" y="0"/>
                    </a:lnTo>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ea typeface="楷体" panose="02010609060101010101" pitchFamily="49" charset="-122"/>
                </a:endParaRPr>
              </a:p>
            </p:txBody>
          </p:sp>
        </p:grpSp>
      </p:grpSp>
      <p:cxnSp>
        <p:nvCxnSpPr>
          <p:cNvPr id="17" name="Straight Connector 16"/>
          <p:cNvCxnSpPr/>
          <p:nvPr/>
        </p:nvCxnSpPr>
        <p:spPr>
          <a:xfrm>
            <a:off x="171451" y="2601323"/>
            <a:ext cx="8618537" cy="0"/>
          </a:xfrm>
          <a:prstGeom prst="line">
            <a:avLst/>
          </a:prstGeom>
          <a:ln w="28575">
            <a:solidFill>
              <a:srgbClr val="FFCA21"/>
            </a:solidFill>
            <a:tailEnd type="triangle" w="lg" len="med"/>
          </a:ln>
        </p:spPr>
        <p:style>
          <a:lnRef idx="1">
            <a:schemeClr val="accent1"/>
          </a:lnRef>
          <a:fillRef idx="0">
            <a:schemeClr val="accent1"/>
          </a:fillRef>
          <a:effectRef idx="0">
            <a:schemeClr val="accent1"/>
          </a:effectRef>
          <a:fontRef idx="minor">
            <a:schemeClr val="tx1"/>
          </a:fontRef>
        </p:style>
      </p:cxnSp>
      <p:sp>
        <p:nvSpPr>
          <p:cNvPr id="181" name="Oval 180"/>
          <p:cNvSpPr/>
          <p:nvPr/>
        </p:nvSpPr>
        <p:spPr>
          <a:xfrm>
            <a:off x="334476" y="2516082"/>
            <a:ext cx="181491" cy="181491"/>
          </a:xfrm>
          <a:prstGeom prst="ellipse">
            <a:avLst/>
          </a:prstGeom>
          <a:solidFill>
            <a:srgbClr val="FFCA2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a typeface="楷体" panose="02010609060101010101" pitchFamily="49" charset="-122"/>
            </a:endParaRPr>
          </a:p>
        </p:txBody>
      </p:sp>
      <p:sp>
        <p:nvSpPr>
          <p:cNvPr id="185" name="Oval 184"/>
          <p:cNvSpPr/>
          <p:nvPr/>
        </p:nvSpPr>
        <p:spPr>
          <a:xfrm>
            <a:off x="8462297" y="2516082"/>
            <a:ext cx="181491" cy="181491"/>
          </a:xfrm>
          <a:prstGeom prst="ellipse">
            <a:avLst/>
          </a:prstGeom>
          <a:solidFill>
            <a:srgbClr val="FFCA2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a typeface="楷体" panose="02010609060101010101" pitchFamily="49" charset="-122"/>
            </a:endParaRPr>
          </a:p>
        </p:txBody>
      </p:sp>
      <p:sp>
        <p:nvSpPr>
          <p:cNvPr id="191" name="Oval 190"/>
          <p:cNvSpPr/>
          <p:nvPr/>
        </p:nvSpPr>
        <p:spPr>
          <a:xfrm>
            <a:off x="1237567" y="2516082"/>
            <a:ext cx="181491" cy="181491"/>
          </a:xfrm>
          <a:prstGeom prst="ellipse">
            <a:avLst/>
          </a:prstGeom>
          <a:solidFill>
            <a:srgbClr val="FFCA2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a typeface="楷体" panose="02010609060101010101" pitchFamily="49" charset="-122"/>
            </a:endParaRPr>
          </a:p>
        </p:txBody>
      </p:sp>
      <p:sp>
        <p:nvSpPr>
          <p:cNvPr id="194" name="Oval 193"/>
          <p:cNvSpPr/>
          <p:nvPr/>
        </p:nvSpPr>
        <p:spPr>
          <a:xfrm>
            <a:off x="2140658" y="2516082"/>
            <a:ext cx="181491" cy="181491"/>
          </a:xfrm>
          <a:prstGeom prst="ellipse">
            <a:avLst/>
          </a:prstGeom>
          <a:solidFill>
            <a:srgbClr val="FFCA2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a typeface="楷体" panose="02010609060101010101" pitchFamily="49" charset="-122"/>
            </a:endParaRPr>
          </a:p>
        </p:txBody>
      </p:sp>
      <p:sp>
        <p:nvSpPr>
          <p:cNvPr id="197" name="Oval 196"/>
          <p:cNvSpPr/>
          <p:nvPr/>
        </p:nvSpPr>
        <p:spPr>
          <a:xfrm>
            <a:off x="3043749" y="2516082"/>
            <a:ext cx="181491" cy="181491"/>
          </a:xfrm>
          <a:prstGeom prst="ellipse">
            <a:avLst/>
          </a:prstGeom>
          <a:solidFill>
            <a:srgbClr val="FFCA2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a typeface="楷体" panose="02010609060101010101" pitchFamily="49" charset="-122"/>
            </a:endParaRPr>
          </a:p>
        </p:txBody>
      </p:sp>
      <p:sp>
        <p:nvSpPr>
          <p:cNvPr id="200" name="Oval 199"/>
          <p:cNvSpPr/>
          <p:nvPr/>
        </p:nvSpPr>
        <p:spPr>
          <a:xfrm>
            <a:off x="3946840" y="2516082"/>
            <a:ext cx="181491" cy="181491"/>
          </a:xfrm>
          <a:prstGeom prst="ellipse">
            <a:avLst/>
          </a:prstGeom>
          <a:solidFill>
            <a:srgbClr val="FFCA2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a typeface="楷体" panose="02010609060101010101" pitchFamily="49" charset="-122"/>
            </a:endParaRPr>
          </a:p>
        </p:txBody>
      </p:sp>
      <p:sp>
        <p:nvSpPr>
          <p:cNvPr id="203" name="Oval 202"/>
          <p:cNvSpPr/>
          <p:nvPr/>
        </p:nvSpPr>
        <p:spPr>
          <a:xfrm>
            <a:off x="4849931" y="2516082"/>
            <a:ext cx="181491" cy="181491"/>
          </a:xfrm>
          <a:prstGeom prst="ellipse">
            <a:avLst/>
          </a:prstGeom>
          <a:solidFill>
            <a:srgbClr val="FFCA2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a typeface="楷体" panose="02010609060101010101" pitchFamily="49" charset="-122"/>
            </a:endParaRPr>
          </a:p>
        </p:txBody>
      </p:sp>
      <p:sp>
        <p:nvSpPr>
          <p:cNvPr id="206" name="Oval 205"/>
          <p:cNvSpPr/>
          <p:nvPr/>
        </p:nvSpPr>
        <p:spPr>
          <a:xfrm>
            <a:off x="5753022" y="2516082"/>
            <a:ext cx="181491" cy="181491"/>
          </a:xfrm>
          <a:prstGeom prst="ellipse">
            <a:avLst/>
          </a:prstGeom>
          <a:solidFill>
            <a:srgbClr val="FFCA2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a typeface="楷体" panose="02010609060101010101" pitchFamily="49" charset="-122"/>
            </a:endParaRPr>
          </a:p>
        </p:txBody>
      </p:sp>
      <p:sp>
        <p:nvSpPr>
          <p:cNvPr id="209" name="Oval 208"/>
          <p:cNvSpPr/>
          <p:nvPr/>
        </p:nvSpPr>
        <p:spPr>
          <a:xfrm>
            <a:off x="6656113" y="2516082"/>
            <a:ext cx="181491" cy="181491"/>
          </a:xfrm>
          <a:prstGeom prst="ellipse">
            <a:avLst/>
          </a:prstGeom>
          <a:solidFill>
            <a:srgbClr val="FFCA2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a typeface="楷体" panose="02010609060101010101" pitchFamily="49" charset="-122"/>
            </a:endParaRPr>
          </a:p>
        </p:txBody>
      </p:sp>
      <p:sp>
        <p:nvSpPr>
          <p:cNvPr id="212" name="Oval 211"/>
          <p:cNvSpPr/>
          <p:nvPr/>
        </p:nvSpPr>
        <p:spPr>
          <a:xfrm>
            <a:off x="7559204" y="2516082"/>
            <a:ext cx="181491" cy="181491"/>
          </a:xfrm>
          <a:prstGeom prst="ellipse">
            <a:avLst/>
          </a:prstGeom>
          <a:solidFill>
            <a:srgbClr val="FFCA2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a typeface="楷体" panose="02010609060101010101" pitchFamily="49" charset="-122"/>
            </a:endParaRPr>
          </a:p>
        </p:txBody>
      </p:sp>
      <p:sp>
        <p:nvSpPr>
          <p:cNvPr id="179" name="Oval 178"/>
          <p:cNvSpPr/>
          <p:nvPr/>
        </p:nvSpPr>
        <p:spPr>
          <a:xfrm>
            <a:off x="368875" y="2550481"/>
            <a:ext cx="112692" cy="112692"/>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a typeface="楷体" panose="02010609060101010101" pitchFamily="49" charset="-122"/>
            </a:endParaRPr>
          </a:p>
        </p:txBody>
      </p:sp>
      <p:sp>
        <p:nvSpPr>
          <p:cNvPr id="184" name="Oval 183"/>
          <p:cNvSpPr/>
          <p:nvPr/>
        </p:nvSpPr>
        <p:spPr>
          <a:xfrm>
            <a:off x="8496696" y="2550481"/>
            <a:ext cx="112692" cy="112692"/>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a typeface="楷体" panose="02010609060101010101" pitchFamily="49" charset="-122"/>
            </a:endParaRPr>
          </a:p>
        </p:txBody>
      </p:sp>
      <p:sp>
        <p:nvSpPr>
          <p:cNvPr id="190" name="Oval 189"/>
          <p:cNvSpPr/>
          <p:nvPr/>
        </p:nvSpPr>
        <p:spPr>
          <a:xfrm>
            <a:off x="1271966" y="2550481"/>
            <a:ext cx="112692" cy="112692"/>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a typeface="楷体" panose="02010609060101010101" pitchFamily="49" charset="-122"/>
            </a:endParaRPr>
          </a:p>
        </p:txBody>
      </p:sp>
      <p:sp>
        <p:nvSpPr>
          <p:cNvPr id="193" name="Oval 192"/>
          <p:cNvSpPr/>
          <p:nvPr/>
        </p:nvSpPr>
        <p:spPr>
          <a:xfrm>
            <a:off x="2175057" y="2550481"/>
            <a:ext cx="112692" cy="112692"/>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a typeface="楷体" panose="02010609060101010101" pitchFamily="49" charset="-122"/>
            </a:endParaRPr>
          </a:p>
        </p:txBody>
      </p:sp>
      <p:sp>
        <p:nvSpPr>
          <p:cNvPr id="196" name="Oval 195"/>
          <p:cNvSpPr/>
          <p:nvPr/>
        </p:nvSpPr>
        <p:spPr>
          <a:xfrm>
            <a:off x="3078148" y="2550481"/>
            <a:ext cx="112692" cy="112692"/>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a typeface="楷体" panose="02010609060101010101" pitchFamily="49" charset="-122"/>
            </a:endParaRPr>
          </a:p>
        </p:txBody>
      </p:sp>
      <p:sp>
        <p:nvSpPr>
          <p:cNvPr id="199" name="Oval 198"/>
          <p:cNvSpPr/>
          <p:nvPr/>
        </p:nvSpPr>
        <p:spPr>
          <a:xfrm>
            <a:off x="3981239" y="2550481"/>
            <a:ext cx="112692" cy="112692"/>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a typeface="楷体" panose="02010609060101010101" pitchFamily="49" charset="-122"/>
            </a:endParaRPr>
          </a:p>
        </p:txBody>
      </p:sp>
      <p:sp>
        <p:nvSpPr>
          <p:cNvPr id="202" name="Oval 201"/>
          <p:cNvSpPr/>
          <p:nvPr/>
        </p:nvSpPr>
        <p:spPr>
          <a:xfrm>
            <a:off x="4884330" y="2550481"/>
            <a:ext cx="112692" cy="112692"/>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a typeface="楷体" panose="02010609060101010101" pitchFamily="49" charset="-122"/>
            </a:endParaRPr>
          </a:p>
        </p:txBody>
      </p:sp>
      <p:sp>
        <p:nvSpPr>
          <p:cNvPr id="205" name="Oval 204"/>
          <p:cNvSpPr/>
          <p:nvPr/>
        </p:nvSpPr>
        <p:spPr>
          <a:xfrm>
            <a:off x="5787421" y="2550481"/>
            <a:ext cx="112692" cy="112692"/>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a typeface="楷体" panose="02010609060101010101" pitchFamily="49" charset="-122"/>
            </a:endParaRPr>
          </a:p>
        </p:txBody>
      </p:sp>
      <p:sp>
        <p:nvSpPr>
          <p:cNvPr id="208" name="Oval 207"/>
          <p:cNvSpPr/>
          <p:nvPr/>
        </p:nvSpPr>
        <p:spPr>
          <a:xfrm>
            <a:off x="6690512" y="2550481"/>
            <a:ext cx="112692" cy="112692"/>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a typeface="楷体" panose="02010609060101010101" pitchFamily="49" charset="-122"/>
            </a:endParaRPr>
          </a:p>
        </p:txBody>
      </p:sp>
      <p:sp>
        <p:nvSpPr>
          <p:cNvPr id="211" name="Oval 210"/>
          <p:cNvSpPr/>
          <p:nvPr/>
        </p:nvSpPr>
        <p:spPr>
          <a:xfrm>
            <a:off x="7593603" y="2550481"/>
            <a:ext cx="112692" cy="112692"/>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a typeface="楷体" panose="02010609060101010101" pitchFamily="49" charset="-122"/>
            </a:endParaRPr>
          </a:p>
        </p:txBody>
      </p:sp>
    </p:spTree>
    <p:extLst>
      <p:ext uri="{BB962C8B-B14F-4D97-AF65-F5344CB8AC3E}">
        <p14:creationId xmlns:p14="http://schemas.microsoft.com/office/powerpoint/2010/main" val="32714130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zh-CN" dirty="0">
                <a:latin typeface="+mn-lt"/>
                <a:ea typeface="楷体" panose="02010609060101010101" pitchFamily="49" charset="-122"/>
                <a:cs typeface="SimSun"/>
              </a:rPr>
              <a:t>...可部署于多种情况</a:t>
            </a:r>
          </a:p>
        </p:txBody>
      </p:sp>
      <p:sp useBgFill="1">
        <p:nvSpPr>
          <p:cNvPr id="48" name="Rectangle 47"/>
          <p:cNvSpPr>
            <a:spLocks/>
          </p:cNvSpPr>
          <p:nvPr/>
        </p:nvSpPr>
        <p:spPr>
          <a:xfrm>
            <a:off x="203972" y="971649"/>
            <a:ext cx="8448718" cy="5135524"/>
          </a:xfrm>
          <a:prstGeom prst="rect">
            <a:avLst/>
          </a:prstGeom>
          <a:solidFill>
            <a:schemeClr val="bg1">
              <a:lumMod val="95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a:ea typeface="楷体" panose="02010609060101010101" pitchFamily="49" charset="-122"/>
            </a:endParaRPr>
          </a:p>
        </p:txBody>
      </p:sp>
      <p:grpSp>
        <p:nvGrpSpPr>
          <p:cNvPr id="38" name="Group 37"/>
          <p:cNvGrpSpPr/>
          <p:nvPr/>
        </p:nvGrpSpPr>
        <p:grpSpPr>
          <a:xfrm>
            <a:off x="2611358" y="1599295"/>
            <a:ext cx="4377843" cy="4373722"/>
            <a:chOff x="2587741" y="1417129"/>
            <a:chExt cx="4377843" cy="4682674"/>
          </a:xfrm>
        </p:grpSpPr>
        <p:cxnSp>
          <p:nvCxnSpPr>
            <p:cNvPr id="50" name="Straight Connector 49"/>
            <p:cNvCxnSpPr>
              <a:cxnSpLocks/>
            </p:cNvCxnSpPr>
            <p:nvPr/>
          </p:nvCxnSpPr>
          <p:spPr>
            <a:xfrm>
              <a:off x="2587741" y="1417129"/>
              <a:ext cx="0" cy="4682674"/>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a:off x="4047022" y="1417129"/>
              <a:ext cx="0" cy="4682674"/>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p:nvCxnSpPr>
          <p:spPr>
            <a:xfrm>
              <a:off x="5506304" y="1417129"/>
              <a:ext cx="0" cy="4682674"/>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cxnSpLocks/>
            </p:cNvCxnSpPr>
            <p:nvPr/>
          </p:nvCxnSpPr>
          <p:spPr>
            <a:xfrm>
              <a:off x="6965584" y="1417129"/>
              <a:ext cx="0" cy="4682674"/>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custDataLst>
              <p:tags r:id="rId1"/>
            </p:custDataLst>
          </p:nvPr>
        </p:nvGrpSpPr>
        <p:grpSpPr>
          <a:xfrm>
            <a:off x="2625397" y="1105805"/>
            <a:ext cx="1522469" cy="461809"/>
            <a:chOff x="2597017" y="974592"/>
            <a:chExt cx="1522469" cy="466427"/>
          </a:xfrm>
        </p:grpSpPr>
        <p:sp>
          <p:nvSpPr>
            <p:cNvPr id="55" name="Freeform 54"/>
            <p:cNvSpPr/>
            <p:nvPr>
              <p:custDataLst>
                <p:tags r:id="rId15"/>
              </p:custDataLst>
            </p:nvPr>
          </p:nvSpPr>
          <p:spPr>
            <a:xfrm>
              <a:off x="2597017" y="974592"/>
              <a:ext cx="1522469" cy="46642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150650 h 1065050"/>
                <a:gd name="connsiteX1" fmla="*/ 1743777 w 1828800"/>
                <a:gd name="connsiteY1" fmla="*/ 0 h 1065050"/>
                <a:gd name="connsiteX2" fmla="*/ 1828800 w 1828800"/>
                <a:gd name="connsiteY2" fmla="*/ 607850 h 1065050"/>
                <a:gd name="connsiteX3" fmla="*/ 1730065 w 1828800"/>
                <a:gd name="connsiteY3" fmla="*/ 1065050 h 1065050"/>
                <a:gd name="connsiteX4" fmla="*/ 0 w 1828800"/>
                <a:gd name="connsiteY4" fmla="*/ 1065050 h 1065050"/>
                <a:gd name="connsiteX5" fmla="*/ 0 w 1828800"/>
                <a:gd name="connsiteY5" fmla="*/ 607851 h 1065050"/>
                <a:gd name="connsiteX0" fmla="*/ 0 w 1828800"/>
                <a:gd name="connsiteY0" fmla="*/ 15065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065050 h 1215700"/>
                <a:gd name="connsiteX5" fmla="*/ 0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065050 h 1215700"/>
                <a:gd name="connsiteX5" fmla="*/ 0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0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85021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85021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85021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0 w 1828800"/>
                <a:gd name="connsiteY5" fmla="*/ 607850 h 1215700"/>
                <a:gd name="connsiteX0" fmla="*/ 0 w 1828800"/>
                <a:gd name="connsiteY0" fmla="*/ 242822 h 1458522"/>
                <a:gd name="connsiteX1" fmla="*/ 1743777 w 1828800"/>
                <a:gd name="connsiteY1" fmla="*/ 0 h 1458522"/>
                <a:gd name="connsiteX2" fmla="*/ 1828800 w 1828800"/>
                <a:gd name="connsiteY2" fmla="*/ 850672 h 1458522"/>
                <a:gd name="connsiteX3" fmla="*/ 1743777 w 1828800"/>
                <a:gd name="connsiteY3" fmla="*/ 1458522 h 1458522"/>
                <a:gd name="connsiteX4" fmla="*/ 0 w 1828800"/>
                <a:gd name="connsiteY4" fmla="*/ 1458522 h 1458522"/>
                <a:gd name="connsiteX5" fmla="*/ 0 w 1828800"/>
                <a:gd name="connsiteY5" fmla="*/ 850672 h 1458522"/>
                <a:gd name="connsiteX0" fmla="*/ 0 w 1828800"/>
                <a:gd name="connsiteY0" fmla="*/ 242822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458522 h 1701352"/>
                <a:gd name="connsiteX5" fmla="*/ 0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458522 h 1701352"/>
                <a:gd name="connsiteX5" fmla="*/ 0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0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85023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85023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85023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116593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116593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116593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1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1 w 1828800"/>
                <a:gd name="connsiteY1" fmla="*/ 0 h 1701352"/>
                <a:gd name="connsiteX2" fmla="*/ 1828800 w 1828800"/>
                <a:gd name="connsiteY2" fmla="*/ 850672 h 1701352"/>
                <a:gd name="connsiteX3" fmla="*/ 1720051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1 w 1828800"/>
                <a:gd name="connsiteY1" fmla="*/ 0 h 1701352"/>
                <a:gd name="connsiteX2" fmla="*/ 1828800 w 1828800"/>
                <a:gd name="connsiteY2" fmla="*/ 850672 h 1701352"/>
                <a:gd name="connsiteX3" fmla="*/ 1720051 w 1828800"/>
                <a:gd name="connsiteY3" fmla="*/ 1701352 h 1701352"/>
                <a:gd name="connsiteX4" fmla="*/ 0 w 1828800"/>
                <a:gd name="connsiteY4" fmla="*/ 1701348 h 1701352"/>
                <a:gd name="connsiteX5" fmla="*/ 108749 w 1828800"/>
                <a:gd name="connsiteY5" fmla="*/ 850673 h 1701352"/>
                <a:gd name="connsiteX0" fmla="*/ 0 w 1828800"/>
                <a:gd name="connsiteY0" fmla="*/ 0 h 1701352"/>
                <a:gd name="connsiteX1" fmla="*/ 1720051 w 1828800"/>
                <a:gd name="connsiteY1" fmla="*/ 0 h 1701352"/>
                <a:gd name="connsiteX2" fmla="*/ 1828800 w 1828800"/>
                <a:gd name="connsiteY2" fmla="*/ 850672 h 1701352"/>
                <a:gd name="connsiteX3" fmla="*/ 1720051 w 1828800"/>
                <a:gd name="connsiteY3" fmla="*/ 1701352 h 1701352"/>
                <a:gd name="connsiteX4" fmla="*/ 0 w 1828800"/>
                <a:gd name="connsiteY4" fmla="*/ 1701348 h 1701352"/>
                <a:gd name="connsiteX5" fmla="*/ 108749 w 1828800"/>
                <a:gd name="connsiteY5" fmla="*/ 850673 h 1701352"/>
                <a:gd name="connsiteX0" fmla="*/ 0 w 1828800"/>
                <a:gd name="connsiteY0" fmla="*/ 0 h 1701352"/>
                <a:gd name="connsiteX1" fmla="*/ 1720051 w 1828800"/>
                <a:gd name="connsiteY1" fmla="*/ 0 h 1701352"/>
                <a:gd name="connsiteX2" fmla="*/ 1828800 w 1828800"/>
                <a:gd name="connsiteY2" fmla="*/ 850672 h 1701352"/>
                <a:gd name="connsiteX3" fmla="*/ 1720051 w 1828800"/>
                <a:gd name="connsiteY3" fmla="*/ 1701352 h 1701352"/>
                <a:gd name="connsiteX4" fmla="*/ 0 w 1828800"/>
                <a:gd name="connsiteY4" fmla="*/ 1701348 h 1701352"/>
                <a:gd name="connsiteX5" fmla="*/ 108749 w 1828800"/>
                <a:gd name="connsiteY5" fmla="*/ 850673 h 1701352"/>
                <a:gd name="connsiteX0" fmla="*/ 0 w 1828800"/>
                <a:gd name="connsiteY0" fmla="*/ 0 h 1701352"/>
                <a:gd name="connsiteX1" fmla="*/ 1720051 w 1828800"/>
                <a:gd name="connsiteY1" fmla="*/ 0 h 1701352"/>
                <a:gd name="connsiteX2" fmla="*/ 1828800 w 1828800"/>
                <a:gd name="connsiteY2" fmla="*/ 850672 h 1701352"/>
                <a:gd name="connsiteX3" fmla="*/ 1720051 w 1828800"/>
                <a:gd name="connsiteY3" fmla="*/ 1701352 h 1701352"/>
                <a:gd name="connsiteX4" fmla="*/ 0 w 1828800"/>
                <a:gd name="connsiteY4" fmla="*/ 1701348 h 1701352"/>
                <a:gd name="connsiteX5" fmla="*/ 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0051 w 1828800"/>
                <a:gd name="connsiteY3" fmla="*/ 1701352 h 1701352"/>
                <a:gd name="connsiteX4" fmla="*/ 0 w 1828800"/>
                <a:gd name="connsiteY4" fmla="*/ 1701348 h 1701352"/>
                <a:gd name="connsiteX5" fmla="*/ 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7950 w 1828800"/>
                <a:gd name="connsiteY3" fmla="*/ 1701352 h 1701352"/>
                <a:gd name="connsiteX4" fmla="*/ 0 w 1828800"/>
                <a:gd name="connsiteY4" fmla="*/ 1701348 h 1701352"/>
                <a:gd name="connsiteX5" fmla="*/ 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7950 w 1828800"/>
                <a:gd name="connsiteY3" fmla="*/ 1701352 h 1701352"/>
                <a:gd name="connsiteX4" fmla="*/ 0 w 1828800"/>
                <a:gd name="connsiteY4" fmla="*/ 1701348 h 1701352"/>
                <a:gd name="connsiteX5" fmla="*/ 10085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7950 w 1828800"/>
                <a:gd name="connsiteY3" fmla="*/ 1701352 h 1701352"/>
                <a:gd name="connsiteX4" fmla="*/ 0 w 1828800"/>
                <a:gd name="connsiteY4" fmla="*/ 1701348 h 1701352"/>
                <a:gd name="connsiteX5" fmla="*/ 10085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7950 w 1828800"/>
                <a:gd name="connsiteY3" fmla="*/ 1701352 h 1701352"/>
                <a:gd name="connsiteX4" fmla="*/ 0 w 1828800"/>
                <a:gd name="connsiteY4" fmla="*/ 1701348 h 1701352"/>
                <a:gd name="connsiteX5" fmla="*/ 100850 w 1828800"/>
                <a:gd name="connsiteY5" fmla="*/ 850674 h 170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1701352">
                  <a:moveTo>
                    <a:pt x="0" y="0"/>
                  </a:moveTo>
                  <a:lnTo>
                    <a:pt x="1727950" y="0"/>
                  </a:lnTo>
                  <a:lnTo>
                    <a:pt x="1828800" y="850672"/>
                  </a:lnTo>
                  <a:lnTo>
                    <a:pt x="1727950" y="1701352"/>
                  </a:lnTo>
                  <a:lnTo>
                    <a:pt x="0" y="1701348"/>
                  </a:lnTo>
                  <a:lnTo>
                    <a:pt x="100850" y="850674"/>
                  </a:lnTo>
                  <a:close/>
                </a:path>
              </a:pathLst>
            </a:cu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52" tIns="45720" rIns="45720" bIns="45720" rtlCol="0" anchor="ctr">
              <a:noAutofit/>
            </a:bodyPr>
            <a:lstStyle/>
            <a:p>
              <a:endParaRPr lang="en-US" sz="1200" b="1" dirty="0">
                <a:solidFill>
                  <a:schemeClr val="bg2"/>
                </a:solidFill>
                <a:ea typeface="楷体" panose="02010609060101010101" pitchFamily="49" charset="-122"/>
              </a:endParaRPr>
            </a:p>
          </p:txBody>
        </p:sp>
        <p:sp>
          <p:nvSpPr>
            <p:cNvPr id="56" name="Rectangle 13"/>
            <p:cNvSpPr txBox="1">
              <a:spLocks/>
            </p:cNvSpPr>
            <p:nvPr>
              <p:custDataLst>
                <p:tags r:id="rId16"/>
              </p:custDataLst>
            </p:nvPr>
          </p:nvSpPr>
          <p:spPr>
            <a:xfrm>
              <a:off x="2731774" y="974592"/>
              <a:ext cx="1303755" cy="466426"/>
            </a:xfrm>
            <a:prstGeom prst="rect">
              <a:avLst/>
            </a:prstGeom>
          </p:spPr>
          <p:txBody>
            <a:bodyPr vert="horz" lIns="0" tIns="0" rIns="0" bIns="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b="1" dirty="0">
                  <a:solidFill>
                    <a:schemeClr val="bg2"/>
                  </a:solidFill>
                  <a:ea typeface="楷体" panose="02010609060101010101" pitchFamily="49" charset="-122"/>
                  <a:cs typeface="SimSun"/>
                </a:rPr>
                <a:t>准备数据</a:t>
              </a:r>
            </a:p>
          </p:txBody>
        </p:sp>
      </p:grpSp>
      <p:grpSp>
        <p:nvGrpSpPr>
          <p:cNvPr id="22" name="Group 21"/>
          <p:cNvGrpSpPr/>
          <p:nvPr>
            <p:custDataLst>
              <p:tags r:id="rId2"/>
            </p:custDataLst>
          </p:nvPr>
        </p:nvGrpSpPr>
        <p:grpSpPr>
          <a:xfrm>
            <a:off x="4086162" y="1105805"/>
            <a:ext cx="1522469" cy="461809"/>
            <a:chOff x="4053019" y="974592"/>
            <a:chExt cx="1522469" cy="466427"/>
          </a:xfrm>
        </p:grpSpPr>
        <p:sp>
          <p:nvSpPr>
            <p:cNvPr id="58" name="Freeform 57"/>
            <p:cNvSpPr/>
            <p:nvPr>
              <p:custDataLst>
                <p:tags r:id="rId13"/>
              </p:custDataLst>
            </p:nvPr>
          </p:nvSpPr>
          <p:spPr>
            <a:xfrm>
              <a:off x="4053019" y="974592"/>
              <a:ext cx="1522469" cy="46642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150650 h 1065050"/>
                <a:gd name="connsiteX1" fmla="*/ 1743779 w 1828800"/>
                <a:gd name="connsiteY1" fmla="*/ 0 h 1065050"/>
                <a:gd name="connsiteX2" fmla="*/ 1828800 w 1828800"/>
                <a:gd name="connsiteY2" fmla="*/ 607850 h 1065050"/>
                <a:gd name="connsiteX3" fmla="*/ 1730065 w 1828800"/>
                <a:gd name="connsiteY3" fmla="*/ 1065050 h 1065050"/>
                <a:gd name="connsiteX4" fmla="*/ 0 w 1828800"/>
                <a:gd name="connsiteY4" fmla="*/ 1065050 h 1065050"/>
                <a:gd name="connsiteX5" fmla="*/ 0 w 1828800"/>
                <a:gd name="connsiteY5" fmla="*/ 607851 h 1065050"/>
                <a:gd name="connsiteX0" fmla="*/ 0 w 1828800"/>
                <a:gd name="connsiteY0" fmla="*/ 15065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065050 h 1215700"/>
                <a:gd name="connsiteX5" fmla="*/ 0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065050 h 1215700"/>
                <a:gd name="connsiteX5" fmla="*/ 0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215700 h 1215700"/>
                <a:gd name="connsiteX5" fmla="*/ 0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215700 h 1215700"/>
                <a:gd name="connsiteX5" fmla="*/ 85021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215700 h 1215700"/>
                <a:gd name="connsiteX5" fmla="*/ 85021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215700 h 1215700"/>
                <a:gd name="connsiteX5" fmla="*/ 85021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215700 h 1215700"/>
                <a:gd name="connsiteX5" fmla="*/ 0 w 1828800"/>
                <a:gd name="connsiteY5" fmla="*/ 607850 h 1215700"/>
                <a:gd name="connsiteX0" fmla="*/ 0 w 1828800"/>
                <a:gd name="connsiteY0" fmla="*/ 242822 h 1458522"/>
                <a:gd name="connsiteX1" fmla="*/ 1743779 w 1828800"/>
                <a:gd name="connsiteY1" fmla="*/ 0 h 1458522"/>
                <a:gd name="connsiteX2" fmla="*/ 1828800 w 1828800"/>
                <a:gd name="connsiteY2" fmla="*/ 850672 h 1458522"/>
                <a:gd name="connsiteX3" fmla="*/ 1743779 w 1828800"/>
                <a:gd name="connsiteY3" fmla="*/ 1458522 h 1458522"/>
                <a:gd name="connsiteX4" fmla="*/ 0 w 1828800"/>
                <a:gd name="connsiteY4" fmla="*/ 1458522 h 1458522"/>
                <a:gd name="connsiteX5" fmla="*/ 0 w 1828800"/>
                <a:gd name="connsiteY5" fmla="*/ 850672 h 1458522"/>
                <a:gd name="connsiteX0" fmla="*/ 0 w 1828800"/>
                <a:gd name="connsiteY0" fmla="*/ 242822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458522 h 1701352"/>
                <a:gd name="connsiteX5" fmla="*/ 0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458522 h 1701352"/>
                <a:gd name="connsiteX5" fmla="*/ 0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0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85021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85021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85021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116593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116593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116593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108749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108749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108749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7950 w 1828800"/>
                <a:gd name="connsiteY3" fmla="*/ 1701352 h 1701352"/>
                <a:gd name="connsiteX4" fmla="*/ 0 w 1828800"/>
                <a:gd name="connsiteY4" fmla="*/ 1701348 h 1701352"/>
                <a:gd name="connsiteX5" fmla="*/ 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7950 w 1828800"/>
                <a:gd name="connsiteY3" fmla="*/ 1701352 h 1701352"/>
                <a:gd name="connsiteX4" fmla="*/ 0 w 1828800"/>
                <a:gd name="connsiteY4" fmla="*/ 1701348 h 1701352"/>
                <a:gd name="connsiteX5" fmla="*/ 10085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7950 w 1828800"/>
                <a:gd name="connsiteY3" fmla="*/ 1701352 h 1701352"/>
                <a:gd name="connsiteX4" fmla="*/ 0 w 1828800"/>
                <a:gd name="connsiteY4" fmla="*/ 1701348 h 1701352"/>
                <a:gd name="connsiteX5" fmla="*/ 10085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7950 w 1828800"/>
                <a:gd name="connsiteY3" fmla="*/ 1701352 h 1701352"/>
                <a:gd name="connsiteX4" fmla="*/ 0 w 1828800"/>
                <a:gd name="connsiteY4" fmla="*/ 1701348 h 1701352"/>
                <a:gd name="connsiteX5" fmla="*/ 100850 w 1828800"/>
                <a:gd name="connsiteY5" fmla="*/ 850674 h 170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1701352">
                  <a:moveTo>
                    <a:pt x="0" y="0"/>
                  </a:moveTo>
                  <a:lnTo>
                    <a:pt x="1727950" y="0"/>
                  </a:lnTo>
                  <a:lnTo>
                    <a:pt x="1828800" y="850672"/>
                  </a:lnTo>
                  <a:lnTo>
                    <a:pt x="1727950" y="1701352"/>
                  </a:lnTo>
                  <a:lnTo>
                    <a:pt x="0" y="1701348"/>
                  </a:lnTo>
                  <a:lnTo>
                    <a:pt x="100850" y="850674"/>
                  </a:lnTo>
                  <a:close/>
                </a:path>
              </a:pathLst>
            </a:cu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52" tIns="45720" rIns="45720" bIns="45720" rtlCol="0" anchor="ctr">
              <a:noAutofit/>
            </a:bodyPr>
            <a:lstStyle/>
            <a:p>
              <a:endParaRPr lang="en-US" sz="1200" b="1" dirty="0">
                <a:solidFill>
                  <a:schemeClr val="bg2"/>
                </a:solidFill>
                <a:ea typeface="楷体" panose="02010609060101010101" pitchFamily="49" charset="-122"/>
              </a:endParaRPr>
            </a:p>
          </p:txBody>
        </p:sp>
        <p:sp>
          <p:nvSpPr>
            <p:cNvPr id="59" name="Rectangle 13"/>
            <p:cNvSpPr txBox="1">
              <a:spLocks/>
            </p:cNvSpPr>
            <p:nvPr>
              <p:custDataLst>
                <p:tags r:id="rId14"/>
              </p:custDataLst>
            </p:nvPr>
          </p:nvSpPr>
          <p:spPr>
            <a:xfrm>
              <a:off x="4187776" y="974592"/>
              <a:ext cx="1303755" cy="466426"/>
            </a:xfrm>
            <a:prstGeom prst="rect">
              <a:avLst/>
            </a:prstGeom>
          </p:spPr>
          <p:txBody>
            <a:bodyPr vert="horz" lIns="0" tIns="0" rIns="0" bIns="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b="1" dirty="0">
                  <a:solidFill>
                    <a:schemeClr val="bg2"/>
                  </a:solidFill>
                  <a:ea typeface="楷体" panose="02010609060101010101" pitchFamily="49" charset="-122"/>
                  <a:cs typeface="SimSun"/>
                </a:rPr>
                <a:t>选择算法</a:t>
              </a:r>
            </a:p>
          </p:txBody>
        </p:sp>
      </p:grpSp>
      <p:grpSp>
        <p:nvGrpSpPr>
          <p:cNvPr id="23" name="Group 22"/>
          <p:cNvGrpSpPr/>
          <p:nvPr>
            <p:custDataLst>
              <p:tags r:id="rId3"/>
            </p:custDataLst>
          </p:nvPr>
        </p:nvGrpSpPr>
        <p:grpSpPr>
          <a:xfrm>
            <a:off x="5546927" y="1105805"/>
            <a:ext cx="1522469" cy="461809"/>
            <a:chOff x="5509021" y="974592"/>
            <a:chExt cx="1522469" cy="466427"/>
          </a:xfrm>
        </p:grpSpPr>
        <p:sp>
          <p:nvSpPr>
            <p:cNvPr id="61" name="Freeform 60"/>
            <p:cNvSpPr/>
            <p:nvPr>
              <p:custDataLst>
                <p:tags r:id="rId11"/>
              </p:custDataLst>
            </p:nvPr>
          </p:nvSpPr>
          <p:spPr>
            <a:xfrm>
              <a:off x="5509021" y="974592"/>
              <a:ext cx="1522469" cy="46642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7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7 w 1828800"/>
                <a:gd name="connsiteY1" fmla="*/ 0 h 914400"/>
                <a:gd name="connsiteX2" fmla="*/ 1828800 w 1828800"/>
                <a:gd name="connsiteY2" fmla="*/ 457200 h 914400"/>
                <a:gd name="connsiteX3" fmla="*/ 1729077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7 w 1828800"/>
                <a:gd name="connsiteY1" fmla="*/ 0 h 914400"/>
                <a:gd name="connsiteX2" fmla="*/ 1828800 w 1828800"/>
                <a:gd name="connsiteY2" fmla="*/ 457200 h 914400"/>
                <a:gd name="connsiteX3" fmla="*/ 172907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2907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3006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30064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30064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30064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3006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3006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3006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30064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30064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30064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4 w 1828800"/>
                <a:gd name="connsiteY1" fmla="*/ 0 h 914400"/>
                <a:gd name="connsiteX2" fmla="*/ 1828800 w 1828800"/>
                <a:gd name="connsiteY2" fmla="*/ 457200 h 914400"/>
                <a:gd name="connsiteX3" fmla="*/ 1730064 w 1828800"/>
                <a:gd name="connsiteY3" fmla="*/ 914400 h 914400"/>
                <a:gd name="connsiteX4" fmla="*/ 0 w 1828800"/>
                <a:gd name="connsiteY4" fmla="*/ 914400 h 914400"/>
                <a:gd name="connsiteX5" fmla="*/ 0 w 1828800"/>
                <a:gd name="connsiteY5" fmla="*/ 457201 h 914400"/>
                <a:gd name="connsiteX0" fmla="*/ 0 w 1828800"/>
                <a:gd name="connsiteY0" fmla="*/ 150650 h 1065050"/>
                <a:gd name="connsiteX1" fmla="*/ 1743779 w 1828800"/>
                <a:gd name="connsiteY1" fmla="*/ 0 h 1065050"/>
                <a:gd name="connsiteX2" fmla="*/ 1828800 w 1828800"/>
                <a:gd name="connsiteY2" fmla="*/ 607850 h 1065050"/>
                <a:gd name="connsiteX3" fmla="*/ 1730064 w 1828800"/>
                <a:gd name="connsiteY3" fmla="*/ 1065050 h 1065050"/>
                <a:gd name="connsiteX4" fmla="*/ 0 w 1828800"/>
                <a:gd name="connsiteY4" fmla="*/ 1065050 h 1065050"/>
                <a:gd name="connsiteX5" fmla="*/ 0 w 1828800"/>
                <a:gd name="connsiteY5" fmla="*/ 607851 h 1065050"/>
                <a:gd name="connsiteX0" fmla="*/ 0 w 1828800"/>
                <a:gd name="connsiteY0" fmla="*/ 15065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065050 h 1215700"/>
                <a:gd name="connsiteX5" fmla="*/ 0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065050 h 1215700"/>
                <a:gd name="connsiteX5" fmla="*/ 0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215700 h 1215700"/>
                <a:gd name="connsiteX5" fmla="*/ 0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215700 h 1215700"/>
                <a:gd name="connsiteX5" fmla="*/ 85023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215700 h 1215700"/>
                <a:gd name="connsiteX5" fmla="*/ 85023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215700 h 1215700"/>
                <a:gd name="connsiteX5" fmla="*/ 85023 w 1828800"/>
                <a:gd name="connsiteY5" fmla="*/ 607851 h 1215700"/>
                <a:gd name="connsiteX0" fmla="*/ 0 w 1828800"/>
                <a:gd name="connsiteY0" fmla="*/ 0 h 1215700"/>
                <a:gd name="connsiteX1" fmla="*/ 1743779 w 1828800"/>
                <a:gd name="connsiteY1" fmla="*/ 0 h 1215700"/>
                <a:gd name="connsiteX2" fmla="*/ 1828800 w 1828800"/>
                <a:gd name="connsiteY2" fmla="*/ 607850 h 1215700"/>
                <a:gd name="connsiteX3" fmla="*/ 1743779 w 1828800"/>
                <a:gd name="connsiteY3" fmla="*/ 1215700 h 1215700"/>
                <a:gd name="connsiteX4" fmla="*/ 0 w 1828800"/>
                <a:gd name="connsiteY4" fmla="*/ 1215700 h 1215700"/>
                <a:gd name="connsiteX5" fmla="*/ 0 w 1828800"/>
                <a:gd name="connsiteY5" fmla="*/ 607850 h 1215700"/>
                <a:gd name="connsiteX0" fmla="*/ 0 w 1828800"/>
                <a:gd name="connsiteY0" fmla="*/ 242822 h 1458522"/>
                <a:gd name="connsiteX1" fmla="*/ 1743779 w 1828800"/>
                <a:gd name="connsiteY1" fmla="*/ 0 h 1458522"/>
                <a:gd name="connsiteX2" fmla="*/ 1828800 w 1828800"/>
                <a:gd name="connsiteY2" fmla="*/ 850672 h 1458522"/>
                <a:gd name="connsiteX3" fmla="*/ 1743779 w 1828800"/>
                <a:gd name="connsiteY3" fmla="*/ 1458522 h 1458522"/>
                <a:gd name="connsiteX4" fmla="*/ 0 w 1828800"/>
                <a:gd name="connsiteY4" fmla="*/ 1458522 h 1458522"/>
                <a:gd name="connsiteX5" fmla="*/ 0 w 1828800"/>
                <a:gd name="connsiteY5" fmla="*/ 850672 h 1458522"/>
                <a:gd name="connsiteX0" fmla="*/ 0 w 1828800"/>
                <a:gd name="connsiteY0" fmla="*/ 242822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458522 h 1701352"/>
                <a:gd name="connsiteX5" fmla="*/ 0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458522 h 1701352"/>
                <a:gd name="connsiteX5" fmla="*/ 0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0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85023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85023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85023 w 1828800"/>
                <a:gd name="connsiteY5" fmla="*/ 850672 h 1701352"/>
                <a:gd name="connsiteX0" fmla="*/ 0 w 1828800"/>
                <a:gd name="connsiteY0" fmla="*/ 0 h 1701352"/>
                <a:gd name="connsiteX1" fmla="*/ 1743779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116593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43779 w 1828800"/>
                <a:gd name="connsiteY3" fmla="*/ 1701352 h 1701352"/>
                <a:gd name="connsiteX4" fmla="*/ 0 w 1828800"/>
                <a:gd name="connsiteY4" fmla="*/ 1701348 h 1701352"/>
                <a:gd name="connsiteX5" fmla="*/ 116593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116593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108749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108749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108749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7950 w 1828800"/>
                <a:gd name="connsiteY3" fmla="*/ 1701352 h 1701352"/>
                <a:gd name="connsiteX4" fmla="*/ 0 w 1828800"/>
                <a:gd name="connsiteY4" fmla="*/ 1701348 h 1701352"/>
                <a:gd name="connsiteX5" fmla="*/ 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7950 w 1828800"/>
                <a:gd name="connsiteY3" fmla="*/ 1701352 h 1701352"/>
                <a:gd name="connsiteX4" fmla="*/ 0 w 1828800"/>
                <a:gd name="connsiteY4" fmla="*/ 1701348 h 1701352"/>
                <a:gd name="connsiteX5" fmla="*/ 10085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7950 w 1828800"/>
                <a:gd name="connsiteY3" fmla="*/ 1701352 h 1701352"/>
                <a:gd name="connsiteX4" fmla="*/ 0 w 1828800"/>
                <a:gd name="connsiteY4" fmla="*/ 1701348 h 1701352"/>
                <a:gd name="connsiteX5" fmla="*/ 10085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7950 w 1828800"/>
                <a:gd name="connsiteY3" fmla="*/ 1701352 h 1701352"/>
                <a:gd name="connsiteX4" fmla="*/ 0 w 1828800"/>
                <a:gd name="connsiteY4" fmla="*/ 1701348 h 1701352"/>
                <a:gd name="connsiteX5" fmla="*/ 100850 w 1828800"/>
                <a:gd name="connsiteY5" fmla="*/ 850674 h 170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1701352">
                  <a:moveTo>
                    <a:pt x="0" y="0"/>
                  </a:moveTo>
                  <a:lnTo>
                    <a:pt x="1727950" y="0"/>
                  </a:lnTo>
                  <a:lnTo>
                    <a:pt x="1828800" y="850672"/>
                  </a:lnTo>
                  <a:lnTo>
                    <a:pt x="1727950" y="1701352"/>
                  </a:lnTo>
                  <a:lnTo>
                    <a:pt x="0" y="1701348"/>
                  </a:lnTo>
                  <a:lnTo>
                    <a:pt x="100850" y="850674"/>
                  </a:lnTo>
                  <a:close/>
                </a:path>
              </a:pathLst>
            </a:cu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52" tIns="45720" rIns="45720" bIns="45720" rtlCol="0" anchor="ctr">
              <a:noAutofit/>
            </a:bodyPr>
            <a:lstStyle/>
            <a:p>
              <a:endParaRPr lang="en-US" sz="1200" b="1" dirty="0">
                <a:solidFill>
                  <a:schemeClr val="bg2"/>
                </a:solidFill>
                <a:ea typeface="楷体" panose="02010609060101010101" pitchFamily="49" charset="-122"/>
              </a:endParaRPr>
            </a:p>
          </p:txBody>
        </p:sp>
        <p:sp>
          <p:nvSpPr>
            <p:cNvPr id="62" name="Rectangle 13"/>
            <p:cNvSpPr txBox="1">
              <a:spLocks/>
            </p:cNvSpPr>
            <p:nvPr>
              <p:custDataLst>
                <p:tags r:id="rId12"/>
              </p:custDataLst>
            </p:nvPr>
          </p:nvSpPr>
          <p:spPr>
            <a:xfrm>
              <a:off x="5643778" y="974592"/>
              <a:ext cx="1303755" cy="466426"/>
            </a:xfrm>
            <a:prstGeom prst="rect">
              <a:avLst/>
            </a:prstGeom>
          </p:spPr>
          <p:txBody>
            <a:bodyPr vert="horz" lIns="0" tIns="0" rIns="0" bIns="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b="1" dirty="0">
                  <a:solidFill>
                    <a:schemeClr val="bg2"/>
                  </a:solidFill>
                  <a:ea typeface="楷体" panose="02010609060101010101" pitchFamily="49" charset="-122"/>
                  <a:cs typeface="SimSun"/>
                </a:rPr>
                <a:t>训练模型</a:t>
              </a:r>
            </a:p>
          </p:txBody>
        </p:sp>
      </p:grpSp>
      <p:grpSp>
        <p:nvGrpSpPr>
          <p:cNvPr id="24" name="Group 23"/>
          <p:cNvGrpSpPr/>
          <p:nvPr>
            <p:custDataLst>
              <p:tags r:id="rId4"/>
            </p:custDataLst>
          </p:nvPr>
        </p:nvGrpSpPr>
        <p:grpSpPr>
          <a:xfrm>
            <a:off x="1164632" y="1105805"/>
            <a:ext cx="1522469" cy="461809"/>
            <a:chOff x="1141015" y="974592"/>
            <a:chExt cx="1522469" cy="466427"/>
          </a:xfrm>
        </p:grpSpPr>
        <p:sp>
          <p:nvSpPr>
            <p:cNvPr id="64" name="Freeform 63"/>
            <p:cNvSpPr/>
            <p:nvPr>
              <p:custDataLst>
                <p:tags r:id="rId9"/>
              </p:custDataLst>
            </p:nvPr>
          </p:nvSpPr>
          <p:spPr>
            <a:xfrm>
              <a:off x="1141015" y="974592"/>
              <a:ext cx="1522469" cy="46642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85021 w 1828800"/>
                <a:gd name="connsiteY5" fmla="*/ 457201 h 914400"/>
                <a:gd name="connsiteX0" fmla="*/ 0 w 1828800"/>
                <a:gd name="connsiteY0" fmla="*/ 150650 h 1065050"/>
                <a:gd name="connsiteX1" fmla="*/ 1743777 w 1828800"/>
                <a:gd name="connsiteY1" fmla="*/ 0 h 1065050"/>
                <a:gd name="connsiteX2" fmla="*/ 1828800 w 1828800"/>
                <a:gd name="connsiteY2" fmla="*/ 607850 h 1065050"/>
                <a:gd name="connsiteX3" fmla="*/ 1730065 w 1828800"/>
                <a:gd name="connsiteY3" fmla="*/ 1065050 h 1065050"/>
                <a:gd name="connsiteX4" fmla="*/ 0 w 1828800"/>
                <a:gd name="connsiteY4" fmla="*/ 1065050 h 1065050"/>
                <a:gd name="connsiteX5" fmla="*/ 85021 w 1828800"/>
                <a:gd name="connsiteY5" fmla="*/ 607851 h 1065050"/>
                <a:gd name="connsiteX0" fmla="*/ 0 w 1828800"/>
                <a:gd name="connsiteY0" fmla="*/ 15065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065050 h 1215700"/>
                <a:gd name="connsiteX5" fmla="*/ 85021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065050 h 1215700"/>
                <a:gd name="connsiteX5" fmla="*/ 85021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85021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0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0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0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85021 w 1828800"/>
                <a:gd name="connsiteY5" fmla="*/ 607850 h 1215700"/>
                <a:gd name="connsiteX0" fmla="*/ 0 w 1828800"/>
                <a:gd name="connsiteY0" fmla="*/ 242822 h 1458522"/>
                <a:gd name="connsiteX1" fmla="*/ 1743777 w 1828800"/>
                <a:gd name="connsiteY1" fmla="*/ 0 h 1458522"/>
                <a:gd name="connsiteX2" fmla="*/ 1828800 w 1828800"/>
                <a:gd name="connsiteY2" fmla="*/ 850672 h 1458522"/>
                <a:gd name="connsiteX3" fmla="*/ 1743777 w 1828800"/>
                <a:gd name="connsiteY3" fmla="*/ 1458522 h 1458522"/>
                <a:gd name="connsiteX4" fmla="*/ 0 w 1828800"/>
                <a:gd name="connsiteY4" fmla="*/ 1458522 h 1458522"/>
                <a:gd name="connsiteX5" fmla="*/ 85021 w 1828800"/>
                <a:gd name="connsiteY5" fmla="*/ 850672 h 1458522"/>
                <a:gd name="connsiteX0" fmla="*/ 0 w 1828800"/>
                <a:gd name="connsiteY0" fmla="*/ 242822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458522 h 1701352"/>
                <a:gd name="connsiteX5" fmla="*/ 85021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458522 h 1701352"/>
                <a:gd name="connsiteX5" fmla="*/ 85021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85021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0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0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0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108749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108749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108749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2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10085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0052 w 1828800"/>
                <a:gd name="connsiteY3" fmla="*/ 1701352 h 1701352"/>
                <a:gd name="connsiteX4" fmla="*/ 0 w 1828800"/>
                <a:gd name="connsiteY4" fmla="*/ 1701348 h 1701352"/>
                <a:gd name="connsiteX5" fmla="*/ 10085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7950 w 1828800"/>
                <a:gd name="connsiteY3" fmla="*/ 1701352 h 1701352"/>
                <a:gd name="connsiteX4" fmla="*/ 0 w 1828800"/>
                <a:gd name="connsiteY4" fmla="*/ 1701348 h 1701352"/>
                <a:gd name="connsiteX5" fmla="*/ 10085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7950 w 1828800"/>
                <a:gd name="connsiteY3" fmla="*/ 1701352 h 1701352"/>
                <a:gd name="connsiteX4" fmla="*/ 0 w 1828800"/>
                <a:gd name="connsiteY4" fmla="*/ 1701348 h 1701352"/>
                <a:gd name="connsiteX5" fmla="*/ 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7950 w 1828800"/>
                <a:gd name="connsiteY3" fmla="*/ 1701352 h 1701352"/>
                <a:gd name="connsiteX4" fmla="*/ 0 w 1828800"/>
                <a:gd name="connsiteY4" fmla="*/ 1701348 h 1701352"/>
                <a:gd name="connsiteX5" fmla="*/ 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7950 w 1828800"/>
                <a:gd name="connsiteY3" fmla="*/ 1701352 h 1701352"/>
                <a:gd name="connsiteX4" fmla="*/ 0 w 1828800"/>
                <a:gd name="connsiteY4" fmla="*/ 1701348 h 1701352"/>
                <a:gd name="connsiteX5" fmla="*/ 0 w 1828800"/>
                <a:gd name="connsiteY5" fmla="*/ 850674 h 170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1701352">
                  <a:moveTo>
                    <a:pt x="0" y="0"/>
                  </a:moveTo>
                  <a:lnTo>
                    <a:pt x="1727950" y="0"/>
                  </a:lnTo>
                  <a:lnTo>
                    <a:pt x="1828800" y="850672"/>
                  </a:lnTo>
                  <a:lnTo>
                    <a:pt x="1727950" y="1701352"/>
                  </a:lnTo>
                  <a:lnTo>
                    <a:pt x="0" y="1701348"/>
                  </a:lnTo>
                  <a:lnTo>
                    <a:pt x="0" y="850674"/>
                  </a:lnTo>
                  <a:close/>
                </a:path>
              </a:pathLst>
            </a:cu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52" tIns="45720" rIns="45720" bIns="45720" rtlCol="0" anchor="ctr">
              <a:noAutofit/>
            </a:bodyPr>
            <a:lstStyle/>
            <a:p>
              <a:endParaRPr lang="en-US" sz="1200" b="1" dirty="0">
                <a:solidFill>
                  <a:schemeClr val="bg2"/>
                </a:solidFill>
                <a:ea typeface="楷体" panose="02010609060101010101" pitchFamily="49" charset="-122"/>
              </a:endParaRPr>
            </a:p>
          </p:txBody>
        </p:sp>
        <p:sp>
          <p:nvSpPr>
            <p:cNvPr id="65" name="Rectangle 13"/>
            <p:cNvSpPr txBox="1">
              <a:spLocks/>
            </p:cNvSpPr>
            <p:nvPr>
              <p:custDataLst>
                <p:tags r:id="rId10"/>
              </p:custDataLst>
            </p:nvPr>
          </p:nvSpPr>
          <p:spPr>
            <a:xfrm>
              <a:off x="1191815" y="974592"/>
              <a:ext cx="1387712" cy="466426"/>
            </a:xfrm>
            <a:prstGeom prst="rect">
              <a:avLst/>
            </a:prstGeom>
          </p:spPr>
          <p:txBody>
            <a:bodyPr vert="horz" lIns="0" tIns="0" rIns="0" bIns="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b="1" dirty="0">
                  <a:solidFill>
                    <a:schemeClr val="bg2"/>
                  </a:solidFill>
                  <a:ea typeface="楷体" panose="02010609060101010101" pitchFamily="49" charset="-122"/>
                  <a:cs typeface="SimSun"/>
                </a:rPr>
                <a:t>定义问题</a:t>
              </a:r>
            </a:p>
          </p:txBody>
        </p:sp>
      </p:grpSp>
      <p:grpSp>
        <p:nvGrpSpPr>
          <p:cNvPr id="25" name="Group 24"/>
          <p:cNvGrpSpPr/>
          <p:nvPr>
            <p:custDataLst>
              <p:tags r:id="rId5"/>
            </p:custDataLst>
          </p:nvPr>
        </p:nvGrpSpPr>
        <p:grpSpPr>
          <a:xfrm>
            <a:off x="7007691" y="1105805"/>
            <a:ext cx="1522469" cy="461809"/>
            <a:chOff x="6965024" y="974592"/>
            <a:chExt cx="1522469" cy="466427"/>
          </a:xfrm>
        </p:grpSpPr>
        <p:sp>
          <p:nvSpPr>
            <p:cNvPr id="67" name="Freeform 66"/>
            <p:cNvSpPr/>
            <p:nvPr>
              <p:custDataLst>
                <p:tags r:id="rId7"/>
              </p:custDataLst>
            </p:nvPr>
          </p:nvSpPr>
          <p:spPr>
            <a:xfrm>
              <a:off x="6965024" y="974592"/>
              <a:ext cx="1522469" cy="46642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99722 w 1828800"/>
                <a:gd name="connsiteY5" fmla="*/ 457200 h 914400"/>
                <a:gd name="connsiteX0" fmla="*/ 0 w 1828800"/>
                <a:gd name="connsiteY0" fmla="*/ 0 h 914400"/>
                <a:gd name="connsiteX1" fmla="*/ 1729078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2907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98735 w 1828800"/>
                <a:gd name="connsiteY5" fmla="*/ 457201 h 914400"/>
                <a:gd name="connsiteX0" fmla="*/ 0 w 1828800"/>
                <a:gd name="connsiteY0" fmla="*/ 0 h 914400"/>
                <a:gd name="connsiteX1" fmla="*/ 1730065 w 1828800"/>
                <a:gd name="connsiteY1" fmla="*/ 0 h 914400"/>
                <a:gd name="connsiteX2" fmla="*/ 1828800 w 1828800"/>
                <a:gd name="connsiteY2" fmla="*/ 457200 h 914400"/>
                <a:gd name="connsiteX3" fmla="*/ 1730065 w 1828800"/>
                <a:gd name="connsiteY3" fmla="*/ 914400 h 914400"/>
                <a:gd name="connsiteX4" fmla="*/ 0 w 1828800"/>
                <a:gd name="connsiteY4" fmla="*/ 914400 h 914400"/>
                <a:gd name="connsiteX5" fmla="*/ 0 w 1828800"/>
                <a:gd name="connsiteY5" fmla="*/ 457201 h 914400"/>
                <a:gd name="connsiteX0" fmla="*/ 0 w 1828800"/>
                <a:gd name="connsiteY0" fmla="*/ 150650 h 1065050"/>
                <a:gd name="connsiteX1" fmla="*/ 1743777 w 1828800"/>
                <a:gd name="connsiteY1" fmla="*/ 0 h 1065050"/>
                <a:gd name="connsiteX2" fmla="*/ 1828800 w 1828800"/>
                <a:gd name="connsiteY2" fmla="*/ 607850 h 1065050"/>
                <a:gd name="connsiteX3" fmla="*/ 1730065 w 1828800"/>
                <a:gd name="connsiteY3" fmla="*/ 1065050 h 1065050"/>
                <a:gd name="connsiteX4" fmla="*/ 0 w 1828800"/>
                <a:gd name="connsiteY4" fmla="*/ 1065050 h 1065050"/>
                <a:gd name="connsiteX5" fmla="*/ 0 w 1828800"/>
                <a:gd name="connsiteY5" fmla="*/ 607851 h 1065050"/>
                <a:gd name="connsiteX0" fmla="*/ 0 w 1828800"/>
                <a:gd name="connsiteY0" fmla="*/ 15065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065050 h 1215700"/>
                <a:gd name="connsiteX5" fmla="*/ 0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065050 h 1215700"/>
                <a:gd name="connsiteX5" fmla="*/ 0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0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85021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85021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85021 w 1828800"/>
                <a:gd name="connsiteY5" fmla="*/ 607851 h 1215700"/>
                <a:gd name="connsiteX0" fmla="*/ 0 w 1828800"/>
                <a:gd name="connsiteY0" fmla="*/ 0 h 1215700"/>
                <a:gd name="connsiteX1" fmla="*/ 1743777 w 1828800"/>
                <a:gd name="connsiteY1" fmla="*/ 0 h 1215700"/>
                <a:gd name="connsiteX2" fmla="*/ 1828800 w 1828800"/>
                <a:gd name="connsiteY2" fmla="*/ 607850 h 1215700"/>
                <a:gd name="connsiteX3" fmla="*/ 1743777 w 1828800"/>
                <a:gd name="connsiteY3" fmla="*/ 1215700 h 1215700"/>
                <a:gd name="connsiteX4" fmla="*/ 0 w 1828800"/>
                <a:gd name="connsiteY4" fmla="*/ 1215700 h 1215700"/>
                <a:gd name="connsiteX5" fmla="*/ 0 w 1828800"/>
                <a:gd name="connsiteY5" fmla="*/ 607850 h 1215700"/>
                <a:gd name="connsiteX0" fmla="*/ 0 w 1828800"/>
                <a:gd name="connsiteY0" fmla="*/ 242822 h 1458522"/>
                <a:gd name="connsiteX1" fmla="*/ 1743777 w 1828800"/>
                <a:gd name="connsiteY1" fmla="*/ 0 h 1458522"/>
                <a:gd name="connsiteX2" fmla="*/ 1828800 w 1828800"/>
                <a:gd name="connsiteY2" fmla="*/ 850672 h 1458522"/>
                <a:gd name="connsiteX3" fmla="*/ 1743777 w 1828800"/>
                <a:gd name="connsiteY3" fmla="*/ 1458522 h 1458522"/>
                <a:gd name="connsiteX4" fmla="*/ 0 w 1828800"/>
                <a:gd name="connsiteY4" fmla="*/ 1458522 h 1458522"/>
                <a:gd name="connsiteX5" fmla="*/ 0 w 1828800"/>
                <a:gd name="connsiteY5" fmla="*/ 850672 h 1458522"/>
                <a:gd name="connsiteX0" fmla="*/ 0 w 1828800"/>
                <a:gd name="connsiteY0" fmla="*/ 242822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458522 h 1701352"/>
                <a:gd name="connsiteX5" fmla="*/ 0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458522 h 1701352"/>
                <a:gd name="connsiteX5" fmla="*/ 0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0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85021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85021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85021 w 1828800"/>
                <a:gd name="connsiteY5" fmla="*/ 850672 h 1701352"/>
                <a:gd name="connsiteX0" fmla="*/ 0 w 1828800"/>
                <a:gd name="connsiteY0" fmla="*/ 0 h 1701352"/>
                <a:gd name="connsiteX1" fmla="*/ 174377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116594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43777 w 1828800"/>
                <a:gd name="connsiteY3" fmla="*/ 1701352 h 1701352"/>
                <a:gd name="connsiteX4" fmla="*/ 0 w 1828800"/>
                <a:gd name="connsiteY4" fmla="*/ 1701348 h 1701352"/>
                <a:gd name="connsiteX5" fmla="*/ 116594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116594 w 1828800"/>
                <a:gd name="connsiteY5" fmla="*/ 850673 h 1701352"/>
                <a:gd name="connsiteX0" fmla="*/ 0 w 1828800"/>
                <a:gd name="connsiteY0" fmla="*/ 0 h 1701352"/>
                <a:gd name="connsiteX1" fmla="*/ 1712207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1 w 1828800"/>
                <a:gd name="connsiteY1" fmla="*/ 0 h 1701352"/>
                <a:gd name="connsiteX2" fmla="*/ 1828800 w 1828800"/>
                <a:gd name="connsiteY2" fmla="*/ 850672 h 1701352"/>
                <a:gd name="connsiteX3" fmla="*/ 1712207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1 w 1828800"/>
                <a:gd name="connsiteY1" fmla="*/ 0 h 1701352"/>
                <a:gd name="connsiteX2" fmla="*/ 1828800 w 1828800"/>
                <a:gd name="connsiteY2" fmla="*/ 850672 h 1701352"/>
                <a:gd name="connsiteX3" fmla="*/ 1720051 w 1828800"/>
                <a:gd name="connsiteY3" fmla="*/ 1701352 h 1701352"/>
                <a:gd name="connsiteX4" fmla="*/ 0 w 1828800"/>
                <a:gd name="connsiteY4" fmla="*/ 1701348 h 1701352"/>
                <a:gd name="connsiteX5" fmla="*/ 0 w 1828800"/>
                <a:gd name="connsiteY5" fmla="*/ 850673 h 1701352"/>
                <a:gd name="connsiteX0" fmla="*/ 0 w 1828800"/>
                <a:gd name="connsiteY0" fmla="*/ 0 h 1701352"/>
                <a:gd name="connsiteX1" fmla="*/ 1720051 w 1828800"/>
                <a:gd name="connsiteY1" fmla="*/ 0 h 1701352"/>
                <a:gd name="connsiteX2" fmla="*/ 1828800 w 1828800"/>
                <a:gd name="connsiteY2" fmla="*/ 850672 h 1701352"/>
                <a:gd name="connsiteX3" fmla="*/ 1720051 w 1828800"/>
                <a:gd name="connsiteY3" fmla="*/ 1701352 h 1701352"/>
                <a:gd name="connsiteX4" fmla="*/ 0 w 1828800"/>
                <a:gd name="connsiteY4" fmla="*/ 1701348 h 1701352"/>
                <a:gd name="connsiteX5" fmla="*/ 108748 w 1828800"/>
                <a:gd name="connsiteY5" fmla="*/ 850673 h 1701352"/>
                <a:gd name="connsiteX0" fmla="*/ 0 w 1828800"/>
                <a:gd name="connsiteY0" fmla="*/ 0 h 1701352"/>
                <a:gd name="connsiteX1" fmla="*/ 1720051 w 1828800"/>
                <a:gd name="connsiteY1" fmla="*/ 0 h 1701352"/>
                <a:gd name="connsiteX2" fmla="*/ 1828800 w 1828800"/>
                <a:gd name="connsiteY2" fmla="*/ 850672 h 1701352"/>
                <a:gd name="connsiteX3" fmla="*/ 1720051 w 1828800"/>
                <a:gd name="connsiteY3" fmla="*/ 1701352 h 1701352"/>
                <a:gd name="connsiteX4" fmla="*/ 0 w 1828800"/>
                <a:gd name="connsiteY4" fmla="*/ 1701348 h 1701352"/>
                <a:gd name="connsiteX5" fmla="*/ 108748 w 1828800"/>
                <a:gd name="connsiteY5" fmla="*/ 850673 h 1701352"/>
                <a:gd name="connsiteX0" fmla="*/ 0 w 1828800"/>
                <a:gd name="connsiteY0" fmla="*/ 0 h 1701352"/>
                <a:gd name="connsiteX1" fmla="*/ 1720051 w 1828800"/>
                <a:gd name="connsiteY1" fmla="*/ 0 h 1701352"/>
                <a:gd name="connsiteX2" fmla="*/ 1828800 w 1828800"/>
                <a:gd name="connsiteY2" fmla="*/ 850672 h 1701352"/>
                <a:gd name="connsiteX3" fmla="*/ 1720051 w 1828800"/>
                <a:gd name="connsiteY3" fmla="*/ 1701352 h 1701352"/>
                <a:gd name="connsiteX4" fmla="*/ 0 w 1828800"/>
                <a:gd name="connsiteY4" fmla="*/ 1701348 h 1701352"/>
                <a:gd name="connsiteX5" fmla="*/ 108748 w 1828800"/>
                <a:gd name="connsiteY5" fmla="*/ 850673 h 1701352"/>
                <a:gd name="connsiteX0" fmla="*/ 0 w 1828800"/>
                <a:gd name="connsiteY0" fmla="*/ 0 h 1701352"/>
                <a:gd name="connsiteX1" fmla="*/ 1720051 w 1828800"/>
                <a:gd name="connsiteY1" fmla="*/ 0 h 1701352"/>
                <a:gd name="connsiteX2" fmla="*/ 1828800 w 1828800"/>
                <a:gd name="connsiteY2" fmla="*/ 850672 h 1701352"/>
                <a:gd name="connsiteX3" fmla="*/ 1720051 w 1828800"/>
                <a:gd name="connsiteY3" fmla="*/ 1701352 h 1701352"/>
                <a:gd name="connsiteX4" fmla="*/ 0 w 1828800"/>
                <a:gd name="connsiteY4" fmla="*/ 1701348 h 1701352"/>
                <a:gd name="connsiteX5" fmla="*/ 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0051 w 1828800"/>
                <a:gd name="connsiteY3" fmla="*/ 1701352 h 1701352"/>
                <a:gd name="connsiteX4" fmla="*/ 0 w 1828800"/>
                <a:gd name="connsiteY4" fmla="*/ 1701348 h 1701352"/>
                <a:gd name="connsiteX5" fmla="*/ 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7950 w 1828800"/>
                <a:gd name="connsiteY3" fmla="*/ 1701352 h 1701352"/>
                <a:gd name="connsiteX4" fmla="*/ 0 w 1828800"/>
                <a:gd name="connsiteY4" fmla="*/ 1701348 h 1701352"/>
                <a:gd name="connsiteX5" fmla="*/ 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7950 w 1828800"/>
                <a:gd name="connsiteY3" fmla="*/ 1701352 h 1701352"/>
                <a:gd name="connsiteX4" fmla="*/ 0 w 1828800"/>
                <a:gd name="connsiteY4" fmla="*/ 1701348 h 1701352"/>
                <a:gd name="connsiteX5" fmla="*/ 10085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7950 w 1828800"/>
                <a:gd name="connsiteY3" fmla="*/ 1701352 h 1701352"/>
                <a:gd name="connsiteX4" fmla="*/ 0 w 1828800"/>
                <a:gd name="connsiteY4" fmla="*/ 1701348 h 1701352"/>
                <a:gd name="connsiteX5" fmla="*/ 100850 w 1828800"/>
                <a:gd name="connsiteY5" fmla="*/ 850674 h 1701352"/>
                <a:gd name="connsiteX0" fmla="*/ 0 w 1828800"/>
                <a:gd name="connsiteY0" fmla="*/ 0 h 1701352"/>
                <a:gd name="connsiteX1" fmla="*/ 1727950 w 1828800"/>
                <a:gd name="connsiteY1" fmla="*/ 0 h 1701352"/>
                <a:gd name="connsiteX2" fmla="*/ 1828800 w 1828800"/>
                <a:gd name="connsiteY2" fmla="*/ 850672 h 1701352"/>
                <a:gd name="connsiteX3" fmla="*/ 1727950 w 1828800"/>
                <a:gd name="connsiteY3" fmla="*/ 1701352 h 1701352"/>
                <a:gd name="connsiteX4" fmla="*/ 0 w 1828800"/>
                <a:gd name="connsiteY4" fmla="*/ 1701348 h 1701352"/>
                <a:gd name="connsiteX5" fmla="*/ 100850 w 1828800"/>
                <a:gd name="connsiteY5" fmla="*/ 850674 h 170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1701352">
                  <a:moveTo>
                    <a:pt x="0" y="0"/>
                  </a:moveTo>
                  <a:lnTo>
                    <a:pt x="1727950" y="0"/>
                  </a:lnTo>
                  <a:lnTo>
                    <a:pt x="1828800" y="850672"/>
                  </a:lnTo>
                  <a:lnTo>
                    <a:pt x="1727950" y="1701352"/>
                  </a:lnTo>
                  <a:lnTo>
                    <a:pt x="0" y="1701348"/>
                  </a:lnTo>
                  <a:lnTo>
                    <a:pt x="100850" y="850674"/>
                  </a:lnTo>
                  <a:close/>
                </a:path>
              </a:pathLst>
            </a:cu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52" tIns="45720" rIns="45720" bIns="45720" rtlCol="0" anchor="ctr">
              <a:noAutofit/>
            </a:bodyPr>
            <a:lstStyle/>
            <a:p>
              <a:endParaRPr lang="en-US" sz="1200" b="1" dirty="0">
                <a:solidFill>
                  <a:schemeClr val="bg2"/>
                </a:solidFill>
                <a:ea typeface="楷体" panose="02010609060101010101" pitchFamily="49" charset="-122"/>
              </a:endParaRPr>
            </a:p>
          </p:txBody>
        </p:sp>
        <p:sp>
          <p:nvSpPr>
            <p:cNvPr id="68" name="Rectangle 13"/>
            <p:cNvSpPr txBox="1">
              <a:spLocks/>
            </p:cNvSpPr>
            <p:nvPr>
              <p:custDataLst>
                <p:tags r:id="rId8"/>
              </p:custDataLst>
            </p:nvPr>
          </p:nvSpPr>
          <p:spPr>
            <a:xfrm>
              <a:off x="7099781" y="974592"/>
              <a:ext cx="1303755" cy="466426"/>
            </a:xfrm>
            <a:prstGeom prst="rect">
              <a:avLst/>
            </a:prstGeom>
          </p:spPr>
          <p:txBody>
            <a:bodyPr vert="horz" lIns="0" tIns="0" rIns="0" bIns="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b="1" dirty="0">
                  <a:solidFill>
                    <a:schemeClr val="bg2"/>
                  </a:solidFill>
                  <a:ea typeface="楷体" panose="02010609060101010101" pitchFamily="49" charset="-122"/>
                  <a:cs typeface="SimSun"/>
                </a:rPr>
                <a:t>验证和使用模型</a:t>
              </a:r>
            </a:p>
          </p:txBody>
        </p:sp>
      </p:grpSp>
      <p:grpSp>
        <p:nvGrpSpPr>
          <p:cNvPr id="36" name="Group 35"/>
          <p:cNvGrpSpPr/>
          <p:nvPr/>
        </p:nvGrpSpPr>
        <p:grpSpPr>
          <a:xfrm>
            <a:off x="326502" y="3060876"/>
            <a:ext cx="8094074" cy="1292662"/>
            <a:chOff x="302885" y="3014781"/>
            <a:chExt cx="8094074" cy="1292662"/>
          </a:xfrm>
        </p:grpSpPr>
        <p:sp>
          <p:nvSpPr>
            <p:cNvPr id="127" name="Rectangle 126"/>
            <p:cNvSpPr>
              <a:spLocks/>
            </p:cNvSpPr>
            <p:nvPr/>
          </p:nvSpPr>
          <p:spPr>
            <a:xfrm>
              <a:off x="302885" y="3014781"/>
              <a:ext cx="786934" cy="1292662"/>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52" tIns="45720" rIns="45720" bIns="45720" rtlCol="0" anchor="ctr">
              <a:noAutofit/>
            </a:bodyPr>
            <a:lstStyle/>
            <a:p>
              <a:r>
                <a:rPr lang="zh-CN" sz="1200" b="1" dirty="0">
                  <a:solidFill>
                    <a:schemeClr val="lt1"/>
                  </a:solidFill>
                  <a:ea typeface="楷体" panose="02010609060101010101" pitchFamily="49" charset="-122"/>
                  <a:cs typeface="SimSun"/>
                </a:rPr>
                <a:t>强化学习</a:t>
              </a:r>
            </a:p>
          </p:txBody>
        </p:sp>
        <p:grpSp>
          <p:nvGrpSpPr>
            <p:cNvPr id="27" name="Group 26"/>
            <p:cNvGrpSpPr>
              <a:grpSpLocks/>
            </p:cNvGrpSpPr>
            <p:nvPr/>
          </p:nvGrpSpPr>
          <p:grpSpPr>
            <a:xfrm>
              <a:off x="1190814" y="3014781"/>
              <a:ext cx="7206145" cy="923330"/>
              <a:chOff x="1190814" y="2915361"/>
              <a:chExt cx="7206145" cy="923330"/>
            </a:xfrm>
          </p:grpSpPr>
          <p:sp>
            <p:nvSpPr>
              <p:cNvPr id="126" name="Rectangle 28"/>
              <p:cNvSpPr txBox="1">
                <a:spLocks/>
              </p:cNvSpPr>
              <p:nvPr/>
            </p:nvSpPr>
            <p:spPr>
              <a:xfrm>
                <a:off x="1190814" y="3469359"/>
                <a:ext cx="1382137" cy="369332"/>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dirty="0">
                    <a:ea typeface="楷体" panose="02010609060101010101" pitchFamily="49" charset="-122"/>
                    <a:cs typeface="SimSun"/>
                  </a:rPr>
                  <a:t>最大限度缩短CT</a:t>
                </a:r>
                <a:r>
                  <a:rPr lang="zh-CN" altLang="en-US" sz="1200" dirty="0">
                    <a:ea typeface="楷体" panose="02010609060101010101" pitchFamily="49" charset="-122"/>
                    <a:cs typeface="SimSun"/>
                  </a:rPr>
                  <a:t>扫描检查的</a:t>
                </a:r>
                <a:r>
                  <a:rPr lang="zh-CN" sz="1200" dirty="0">
                    <a:ea typeface="楷体" panose="02010609060101010101" pitchFamily="49" charset="-122"/>
                    <a:cs typeface="SimSun"/>
                  </a:rPr>
                  <a:t>时间</a:t>
                </a:r>
              </a:p>
            </p:txBody>
          </p:sp>
          <p:grpSp>
            <p:nvGrpSpPr>
              <p:cNvPr id="14" name="Group 13"/>
              <p:cNvGrpSpPr/>
              <p:nvPr/>
            </p:nvGrpSpPr>
            <p:grpSpPr>
              <a:xfrm>
                <a:off x="2737349" y="2915361"/>
                <a:ext cx="5659610" cy="738664"/>
                <a:chOff x="2737349" y="2915361"/>
                <a:chExt cx="5659610" cy="738664"/>
              </a:xfrm>
            </p:grpSpPr>
            <p:sp>
              <p:nvSpPr>
                <p:cNvPr id="128" name="Rectangle 32"/>
                <p:cNvSpPr txBox="1">
                  <a:spLocks/>
                </p:cNvSpPr>
                <p:nvPr/>
              </p:nvSpPr>
              <p:spPr>
                <a:xfrm>
                  <a:off x="2737349" y="2915361"/>
                  <a:ext cx="1291604" cy="553998"/>
                </a:xfrm>
                <a:prstGeom prst="rect">
                  <a:avLst/>
                </a:prstGeom>
              </p:spPr>
              <p:txBody>
                <a:bodyPr vert="horz" wrap="square" lIns="0" tIns="0" rIns="0" bIns="0" rtlCol="0">
                  <a:spAutoFit/>
                </a:bodyPr>
                <a:lstStyle>
                  <a:defPPr>
                    <a:defRPr lang="en-US"/>
                  </a:defPPr>
                  <a:lvl1pPr marL="0" lvl="0" indent="0" defTabSz="895350" eaLnBrk="1" hangingPunct="1">
                    <a:buClr>
                      <a:schemeClr val="tx2"/>
                    </a:buClr>
                    <a:defRPr baseline="0">
                      <a:latin typeface="+mn-lt"/>
                    </a:defRPr>
                  </a:lvl1pPr>
                  <a:lvl2pPr marL="123825" lvl="1" indent="-122238" defTabSz="895350" eaLnBrk="1" hangingPunct="1">
                    <a:buClr>
                      <a:schemeClr val="tx2"/>
                    </a:buClr>
                    <a:buSzPct val="125000"/>
                    <a:buFont typeface="Arial" charset="0"/>
                    <a:buChar char="▪"/>
                    <a:defRPr sz="9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zh-CN" sz="1200" dirty="0">
                      <a:ea typeface="楷体" panose="02010609060101010101" pitchFamily="49" charset="-122"/>
                      <a:cs typeface="SimSun"/>
                    </a:rPr>
                    <a:t>将业务流程分成不同的任务，识别需要的资源</a:t>
                  </a:r>
                </a:p>
              </p:txBody>
            </p:sp>
            <p:sp>
              <p:nvSpPr>
                <p:cNvPr id="129" name="Rectangle 32"/>
                <p:cNvSpPr txBox="1">
                  <a:spLocks/>
                </p:cNvSpPr>
                <p:nvPr/>
              </p:nvSpPr>
              <p:spPr>
                <a:xfrm>
                  <a:off x="4193351" y="2915361"/>
                  <a:ext cx="1291604" cy="553998"/>
                </a:xfrm>
                <a:prstGeom prst="rect">
                  <a:avLst/>
                </a:prstGeom>
              </p:spPr>
              <p:txBody>
                <a:bodyPr vert="horz" wrap="square" lIns="0" tIns="0" rIns="0" bIns="0" rtlCol="0">
                  <a:spAutoFit/>
                </a:bodyPr>
                <a:lstStyle>
                  <a:defPPr>
                    <a:defRPr lang="en-US"/>
                  </a:defPPr>
                  <a:lvl1pPr marL="0" lvl="0" indent="0" defTabSz="895350" eaLnBrk="1" hangingPunct="1">
                    <a:buClr>
                      <a:schemeClr val="tx2"/>
                    </a:buClr>
                    <a:defRPr baseline="0">
                      <a:latin typeface="+mn-lt"/>
                    </a:defRPr>
                  </a:lvl1pPr>
                  <a:lvl2pPr marL="123825" lvl="1" indent="-122238" defTabSz="895350" eaLnBrk="1" hangingPunct="1">
                    <a:buClr>
                      <a:schemeClr val="tx2"/>
                    </a:buClr>
                    <a:buSzPct val="125000"/>
                    <a:buFont typeface="Arial" charset="0"/>
                    <a:buChar char="▪"/>
                    <a:defRPr sz="9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zh-CN" sz="1200" dirty="0">
                      <a:ea typeface="楷体" panose="02010609060101010101" pitchFamily="49" charset="-122"/>
                      <a:cs typeface="SimSun"/>
                    </a:rPr>
                    <a:t>根据流程复杂度和强化要求选用最合适的算法</a:t>
                  </a:r>
                </a:p>
              </p:txBody>
            </p:sp>
            <p:sp>
              <p:nvSpPr>
                <p:cNvPr id="130" name="Rectangle 32"/>
                <p:cNvSpPr txBox="1">
                  <a:spLocks/>
                </p:cNvSpPr>
                <p:nvPr/>
              </p:nvSpPr>
              <p:spPr>
                <a:xfrm>
                  <a:off x="5649353" y="2915361"/>
                  <a:ext cx="1291604" cy="738664"/>
                </a:xfrm>
                <a:prstGeom prst="rect">
                  <a:avLst/>
                </a:prstGeom>
              </p:spPr>
              <p:txBody>
                <a:bodyPr vert="horz" wrap="square" lIns="0" tIns="0" rIns="0" bIns="0" rtlCol="0">
                  <a:spAutoFit/>
                </a:bodyPr>
                <a:lstStyle>
                  <a:defPPr>
                    <a:defRPr lang="en-US"/>
                  </a:defPPr>
                  <a:lvl1pPr marL="0" lvl="0" indent="0" defTabSz="895350" eaLnBrk="1" hangingPunct="1">
                    <a:buClr>
                      <a:schemeClr val="tx2"/>
                    </a:buClr>
                    <a:defRPr baseline="0">
                      <a:latin typeface="+mn-lt"/>
                    </a:defRPr>
                  </a:lvl1pPr>
                  <a:lvl2pPr marL="123825" lvl="1" indent="-122238" defTabSz="895350" eaLnBrk="1" hangingPunct="1">
                    <a:buClr>
                      <a:schemeClr val="tx2"/>
                    </a:buClr>
                    <a:buSzPct val="125000"/>
                    <a:buFont typeface="Arial" charset="0"/>
                    <a:buChar char="▪"/>
                    <a:defRPr sz="9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zh-CN" sz="1200" dirty="0">
                      <a:ea typeface="楷体" panose="02010609060101010101" pitchFamily="49" charset="-122"/>
                      <a:cs typeface="SimSun"/>
                    </a:rPr>
                    <a:t>进行模拟，计算各环节成本（流程时间），直到覆盖最优价值</a:t>
                  </a:r>
                </a:p>
              </p:txBody>
            </p:sp>
            <p:sp>
              <p:nvSpPr>
                <p:cNvPr id="131" name="Rectangle 32"/>
                <p:cNvSpPr txBox="1">
                  <a:spLocks/>
                </p:cNvSpPr>
                <p:nvPr/>
              </p:nvSpPr>
              <p:spPr>
                <a:xfrm>
                  <a:off x="7105355" y="2915361"/>
                  <a:ext cx="1291604" cy="738664"/>
                </a:xfrm>
                <a:prstGeom prst="rect">
                  <a:avLst/>
                </a:prstGeom>
              </p:spPr>
              <p:txBody>
                <a:bodyPr vert="horz" wrap="square" lIns="0" tIns="0" rIns="0" bIns="0" rtlCol="0">
                  <a:spAutoFit/>
                </a:bodyPr>
                <a:lstStyle>
                  <a:defPPr>
                    <a:defRPr lang="en-US"/>
                  </a:defPPr>
                  <a:lvl1pPr marL="0" lvl="0" indent="0" defTabSz="895350" eaLnBrk="1" hangingPunct="1">
                    <a:buClr>
                      <a:schemeClr val="tx2"/>
                    </a:buClr>
                    <a:defRPr baseline="0">
                      <a:latin typeface="+mn-lt"/>
                    </a:defRPr>
                  </a:lvl1pPr>
                  <a:lvl2pPr marL="123825" lvl="1" indent="-122238" defTabSz="895350" eaLnBrk="1" hangingPunct="1">
                    <a:buClr>
                      <a:schemeClr val="tx2"/>
                    </a:buClr>
                    <a:buSzPct val="125000"/>
                    <a:buFont typeface="Arial" charset="0"/>
                    <a:buChar char="▪"/>
                    <a:defRPr sz="9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zh-CN" sz="1200" dirty="0">
                      <a:ea typeface="楷体" panose="02010609060101010101" pitchFamily="49" charset="-122"/>
                      <a:cs typeface="SimSun"/>
                    </a:rPr>
                    <a:t>将得出的结果与通过普通流程管理策略得出的结果进行比较</a:t>
                  </a:r>
                </a:p>
              </p:txBody>
            </p:sp>
          </p:grpSp>
          <p:pic>
            <p:nvPicPr>
              <p:cNvPr id="132" name="Picture 8" descr="http://www.nerad.com/wp-content/uploads/ACRImages/CT-Scan.jp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361640" y="2915361"/>
                <a:ext cx="1081218" cy="470532"/>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37" name="Group 36"/>
          <p:cNvGrpSpPr/>
          <p:nvPr/>
        </p:nvGrpSpPr>
        <p:grpSpPr>
          <a:xfrm>
            <a:off x="326502" y="1626064"/>
            <a:ext cx="8094074" cy="1292662"/>
            <a:chOff x="302885" y="1487635"/>
            <a:chExt cx="8094074" cy="1292662"/>
          </a:xfrm>
        </p:grpSpPr>
        <p:sp>
          <p:nvSpPr>
            <p:cNvPr id="140" name="Rectangle 139"/>
            <p:cNvSpPr>
              <a:spLocks/>
            </p:cNvSpPr>
            <p:nvPr/>
          </p:nvSpPr>
          <p:spPr>
            <a:xfrm>
              <a:off x="302885" y="1487635"/>
              <a:ext cx="786934" cy="1292662"/>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52" tIns="45720" rIns="45720" bIns="45720" rtlCol="0" anchor="ctr">
              <a:noAutofit/>
            </a:bodyPr>
            <a:lstStyle/>
            <a:p>
              <a:r>
                <a:rPr lang="zh-CN" sz="1200" b="1" dirty="0">
                  <a:solidFill>
                    <a:schemeClr val="lt1"/>
                  </a:solidFill>
                  <a:ea typeface="楷体" panose="02010609060101010101" pitchFamily="49" charset="-122"/>
                  <a:cs typeface="SimSun"/>
                </a:rPr>
                <a:t>监督学习</a:t>
              </a:r>
            </a:p>
          </p:txBody>
        </p:sp>
        <p:grpSp>
          <p:nvGrpSpPr>
            <p:cNvPr id="28" name="Group 27"/>
            <p:cNvGrpSpPr>
              <a:grpSpLocks/>
            </p:cNvGrpSpPr>
            <p:nvPr/>
          </p:nvGrpSpPr>
          <p:grpSpPr>
            <a:xfrm>
              <a:off x="1190814" y="1487635"/>
              <a:ext cx="7206145" cy="1107996"/>
              <a:chOff x="1190814" y="1420960"/>
              <a:chExt cx="7206145" cy="1107996"/>
            </a:xfrm>
          </p:grpSpPr>
          <p:sp>
            <p:nvSpPr>
              <p:cNvPr id="141" name="Rectangle 28"/>
              <p:cNvSpPr txBox="1">
                <a:spLocks/>
              </p:cNvSpPr>
              <p:nvPr/>
            </p:nvSpPr>
            <p:spPr>
              <a:xfrm>
                <a:off x="1190814" y="2159624"/>
                <a:ext cx="1382137" cy="369332"/>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dirty="0">
                    <a:ea typeface="楷体" panose="02010609060101010101" pitchFamily="49" charset="-122"/>
                    <a:cs typeface="SimSun"/>
                  </a:rPr>
                  <a:t>预测求职者是否会成功</a:t>
                </a:r>
              </a:p>
            </p:txBody>
          </p:sp>
          <p:grpSp>
            <p:nvGrpSpPr>
              <p:cNvPr id="13" name="Group 12"/>
              <p:cNvGrpSpPr/>
              <p:nvPr/>
            </p:nvGrpSpPr>
            <p:grpSpPr>
              <a:xfrm>
                <a:off x="2737349" y="1420960"/>
                <a:ext cx="5659610" cy="923330"/>
                <a:chOff x="2737349" y="1420960"/>
                <a:chExt cx="5659610" cy="923330"/>
              </a:xfrm>
            </p:grpSpPr>
            <p:sp>
              <p:nvSpPr>
                <p:cNvPr id="142" name="Rectangle 32"/>
                <p:cNvSpPr txBox="1">
                  <a:spLocks/>
                </p:cNvSpPr>
                <p:nvPr/>
              </p:nvSpPr>
              <p:spPr>
                <a:xfrm>
                  <a:off x="2737349" y="1420960"/>
                  <a:ext cx="1291604" cy="738664"/>
                </a:xfrm>
                <a:prstGeom prst="rect">
                  <a:avLst/>
                </a:prstGeom>
              </p:spPr>
              <p:txBody>
                <a:bodyPr vert="horz" wrap="square" lIns="0" tIns="0" rIns="0" bIns="0" rtlCol="0">
                  <a:spAutoFit/>
                </a:bodyPr>
                <a:lstStyle>
                  <a:defPPr>
                    <a:defRPr lang="en-US"/>
                  </a:defPPr>
                  <a:lvl1pPr marL="0" lvl="0" indent="0" defTabSz="895350" eaLnBrk="1" hangingPunct="1">
                    <a:buClr>
                      <a:schemeClr val="tx2"/>
                    </a:buClr>
                    <a:defRPr baseline="0">
                      <a:latin typeface="+mn-lt"/>
                    </a:defRPr>
                  </a:lvl1pPr>
                  <a:lvl2pPr marL="123825" lvl="1" indent="-122238" defTabSz="895350" eaLnBrk="1" hangingPunct="1">
                    <a:buClr>
                      <a:schemeClr val="tx2"/>
                    </a:buClr>
                    <a:buSzPct val="125000"/>
                    <a:buFont typeface="Arial" charset="0"/>
                    <a:buChar char="▪"/>
                    <a:defRPr sz="9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zh-CN" sz="1200" dirty="0">
                      <a:ea typeface="楷体" panose="02010609060101010101" pitchFamily="49" charset="-122"/>
                      <a:cs typeface="SimSun"/>
                    </a:rPr>
                    <a:t>创建求职者申请信息和结果的样本数据集</a:t>
                  </a:r>
                </a:p>
                <a:p>
                  <a:pPr lvl="1"/>
                  <a:r>
                    <a:rPr lang="zh-CN" sz="1200" dirty="0">
                      <a:ea typeface="楷体" panose="02010609060101010101" pitchFamily="49" charset="-122"/>
                      <a:cs typeface="SimSun"/>
                    </a:rPr>
                    <a:t>提取相关特征</a:t>
                  </a:r>
                </a:p>
              </p:txBody>
            </p:sp>
            <p:sp>
              <p:nvSpPr>
                <p:cNvPr id="143" name="Rectangle 32"/>
                <p:cNvSpPr txBox="1">
                  <a:spLocks/>
                </p:cNvSpPr>
                <p:nvPr/>
              </p:nvSpPr>
              <p:spPr>
                <a:xfrm>
                  <a:off x="4193351" y="1420960"/>
                  <a:ext cx="1291604" cy="738664"/>
                </a:xfrm>
                <a:prstGeom prst="rect">
                  <a:avLst/>
                </a:prstGeom>
              </p:spPr>
              <p:txBody>
                <a:bodyPr vert="horz" wrap="square" lIns="0" tIns="0" rIns="0" bIns="0" rtlCol="0">
                  <a:spAutoFit/>
                </a:bodyPr>
                <a:lstStyle>
                  <a:defPPr>
                    <a:defRPr lang="en-US"/>
                  </a:defPPr>
                  <a:lvl1pPr marL="0" lvl="0" indent="0" defTabSz="895350" eaLnBrk="1" hangingPunct="1">
                    <a:buClr>
                      <a:schemeClr val="tx2"/>
                    </a:buClr>
                    <a:defRPr baseline="0">
                      <a:latin typeface="+mn-lt"/>
                    </a:defRPr>
                  </a:lvl1pPr>
                  <a:lvl2pPr marL="123825" lvl="1" indent="-122238" defTabSz="895350" eaLnBrk="1" hangingPunct="1">
                    <a:buClr>
                      <a:schemeClr val="tx2"/>
                    </a:buClr>
                    <a:buSzPct val="125000"/>
                    <a:buFont typeface="Arial" charset="0"/>
                    <a:buChar char="▪"/>
                    <a:defRPr sz="9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zh-CN" sz="1200" dirty="0">
                      <a:ea typeface="楷体" panose="02010609060101010101" pitchFamily="49" charset="-122"/>
                      <a:cs typeface="SimSun"/>
                    </a:rPr>
                    <a:t>基于输入和输出性质，采用最可靠地进行分类的算法</a:t>
                  </a:r>
                </a:p>
              </p:txBody>
            </p:sp>
            <p:sp>
              <p:nvSpPr>
                <p:cNvPr id="144" name="Rectangle 32"/>
                <p:cNvSpPr txBox="1">
                  <a:spLocks/>
                </p:cNvSpPr>
                <p:nvPr/>
              </p:nvSpPr>
              <p:spPr>
                <a:xfrm>
                  <a:off x="5649353" y="1420960"/>
                  <a:ext cx="1291604" cy="553998"/>
                </a:xfrm>
                <a:prstGeom prst="rect">
                  <a:avLst/>
                </a:prstGeom>
              </p:spPr>
              <p:txBody>
                <a:bodyPr vert="horz" wrap="square" lIns="0" tIns="0" rIns="0" bIns="0" rtlCol="0">
                  <a:spAutoFit/>
                </a:bodyPr>
                <a:lstStyle>
                  <a:defPPr>
                    <a:defRPr lang="en-US"/>
                  </a:defPPr>
                  <a:lvl1pPr marL="0" lvl="0" indent="0" defTabSz="895350" eaLnBrk="1" hangingPunct="1">
                    <a:buClr>
                      <a:schemeClr val="tx2"/>
                    </a:buClr>
                    <a:defRPr baseline="0">
                      <a:latin typeface="+mn-lt"/>
                    </a:defRPr>
                  </a:lvl1pPr>
                  <a:lvl2pPr marL="123825" lvl="1" indent="-122238" defTabSz="895350" eaLnBrk="1" hangingPunct="1">
                    <a:buClr>
                      <a:schemeClr val="tx2"/>
                    </a:buClr>
                    <a:buSzPct val="125000"/>
                    <a:buFont typeface="Arial" charset="0"/>
                    <a:buChar char="▪"/>
                    <a:defRPr sz="9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zh-CN" sz="1200" dirty="0">
                      <a:ea typeface="楷体" panose="02010609060101010101" pitchFamily="49" charset="-122"/>
                      <a:cs typeface="SimSun"/>
                    </a:rPr>
                    <a:t>模型纳入所有样本数据，微调参数，进行分类</a:t>
                  </a:r>
                </a:p>
              </p:txBody>
            </p:sp>
            <p:sp>
              <p:nvSpPr>
                <p:cNvPr id="145" name="Rectangle 32"/>
                <p:cNvSpPr txBox="1">
                  <a:spLocks/>
                </p:cNvSpPr>
                <p:nvPr/>
              </p:nvSpPr>
              <p:spPr>
                <a:xfrm>
                  <a:off x="7105355" y="1420960"/>
                  <a:ext cx="1291604" cy="923330"/>
                </a:xfrm>
                <a:prstGeom prst="rect">
                  <a:avLst/>
                </a:prstGeom>
              </p:spPr>
              <p:txBody>
                <a:bodyPr vert="horz" wrap="square" lIns="0" tIns="0" rIns="0" bIns="0" rtlCol="0">
                  <a:spAutoFit/>
                </a:bodyPr>
                <a:lstStyle>
                  <a:defPPr>
                    <a:defRPr lang="en-US"/>
                  </a:defPPr>
                  <a:lvl1pPr marL="0" lvl="0" indent="0" defTabSz="895350" eaLnBrk="1" hangingPunct="1">
                    <a:buClr>
                      <a:schemeClr val="tx2"/>
                    </a:buClr>
                    <a:defRPr baseline="0">
                      <a:latin typeface="+mn-lt"/>
                    </a:defRPr>
                  </a:lvl1pPr>
                  <a:lvl2pPr marL="123825" lvl="1" indent="-122238" defTabSz="895350" eaLnBrk="1" hangingPunct="1">
                    <a:buClr>
                      <a:schemeClr val="tx2"/>
                    </a:buClr>
                    <a:buSzPct val="125000"/>
                    <a:buFont typeface="Arial" charset="0"/>
                    <a:buChar char="▪"/>
                    <a:defRPr sz="9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zh-CN" altLang="en-US" sz="1200" dirty="0">
                      <a:ea typeface="楷体" panose="02010609060101010101" pitchFamily="49" charset="-122"/>
                      <a:cs typeface="SimSun"/>
                    </a:rPr>
                    <a:t>在</a:t>
                  </a:r>
                  <a:r>
                    <a:rPr lang="zh-CN" sz="1200" dirty="0">
                      <a:ea typeface="楷体" panose="02010609060101010101" pitchFamily="49" charset="-122"/>
                      <a:cs typeface="SimSun"/>
                    </a:rPr>
                    <a:t>错误率可接受</a:t>
                  </a:r>
                  <a:r>
                    <a:rPr lang="zh-CN" altLang="en-US" sz="1200" dirty="0">
                      <a:ea typeface="楷体" panose="02010609060101010101" pitchFamily="49" charset="-122"/>
                      <a:cs typeface="SimSun"/>
                    </a:rPr>
                    <a:t>的情况下</a:t>
                  </a:r>
                  <a:r>
                    <a:rPr lang="zh-CN" sz="1200" dirty="0">
                      <a:ea typeface="楷体" panose="02010609060101010101" pitchFamily="49" charset="-122"/>
                      <a:cs typeface="SimSun"/>
                    </a:rPr>
                    <a:t>利用模型对申请人进行筛选；由工作人员决定边缘个案</a:t>
                  </a:r>
                </a:p>
              </p:txBody>
            </p:sp>
          </p:grpSp>
          <p:pic>
            <p:nvPicPr>
              <p:cNvPr id="146" name="Picture 10" descr="http://ualr.edu/economics/files/2014/01/hire_me_icon_256.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540533" y="1493957"/>
                <a:ext cx="723433" cy="69520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35" name="Group 34"/>
          <p:cNvGrpSpPr/>
          <p:nvPr/>
        </p:nvGrpSpPr>
        <p:grpSpPr>
          <a:xfrm>
            <a:off x="326502" y="4495689"/>
            <a:ext cx="8094074" cy="1477328"/>
            <a:chOff x="302885" y="4541926"/>
            <a:chExt cx="8094074" cy="1477328"/>
          </a:xfrm>
        </p:grpSpPr>
        <p:sp>
          <p:nvSpPr>
            <p:cNvPr id="134" name="Rectangle 133"/>
            <p:cNvSpPr>
              <a:spLocks/>
            </p:cNvSpPr>
            <p:nvPr/>
          </p:nvSpPr>
          <p:spPr>
            <a:xfrm>
              <a:off x="302885" y="4541926"/>
              <a:ext cx="786934" cy="1477328"/>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52" tIns="45720" rIns="45720" bIns="45720" rtlCol="0" anchor="ctr">
              <a:noAutofit/>
            </a:bodyPr>
            <a:lstStyle/>
            <a:p>
              <a:r>
                <a:rPr lang="zh-CN" sz="1200" b="1" dirty="0">
                  <a:solidFill>
                    <a:schemeClr val="lt1"/>
                  </a:solidFill>
                  <a:ea typeface="楷体" panose="02010609060101010101" pitchFamily="49" charset="-122"/>
                  <a:cs typeface="SimSun"/>
                </a:rPr>
                <a:t>无监督学习</a:t>
              </a:r>
            </a:p>
          </p:txBody>
        </p:sp>
        <p:grpSp>
          <p:nvGrpSpPr>
            <p:cNvPr id="26" name="Group 25"/>
            <p:cNvGrpSpPr>
              <a:grpSpLocks/>
            </p:cNvGrpSpPr>
            <p:nvPr/>
          </p:nvGrpSpPr>
          <p:grpSpPr>
            <a:xfrm>
              <a:off x="1190814" y="4541926"/>
              <a:ext cx="7206145" cy="1292662"/>
              <a:chOff x="1190814" y="4622475"/>
              <a:chExt cx="7206145" cy="1292662"/>
            </a:xfrm>
          </p:grpSpPr>
          <p:sp>
            <p:nvSpPr>
              <p:cNvPr id="133" name="Rectangle 28"/>
              <p:cNvSpPr txBox="1">
                <a:spLocks/>
              </p:cNvSpPr>
              <p:nvPr/>
            </p:nvSpPr>
            <p:spPr>
              <a:xfrm>
                <a:off x="1190814" y="5545805"/>
                <a:ext cx="1382137" cy="369332"/>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200" dirty="0">
                    <a:ea typeface="楷体" panose="02010609060101010101" pitchFamily="49" charset="-122"/>
                    <a:cs typeface="SimSun"/>
                  </a:rPr>
                  <a:t>为用户聚类相关新闻报道</a:t>
                </a:r>
              </a:p>
            </p:txBody>
          </p:sp>
          <p:grpSp>
            <p:nvGrpSpPr>
              <p:cNvPr id="15" name="Group 14"/>
              <p:cNvGrpSpPr/>
              <p:nvPr/>
            </p:nvGrpSpPr>
            <p:grpSpPr>
              <a:xfrm>
                <a:off x="2737349" y="4622475"/>
                <a:ext cx="5659610" cy="923330"/>
                <a:chOff x="2737349" y="4622475"/>
                <a:chExt cx="5659610" cy="923330"/>
              </a:xfrm>
            </p:grpSpPr>
            <p:sp>
              <p:nvSpPr>
                <p:cNvPr id="135" name="Rectangle 32"/>
                <p:cNvSpPr txBox="1">
                  <a:spLocks/>
                </p:cNvSpPr>
                <p:nvPr/>
              </p:nvSpPr>
              <p:spPr>
                <a:xfrm>
                  <a:off x="2737349" y="4622475"/>
                  <a:ext cx="1291604" cy="923330"/>
                </a:xfrm>
                <a:prstGeom prst="rect">
                  <a:avLst/>
                </a:prstGeom>
              </p:spPr>
              <p:txBody>
                <a:bodyPr vert="horz" wrap="square" lIns="0" tIns="0" rIns="0" bIns="0" rtlCol="0">
                  <a:spAutoFit/>
                </a:bodyPr>
                <a:lstStyle>
                  <a:defPPr>
                    <a:defRPr lang="en-US"/>
                  </a:defPPr>
                  <a:lvl1pPr marL="0" lvl="0" indent="0" defTabSz="895350" eaLnBrk="1" hangingPunct="1">
                    <a:buClr>
                      <a:schemeClr val="tx2"/>
                    </a:buClr>
                    <a:defRPr baseline="0">
                      <a:latin typeface="+mn-lt"/>
                    </a:defRPr>
                  </a:lvl1pPr>
                  <a:lvl2pPr marL="123825" lvl="1" indent="-122238" defTabSz="895350" eaLnBrk="1" hangingPunct="1">
                    <a:buClr>
                      <a:schemeClr val="tx2"/>
                    </a:buClr>
                    <a:buSzPct val="125000"/>
                    <a:buFont typeface="Arial" charset="0"/>
                    <a:buChar char="▪"/>
                    <a:defRPr sz="9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None/>
                  </a:pPr>
                  <a:r>
                    <a:rPr lang="zh-CN" sz="1200" dirty="0">
                      <a:ea typeface="楷体" panose="02010609060101010101" pitchFamily="49" charset="-122"/>
                      <a:cs typeface="SimSun"/>
                    </a:rPr>
                    <a:t>自动化</a:t>
                  </a:r>
                </a:p>
                <a:p>
                  <a:pPr lvl="1"/>
                  <a:r>
                    <a:rPr lang="zh-CN" sz="1200" dirty="0">
                      <a:ea typeface="楷体" panose="02010609060101010101" pitchFamily="49" charset="-122"/>
                      <a:cs typeface="SimSun"/>
                    </a:rPr>
                    <a:t>识别哪些页面是新闻报道</a:t>
                  </a:r>
                </a:p>
                <a:p>
                  <a:pPr lvl="1"/>
                  <a:r>
                    <a:rPr lang="zh-CN" sz="1200" dirty="0">
                      <a:ea typeface="楷体" panose="02010609060101010101" pitchFamily="49" charset="-122"/>
                      <a:cs typeface="SimSun"/>
                    </a:rPr>
                    <a:t>提取关键字，分配权重</a:t>
                  </a:r>
                </a:p>
              </p:txBody>
            </p:sp>
            <p:sp>
              <p:nvSpPr>
                <p:cNvPr id="136" name="Rectangle 32"/>
                <p:cNvSpPr txBox="1">
                  <a:spLocks/>
                </p:cNvSpPr>
                <p:nvPr/>
              </p:nvSpPr>
              <p:spPr>
                <a:xfrm>
                  <a:off x="4193351" y="4622475"/>
                  <a:ext cx="1291604" cy="738664"/>
                </a:xfrm>
                <a:prstGeom prst="rect">
                  <a:avLst/>
                </a:prstGeom>
              </p:spPr>
              <p:txBody>
                <a:bodyPr vert="horz" wrap="square" lIns="0" tIns="0" rIns="0" bIns="0" rtlCol="0">
                  <a:spAutoFit/>
                </a:bodyPr>
                <a:lstStyle>
                  <a:defPPr>
                    <a:defRPr lang="en-US"/>
                  </a:defPPr>
                  <a:lvl1pPr marL="0" lvl="0" indent="0" defTabSz="895350" eaLnBrk="1" hangingPunct="1">
                    <a:buClr>
                      <a:schemeClr val="tx2"/>
                    </a:buClr>
                    <a:defRPr baseline="0">
                      <a:latin typeface="+mn-lt"/>
                    </a:defRPr>
                  </a:lvl1pPr>
                  <a:lvl2pPr marL="123825" lvl="1" indent="-122238" defTabSz="895350" eaLnBrk="1" hangingPunct="1">
                    <a:buClr>
                      <a:schemeClr val="tx2"/>
                    </a:buClr>
                    <a:buSzPct val="125000"/>
                    <a:buFont typeface="Arial" charset="0"/>
                    <a:buChar char="▪"/>
                    <a:defRPr sz="9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zh-CN" sz="1200" dirty="0">
                      <a:ea typeface="楷体" panose="02010609060101010101" pitchFamily="49" charset="-122"/>
                      <a:cs typeface="SimSun"/>
                    </a:rPr>
                    <a:t>改进现有聚类算法（例如，K均值），</a:t>
                  </a:r>
                  <a:r>
                    <a:rPr lang="zh-CN" altLang="en-US" sz="1200" dirty="0">
                      <a:ea typeface="楷体" panose="02010609060101010101" pitchFamily="49" charset="-122"/>
                      <a:cs typeface="SimSun"/>
                    </a:rPr>
                    <a:t>以适应</a:t>
                  </a:r>
                  <a:r>
                    <a:rPr lang="zh-CN" sz="1200" dirty="0">
                      <a:ea typeface="楷体" panose="02010609060101010101" pitchFamily="49" charset="-122"/>
                      <a:cs typeface="SimSun"/>
                    </a:rPr>
                    <a:t>足您的需求</a:t>
                  </a:r>
                </a:p>
              </p:txBody>
            </p:sp>
            <p:sp>
              <p:nvSpPr>
                <p:cNvPr id="137" name="Rectangle 32"/>
                <p:cNvSpPr txBox="1">
                  <a:spLocks/>
                </p:cNvSpPr>
                <p:nvPr/>
              </p:nvSpPr>
              <p:spPr>
                <a:xfrm>
                  <a:off x="5649353" y="4622475"/>
                  <a:ext cx="1291604" cy="738664"/>
                </a:xfrm>
                <a:prstGeom prst="rect">
                  <a:avLst/>
                </a:prstGeom>
              </p:spPr>
              <p:txBody>
                <a:bodyPr vert="horz" wrap="square" lIns="0" tIns="0" rIns="0" bIns="0" rtlCol="0">
                  <a:spAutoFit/>
                </a:bodyPr>
                <a:lstStyle>
                  <a:defPPr>
                    <a:defRPr lang="en-US"/>
                  </a:defPPr>
                  <a:lvl1pPr marL="0" lvl="0" indent="0" defTabSz="895350" eaLnBrk="1" hangingPunct="1">
                    <a:buClr>
                      <a:schemeClr val="tx2"/>
                    </a:buClr>
                    <a:defRPr baseline="0">
                      <a:latin typeface="+mn-lt"/>
                    </a:defRPr>
                  </a:lvl1pPr>
                  <a:lvl2pPr marL="123825" lvl="1" indent="-122238" defTabSz="895350" eaLnBrk="1" hangingPunct="1">
                    <a:buClr>
                      <a:schemeClr val="tx2"/>
                    </a:buClr>
                    <a:buSzPct val="125000"/>
                    <a:buFont typeface="Arial" charset="0"/>
                    <a:buChar char="▪"/>
                    <a:defRPr sz="9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zh-CN" sz="1200" dirty="0">
                      <a:ea typeface="楷体" panose="02010609060101010101" pitchFamily="49" charset="-122"/>
                      <a:cs typeface="SimSun"/>
                    </a:rPr>
                    <a:t>在样本上运行算法，计算聚类 </a:t>
                  </a:r>
                </a:p>
                <a:p>
                  <a:pPr lvl="1"/>
                  <a:r>
                    <a:rPr lang="zh-CN" sz="1200" dirty="0">
                      <a:ea typeface="楷体" panose="02010609060101010101" pitchFamily="49" charset="-122"/>
                      <a:cs typeface="SimSun"/>
                    </a:rPr>
                    <a:t>将算法扩展至所有文章</a:t>
                  </a:r>
                </a:p>
              </p:txBody>
            </p:sp>
            <p:sp>
              <p:nvSpPr>
                <p:cNvPr id="138" name="Rectangle 32"/>
                <p:cNvSpPr txBox="1">
                  <a:spLocks/>
                </p:cNvSpPr>
                <p:nvPr/>
              </p:nvSpPr>
              <p:spPr>
                <a:xfrm>
                  <a:off x="7105355" y="4622475"/>
                  <a:ext cx="1291604" cy="923330"/>
                </a:xfrm>
                <a:prstGeom prst="rect">
                  <a:avLst/>
                </a:prstGeom>
              </p:spPr>
              <p:txBody>
                <a:bodyPr vert="horz" wrap="square" lIns="0" tIns="0" rIns="0" bIns="0" rtlCol="0">
                  <a:spAutoFit/>
                </a:bodyPr>
                <a:lstStyle>
                  <a:defPPr>
                    <a:defRPr lang="en-US"/>
                  </a:defPPr>
                  <a:lvl1pPr marL="0" lvl="0" indent="0" defTabSz="895350" eaLnBrk="1" hangingPunct="1">
                    <a:buClr>
                      <a:schemeClr val="tx2"/>
                    </a:buClr>
                    <a:defRPr baseline="0">
                      <a:latin typeface="+mn-lt"/>
                    </a:defRPr>
                  </a:lvl1pPr>
                  <a:lvl2pPr marL="123825" lvl="1" indent="-122238" defTabSz="895350" eaLnBrk="1" hangingPunct="1">
                    <a:buClr>
                      <a:schemeClr val="tx2"/>
                    </a:buClr>
                    <a:buSzPct val="125000"/>
                    <a:buFont typeface="Arial" charset="0"/>
                    <a:buChar char="▪"/>
                    <a:defRPr sz="9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zh-CN" sz="1200" dirty="0">
                      <a:ea typeface="楷体" panose="02010609060101010101" pitchFamily="49" charset="-122"/>
                      <a:cs typeface="SimSun"/>
                    </a:rPr>
                    <a:t>定期对模型进行再培训</a:t>
                  </a:r>
                </a:p>
                <a:p>
                  <a:pPr lvl="1"/>
                  <a:r>
                    <a:rPr lang="zh-CN" sz="1200" dirty="0">
                      <a:ea typeface="楷体" panose="02010609060101010101" pitchFamily="49" charset="-122"/>
                      <a:cs typeface="SimSun"/>
                    </a:rPr>
                    <a:t>在再培训环节</a:t>
                  </a:r>
                  <a:r>
                    <a:rPr lang="zh-CN" altLang="en-US" sz="1200" dirty="0">
                      <a:ea typeface="楷体" panose="02010609060101010101" pitchFamily="49" charset="-122"/>
                      <a:cs typeface="SimSun"/>
                    </a:rPr>
                    <a:t>之间</a:t>
                  </a:r>
                  <a:r>
                    <a:rPr lang="zh-CN" sz="1200" dirty="0">
                      <a:ea typeface="楷体" panose="02010609060101010101" pitchFamily="49" charset="-122"/>
                      <a:cs typeface="SimSun"/>
                    </a:rPr>
                    <a:t>，</a:t>
                  </a:r>
                  <a:r>
                    <a:rPr lang="zh-CN" altLang="en-US" sz="1200" dirty="0">
                      <a:ea typeface="楷体" panose="02010609060101010101" pitchFamily="49" charset="-122"/>
                      <a:cs typeface="SimSun"/>
                    </a:rPr>
                    <a:t>逐步向</a:t>
                  </a:r>
                  <a:r>
                    <a:rPr lang="zh-CN" sz="1200" dirty="0">
                      <a:ea typeface="楷体" panose="02010609060101010101" pitchFamily="49" charset="-122"/>
                      <a:cs typeface="SimSun"/>
                    </a:rPr>
                    <a:t>现有聚类添加文章</a:t>
                  </a:r>
                </a:p>
              </p:txBody>
            </p:sp>
          </p:grpSp>
          <p:pic>
            <p:nvPicPr>
              <p:cNvPr id="139" name="Picture 12" descr="http://www.adweek.com/socialtimes/files/2013/05/digital-news.jp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383253" y="4622475"/>
                <a:ext cx="1037993" cy="796764"/>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47" name="Straight Connector 146"/>
          <p:cNvCxnSpPr>
            <a:cxnSpLocks/>
          </p:cNvCxnSpPr>
          <p:nvPr/>
        </p:nvCxnSpPr>
        <p:spPr>
          <a:xfrm>
            <a:off x="1214431" y="4424613"/>
            <a:ext cx="7315729"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cxnSpLocks/>
          </p:cNvCxnSpPr>
          <p:nvPr/>
        </p:nvCxnSpPr>
        <p:spPr>
          <a:xfrm>
            <a:off x="1214431" y="2989801"/>
            <a:ext cx="7315729"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73" name="3. Unit of measure"/>
          <p:cNvSpPr txBox="1">
            <a:spLocks noChangeArrowheads="1"/>
          </p:cNvSpPr>
          <p:nvPr>
            <p:custDataLst>
              <p:tags r:id="rId6"/>
            </p:custDataLst>
          </p:nvPr>
        </p:nvSpPr>
        <p:spPr bwMode="auto">
          <a:xfrm>
            <a:off x="119063" y="531813"/>
            <a:ext cx="2154436"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zh-CN" sz="1400" dirty="0">
                <a:solidFill>
                  <a:srgbClr val="808080"/>
                </a:solidFill>
                <a:latin typeface="+mn-lt"/>
                <a:ea typeface="楷体" panose="02010609060101010101" pitchFamily="49" charset="-122"/>
                <a:cs typeface="SimSun"/>
              </a:rPr>
              <a:t>不同学习模型工作原理示例</a:t>
            </a:r>
          </a:p>
        </p:txBody>
      </p:sp>
      <p:sp>
        <p:nvSpPr>
          <p:cNvPr id="94" name="5. Source"/>
          <p:cNvSpPr>
            <a:spLocks noChangeArrowheads="1"/>
          </p:cNvSpPr>
          <p:nvPr/>
        </p:nvSpPr>
        <p:spPr bwMode="auto">
          <a:xfrm>
            <a:off x="119063" y="6388814"/>
            <a:ext cx="686276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504825" indent="-504825" defTabSz="895350"/>
            <a:r>
              <a:rPr lang="zh-CN" sz="800" dirty="0">
                <a:latin typeface="+mn-lt"/>
                <a:ea typeface="楷体" panose="02010609060101010101" pitchFamily="49" charset="-122"/>
                <a:cs typeface="SimSun"/>
              </a:rPr>
              <a:t>资料来源：Huang等人(2010年)。业务流程管理中基于强化学习的资源分配。数据和知识工程，70(1), 127-145；机器学习入门，PD 806980；Kumar, B. 《谷歌新闻如何对新闻报道进行聚类？》</a:t>
            </a:r>
          </a:p>
        </p:txBody>
      </p:sp>
      <p:pic>
        <p:nvPicPr>
          <p:cNvPr id="304137" name="Picture 9"/>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360167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864895" y="1417853"/>
            <a:ext cx="4943734" cy="4539221"/>
          </a:xfrm>
          <a:custGeom>
            <a:avLst/>
            <a:gdLst/>
            <a:ahLst/>
            <a:cxnLst/>
            <a:rect l="l" t="t" r="r" b="b"/>
            <a:pathLst>
              <a:path w="5641975" h="5180330">
                <a:moveTo>
                  <a:pt x="0" y="0"/>
                </a:moveTo>
                <a:lnTo>
                  <a:pt x="5641847" y="0"/>
                </a:lnTo>
                <a:lnTo>
                  <a:pt x="5641847" y="5179949"/>
                </a:lnTo>
                <a:lnTo>
                  <a:pt x="0" y="5179949"/>
                </a:lnTo>
                <a:lnTo>
                  <a:pt x="0" y="0"/>
                </a:lnTo>
                <a:close/>
              </a:path>
            </a:pathLst>
          </a:custGeom>
          <a:solidFill>
            <a:schemeClr val="tx2"/>
          </a:solidFill>
        </p:spPr>
        <p:txBody>
          <a:bodyPr wrap="square" lIns="0" tIns="0" rIns="0" bIns="0" rtlCol="0"/>
          <a:lstStyle/>
          <a:p>
            <a:endParaRPr sz="1402">
              <a:latin typeface="+mn-lt"/>
              <a:ea typeface="楷体" panose="02010609060101010101" pitchFamily="49" charset="-122"/>
            </a:endParaRPr>
          </a:p>
        </p:txBody>
      </p:sp>
      <p:sp>
        <p:nvSpPr>
          <p:cNvPr id="3" name="object 3"/>
          <p:cNvSpPr txBox="1"/>
          <p:nvPr/>
        </p:nvSpPr>
        <p:spPr>
          <a:xfrm>
            <a:off x="2941902" y="1434655"/>
            <a:ext cx="4568155" cy="1797383"/>
          </a:xfrm>
          <a:prstGeom prst="rect">
            <a:avLst/>
          </a:prstGeom>
        </p:spPr>
        <p:txBody>
          <a:bodyPr vert="horz" wrap="square" lIns="0" tIns="10572" rIns="0" bIns="0" rtlCol="0">
            <a:spAutoFit/>
          </a:bodyPr>
          <a:lstStyle/>
          <a:p>
            <a:pPr marL="342178" marR="630386" indent="-331050">
              <a:spcBef>
                <a:spcPts val="83"/>
              </a:spcBef>
              <a:buClr>
                <a:srgbClr val="FFFFFF"/>
              </a:buClr>
              <a:buFont typeface="Arial"/>
              <a:buChar char="•"/>
              <a:tabLst>
                <a:tab pos="342178" algn="l"/>
                <a:tab pos="342734" algn="l"/>
                <a:tab pos="3535839" algn="l"/>
              </a:tabLst>
            </a:pPr>
            <a:r>
              <a:rPr lang="zh-CN" sz="1928" b="1" spc="-9" dirty="0">
                <a:solidFill>
                  <a:srgbClr val="FFFFFF"/>
                </a:solidFill>
                <a:latin typeface="+mn-lt"/>
                <a:ea typeface="楷体" panose="02010609060101010101" pitchFamily="49" charset="-122"/>
                <a:cs typeface="SimSun"/>
              </a:rPr>
              <a:t>建立两个数据丛的并发关系</a:t>
            </a:r>
            <a:r>
              <a:rPr lang="zh-CN" dirty="0">
                <a:latin typeface="+mn-lt"/>
                <a:ea typeface="楷体" panose="02010609060101010101" pitchFamily="49" charset="-122"/>
                <a:cs typeface="SimSun"/>
              </a:rPr>
              <a:t>   </a:t>
            </a:r>
            <a:r>
              <a:rPr lang="en-US" dirty="0">
                <a:latin typeface="+mn-lt"/>
                <a:ea typeface="楷体" panose="02010609060101010101" pitchFamily="49" charset="-122"/>
                <a:cs typeface="SimSun"/>
              </a:rPr>
              <a:t>	</a:t>
            </a:r>
            <a:endParaRPr lang="zh-CN" sz="1928" dirty="0">
              <a:latin typeface="+mn-lt"/>
              <a:ea typeface="楷体" panose="02010609060101010101" pitchFamily="49" charset="-122"/>
              <a:cs typeface="SimSun"/>
            </a:endParaRPr>
          </a:p>
          <a:p>
            <a:pPr>
              <a:spcBef>
                <a:spcPts val="44"/>
              </a:spcBef>
              <a:buClr>
                <a:srgbClr val="FFFFFF"/>
              </a:buClr>
              <a:buFont typeface="Arial"/>
              <a:buChar char="•"/>
            </a:pPr>
            <a:endParaRPr lang="zh-CN" sz="1971" dirty="0">
              <a:latin typeface="+mn-lt"/>
              <a:ea typeface="楷体" panose="02010609060101010101" pitchFamily="49" charset="-122"/>
              <a:cs typeface="SimSun"/>
            </a:endParaRPr>
          </a:p>
          <a:p>
            <a:pPr marL="342178" marR="4451" indent="-331050">
              <a:buFont typeface="Arial"/>
              <a:buChar char="•"/>
              <a:tabLst>
                <a:tab pos="342178" algn="l"/>
                <a:tab pos="342734" algn="l"/>
              </a:tabLst>
            </a:pPr>
            <a:r>
              <a:rPr lang="zh-CN" sz="1928" b="1" spc="-4" dirty="0">
                <a:solidFill>
                  <a:srgbClr val="FFFFFF"/>
                </a:solidFill>
                <a:latin typeface="+mn-lt"/>
                <a:ea typeface="楷体" panose="02010609060101010101" pitchFamily="49" charset="-122"/>
                <a:cs typeface="SimSun"/>
              </a:rPr>
              <a:t>“关联规则”是将数据丛X的发生与不同的数据丛Y相关联。换言之，关联规则可写作(X→Y)</a:t>
            </a:r>
            <a:r>
              <a:rPr lang="zh-CN" altLang="en-US" sz="1928" b="1" spc="-4" dirty="0">
                <a:solidFill>
                  <a:srgbClr val="FFFFFF"/>
                </a:solidFill>
                <a:latin typeface="+mn-lt"/>
                <a:ea typeface="楷体" panose="02010609060101010101" pitchFamily="49" charset="-122"/>
                <a:cs typeface="SimSun"/>
              </a:rPr>
              <a:t>，</a:t>
            </a:r>
            <a:r>
              <a:rPr lang="zh-CN" sz="1928" b="1" spc="-4" dirty="0">
                <a:solidFill>
                  <a:srgbClr val="FFFFFF"/>
                </a:solidFill>
                <a:latin typeface="+mn-lt"/>
                <a:ea typeface="楷体" panose="02010609060101010101" pitchFamily="49" charset="-122"/>
                <a:cs typeface="SimSun"/>
              </a:rPr>
              <a:t>其关联丛为</a:t>
            </a:r>
            <a:r>
              <a:rPr lang="zh-CN" sz="1928" b="1" spc="-79" dirty="0">
                <a:solidFill>
                  <a:srgbClr val="FFFFFF"/>
                </a:solidFill>
                <a:latin typeface="+mn-lt"/>
                <a:ea typeface="楷体" panose="02010609060101010101" pitchFamily="49" charset="-122"/>
                <a:cs typeface="SimSun"/>
              </a:rPr>
              <a:t>XY。</a:t>
            </a:r>
            <a:r>
              <a:rPr lang="zh-CN" sz="1928" b="1" spc="-9" dirty="0">
                <a:solidFill>
                  <a:srgbClr val="FFFFFF"/>
                </a:solidFill>
                <a:latin typeface="+mn-lt"/>
                <a:ea typeface="楷体" panose="02010609060101010101" pitchFamily="49" charset="-122"/>
                <a:cs typeface="SimSun"/>
              </a:rPr>
              <a:t>数据丛X与Y之间没有共同产物</a:t>
            </a:r>
            <a:r>
              <a:rPr lang="zh-CN" sz="1928" b="1" spc="-4" dirty="0">
                <a:solidFill>
                  <a:srgbClr val="FFFFFF"/>
                </a:solidFill>
                <a:latin typeface="+mn-lt"/>
                <a:ea typeface="楷体" panose="02010609060101010101" pitchFamily="49" charset="-122"/>
                <a:cs typeface="SimSun"/>
              </a:rPr>
              <a:t>Y (X </a:t>
            </a:r>
            <a:r>
              <a:rPr lang="zh-CN" sz="1928" b="1" spc="-9" dirty="0">
                <a:solidFill>
                  <a:srgbClr val="FFFFFF"/>
                </a:solidFill>
                <a:latin typeface="+mn-lt"/>
                <a:ea typeface="楷体" panose="02010609060101010101" pitchFamily="49" charset="-122"/>
                <a:cs typeface="SimSun"/>
              </a:rPr>
              <a:t>和</a:t>
            </a:r>
            <a:r>
              <a:rPr lang="zh-CN" sz="1928" b="1" spc="-4" dirty="0">
                <a:solidFill>
                  <a:srgbClr val="FFFFFF"/>
                </a:solidFill>
                <a:latin typeface="+mn-lt"/>
                <a:ea typeface="楷体" panose="02010609060101010101" pitchFamily="49" charset="-122"/>
                <a:cs typeface="SimSun"/>
              </a:rPr>
              <a:t>Y =</a:t>
            </a:r>
            <a:r>
              <a:rPr lang="zh-CN" dirty="0">
                <a:latin typeface="+mn-lt"/>
                <a:ea typeface="楷体" panose="02010609060101010101" pitchFamily="49" charset="-122"/>
                <a:cs typeface="SimSun"/>
              </a:rPr>
              <a:t> </a:t>
            </a:r>
            <a:r>
              <a:rPr lang="zh-CN" sz="1928" b="1" dirty="0">
                <a:solidFill>
                  <a:srgbClr val="FFFFFF"/>
                </a:solidFill>
                <a:latin typeface="+mn-lt"/>
                <a:ea typeface="楷体" panose="02010609060101010101" pitchFamily="49" charset="-122"/>
                <a:cs typeface="SimSun"/>
              </a:rPr>
              <a:t>Ø)</a:t>
            </a:r>
            <a:endParaRPr lang="zh-CN" sz="1928" dirty="0">
              <a:latin typeface="+mn-lt"/>
              <a:ea typeface="楷体" panose="02010609060101010101" pitchFamily="49" charset="-122"/>
              <a:cs typeface="SimSun"/>
            </a:endParaRPr>
          </a:p>
        </p:txBody>
      </p:sp>
      <p:sp>
        <p:nvSpPr>
          <p:cNvPr id="4" name="object 4"/>
          <p:cNvSpPr txBox="1"/>
          <p:nvPr/>
        </p:nvSpPr>
        <p:spPr>
          <a:xfrm>
            <a:off x="2941902" y="4108729"/>
            <a:ext cx="3626702" cy="900727"/>
          </a:xfrm>
          <a:prstGeom prst="rect">
            <a:avLst/>
          </a:prstGeom>
        </p:spPr>
        <p:txBody>
          <a:bodyPr vert="horz" wrap="square" lIns="0" tIns="10572" rIns="0" bIns="0" rtlCol="0">
            <a:spAutoFit/>
          </a:bodyPr>
          <a:lstStyle/>
          <a:p>
            <a:pPr marL="342178" indent="-331050">
              <a:spcBef>
                <a:spcPts val="83"/>
              </a:spcBef>
              <a:buFont typeface="Arial"/>
              <a:buChar char="•"/>
              <a:tabLst>
                <a:tab pos="342178" algn="l"/>
                <a:tab pos="342734" algn="l"/>
              </a:tabLst>
            </a:pPr>
            <a:r>
              <a:rPr lang="zh-CN" altLang="en-US" sz="1928" b="1" spc="-4" dirty="0">
                <a:solidFill>
                  <a:srgbClr val="FFFF00"/>
                </a:solidFill>
                <a:latin typeface="+mn-lt"/>
                <a:ea typeface="楷体" panose="02010609060101010101" pitchFamily="49" charset="-122"/>
                <a:cs typeface="SimSun"/>
              </a:rPr>
              <a:t>支持规则</a:t>
            </a:r>
            <a:r>
              <a:rPr lang="zh-CN" sz="1928" b="1" spc="-4" dirty="0">
                <a:solidFill>
                  <a:srgbClr val="FFFFFF"/>
                </a:solidFill>
                <a:latin typeface="+mn-lt"/>
                <a:ea typeface="楷体" panose="02010609060101010101" pitchFamily="49" charset="-122"/>
                <a:cs typeface="SimSun"/>
              </a:rPr>
              <a:t>X→Y</a:t>
            </a:r>
            <a:r>
              <a:rPr lang="zh-CN" dirty="0">
                <a:latin typeface="+mn-lt"/>
                <a:ea typeface="楷体" panose="02010609060101010101" pitchFamily="49" charset="-122"/>
                <a:cs typeface="SimSun"/>
              </a:rPr>
              <a:t> </a:t>
            </a:r>
            <a:r>
              <a:rPr lang="zh-CN" altLang="en-US" sz="1928" b="1" spc="-4" dirty="0">
                <a:solidFill>
                  <a:srgbClr val="FFFFFF"/>
                </a:solidFill>
                <a:latin typeface="+mn-lt"/>
                <a:ea typeface="楷体" panose="02010609060101010101" pitchFamily="49" charset="-122"/>
                <a:cs typeface="SimSun"/>
              </a:rPr>
              <a:t>为</a:t>
            </a:r>
            <a:endParaRPr lang="zh-CN" sz="1928" dirty="0">
              <a:latin typeface="+mn-lt"/>
              <a:ea typeface="楷体" panose="02010609060101010101" pitchFamily="49" charset="-122"/>
              <a:cs typeface="SimSun"/>
            </a:endParaRPr>
          </a:p>
          <a:p>
            <a:pPr marL="1611853"/>
            <a:r>
              <a:rPr lang="zh-CN" sz="1928" b="1" spc="-4" dirty="0">
                <a:solidFill>
                  <a:srgbClr val="FFFFFF"/>
                </a:solidFill>
                <a:latin typeface="+mn-lt"/>
                <a:ea typeface="楷体" panose="02010609060101010101" pitchFamily="49" charset="-122"/>
                <a:cs typeface="SimSun"/>
              </a:rPr>
              <a:t>sup(X→Y) =</a:t>
            </a:r>
            <a:r>
              <a:rPr lang="zh-CN" dirty="0">
                <a:latin typeface="+mn-lt"/>
                <a:ea typeface="楷体" panose="02010609060101010101" pitchFamily="49" charset="-122"/>
                <a:cs typeface="SimSun"/>
              </a:rPr>
              <a:t> </a:t>
            </a:r>
            <a:r>
              <a:rPr lang="zh-CN" sz="1928" b="1" spc="-4" dirty="0">
                <a:solidFill>
                  <a:srgbClr val="FFFFFF"/>
                </a:solidFill>
                <a:latin typeface="+mn-lt"/>
                <a:ea typeface="楷体" panose="02010609060101010101" pitchFamily="49" charset="-122"/>
                <a:cs typeface="SimSun"/>
              </a:rPr>
              <a:t>sup(XY)</a:t>
            </a:r>
            <a:endParaRPr lang="zh-CN" sz="1928" dirty="0">
              <a:latin typeface="+mn-lt"/>
              <a:ea typeface="楷体" panose="02010609060101010101" pitchFamily="49" charset="-122"/>
              <a:cs typeface="SimSun"/>
            </a:endParaRPr>
          </a:p>
        </p:txBody>
      </p:sp>
      <p:sp>
        <p:nvSpPr>
          <p:cNvPr id="5" name="object 5"/>
          <p:cNvSpPr txBox="1"/>
          <p:nvPr/>
        </p:nvSpPr>
        <p:spPr>
          <a:xfrm>
            <a:off x="2941902" y="4990087"/>
            <a:ext cx="4704476" cy="900727"/>
          </a:xfrm>
          <a:prstGeom prst="rect">
            <a:avLst/>
          </a:prstGeom>
        </p:spPr>
        <p:txBody>
          <a:bodyPr vert="horz" wrap="square" lIns="0" tIns="10572" rIns="0" bIns="0" rtlCol="0">
            <a:spAutoFit/>
          </a:bodyPr>
          <a:lstStyle/>
          <a:p>
            <a:pPr marL="342178" indent="-331050">
              <a:spcBef>
                <a:spcPts val="83"/>
              </a:spcBef>
              <a:buFont typeface="Arial"/>
              <a:buChar char="•"/>
              <a:tabLst>
                <a:tab pos="342178" algn="l"/>
                <a:tab pos="342734" algn="l"/>
              </a:tabLst>
            </a:pPr>
            <a:r>
              <a:rPr lang="zh-CN" sz="1928" b="1" spc="-18" dirty="0">
                <a:solidFill>
                  <a:srgbClr val="FFFF00"/>
                </a:solidFill>
                <a:latin typeface="+mn-lt"/>
                <a:ea typeface="楷体" panose="02010609060101010101" pitchFamily="49" charset="-122"/>
                <a:cs typeface="SimSun"/>
              </a:rPr>
              <a:t>相对</a:t>
            </a:r>
            <a:r>
              <a:rPr lang="zh-CN" altLang="en-US" sz="1928" b="1" spc="-18" dirty="0">
                <a:solidFill>
                  <a:srgbClr val="FFFF00"/>
                </a:solidFill>
                <a:latin typeface="+mn-lt"/>
                <a:ea typeface="楷体" panose="02010609060101010101" pitchFamily="49" charset="-122"/>
                <a:cs typeface="SimSun"/>
              </a:rPr>
              <a:t>支持规则 </a:t>
            </a:r>
            <a:r>
              <a:rPr lang="zh-CN" sz="1928" b="1" spc="-4" dirty="0">
                <a:solidFill>
                  <a:srgbClr val="FFFFFF"/>
                </a:solidFill>
                <a:latin typeface="+mn-lt"/>
                <a:ea typeface="楷体" panose="02010609060101010101" pitchFamily="49" charset="-122"/>
                <a:cs typeface="SimSun"/>
              </a:rPr>
              <a:t>X→Y</a:t>
            </a:r>
            <a:endParaRPr lang="zh-CN" sz="1928" dirty="0">
              <a:latin typeface="+mn-lt"/>
              <a:ea typeface="楷体" panose="02010609060101010101" pitchFamily="49" charset="-122"/>
              <a:cs typeface="SimSun"/>
            </a:endParaRPr>
          </a:p>
          <a:p>
            <a:pPr marL="92360"/>
            <a:r>
              <a:rPr lang="zh-CN" sz="1928" b="1" spc="-9" dirty="0">
                <a:solidFill>
                  <a:srgbClr val="FFFFFF"/>
                </a:solidFill>
                <a:latin typeface="+mn-lt"/>
                <a:ea typeface="楷体" panose="02010609060101010101" pitchFamily="49" charset="-122"/>
                <a:cs typeface="SimSun"/>
              </a:rPr>
              <a:t>rsup(X→Y) </a:t>
            </a:r>
            <a:r>
              <a:rPr lang="zh-CN" sz="1928" b="1" spc="-4" dirty="0">
                <a:solidFill>
                  <a:srgbClr val="FFFFFF"/>
                </a:solidFill>
                <a:latin typeface="+mn-lt"/>
                <a:ea typeface="楷体" panose="02010609060101010101" pitchFamily="49" charset="-122"/>
                <a:cs typeface="SimSun"/>
              </a:rPr>
              <a:t>= sup(X→Y)/n = </a:t>
            </a:r>
            <a:r>
              <a:rPr lang="zh-CN" sz="1928" b="1" spc="-9" dirty="0">
                <a:solidFill>
                  <a:srgbClr val="FFFFFF"/>
                </a:solidFill>
                <a:latin typeface="+mn-lt"/>
                <a:ea typeface="楷体" panose="02010609060101010101" pitchFamily="49" charset="-122"/>
                <a:cs typeface="SimSun"/>
              </a:rPr>
              <a:t>p(X和</a:t>
            </a:r>
            <a:r>
              <a:rPr lang="zh-CN" sz="1928" b="1" spc="-4" dirty="0">
                <a:solidFill>
                  <a:srgbClr val="FFFFFF"/>
                </a:solidFill>
                <a:latin typeface="+mn-lt"/>
                <a:ea typeface="楷体" panose="02010609060101010101" pitchFamily="49" charset="-122"/>
                <a:cs typeface="SimSun"/>
              </a:rPr>
              <a:t>Y) =</a:t>
            </a:r>
            <a:r>
              <a:rPr lang="zh-CN" dirty="0">
                <a:latin typeface="+mn-lt"/>
                <a:ea typeface="楷体" panose="02010609060101010101" pitchFamily="49" charset="-122"/>
                <a:cs typeface="SimSun"/>
              </a:rPr>
              <a:t> </a:t>
            </a:r>
            <a:r>
              <a:rPr lang="zh-CN" sz="1928" b="1" spc="-4" dirty="0">
                <a:solidFill>
                  <a:srgbClr val="FFFFFF"/>
                </a:solidFill>
                <a:latin typeface="+mn-lt"/>
                <a:ea typeface="楷体" panose="02010609060101010101" pitchFamily="49" charset="-122"/>
                <a:cs typeface="SimSun"/>
              </a:rPr>
              <a:t>p(XY)</a:t>
            </a:r>
            <a:endParaRPr lang="zh-CN" sz="1928" dirty="0">
              <a:latin typeface="+mn-lt"/>
              <a:ea typeface="楷体" panose="02010609060101010101" pitchFamily="49" charset="-122"/>
              <a:cs typeface="SimSun"/>
            </a:endParaRPr>
          </a:p>
        </p:txBody>
      </p:sp>
      <p:sp>
        <p:nvSpPr>
          <p:cNvPr id="11" name="object 11"/>
          <p:cNvSpPr txBox="1"/>
          <p:nvPr/>
        </p:nvSpPr>
        <p:spPr>
          <a:xfrm>
            <a:off x="684198" y="4242206"/>
            <a:ext cx="1468932" cy="239878"/>
          </a:xfrm>
          <a:prstGeom prst="rect">
            <a:avLst/>
          </a:prstGeom>
          <a:solidFill>
            <a:schemeClr val="tx2"/>
          </a:solidFill>
        </p:spPr>
        <p:txBody>
          <a:bodyPr vert="horz" wrap="square" lIns="0" tIns="37279" rIns="0" bIns="0" rtlCol="0">
            <a:spAutoFit/>
          </a:bodyPr>
          <a:lstStyle/>
          <a:p>
            <a:pPr marL="86240">
              <a:spcBef>
                <a:spcPts val="293"/>
              </a:spcBef>
            </a:pPr>
            <a:r>
              <a:rPr lang="zh-CN" sz="1314" b="1" spc="9" dirty="0">
                <a:solidFill>
                  <a:srgbClr val="FFFFFF"/>
                </a:solidFill>
                <a:latin typeface="+mn-lt"/>
                <a:ea typeface="楷体" panose="02010609060101010101" pitchFamily="49" charset="-122"/>
                <a:cs typeface="SimSun"/>
              </a:rPr>
              <a:t>X-action数据库</a:t>
            </a:r>
            <a:endParaRPr lang="zh-CN" sz="1314" dirty="0">
              <a:latin typeface="+mn-lt"/>
              <a:ea typeface="楷体" panose="02010609060101010101" pitchFamily="49" charset="-122"/>
              <a:cs typeface="SimSun"/>
            </a:endParaRPr>
          </a:p>
        </p:txBody>
      </p:sp>
      <p:sp>
        <p:nvSpPr>
          <p:cNvPr id="12" name="object 12"/>
          <p:cNvSpPr/>
          <p:nvPr/>
        </p:nvSpPr>
        <p:spPr>
          <a:xfrm>
            <a:off x="688238" y="1600701"/>
            <a:ext cx="1525029" cy="2463821"/>
          </a:xfrm>
          <a:prstGeom prst="rect">
            <a:avLst/>
          </a:prstGeom>
          <a:blipFill>
            <a:blip r:embed="rId2" cstate="print"/>
            <a:stretch>
              <a:fillRect/>
            </a:stretch>
          </a:blipFill>
        </p:spPr>
        <p:txBody>
          <a:bodyPr wrap="square" lIns="0" tIns="0" rIns="0" bIns="0" rtlCol="0"/>
          <a:lstStyle/>
          <a:p>
            <a:endParaRPr sz="1402">
              <a:latin typeface="+mn-lt"/>
              <a:ea typeface="楷体" panose="02010609060101010101" pitchFamily="49" charset="-122"/>
            </a:endParaRPr>
          </a:p>
        </p:txBody>
      </p:sp>
      <p:sp>
        <p:nvSpPr>
          <p:cNvPr id="15" name="object 4">
            <a:extLst>
              <a:ext uri="{FF2B5EF4-FFF2-40B4-BE49-F238E27FC236}">
                <a16:creationId xmlns:a16="http://schemas.microsoft.com/office/drawing/2014/main" id="{E80B685D-CE66-4728-B1A8-1B8B1E897AFE}"/>
              </a:ext>
            </a:extLst>
          </p:cNvPr>
          <p:cNvSpPr txBox="1"/>
          <p:nvPr/>
        </p:nvSpPr>
        <p:spPr>
          <a:xfrm>
            <a:off x="7446117" y="6491529"/>
            <a:ext cx="1184915" cy="259038"/>
          </a:xfrm>
          <a:prstGeom prst="rect">
            <a:avLst/>
          </a:prstGeom>
        </p:spPr>
        <p:txBody>
          <a:bodyPr vert="horz" wrap="square" lIns="0" tIns="12693" rIns="0" bIns="0" rtlCol="0">
            <a:spAutoFit/>
          </a:bodyPr>
          <a:lstStyle/>
          <a:p>
            <a:pPr marL="12694">
              <a:spcBef>
                <a:spcPts val="100"/>
              </a:spcBef>
            </a:pPr>
            <a:r>
              <a:rPr lang="zh-CN" sz="800" dirty="0">
                <a:solidFill>
                  <a:srgbClr val="808080"/>
                </a:solidFill>
                <a:latin typeface="+mn-lt"/>
                <a:ea typeface="楷体" panose="02010609060101010101" pitchFamily="49" charset="-122"/>
                <a:cs typeface="SimSun"/>
              </a:rPr>
              <a:t>McKinsey &amp; Company</a:t>
            </a:r>
            <a:r>
              <a:rPr lang="zh-CN" dirty="0">
                <a:latin typeface="+mn-lt"/>
                <a:ea typeface="楷体" panose="02010609060101010101" pitchFamily="49" charset="-122"/>
                <a:cs typeface="SimSun"/>
              </a:rPr>
              <a:t> </a:t>
            </a:r>
            <a:r>
              <a:rPr lang="zh-CN" sz="800" dirty="0">
                <a:solidFill>
                  <a:srgbClr val="808080"/>
                </a:solidFill>
                <a:latin typeface="+mn-lt"/>
                <a:ea typeface="楷体" panose="02010609060101010101" pitchFamily="49" charset="-122"/>
                <a:cs typeface="SimSun"/>
              </a:rPr>
              <a:t>5</a:t>
            </a:r>
            <a:endParaRPr lang="zh-CN" sz="800">
              <a:latin typeface="+mn-lt"/>
              <a:ea typeface="楷体" panose="02010609060101010101" pitchFamily="49" charset="-122"/>
              <a:cs typeface="SimSun"/>
            </a:endParaRPr>
          </a:p>
        </p:txBody>
      </p:sp>
      <p:sp>
        <p:nvSpPr>
          <p:cNvPr id="16" name="object 8">
            <a:extLst>
              <a:ext uri="{FF2B5EF4-FFF2-40B4-BE49-F238E27FC236}">
                <a16:creationId xmlns:a16="http://schemas.microsoft.com/office/drawing/2014/main" id="{1CAC9FFE-0E78-4CAA-B07A-2126F0D416CD}"/>
              </a:ext>
            </a:extLst>
          </p:cNvPr>
          <p:cNvSpPr txBox="1"/>
          <p:nvPr/>
        </p:nvSpPr>
        <p:spPr>
          <a:xfrm>
            <a:off x="106420" y="6491464"/>
            <a:ext cx="2508961" cy="135928"/>
          </a:xfrm>
          <a:prstGeom prst="rect">
            <a:avLst/>
          </a:prstGeom>
        </p:spPr>
        <p:txBody>
          <a:bodyPr vert="horz" wrap="square" lIns="0" tIns="12693" rIns="0" bIns="0" rtlCol="0">
            <a:spAutoFit/>
          </a:bodyPr>
          <a:lstStyle/>
          <a:p>
            <a:pPr marL="12694">
              <a:spcBef>
                <a:spcPts val="100"/>
              </a:spcBef>
            </a:pPr>
            <a:r>
              <a:rPr lang="zh-CN" sz="800" spc="-5" dirty="0">
                <a:solidFill>
                  <a:srgbClr val="808080"/>
                </a:solidFill>
                <a:latin typeface="+mn-lt"/>
                <a:ea typeface="楷体" panose="02010609060101010101" pitchFamily="49" charset="-122"/>
                <a:cs typeface="SimSun"/>
              </a:rPr>
              <a:t>资料来源：芝加哥大学数据挖掘课程</a:t>
            </a:r>
            <a:endParaRPr lang="zh-CN" sz="800" dirty="0">
              <a:latin typeface="+mn-lt"/>
              <a:ea typeface="楷体" panose="02010609060101010101" pitchFamily="49" charset="-122"/>
              <a:cs typeface="SimSun"/>
            </a:endParaRPr>
          </a:p>
        </p:txBody>
      </p:sp>
      <p:sp>
        <p:nvSpPr>
          <p:cNvPr id="17" name="Title 7">
            <a:extLst>
              <a:ext uri="{FF2B5EF4-FFF2-40B4-BE49-F238E27FC236}">
                <a16:creationId xmlns:a16="http://schemas.microsoft.com/office/drawing/2014/main" id="{C7886DA5-250F-4577-89F9-603EFA7685C1}"/>
              </a:ext>
            </a:extLst>
          </p:cNvPr>
          <p:cNvSpPr txBox="1">
            <a:spLocks/>
          </p:cNvSpPr>
          <p:nvPr/>
        </p:nvSpPr>
        <p:spPr bwMode="gray">
          <a:xfrm>
            <a:off x="119063" y="21955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99" b="0" i="0" baseline="0">
                <a:solidFill>
                  <a:schemeClr val="bg1"/>
                </a:solidFill>
                <a:latin typeface="Arial"/>
                <a:ea typeface="+mj-ea"/>
                <a:cs typeface="Arial"/>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zh-CN" sz="2000" spc="13" dirty="0">
                <a:solidFill>
                  <a:schemeClr val="tx2"/>
                </a:solidFill>
                <a:latin typeface="+mn-lt"/>
                <a:ea typeface="楷体" panose="02010609060101010101" pitchFamily="49" charset="-122"/>
                <a:cs typeface="SimSun"/>
              </a:rPr>
              <a:t>什么是关联规则？</a:t>
            </a:r>
            <a:endParaRPr lang="zh-CN" kern="0" dirty="0">
              <a:solidFill>
                <a:schemeClr val="tx2"/>
              </a:solidFill>
              <a:latin typeface="+mn-lt"/>
              <a:ea typeface="楷体" panose="02010609060101010101" pitchFamily="49" charset="-122"/>
            </a:endParaRPr>
          </a:p>
        </p:txBody>
      </p:sp>
      <p:sp>
        <p:nvSpPr>
          <p:cNvPr id="19" name="Title 18">
            <a:extLst>
              <a:ext uri="{FF2B5EF4-FFF2-40B4-BE49-F238E27FC236}">
                <a16:creationId xmlns:a16="http://schemas.microsoft.com/office/drawing/2014/main" id="{BD425F38-8505-4E74-B330-75952A9B289B}"/>
              </a:ext>
            </a:extLst>
          </p:cNvPr>
          <p:cNvSpPr>
            <a:spLocks noGrp="1"/>
          </p:cNvSpPr>
          <p:nvPr>
            <p:ph type="title"/>
          </p:nvPr>
        </p:nvSpPr>
        <p:spPr/>
        <p:txBody>
          <a:bodyPr/>
          <a:lstStyle/>
          <a:p>
            <a:endParaRPr lang="en-US" dirty="0">
              <a:latin typeface="+mn-lt"/>
              <a:ea typeface="楷体" panose="02010609060101010101" pitchFamily="49" charset="-122"/>
            </a:endParaRPr>
          </a:p>
        </p:txBody>
      </p:sp>
    </p:spTree>
    <p:extLst>
      <p:ext uri="{BB962C8B-B14F-4D97-AF65-F5344CB8AC3E}">
        <p14:creationId xmlns:p14="http://schemas.microsoft.com/office/powerpoint/2010/main" val="41312587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930867"/>
            <a:ext cx="8956360" cy="1448554"/>
          </a:xfrm>
          <a:prstGeom prst="rect">
            <a:avLst/>
          </a:prstGeom>
          <a:blipFill>
            <a:blip r:embed="rId2"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3" name="object 3"/>
          <p:cNvSpPr/>
          <p:nvPr/>
        </p:nvSpPr>
        <p:spPr>
          <a:xfrm>
            <a:off x="1" y="923251"/>
            <a:ext cx="8956995" cy="15232"/>
          </a:xfrm>
          <a:custGeom>
            <a:avLst/>
            <a:gdLst/>
            <a:ahLst/>
            <a:cxnLst/>
            <a:rect l="l" t="t" r="r" b="b"/>
            <a:pathLst>
              <a:path w="8961755" h="15240">
                <a:moveTo>
                  <a:pt x="0" y="15240"/>
                </a:moveTo>
                <a:lnTo>
                  <a:pt x="8961501" y="15240"/>
                </a:lnTo>
                <a:lnTo>
                  <a:pt x="8961501" y="0"/>
                </a:lnTo>
                <a:lnTo>
                  <a:pt x="0" y="0"/>
                </a:lnTo>
                <a:lnTo>
                  <a:pt x="0" y="15240"/>
                </a:lnTo>
                <a:close/>
              </a:path>
            </a:pathLst>
          </a:custGeom>
          <a:solidFill>
            <a:srgbClr val="0064BC"/>
          </a:solidFill>
        </p:spPr>
        <p:txBody>
          <a:bodyPr wrap="square" lIns="0" tIns="0" rIns="0" bIns="0" rtlCol="0"/>
          <a:lstStyle/>
          <a:p>
            <a:endParaRPr sz="1599">
              <a:latin typeface="+mn-lt"/>
              <a:ea typeface="楷体" panose="02010609060101010101" pitchFamily="49" charset="-122"/>
            </a:endParaRPr>
          </a:p>
        </p:txBody>
      </p:sp>
      <p:sp>
        <p:nvSpPr>
          <p:cNvPr id="4" name="object 4"/>
          <p:cNvSpPr txBox="1"/>
          <p:nvPr/>
        </p:nvSpPr>
        <p:spPr>
          <a:xfrm>
            <a:off x="7446117" y="6491529"/>
            <a:ext cx="1184915" cy="259038"/>
          </a:xfrm>
          <a:prstGeom prst="rect">
            <a:avLst/>
          </a:prstGeom>
        </p:spPr>
        <p:txBody>
          <a:bodyPr vert="horz" wrap="square" lIns="0" tIns="12693" rIns="0" bIns="0" rtlCol="0">
            <a:spAutoFit/>
          </a:bodyPr>
          <a:lstStyle/>
          <a:p>
            <a:pPr marL="12694">
              <a:spcBef>
                <a:spcPts val="100"/>
              </a:spcBef>
            </a:pPr>
            <a:r>
              <a:rPr lang="zh-CN" sz="800" dirty="0">
                <a:solidFill>
                  <a:srgbClr val="808080"/>
                </a:solidFill>
                <a:latin typeface="+mn-lt"/>
                <a:ea typeface="楷体" panose="02010609060101010101" pitchFamily="49" charset="-122"/>
                <a:cs typeface="SimSun"/>
              </a:rPr>
              <a:t>McKinsey &amp; Company</a:t>
            </a:r>
            <a:r>
              <a:rPr lang="zh-CN" dirty="0">
                <a:latin typeface="+mn-lt"/>
                <a:ea typeface="楷体" panose="02010609060101010101" pitchFamily="49" charset="-122"/>
                <a:cs typeface="SimSun"/>
              </a:rPr>
              <a:t> </a:t>
            </a:r>
            <a:r>
              <a:rPr lang="zh-CN" sz="800" dirty="0">
                <a:solidFill>
                  <a:srgbClr val="808080"/>
                </a:solidFill>
                <a:latin typeface="+mn-lt"/>
                <a:ea typeface="楷体" panose="02010609060101010101" pitchFamily="49" charset="-122"/>
                <a:cs typeface="SimSun"/>
              </a:rPr>
              <a:t>5</a:t>
            </a:r>
            <a:endParaRPr lang="zh-CN" sz="800">
              <a:latin typeface="+mn-lt"/>
              <a:ea typeface="楷体" panose="02010609060101010101" pitchFamily="49" charset="-122"/>
              <a:cs typeface="SimSun"/>
            </a:endParaRPr>
          </a:p>
        </p:txBody>
      </p:sp>
      <p:sp>
        <p:nvSpPr>
          <p:cNvPr id="7" name="object 7"/>
          <p:cNvSpPr txBox="1">
            <a:spLocks noGrp="1"/>
          </p:cNvSpPr>
          <p:nvPr>
            <p:ph type="title"/>
          </p:nvPr>
        </p:nvSpPr>
        <p:spPr>
          <a:xfrm>
            <a:off x="106420" y="210145"/>
            <a:ext cx="1043385" cy="330659"/>
          </a:xfrm>
          <a:prstGeom prst="rect">
            <a:avLst/>
          </a:prstGeom>
        </p:spPr>
        <p:txBody>
          <a:bodyPr vert="horz" wrap="square" lIns="0" tIns="12693" rIns="0" bIns="0" numCol="1" rtlCol="0" anchor="t" anchorCtr="0" compatLnSpc="1">
            <a:prstTxWarp prst="textNoShape">
              <a:avLst/>
            </a:prstTxWarp>
            <a:spAutoFit/>
          </a:bodyPr>
          <a:lstStyle/>
          <a:p>
            <a:pPr marL="12694">
              <a:spcBef>
                <a:spcPts val="100"/>
              </a:spcBef>
            </a:pPr>
            <a:r>
              <a:rPr lang="zh-CN" spc="-5" dirty="0">
                <a:latin typeface="+mn-lt"/>
                <a:ea typeface="楷体" panose="02010609060101010101" pitchFamily="49" charset="-122"/>
                <a:cs typeface="SimSun"/>
              </a:rPr>
              <a:t>K均值</a:t>
            </a:r>
          </a:p>
        </p:txBody>
      </p:sp>
      <p:sp>
        <p:nvSpPr>
          <p:cNvPr id="8" name="object 8"/>
          <p:cNvSpPr txBox="1"/>
          <p:nvPr/>
        </p:nvSpPr>
        <p:spPr>
          <a:xfrm>
            <a:off x="106420" y="6492137"/>
            <a:ext cx="2119773" cy="135928"/>
          </a:xfrm>
          <a:prstGeom prst="rect">
            <a:avLst/>
          </a:prstGeom>
        </p:spPr>
        <p:txBody>
          <a:bodyPr vert="horz" wrap="square" lIns="0" tIns="12693" rIns="0" bIns="0" rtlCol="0">
            <a:spAutoFit/>
          </a:bodyPr>
          <a:lstStyle/>
          <a:p>
            <a:pPr marL="12694">
              <a:spcBef>
                <a:spcPts val="100"/>
              </a:spcBef>
            </a:pPr>
            <a:r>
              <a:rPr lang="zh-CN" sz="800" spc="-5" dirty="0">
                <a:solidFill>
                  <a:srgbClr val="808080"/>
                </a:solidFill>
                <a:latin typeface="+mn-lt"/>
                <a:ea typeface="楷体" panose="02010609060101010101" pitchFamily="49" charset="-122"/>
                <a:cs typeface="SimSun"/>
              </a:rPr>
              <a:t>资料来源：</a:t>
            </a:r>
            <a:r>
              <a:rPr lang="zh-CN" sz="800" spc="-5" dirty="0">
                <a:solidFill>
                  <a:srgbClr val="808080"/>
                </a:solidFill>
                <a:latin typeface="+mn-lt"/>
                <a:ea typeface="楷体" panose="02010609060101010101" pitchFamily="49" charset="-122"/>
                <a:cs typeface="SimSun"/>
                <a:hlinkClick r:id="rId3"/>
              </a:rPr>
              <a:t>http://mcaps.intranet.mckinsey.com</a:t>
            </a:r>
            <a:endParaRPr lang="zh-CN" sz="800" dirty="0">
              <a:latin typeface="+mn-lt"/>
              <a:ea typeface="楷体" panose="02010609060101010101" pitchFamily="49" charset="-122"/>
              <a:cs typeface="SimSun"/>
            </a:endParaRPr>
          </a:p>
        </p:txBody>
      </p:sp>
      <p:sp>
        <p:nvSpPr>
          <p:cNvPr id="9" name="object 9"/>
          <p:cNvSpPr/>
          <p:nvPr/>
        </p:nvSpPr>
        <p:spPr>
          <a:xfrm>
            <a:off x="248279" y="2525648"/>
            <a:ext cx="8461323" cy="0"/>
          </a:xfrm>
          <a:custGeom>
            <a:avLst/>
            <a:gdLst/>
            <a:ahLst/>
            <a:cxnLst/>
            <a:rect l="l" t="t" r="r" b="b"/>
            <a:pathLst>
              <a:path w="8465820">
                <a:moveTo>
                  <a:pt x="0" y="0"/>
                </a:moveTo>
                <a:lnTo>
                  <a:pt x="8465820" y="0"/>
                </a:lnTo>
              </a:path>
            </a:pathLst>
          </a:custGeom>
          <a:ln w="6096">
            <a:solidFill>
              <a:srgbClr val="808080"/>
            </a:solidFill>
            <a:prstDash val="sysDot"/>
          </a:ln>
        </p:spPr>
        <p:txBody>
          <a:bodyPr wrap="square" lIns="0" tIns="0" rIns="0" bIns="0" rtlCol="0"/>
          <a:lstStyle/>
          <a:p>
            <a:endParaRPr sz="1599">
              <a:latin typeface="+mn-lt"/>
              <a:ea typeface="楷体" panose="02010609060101010101" pitchFamily="49" charset="-122"/>
            </a:endParaRPr>
          </a:p>
        </p:txBody>
      </p:sp>
      <p:sp>
        <p:nvSpPr>
          <p:cNvPr id="10" name="object 10"/>
          <p:cNvSpPr/>
          <p:nvPr/>
        </p:nvSpPr>
        <p:spPr>
          <a:xfrm>
            <a:off x="248279" y="4717519"/>
            <a:ext cx="8461323" cy="0"/>
          </a:xfrm>
          <a:custGeom>
            <a:avLst/>
            <a:gdLst/>
            <a:ahLst/>
            <a:cxnLst/>
            <a:rect l="l" t="t" r="r" b="b"/>
            <a:pathLst>
              <a:path w="8465820">
                <a:moveTo>
                  <a:pt x="0" y="0"/>
                </a:moveTo>
                <a:lnTo>
                  <a:pt x="8465820" y="0"/>
                </a:lnTo>
              </a:path>
            </a:pathLst>
          </a:custGeom>
          <a:ln w="6096">
            <a:solidFill>
              <a:srgbClr val="808080"/>
            </a:solidFill>
            <a:prstDash val="sysDot"/>
          </a:ln>
        </p:spPr>
        <p:txBody>
          <a:bodyPr wrap="square" lIns="0" tIns="0" rIns="0" bIns="0" rtlCol="0"/>
          <a:lstStyle/>
          <a:p>
            <a:endParaRPr sz="1599">
              <a:latin typeface="+mn-lt"/>
              <a:ea typeface="楷体" panose="02010609060101010101" pitchFamily="49" charset="-122"/>
            </a:endParaRPr>
          </a:p>
        </p:txBody>
      </p:sp>
      <p:sp>
        <p:nvSpPr>
          <p:cNvPr id="11" name="object 11"/>
          <p:cNvSpPr txBox="1"/>
          <p:nvPr/>
        </p:nvSpPr>
        <p:spPr>
          <a:xfrm>
            <a:off x="1616866" y="1212404"/>
            <a:ext cx="6962884" cy="1135412"/>
          </a:xfrm>
          <a:prstGeom prst="rect">
            <a:avLst/>
          </a:prstGeom>
        </p:spPr>
        <p:txBody>
          <a:bodyPr vert="horz" wrap="square" lIns="0" tIns="12059" rIns="0" bIns="0" rtlCol="0">
            <a:spAutoFit/>
          </a:bodyPr>
          <a:lstStyle/>
          <a:p>
            <a:pPr marL="12694">
              <a:spcBef>
                <a:spcPts val="95"/>
              </a:spcBef>
            </a:pPr>
            <a:r>
              <a:rPr lang="zh-CN" sz="1599" b="1" i="1" spc="-5" dirty="0">
                <a:solidFill>
                  <a:srgbClr val="F17E00"/>
                </a:solidFill>
                <a:latin typeface="+mn-lt"/>
                <a:ea typeface="楷体" panose="02010609060101010101" pitchFamily="49" charset="-122"/>
                <a:cs typeface="SimSun"/>
              </a:rPr>
              <a:t>是什么？</a:t>
            </a:r>
            <a:endParaRPr lang="zh-CN" sz="1599">
              <a:latin typeface="+mn-lt"/>
              <a:ea typeface="楷体" panose="02010609060101010101" pitchFamily="49" charset="-122"/>
              <a:cs typeface="SimSun"/>
            </a:endParaRPr>
          </a:p>
          <a:p>
            <a:pPr marL="205637" indent="-191674">
              <a:spcBef>
                <a:spcPts val="384"/>
              </a:spcBef>
              <a:buClr>
                <a:srgbClr val="00295F"/>
              </a:buClr>
              <a:buSzPct val="125000"/>
              <a:buChar char="▪"/>
              <a:tabLst>
                <a:tab pos="206272" algn="l"/>
              </a:tabLst>
            </a:pPr>
            <a:r>
              <a:rPr lang="zh-CN" sz="1599" spc="-5" dirty="0">
                <a:latin typeface="+mn-lt"/>
                <a:ea typeface="楷体" panose="02010609060101010101" pitchFamily="49" charset="-122"/>
                <a:cs typeface="SimSun"/>
              </a:rPr>
              <a:t>一种分组或聚类数据的方式，仅需要分组数量（K）</a:t>
            </a:r>
            <a:endParaRPr lang="zh-CN" sz="1599">
              <a:latin typeface="+mn-lt"/>
              <a:ea typeface="楷体" panose="02010609060101010101" pitchFamily="49" charset="-122"/>
              <a:cs typeface="SimSun"/>
            </a:endParaRPr>
          </a:p>
          <a:p>
            <a:pPr marL="205637"/>
            <a:r>
              <a:rPr lang="zh-CN" sz="1599" spc="-5" dirty="0">
                <a:latin typeface="+mn-lt"/>
                <a:ea typeface="楷体" panose="02010609060101010101" pitchFamily="49" charset="-122"/>
                <a:cs typeface="SimSun"/>
              </a:rPr>
              <a:t>和部分数据便可计算距离或相似性指标</a:t>
            </a:r>
            <a:r>
              <a:rPr lang="zh-CN" dirty="0">
                <a:latin typeface="+mn-lt"/>
                <a:ea typeface="楷体" panose="02010609060101010101" pitchFamily="49" charset="-122"/>
                <a:cs typeface="SimSun"/>
              </a:rPr>
              <a:t> </a:t>
            </a:r>
            <a:endParaRPr lang="zh-CN" sz="1599">
              <a:latin typeface="+mn-lt"/>
              <a:ea typeface="楷体" panose="02010609060101010101" pitchFamily="49" charset="-122"/>
              <a:cs typeface="SimSun"/>
            </a:endParaRPr>
          </a:p>
          <a:p>
            <a:pPr marL="205637" indent="-191674">
              <a:spcBef>
                <a:spcPts val="600"/>
              </a:spcBef>
              <a:buClr>
                <a:srgbClr val="00295F"/>
              </a:buClr>
              <a:buSzPct val="125000"/>
              <a:buChar char="▪"/>
              <a:tabLst>
                <a:tab pos="206272" algn="l"/>
              </a:tabLst>
            </a:pPr>
            <a:r>
              <a:rPr lang="zh-CN" sz="1599" spc="-5" dirty="0">
                <a:latin typeface="+mn-lt"/>
                <a:ea typeface="楷体" panose="02010609060101010101" pitchFamily="49" charset="-122"/>
                <a:cs typeface="SimSun"/>
              </a:rPr>
              <a:t>一个无需事前指定目标或结果的迭代过程</a:t>
            </a:r>
            <a:endParaRPr lang="zh-CN" sz="1599">
              <a:latin typeface="+mn-lt"/>
              <a:ea typeface="楷体" panose="02010609060101010101" pitchFamily="49" charset="-122"/>
              <a:cs typeface="SimSun"/>
            </a:endParaRPr>
          </a:p>
        </p:txBody>
      </p:sp>
      <p:sp>
        <p:nvSpPr>
          <p:cNvPr id="12" name="object 12"/>
          <p:cNvSpPr/>
          <p:nvPr/>
        </p:nvSpPr>
        <p:spPr>
          <a:xfrm>
            <a:off x="693051" y="1409149"/>
            <a:ext cx="394760" cy="761595"/>
          </a:xfrm>
          <a:custGeom>
            <a:avLst/>
            <a:gdLst/>
            <a:ahLst/>
            <a:cxnLst/>
            <a:rect l="l" t="t" r="r" b="b"/>
            <a:pathLst>
              <a:path w="394969" h="762000">
                <a:moveTo>
                  <a:pt x="0" y="762000"/>
                </a:moveTo>
                <a:lnTo>
                  <a:pt x="394716" y="762000"/>
                </a:lnTo>
                <a:lnTo>
                  <a:pt x="394716" y="0"/>
                </a:lnTo>
                <a:lnTo>
                  <a:pt x="0" y="0"/>
                </a:lnTo>
                <a:lnTo>
                  <a:pt x="0" y="762000"/>
                </a:lnTo>
                <a:close/>
              </a:path>
            </a:pathLst>
          </a:custGeom>
          <a:ln w="64008">
            <a:solidFill>
              <a:srgbClr val="FFFFFF"/>
            </a:solidFill>
            <a:prstDash val="lgDash"/>
          </a:ln>
        </p:spPr>
        <p:txBody>
          <a:bodyPr wrap="square" lIns="0" tIns="0" rIns="0" bIns="0" rtlCol="0"/>
          <a:lstStyle/>
          <a:p>
            <a:endParaRPr sz="1599">
              <a:latin typeface="+mn-lt"/>
              <a:ea typeface="楷体" panose="02010609060101010101" pitchFamily="49" charset="-122"/>
            </a:endParaRPr>
          </a:p>
        </p:txBody>
      </p:sp>
      <p:sp>
        <p:nvSpPr>
          <p:cNvPr id="13" name="object 13"/>
          <p:cNvSpPr txBox="1"/>
          <p:nvPr/>
        </p:nvSpPr>
        <p:spPr>
          <a:xfrm>
            <a:off x="1616866" y="2631205"/>
            <a:ext cx="7054910" cy="1201861"/>
          </a:xfrm>
          <a:prstGeom prst="rect">
            <a:avLst/>
          </a:prstGeom>
        </p:spPr>
        <p:txBody>
          <a:bodyPr vert="horz" wrap="square" lIns="0" tIns="12059" rIns="0" bIns="0" rtlCol="0">
            <a:spAutoFit/>
          </a:bodyPr>
          <a:lstStyle/>
          <a:p>
            <a:pPr marL="12694">
              <a:spcBef>
                <a:spcPts val="95"/>
              </a:spcBef>
            </a:pPr>
            <a:r>
              <a:rPr lang="zh-CN" sz="1599" b="1" i="1" spc="-5" dirty="0">
                <a:solidFill>
                  <a:srgbClr val="F17E00"/>
                </a:solidFill>
                <a:latin typeface="+mn-lt"/>
                <a:ea typeface="楷体" panose="02010609060101010101" pitchFamily="49" charset="-122"/>
                <a:cs typeface="SimSun"/>
              </a:rPr>
              <a:t>为什么使用？</a:t>
            </a:r>
            <a:endParaRPr lang="zh-CN" sz="1599" dirty="0">
              <a:latin typeface="+mn-lt"/>
              <a:ea typeface="楷体" panose="02010609060101010101" pitchFamily="49" charset="-122"/>
              <a:cs typeface="SimSun"/>
            </a:endParaRPr>
          </a:p>
          <a:p>
            <a:pPr marL="205637" marR="5077" indent="-191674">
              <a:spcBef>
                <a:spcPts val="390"/>
              </a:spcBef>
              <a:buClr>
                <a:srgbClr val="00295F"/>
              </a:buClr>
              <a:buSzPct val="125000"/>
              <a:buChar char="▪"/>
              <a:tabLst>
                <a:tab pos="206272" algn="l"/>
              </a:tabLst>
            </a:pPr>
            <a:r>
              <a:rPr lang="zh-CN" sz="1599" spc="-5" dirty="0">
                <a:latin typeface="+mn-lt"/>
                <a:ea typeface="楷体" panose="02010609060101010101" pitchFamily="49" charset="-122"/>
                <a:cs typeface="SimSun"/>
              </a:rPr>
              <a:t>识别相似分组有助于改善模型，或决定是否需要多个模型</a:t>
            </a:r>
            <a:endParaRPr lang="zh-CN" sz="1599" dirty="0">
              <a:latin typeface="+mn-lt"/>
              <a:ea typeface="楷体" panose="02010609060101010101" pitchFamily="49" charset="-122"/>
              <a:cs typeface="SimSun"/>
            </a:endParaRPr>
          </a:p>
          <a:p>
            <a:pPr marL="205637" indent="-191674">
              <a:spcBef>
                <a:spcPts val="600"/>
              </a:spcBef>
              <a:buClr>
                <a:srgbClr val="00295F"/>
              </a:buClr>
              <a:buSzPct val="125000"/>
              <a:buChar char="▪"/>
              <a:tabLst>
                <a:tab pos="206272" algn="l"/>
              </a:tabLst>
            </a:pPr>
            <a:r>
              <a:rPr lang="zh-CN" sz="1599" spc="-5" dirty="0">
                <a:latin typeface="+mn-lt"/>
                <a:ea typeface="楷体" panose="02010609060101010101" pitchFamily="49" charset="-122"/>
                <a:cs typeface="SimSun"/>
              </a:rPr>
              <a:t>唯一需要的假设是数据具有代表性，不需要数据背后的大量统计假设</a:t>
            </a:r>
            <a:endParaRPr lang="zh-CN" sz="1599" dirty="0">
              <a:latin typeface="+mn-lt"/>
              <a:ea typeface="楷体" panose="02010609060101010101" pitchFamily="49" charset="-122"/>
              <a:cs typeface="SimSun"/>
            </a:endParaRPr>
          </a:p>
          <a:p>
            <a:pPr marL="205637" indent="-191674">
              <a:spcBef>
                <a:spcPts val="600"/>
              </a:spcBef>
              <a:buClr>
                <a:srgbClr val="00295F"/>
              </a:buClr>
              <a:buSzPct val="125000"/>
              <a:buChar char="▪"/>
              <a:tabLst>
                <a:tab pos="206272" algn="l"/>
              </a:tabLst>
            </a:pPr>
            <a:r>
              <a:rPr lang="zh-CN" sz="1599" spc="-60" dirty="0">
                <a:latin typeface="+mn-lt"/>
                <a:ea typeface="楷体" panose="02010609060101010101" pitchFamily="49" charset="-122"/>
                <a:cs typeface="SimSun"/>
              </a:rPr>
              <a:t>只要有数值型数据，就能对任何给定实例进行分类</a:t>
            </a:r>
            <a:r>
              <a:rPr lang="zh-CN" dirty="0">
                <a:latin typeface="+mn-lt"/>
                <a:ea typeface="楷体" panose="02010609060101010101" pitchFamily="49" charset="-122"/>
                <a:cs typeface="SimSun"/>
              </a:rPr>
              <a:t> </a:t>
            </a:r>
            <a:endParaRPr lang="zh-CN" sz="1599" dirty="0">
              <a:latin typeface="+mn-lt"/>
              <a:ea typeface="楷体" panose="02010609060101010101" pitchFamily="49" charset="-122"/>
              <a:cs typeface="SimSun"/>
            </a:endParaRPr>
          </a:p>
        </p:txBody>
      </p:sp>
      <p:sp>
        <p:nvSpPr>
          <p:cNvPr id="14" name="object 14"/>
          <p:cNvSpPr/>
          <p:nvPr/>
        </p:nvSpPr>
        <p:spPr>
          <a:xfrm>
            <a:off x="271128" y="2997837"/>
            <a:ext cx="1238354" cy="1244447"/>
          </a:xfrm>
          <a:prstGeom prst="rect">
            <a:avLst/>
          </a:prstGeom>
          <a:blipFill>
            <a:blip r:embed="rId4"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15" name="object 15"/>
          <p:cNvSpPr txBox="1"/>
          <p:nvPr/>
        </p:nvSpPr>
        <p:spPr>
          <a:xfrm>
            <a:off x="613034" y="3007433"/>
            <a:ext cx="555330" cy="1168414"/>
          </a:xfrm>
          <a:prstGeom prst="rect">
            <a:avLst/>
          </a:prstGeom>
        </p:spPr>
        <p:txBody>
          <a:bodyPr vert="horz" wrap="square" lIns="0" tIns="12693" rIns="0" bIns="0" rtlCol="0">
            <a:spAutoFit/>
          </a:bodyPr>
          <a:lstStyle/>
          <a:p>
            <a:pPr marL="12694">
              <a:spcBef>
                <a:spcPts val="100"/>
              </a:spcBef>
            </a:pPr>
            <a:r>
              <a:rPr lang="zh-CN" sz="7496" dirty="0">
                <a:solidFill>
                  <a:srgbClr val="FFFFFF"/>
                </a:solidFill>
                <a:latin typeface="+mn-lt"/>
                <a:ea typeface="楷体" panose="02010609060101010101" pitchFamily="49" charset="-122"/>
                <a:cs typeface="SimSun"/>
              </a:rPr>
              <a:t>？</a:t>
            </a:r>
            <a:endParaRPr lang="zh-CN" sz="7496">
              <a:latin typeface="+mn-lt"/>
              <a:ea typeface="楷体" panose="02010609060101010101" pitchFamily="49" charset="-122"/>
              <a:cs typeface="SimSun"/>
            </a:endParaRPr>
          </a:p>
        </p:txBody>
      </p:sp>
      <p:sp>
        <p:nvSpPr>
          <p:cNvPr id="16" name="object 16"/>
          <p:cNvSpPr txBox="1"/>
          <p:nvPr/>
        </p:nvSpPr>
        <p:spPr>
          <a:xfrm>
            <a:off x="1616867" y="4904618"/>
            <a:ext cx="6068010" cy="1211571"/>
          </a:xfrm>
          <a:prstGeom prst="rect">
            <a:avLst/>
          </a:prstGeom>
        </p:spPr>
        <p:txBody>
          <a:bodyPr vert="horz" wrap="square" lIns="0" tIns="12059" rIns="0" bIns="0" rtlCol="0">
            <a:spAutoFit/>
          </a:bodyPr>
          <a:lstStyle/>
          <a:p>
            <a:pPr marL="12694">
              <a:spcBef>
                <a:spcPts val="95"/>
              </a:spcBef>
            </a:pPr>
            <a:r>
              <a:rPr lang="zh-CN" sz="1599" b="1" i="1" spc="-5" dirty="0">
                <a:solidFill>
                  <a:srgbClr val="F17E00"/>
                </a:solidFill>
                <a:latin typeface="+mn-lt"/>
                <a:ea typeface="楷体" panose="02010609060101010101" pitchFamily="49" charset="-122"/>
                <a:cs typeface="SimSun"/>
              </a:rPr>
              <a:t>什么情况下使用？</a:t>
            </a:r>
            <a:endParaRPr lang="zh-CN" sz="1599">
              <a:latin typeface="+mn-lt"/>
              <a:ea typeface="楷体" panose="02010609060101010101" pitchFamily="49" charset="-122"/>
              <a:cs typeface="SimSun"/>
            </a:endParaRPr>
          </a:p>
          <a:p>
            <a:pPr marL="205637" indent="-191674">
              <a:spcBef>
                <a:spcPts val="385"/>
              </a:spcBef>
              <a:buClr>
                <a:srgbClr val="00295F"/>
              </a:buClr>
              <a:buSzPct val="125000"/>
              <a:buChar char="▪"/>
              <a:tabLst>
                <a:tab pos="206272" algn="l"/>
              </a:tabLst>
            </a:pPr>
            <a:r>
              <a:rPr lang="zh-CN" sz="1599" spc="-5" dirty="0">
                <a:latin typeface="+mn-lt"/>
                <a:ea typeface="楷体" panose="02010609060101010101" pitchFamily="49" charset="-122"/>
                <a:cs typeface="SimSun"/>
              </a:rPr>
              <a:t>需要找出大型实例集内部的相似性</a:t>
            </a:r>
            <a:endParaRPr lang="zh-CN" sz="1599">
              <a:latin typeface="+mn-lt"/>
              <a:ea typeface="楷体" panose="02010609060101010101" pitchFamily="49" charset="-122"/>
              <a:cs typeface="SimSun"/>
            </a:endParaRPr>
          </a:p>
          <a:p>
            <a:pPr marL="205637" indent="-191674">
              <a:spcBef>
                <a:spcPts val="600"/>
              </a:spcBef>
              <a:buClr>
                <a:srgbClr val="00295F"/>
              </a:buClr>
              <a:buSzPct val="125000"/>
              <a:buChar char="▪"/>
              <a:tabLst>
                <a:tab pos="206272" algn="l"/>
              </a:tabLst>
            </a:pPr>
            <a:r>
              <a:rPr lang="zh-CN" sz="1599" spc="-5" dirty="0">
                <a:latin typeface="+mn-lt"/>
                <a:ea typeface="楷体" panose="02010609060101010101" pitchFamily="49" charset="-122"/>
                <a:cs typeface="SimSun"/>
              </a:rPr>
              <a:t>数据集不太大或者可取样</a:t>
            </a:r>
            <a:endParaRPr lang="zh-CN" sz="1599">
              <a:latin typeface="+mn-lt"/>
              <a:ea typeface="楷体" panose="02010609060101010101" pitchFamily="49" charset="-122"/>
              <a:cs typeface="SimSun"/>
            </a:endParaRPr>
          </a:p>
          <a:p>
            <a:pPr marL="205637" indent="-191674">
              <a:spcBef>
                <a:spcPts val="600"/>
              </a:spcBef>
              <a:buClr>
                <a:srgbClr val="00295F"/>
              </a:buClr>
              <a:buSzPct val="125000"/>
              <a:buChar char="▪"/>
              <a:tabLst>
                <a:tab pos="206272" algn="l"/>
              </a:tabLst>
            </a:pPr>
            <a:r>
              <a:rPr lang="zh-CN" sz="1599" spc="-5" dirty="0">
                <a:latin typeface="+mn-lt"/>
                <a:ea typeface="楷体" panose="02010609060101010101" pitchFamily="49" charset="-122"/>
                <a:cs typeface="SimSun"/>
              </a:rPr>
              <a:t>选择起点或随机种子后</a:t>
            </a:r>
            <a:r>
              <a:rPr lang="zh-CN" dirty="0">
                <a:latin typeface="+mn-lt"/>
                <a:ea typeface="楷体" panose="02010609060101010101" pitchFamily="49" charset="-122"/>
                <a:cs typeface="SimSun"/>
              </a:rPr>
              <a:t> </a:t>
            </a:r>
            <a:endParaRPr lang="zh-CN" sz="1599">
              <a:latin typeface="+mn-lt"/>
              <a:ea typeface="楷体" panose="02010609060101010101" pitchFamily="49" charset="-122"/>
              <a:cs typeface="SimSun"/>
            </a:endParaRPr>
          </a:p>
        </p:txBody>
      </p:sp>
      <p:sp>
        <p:nvSpPr>
          <p:cNvPr id="17" name="object 17"/>
          <p:cNvSpPr/>
          <p:nvPr/>
        </p:nvSpPr>
        <p:spPr>
          <a:xfrm>
            <a:off x="271128" y="4865268"/>
            <a:ext cx="1238354" cy="1242922"/>
          </a:xfrm>
          <a:prstGeom prst="rect">
            <a:avLst/>
          </a:prstGeom>
          <a:blipFill>
            <a:blip r:embed="rId5"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18" name="object 18"/>
          <p:cNvSpPr/>
          <p:nvPr/>
        </p:nvSpPr>
        <p:spPr>
          <a:xfrm>
            <a:off x="470667" y="5066330"/>
            <a:ext cx="839659" cy="839659"/>
          </a:xfrm>
          <a:custGeom>
            <a:avLst/>
            <a:gdLst/>
            <a:ahLst/>
            <a:cxnLst/>
            <a:rect l="l" t="t" r="r" b="b"/>
            <a:pathLst>
              <a:path w="840105" h="840104">
                <a:moveTo>
                  <a:pt x="0" y="419862"/>
                </a:moveTo>
                <a:lnTo>
                  <a:pt x="2824" y="370893"/>
                </a:lnTo>
                <a:lnTo>
                  <a:pt x="11088" y="323585"/>
                </a:lnTo>
                <a:lnTo>
                  <a:pt x="24476" y="278252"/>
                </a:lnTo>
                <a:lnTo>
                  <a:pt x="42674" y="235209"/>
                </a:lnTo>
                <a:lnTo>
                  <a:pt x="65366" y="194770"/>
                </a:lnTo>
                <a:lnTo>
                  <a:pt x="92237" y="157251"/>
                </a:lnTo>
                <a:lnTo>
                  <a:pt x="122972" y="122967"/>
                </a:lnTo>
                <a:lnTo>
                  <a:pt x="157257" y="92233"/>
                </a:lnTo>
                <a:lnTo>
                  <a:pt x="194776" y="65362"/>
                </a:lnTo>
                <a:lnTo>
                  <a:pt x="235214" y="42672"/>
                </a:lnTo>
                <a:lnTo>
                  <a:pt x="278257" y="24475"/>
                </a:lnTo>
                <a:lnTo>
                  <a:pt x="323589" y="11087"/>
                </a:lnTo>
                <a:lnTo>
                  <a:pt x="370896" y="2824"/>
                </a:lnTo>
                <a:lnTo>
                  <a:pt x="419862" y="0"/>
                </a:lnTo>
                <a:lnTo>
                  <a:pt x="468827" y="2824"/>
                </a:lnTo>
                <a:lnTo>
                  <a:pt x="516134" y="11087"/>
                </a:lnTo>
                <a:lnTo>
                  <a:pt x="561466" y="24475"/>
                </a:lnTo>
                <a:lnTo>
                  <a:pt x="604509" y="42672"/>
                </a:lnTo>
                <a:lnTo>
                  <a:pt x="644947" y="65362"/>
                </a:lnTo>
                <a:lnTo>
                  <a:pt x="682466" y="92233"/>
                </a:lnTo>
                <a:lnTo>
                  <a:pt x="716751" y="122967"/>
                </a:lnTo>
                <a:lnTo>
                  <a:pt x="747486" y="157251"/>
                </a:lnTo>
                <a:lnTo>
                  <a:pt x="774357" y="194770"/>
                </a:lnTo>
                <a:lnTo>
                  <a:pt x="797049" y="235209"/>
                </a:lnTo>
                <a:lnTo>
                  <a:pt x="815247" y="278252"/>
                </a:lnTo>
                <a:lnTo>
                  <a:pt x="828635" y="323585"/>
                </a:lnTo>
                <a:lnTo>
                  <a:pt x="836899" y="370893"/>
                </a:lnTo>
                <a:lnTo>
                  <a:pt x="839724" y="419862"/>
                </a:lnTo>
                <a:lnTo>
                  <a:pt x="836899" y="468825"/>
                </a:lnTo>
                <a:lnTo>
                  <a:pt x="828635" y="516130"/>
                </a:lnTo>
                <a:lnTo>
                  <a:pt x="815247" y="561461"/>
                </a:lnTo>
                <a:lnTo>
                  <a:pt x="797049" y="604503"/>
                </a:lnTo>
                <a:lnTo>
                  <a:pt x="774357" y="644942"/>
                </a:lnTo>
                <a:lnTo>
                  <a:pt x="747486" y="682461"/>
                </a:lnTo>
                <a:lnTo>
                  <a:pt x="716751" y="716746"/>
                </a:lnTo>
                <a:lnTo>
                  <a:pt x="682466" y="747482"/>
                </a:lnTo>
                <a:lnTo>
                  <a:pt x="644947" y="774354"/>
                </a:lnTo>
                <a:lnTo>
                  <a:pt x="604509" y="797047"/>
                </a:lnTo>
                <a:lnTo>
                  <a:pt x="561466" y="815245"/>
                </a:lnTo>
                <a:lnTo>
                  <a:pt x="516134" y="828634"/>
                </a:lnTo>
                <a:lnTo>
                  <a:pt x="468827" y="836899"/>
                </a:lnTo>
                <a:lnTo>
                  <a:pt x="419862" y="839724"/>
                </a:lnTo>
                <a:lnTo>
                  <a:pt x="370896" y="836899"/>
                </a:lnTo>
                <a:lnTo>
                  <a:pt x="323589" y="828634"/>
                </a:lnTo>
                <a:lnTo>
                  <a:pt x="278257" y="815245"/>
                </a:lnTo>
                <a:lnTo>
                  <a:pt x="235214" y="797047"/>
                </a:lnTo>
                <a:lnTo>
                  <a:pt x="194776" y="774354"/>
                </a:lnTo>
                <a:lnTo>
                  <a:pt x="157257" y="747482"/>
                </a:lnTo>
                <a:lnTo>
                  <a:pt x="122972" y="716746"/>
                </a:lnTo>
                <a:lnTo>
                  <a:pt x="92237" y="682461"/>
                </a:lnTo>
                <a:lnTo>
                  <a:pt x="65366" y="644942"/>
                </a:lnTo>
                <a:lnTo>
                  <a:pt x="42674" y="604503"/>
                </a:lnTo>
                <a:lnTo>
                  <a:pt x="24476" y="561461"/>
                </a:lnTo>
                <a:lnTo>
                  <a:pt x="11088" y="516130"/>
                </a:lnTo>
                <a:lnTo>
                  <a:pt x="2824" y="468825"/>
                </a:lnTo>
                <a:lnTo>
                  <a:pt x="0" y="419862"/>
                </a:lnTo>
                <a:close/>
              </a:path>
            </a:pathLst>
          </a:custGeom>
          <a:ln w="64008">
            <a:solidFill>
              <a:srgbClr val="FFFFFF"/>
            </a:solidFill>
          </a:ln>
        </p:spPr>
        <p:txBody>
          <a:bodyPr wrap="square" lIns="0" tIns="0" rIns="0" bIns="0" rtlCol="0"/>
          <a:lstStyle/>
          <a:p>
            <a:endParaRPr sz="1599">
              <a:latin typeface="+mn-lt"/>
              <a:ea typeface="楷体" panose="02010609060101010101" pitchFamily="49" charset="-122"/>
            </a:endParaRPr>
          </a:p>
        </p:txBody>
      </p:sp>
      <p:sp>
        <p:nvSpPr>
          <p:cNvPr id="19" name="object 19"/>
          <p:cNvSpPr/>
          <p:nvPr/>
        </p:nvSpPr>
        <p:spPr>
          <a:xfrm>
            <a:off x="888019" y="5354213"/>
            <a:ext cx="133279" cy="144703"/>
          </a:xfrm>
          <a:custGeom>
            <a:avLst/>
            <a:gdLst/>
            <a:ahLst/>
            <a:cxnLst/>
            <a:rect l="l" t="t" r="r" b="b"/>
            <a:pathLst>
              <a:path w="133350" h="144779">
                <a:moveTo>
                  <a:pt x="133350" y="0"/>
                </a:moveTo>
                <a:lnTo>
                  <a:pt x="0" y="144462"/>
                </a:lnTo>
              </a:path>
            </a:pathLst>
          </a:custGeom>
          <a:ln w="64008">
            <a:solidFill>
              <a:srgbClr val="FFFFFF"/>
            </a:solidFill>
          </a:ln>
        </p:spPr>
        <p:txBody>
          <a:bodyPr wrap="square" lIns="0" tIns="0" rIns="0" bIns="0" rtlCol="0"/>
          <a:lstStyle/>
          <a:p>
            <a:endParaRPr sz="1599">
              <a:latin typeface="+mn-lt"/>
              <a:ea typeface="楷体" panose="02010609060101010101" pitchFamily="49" charset="-122"/>
            </a:endParaRPr>
          </a:p>
        </p:txBody>
      </p:sp>
      <p:sp>
        <p:nvSpPr>
          <p:cNvPr id="20" name="object 20"/>
          <p:cNvSpPr/>
          <p:nvPr/>
        </p:nvSpPr>
        <p:spPr>
          <a:xfrm>
            <a:off x="778350" y="5166860"/>
            <a:ext cx="120586" cy="342718"/>
          </a:xfrm>
          <a:custGeom>
            <a:avLst/>
            <a:gdLst/>
            <a:ahLst/>
            <a:cxnLst/>
            <a:rect l="l" t="t" r="r" b="b"/>
            <a:pathLst>
              <a:path w="120650" h="342900">
                <a:moveTo>
                  <a:pt x="0" y="0"/>
                </a:moveTo>
                <a:lnTo>
                  <a:pt x="120649" y="342899"/>
                </a:lnTo>
              </a:path>
            </a:pathLst>
          </a:custGeom>
          <a:ln w="64008">
            <a:solidFill>
              <a:srgbClr val="FFFFFF"/>
            </a:solidFill>
          </a:ln>
        </p:spPr>
        <p:txBody>
          <a:bodyPr wrap="square" lIns="0" tIns="0" rIns="0" bIns="0" rtlCol="0"/>
          <a:lstStyle/>
          <a:p>
            <a:endParaRPr sz="1599">
              <a:latin typeface="+mn-lt"/>
              <a:ea typeface="楷体" panose="02010609060101010101" pitchFamily="49" charset="-122"/>
            </a:endParaRPr>
          </a:p>
        </p:txBody>
      </p:sp>
      <p:sp>
        <p:nvSpPr>
          <p:cNvPr id="21" name="Title 7">
            <a:extLst>
              <a:ext uri="{FF2B5EF4-FFF2-40B4-BE49-F238E27FC236}">
                <a16:creationId xmlns:a16="http://schemas.microsoft.com/office/drawing/2014/main" id="{130367DE-E2B8-4AC3-9A38-7B24700623F2}"/>
              </a:ext>
            </a:extLst>
          </p:cNvPr>
          <p:cNvSpPr txBox="1">
            <a:spLocks/>
          </p:cNvSpPr>
          <p:nvPr/>
        </p:nvSpPr>
        <p:spPr bwMode="gray">
          <a:xfrm>
            <a:off x="119063" y="21955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99" b="0" i="0" baseline="0">
                <a:solidFill>
                  <a:schemeClr val="bg1"/>
                </a:solidFill>
                <a:latin typeface="Arial"/>
                <a:ea typeface="+mj-ea"/>
                <a:cs typeface="Arial"/>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zh-CN" kern="0" dirty="0">
                <a:solidFill>
                  <a:schemeClr val="tx2"/>
                </a:solidFill>
                <a:latin typeface="+mn-lt"/>
                <a:ea typeface="楷体" panose="02010609060101010101" pitchFamily="49" charset="-122"/>
                <a:cs typeface="SimSun"/>
              </a:rPr>
              <a:t>K均值（基本聚类方法）</a:t>
            </a:r>
            <a:endParaRPr lang="zh-CN" kern="0" dirty="0">
              <a:solidFill>
                <a:schemeClr val="tx2"/>
              </a:solidFill>
              <a:latin typeface="+mn-lt"/>
              <a:ea typeface="楷体" panose="02010609060101010101" pitchFamily="49" charset="-122"/>
            </a:endParaRPr>
          </a:p>
        </p:txBody>
      </p:sp>
    </p:spTree>
    <p:extLst>
      <p:ext uri="{BB962C8B-B14F-4D97-AF65-F5344CB8AC3E}">
        <p14:creationId xmlns:p14="http://schemas.microsoft.com/office/powerpoint/2010/main" val="7237254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5. Source"/>
          <p:cNvSpPr>
            <a:spLocks noChangeArrowheads="1"/>
          </p:cNvSpPr>
          <p:nvPr/>
        </p:nvSpPr>
        <p:spPr bwMode="auto">
          <a:xfrm>
            <a:off x="119063" y="6434981"/>
            <a:ext cx="686276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zh-CN" altLang="zh-CN" sz="1000" dirty="0">
                <a:solidFill>
                  <a:srgbClr val="000000"/>
                </a:solidFill>
                <a:latin typeface="+mn-lt"/>
                <a:ea typeface="楷体" panose="02010609060101010101" pitchFamily="49" charset="-122"/>
                <a:cs typeface="SimSun"/>
              </a:rPr>
              <a:t>资料来源：Quora</a:t>
            </a:r>
          </a:p>
        </p:txBody>
      </p:sp>
      <p:sp>
        <p:nvSpPr>
          <p:cNvPr id="8" name="Title 7"/>
          <p:cNvSpPr>
            <a:spLocks noGrp="1"/>
          </p:cNvSpPr>
          <p:nvPr>
            <p:ph type="title"/>
          </p:nvPr>
        </p:nvSpPr>
        <p:spPr>
          <a:xfrm>
            <a:off x="119063" y="219555"/>
            <a:ext cx="8618537" cy="307777"/>
          </a:xfrm>
        </p:spPr>
        <p:txBody>
          <a:bodyPr/>
          <a:lstStyle/>
          <a:p>
            <a:r>
              <a:rPr lang="zh-CN" dirty="0">
                <a:latin typeface="+mn-lt"/>
                <a:ea typeface="楷体" panose="02010609060101010101" pitchFamily="49" charset="-122"/>
                <a:cs typeface="SimSun"/>
              </a:rPr>
              <a:t>贝叶斯学派对比频率学派</a:t>
            </a:r>
            <a:endParaRPr lang="zh-CN" dirty="0">
              <a:latin typeface="+mn-lt"/>
              <a:ea typeface="楷体" panose="02010609060101010101" pitchFamily="49" charset="-122"/>
            </a:endParaRPr>
          </a:p>
        </p:txBody>
      </p:sp>
      <p:sp>
        <p:nvSpPr>
          <p:cNvPr id="57" name="Rectangle 10"/>
          <p:cNvSpPr>
            <a:spLocks noChangeArrowheads="1"/>
          </p:cNvSpPr>
          <p:nvPr>
            <p:custDataLst>
              <p:tags r:id="rId1"/>
            </p:custDataLst>
          </p:nvPr>
        </p:nvSpPr>
        <p:spPr bwMode="gray">
          <a:xfrm>
            <a:off x="4560643" y="1289930"/>
            <a:ext cx="3835807" cy="4730750"/>
          </a:xfrm>
          <a:prstGeom prst="rect">
            <a:avLst/>
          </a:prstGeom>
          <a:solidFill>
            <a:schemeClr val="bg1"/>
          </a:solidFill>
          <a:ln w="19050">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a:latin typeface="+mn-lt"/>
              <a:ea typeface="楷体" panose="02010609060101010101" pitchFamily="49" charset="-122"/>
            </a:endParaRPr>
          </a:p>
        </p:txBody>
      </p:sp>
      <p:sp>
        <p:nvSpPr>
          <p:cNvPr id="59" name="Rectangle 12"/>
          <p:cNvSpPr>
            <a:spLocks noChangeArrowheads="1"/>
          </p:cNvSpPr>
          <p:nvPr>
            <p:custDataLst>
              <p:tags r:id="rId2"/>
            </p:custDataLst>
          </p:nvPr>
        </p:nvSpPr>
        <p:spPr bwMode="gray">
          <a:xfrm>
            <a:off x="4560643" y="1289930"/>
            <a:ext cx="3835807" cy="509341"/>
          </a:xfrm>
          <a:prstGeom prst="rect">
            <a:avLst/>
          </a:prstGeom>
          <a:solidFill>
            <a:schemeClr val="accent1"/>
          </a:solidFill>
          <a:ln w="19050" algn="ctr">
            <a:solidFill>
              <a:schemeClr val="accent1"/>
            </a:solidFill>
            <a:miter lim="800000"/>
            <a:headEnd/>
            <a:tailEnd/>
          </a:ln>
          <a:effectLst/>
        </p:spPr>
        <p:txBody>
          <a:bodyPr vert="horz" wrap="square" lIns="72009" tIns="72009" rIns="72009" bIns="72009" numCol="1" anchor="ctr" anchorCtr="0" compatLnSpc="1">
            <a:prstTxWarp prst="textNoShape">
              <a:avLst/>
            </a:prstTxWarp>
          </a:bodyPr>
          <a:lstStyle/>
          <a:p>
            <a:endParaRPr lang="en-US">
              <a:latin typeface="+mn-lt"/>
              <a:ea typeface="楷体" panose="02010609060101010101" pitchFamily="49" charset="-122"/>
            </a:endParaRPr>
          </a:p>
        </p:txBody>
      </p:sp>
      <p:sp>
        <p:nvSpPr>
          <p:cNvPr id="60" name="Rectangle 286"/>
          <p:cNvSpPr txBox="1">
            <a:spLocks noChangeArrowheads="1"/>
          </p:cNvSpPr>
          <p:nvPr>
            <p:custDataLst>
              <p:tags r:id="rId3"/>
            </p:custDataLst>
          </p:nvPr>
        </p:nvSpPr>
        <p:spPr bwMode="auto">
          <a:xfrm>
            <a:off x="4693359" y="1420899"/>
            <a:ext cx="3062287"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zh-CN" b="1" dirty="0">
                <a:ea typeface="楷体" panose="02010609060101010101" pitchFamily="49" charset="-122"/>
                <a:cs typeface="SimSun"/>
              </a:rPr>
              <a:t>频率学派</a:t>
            </a:r>
          </a:p>
        </p:txBody>
      </p:sp>
      <p:sp>
        <p:nvSpPr>
          <p:cNvPr id="72" name="Rectangle 28"/>
          <p:cNvSpPr txBox="1"/>
          <p:nvPr/>
        </p:nvSpPr>
        <p:spPr>
          <a:xfrm>
            <a:off x="4742821" y="1906299"/>
            <a:ext cx="3398452" cy="221599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lvl="0" defTabSz="895350">
              <a:buClr>
                <a:schemeClr val="tx2"/>
              </a:buClr>
              <a:defRPr>
                <a:latin typeface="+mn-lt"/>
                <a:ea typeface="+mn-ea"/>
              </a:defRPr>
            </a:lvl1pPr>
            <a:lvl2pPr marL="193675" lvl="1" indent="-192088" defTabSz="895350">
              <a:buClr>
                <a:schemeClr val="tx2"/>
              </a:buClr>
              <a:buSzPct val="125000"/>
              <a:buFont typeface="Arial" charset="0"/>
              <a:buChar char="▪"/>
              <a:defRPr>
                <a:latin typeface="+mn-lt"/>
                <a:ea typeface="楷体"/>
              </a:defRPr>
            </a:lvl2pPr>
            <a:lvl3pPr marL="457200" lvl="2" indent="-261938" defTabSz="895350">
              <a:buClr>
                <a:schemeClr val="tx2"/>
              </a:buClr>
              <a:buSzPct val="120000"/>
              <a:buFont typeface="Arial" charset="0"/>
              <a:buChar char="–"/>
              <a:defRPr>
                <a:latin typeface="+mn-lt"/>
                <a:ea typeface="楷体"/>
              </a:defRPr>
            </a:lvl3pPr>
            <a:lvl4pPr marL="614363" lvl="3" indent="-155575" defTabSz="895350">
              <a:buClr>
                <a:schemeClr val="tx2"/>
              </a:buClr>
              <a:buSzPct val="120000"/>
              <a:buFont typeface="Arial" charset="0"/>
              <a:buChar char="▫"/>
              <a:defRPr>
                <a:latin typeface="+mn-lt"/>
                <a:ea typeface="楷体"/>
              </a:defRPr>
            </a:lvl4pPr>
            <a:lvl5pPr marL="749300" lvl="4" indent="-130175" defTabSz="895350">
              <a:buClr>
                <a:schemeClr val="tx2"/>
              </a:buClr>
              <a:buSzPct val="89000"/>
              <a:buFont typeface="Arial" charset="0"/>
              <a:buChar char="-"/>
              <a:defRPr>
                <a:latin typeface="+mn-lt"/>
                <a:ea typeface="楷体"/>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zh-CN" altLang="zh-CN" sz="1200" dirty="0">
                <a:ea typeface="楷体" panose="02010609060101010101" pitchFamily="49" charset="-122"/>
                <a:cs typeface="SimSun"/>
              </a:rPr>
              <a:t>频率学派则不会允许自己做出</a:t>
            </a:r>
            <a:r>
              <a:rPr lang="zh-CN" altLang="en-US" sz="1200" dirty="0">
                <a:ea typeface="楷体" panose="02010609060101010101" pitchFamily="49" charset="-122"/>
                <a:cs typeface="SimSun"/>
              </a:rPr>
              <a:t>此番陈述</a:t>
            </a:r>
            <a:r>
              <a:rPr lang="zh-CN" altLang="zh-CN" sz="1200" dirty="0">
                <a:ea typeface="楷体" panose="02010609060101010101" pitchFamily="49" charset="-122"/>
                <a:cs typeface="SimSun"/>
              </a:rPr>
              <a:t>。频率学派认为h就是一个未知常数，位于范围[70, 74]之内或之外。 </a:t>
            </a:r>
          </a:p>
          <a:p>
            <a:pPr lvl="1"/>
            <a:endParaRPr lang="zh-CN" altLang="zh-CN" sz="1200" dirty="0">
              <a:ea typeface="楷体" panose="02010609060101010101" pitchFamily="49" charset="-122"/>
            </a:endParaRPr>
          </a:p>
          <a:p>
            <a:pPr lvl="1"/>
            <a:r>
              <a:rPr lang="zh-CN" altLang="zh-CN" sz="1200" dirty="0">
                <a:ea typeface="楷体" panose="02010609060101010101" pitchFamily="49" charset="-122"/>
                <a:cs typeface="SimSun"/>
              </a:rPr>
              <a:t>对于概率学派而言，</a:t>
            </a:r>
            <a:r>
              <a:rPr lang="zh-CN" altLang="en-US" sz="1200" dirty="0">
                <a:ea typeface="楷体" panose="02010609060101010101" pitchFamily="49" charset="-122"/>
                <a:cs typeface="SimSun"/>
              </a:rPr>
              <a:t>上述</a:t>
            </a:r>
            <a:r>
              <a:rPr lang="zh-CN" altLang="zh-CN" sz="1200" dirty="0">
                <a:ea typeface="楷体" panose="02010609060101010101" pitchFamily="49" charset="-122"/>
                <a:cs typeface="SimSun"/>
              </a:rPr>
              <a:t>关于概率的陈述毫无</a:t>
            </a:r>
            <a:r>
              <a:rPr lang="zh-CN" altLang="en-US" sz="1200" dirty="0">
                <a:ea typeface="楷体" panose="02010609060101010101" pitchFamily="49" charset="-122"/>
                <a:cs typeface="SimSun"/>
              </a:rPr>
              <a:t>意义</a:t>
            </a:r>
            <a:r>
              <a:rPr lang="zh-CN" altLang="zh-CN" sz="1200" dirty="0">
                <a:ea typeface="楷体" panose="02010609060101010101" pitchFamily="49" charset="-122"/>
                <a:cs typeface="SimSun"/>
              </a:rPr>
              <a:t>。概率学派只会提出关于取样的概率陈述。 </a:t>
            </a:r>
          </a:p>
          <a:p>
            <a:pPr lvl="1"/>
            <a:endParaRPr lang="zh-CN" altLang="zh-CN" sz="1200" dirty="0">
              <a:ea typeface="楷体" panose="02010609060101010101" pitchFamily="49" charset="-122"/>
            </a:endParaRPr>
          </a:p>
          <a:p>
            <a:pPr lvl="1"/>
            <a:r>
              <a:rPr lang="zh-CN" altLang="zh-CN" sz="1200" dirty="0">
                <a:ea typeface="楷体" panose="02010609060101010101" pitchFamily="49" charset="-122"/>
                <a:cs typeface="SimSun"/>
              </a:rPr>
              <a:t>在概率学派看来有效的概率陈述范例是这样的：P(70≤H≤74)=95%，其中H是从美国成年男性人口中随机抽取的数值。置信区间和假设检验等频率学派技巧</a:t>
            </a:r>
            <a:r>
              <a:rPr lang="zh-CN" altLang="en-US" sz="1200" dirty="0">
                <a:ea typeface="楷体" panose="02010609060101010101" pitchFamily="49" charset="-122"/>
                <a:cs typeface="SimSun"/>
              </a:rPr>
              <a:t>能</a:t>
            </a:r>
            <a:r>
              <a:rPr lang="zh-CN" altLang="zh-CN" sz="1200" dirty="0">
                <a:ea typeface="楷体" panose="02010609060101010101" pitchFamily="49" charset="-122"/>
                <a:cs typeface="SimSun"/>
              </a:rPr>
              <a:t>提供提出类似贝叶斯概率陈述的方式，但它只会以频率学派的方式使用概率</a:t>
            </a:r>
            <a:endParaRPr lang="zh-CN" sz="1200" dirty="0">
              <a:ea typeface="楷体" panose="02010609060101010101" pitchFamily="49" charset="-122"/>
            </a:endParaRPr>
          </a:p>
        </p:txBody>
      </p:sp>
      <p:sp>
        <p:nvSpPr>
          <p:cNvPr id="36" name="Rectangle 10">
            <a:extLst>
              <a:ext uri="{FF2B5EF4-FFF2-40B4-BE49-F238E27FC236}">
                <a16:creationId xmlns:a16="http://schemas.microsoft.com/office/drawing/2014/main" id="{58B4E8D3-9E57-4B05-A0F3-70D05107C072}"/>
              </a:ext>
            </a:extLst>
          </p:cNvPr>
          <p:cNvSpPr>
            <a:spLocks noChangeArrowheads="1"/>
          </p:cNvSpPr>
          <p:nvPr>
            <p:custDataLst>
              <p:tags r:id="rId4"/>
            </p:custDataLst>
          </p:nvPr>
        </p:nvSpPr>
        <p:spPr bwMode="gray">
          <a:xfrm>
            <a:off x="514656" y="1294848"/>
            <a:ext cx="3835807" cy="4730750"/>
          </a:xfrm>
          <a:prstGeom prst="rect">
            <a:avLst/>
          </a:prstGeom>
          <a:solidFill>
            <a:schemeClr val="bg1"/>
          </a:solidFill>
          <a:ln w="19050">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a:latin typeface="+mn-lt"/>
              <a:ea typeface="楷体" panose="02010609060101010101" pitchFamily="49" charset="-122"/>
            </a:endParaRPr>
          </a:p>
        </p:txBody>
      </p:sp>
      <p:sp>
        <p:nvSpPr>
          <p:cNvPr id="37" name="Rectangle 12">
            <a:extLst>
              <a:ext uri="{FF2B5EF4-FFF2-40B4-BE49-F238E27FC236}">
                <a16:creationId xmlns:a16="http://schemas.microsoft.com/office/drawing/2014/main" id="{5A5EDF45-7831-43D7-8E5C-78B397CC0F65}"/>
              </a:ext>
            </a:extLst>
          </p:cNvPr>
          <p:cNvSpPr>
            <a:spLocks noChangeArrowheads="1"/>
          </p:cNvSpPr>
          <p:nvPr>
            <p:custDataLst>
              <p:tags r:id="rId5"/>
            </p:custDataLst>
          </p:nvPr>
        </p:nvSpPr>
        <p:spPr bwMode="gray">
          <a:xfrm>
            <a:off x="514656" y="1294848"/>
            <a:ext cx="3835807" cy="509341"/>
          </a:xfrm>
          <a:prstGeom prst="rect">
            <a:avLst/>
          </a:prstGeom>
          <a:solidFill>
            <a:schemeClr val="accent1"/>
          </a:solidFill>
          <a:ln w="19050" algn="ctr">
            <a:solidFill>
              <a:schemeClr val="accent1"/>
            </a:solidFill>
            <a:miter lim="800000"/>
            <a:headEnd/>
            <a:tailEnd/>
          </a:ln>
          <a:effectLst/>
        </p:spPr>
        <p:txBody>
          <a:bodyPr vert="horz" wrap="square" lIns="72009" tIns="72009" rIns="72009" bIns="72009" numCol="1" anchor="ctr" anchorCtr="0" compatLnSpc="1">
            <a:prstTxWarp prst="textNoShape">
              <a:avLst/>
            </a:prstTxWarp>
          </a:bodyPr>
          <a:lstStyle/>
          <a:p>
            <a:endParaRPr lang="en-US">
              <a:latin typeface="+mn-lt"/>
              <a:ea typeface="楷体" panose="02010609060101010101" pitchFamily="49" charset="-122"/>
            </a:endParaRPr>
          </a:p>
        </p:txBody>
      </p:sp>
      <p:sp>
        <p:nvSpPr>
          <p:cNvPr id="39" name="Rectangle 286">
            <a:extLst>
              <a:ext uri="{FF2B5EF4-FFF2-40B4-BE49-F238E27FC236}">
                <a16:creationId xmlns:a16="http://schemas.microsoft.com/office/drawing/2014/main" id="{BA9EF45D-8547-4B4A-8BCA-196ABC1E42EA}"/>
              </a:ext>
            </a:extLst>
          </p:cNvPr>
          <p:cNvSpPr txBox="1">
            <a:spLocks noChangeArrowheads="1"/>
          </p:cNvSpPr>
          <p:nvPr>
            <p:custDataLst>
              <p:tags r:id="rId6"/>
            </p:custDataLst>
          </p:nvPr>
        </p:nvSpPr>
        <p:spPr bwMode="auto">
          <a:xfrm>
            <a:off x="647372" y="1425817"/>
            <a:ext cx="3062287"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zh-CN" b="1" dirty="0">
                <a:ea typeface="楷体" panose="02010609060101010101" pitchFamily="49" charset="-122"/>
                <a:cs typeface="SimSun"/>
              </a:rPr>
              <a:t>贝叶斯学派</a:t>
            </a:r>
          </a:p>
        </p:txBody>
      </p:sp>
      <p:sp>
        <p:nvSpPr>
          <p:cNvPr id="40" name="Rectangle 28">
            <a:extLst>
              <a:ext uri="{FF2B5EF4-FFF2-40B4-BE49-F238E27FC236}">
                <a16:creationId xmlns:a16="http://schemas.microsoft.com/office/drawing/2014/main" id="{41F32E69-5451-43E1-B08A-E7C1EA3009BB}"/>
              </a:ext>
            </a:extLst>
          </p:cNvPr>
          <p:cNvSpPr txBox="1"/>
          <p:nvPr/>
        </p:nvSpPr>
        <p:spPr>
          <a:xfrm>
            <a:off x="771268" y="1906299"/>
            <a:ext cx="3398452" cy="332398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lvl="0" defTabSz="895350">
              <a:buClr>
                <a:schemeClr val="tx2"/>
              </a:buClr>
              <a:defRPr>
                <a:latin typeface="+mn-lt"/>
                <a:ea typeface="+mn-ea"/>
              </a:defRPr>
            </a:lvl1pPr>
            <a:lvl2pPr marL="193675" lvl="1" indent="-192088" defTabSz="895350">
              <a:buClr>
                <a:schemeClr val="tx2"/>
              </a:buClr>
              <a:buSzPct val="125000"/>
              <a:buFont typeface="Arial" charset="0"/>
              <a:buChar char="▪"/>
              <a:defRPr>
                <a:latin typeface="+mn-lt"/>
                <a:ea typeface="楷体"/>
              </a:defRPr>
            </a:lvl2pPr>
            <a:lvl3pPr marL="457200" lvl="2" indent="-261938" defTabSz="895350">
              <a:buClr>
                <a:schemeClr val="tx2"/>
              </a:buClr>
              <a:buSzPct val="120000"/>
              <a:buFont typeface="Arial" charset="0"/>
              <a:buChar char="–"/>
              <a:defRPr>
                <a:latin typeface="+mn-lt"/>
                <a:ea typeface="楷体"/>
              </a:defRPr>
            </a:lvl3pPr>
            <a:lvl4pPr marL="614363" lvl="3" indent="-155575" defTabSz="895350">
              <a:buClr>
                <a:schemeClr val="tx2"/>
              </a:buClr>
              <a:buSzPct val="120000"/>
              <a:buFont typeface="Arial" charset="0"/>
              <a:buChar char="▫"/>
              <a:defRPr>
                <a:latin typeface="+mn-lt"/>
                <a:ea typeface="楷体"/>
              </a:defRPr>
            </a:lvl4pPr>
            <a:lvl5pPr marL="749300" lvl="4" indent="-130175" defTabSz="895350">
              <a:buClr>
                <a:schemeClr val="tx2"/>
              </a:buClr>
              <a:buSzPct val="89000"/>
              <a:buFont typeface="Arial" charset="0"/>
              <a:buChar char="-"/>
              <a:defRPr>
                <a:latin typeface="+mn-lt"/>
                <a:ea typeface="楷体"/>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zh-CN" sz="1200" dirty="0">
                <a:ea typeface="楷体" panose="02010609060101010101" pitchFamily="49" charset="-122"/>
                <a:cs typeface="SimSun"/>
              </a:rPr>
              <a:t>假定我们有兴趣了解所有美国成年男性的身高英寸数h</a:t>
            </a:r>
          </a:p>
          <a:p>
            <a:pPr lvl="1"/>
            <a:endParaRPr lang="zh-CN" sz="1200" dirty="0">
              <a:ea typeface="楷体" panose="02010609060101010101" pitchFamily="49" charset="-122"/>
            </a:endParaRPr>
          </a:p>
          <a:p>
            <a:pPr lvl="1"/>
            <a:r>
              <a:rPr lang="zh-CN" altLang="zh-CN" sz="1200" dirty="0">
                <a:ea typeface="楷体" panose="02010609060101010101" pitchFamily="49" charset="-122"/>
                <a:cs typeface="SimSun"/>
              </a:rPr>
              <a:t>贝叶斯学派的统计学者会从一个“先验分布”开始，也就是采集任何数据之前</a:t>
            </a:r>
            <a:r>
              <a:rPr lang="zh-CN" altLang="en-US" sz="1200" dirty="0">
                <a:ea typeface="楷体" panose="02010609060101010101" pitchFamily="49" charset="-122"/>
                <a:cs typeface="SimSun"/>
              </a:rPr>
              <a:t>可</a:t>
            </a:r>
            <a:r>
              <a:rPr lang="zh-CN" altLang="zh-CN" sz="1200" dirty="0">
                <a:ea typeface="楷体" panose="02010609060101010101" pitchFamily="49" charset="-122"/>
                <a:cs typeface="SimSun"/>
              </a:rPr>
              <a:t>体现对h认知状态的一个概率分布。</a:t>
            </a:r>
          </a:p>
          <a:p>
            <a:pPr lvl="1"/>
            <a:endParaRPr lang="zh-CN" altLang="zh-CN" sz="1200" dirty="0">
              <a:ea typeface="楷体" panose="02010609060101010101" pitchFamily="49" charset="-122"/>
            </a:endParaRPr>
          </a:p>
          <a:p>
            <a:pPr lvl="1"/>
            <a:r>
              <a:rPr lang="zh-CN" altLang="zh-CN" sz="1200" dirty="0">
                <a:ea typeface="楷体" panose="02010609060101010101" pitchFamily="49" charset="-122"/>
                <a:cs typeface="SimSun"/>
              </a:rPr>
              <a:t>我们确实拥有某些明确的先验信息：h显然会在60到84英寸之间，而且更有可能接近这一范围的中间水平。 </a:t>
            </a:r>
          </a:p>
          <a:p>
            <a:pPr lvl="1"/>
            <a:endParaRPr lang="zh-CN" altLang="zh-CN" sz="1200" dirty="0">
              <a:ea typeface="楷体" panose="02010609060101010101" pitchFamily="49" charset="-122"/>
            </a:endParaRPr>
          </a:p>
          <a:p>
            <a:pPr lvl="1"/>
            <a:r>
              <a:rPr lang="zh-CN" altLang="zh-CN" sz="1200" dirty="0">
                <a:ea typeface="楷体" panose="02010609060101010101" pitchFamily="49" charset="-122"/>
                <a:cs typeface="SimSun"/>
              </a:rPr>
              <a:t>在采集部分数据之后（例如，从美国成年男性中随机取样），贝叶斯学派会根据数据对先验分布进行更新</a:t>
            </a:r>
            <a:r>
              <a:rPr lang="zh-CN" altLang="en-US" sz="1200" dirty="0">
                <a:ea typeface="楷体" panose="02010609060101010101" pitchFamily="49" charset="-122"/>
                <a:cs typeface="SimSun"/>
              </a:rPr>
              <a:t>，</a:t>
            </a:r>
            <a:r>
              <a:rPr lang="zh-CN" altLang="zh-CN" sz="1200" dirty="0">
                <a:ea typeface="楷体" panose="02010609060101010101" pitchFamily="49" charset="-122"/>
                <a:cs typeface="SimSun"/>
              </a:rPr>
              <a:t>得到一个新的h概率分布，名为后验分布。</a:t>
            </a:r>
          </a:p>
          <a:p>
            <a:pPr lvl="1"/>
            <a:endParaRPr lang="zh-CN" altLang="zh-CN" sz="1200" dirty="0">
              <a:ea typeface="楷体" panose="02010609060101010101" pitchFamily="49" charset="-122"/>
            </a:endParaRPr>
          </a:p>
          <a:p>
            <a:pPr lvl="1"/>
            <a:r>
              <a:rPr lang="zh-CN" altLang="zh-CN" sz="1200" dirty="0">
                <a:ea typeface="楷体" panose="02010609060101010101" pitchFamily="49" charset="-122"/>
                <a:cs typeface="SimSun"/>
              </a:rPr>
              <a:t>后</a:t>
            </a:r>
            <a:r>
              <a:rPr lang="zh-CN" altLang="en-US" sz="1200" dirty="0">
                <a:ea typeface="楷体" panose="02010609060101010101" pitchFamily="49" charset="-122"/>
                <a:cs typeface="SimSun"/>
              </a:rPr>
              <a:t>验</a:t>
            </a:r>
            <a:r>
              <a:rPr lang="zh-CN" altLang="zh-CN" sz="1200" dirty="0">
                <a:ea typeface="楷体" panose="02010609060101010101" pitchFamily="49" charset="-122"/>
                <a:cs typeface="SimSun"/>
              </a:rPr>
              <a:t>分布体现我们在数据采集后对h的认知状态。P(70≤h≤74)=95%</a:t>
            </a:r>
            <a:endParaRPr lang="zh-CN" sz="1200" dirty="0">
              <a:ea typeface="楷体" panose="02010609060101010101" pitchFamily="49" charset="-122"/>
            </a:endParaRPr>
          </a:p>
        </p:txBody>
      </p:sp>
    </p:spTree>
    <p:extLst>
      <p:ext uri="{BB962C8B-B14F-4D97-AF65-F5344CB8AC3E}">
        <p14:creationId xmlns:p14="http://schemas.microsoft.com/office/powerpoint/2010/main" val="9997893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930868"/>
            <a:ext cx="8956360" cy="1480540"/>
          </a:xfrm>
          <a:prstGeom prst="rect">
            <a:avLst/>
          </a:prstGeom>
          <a:blipFill>
            <a:blip r:embed="rId2"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3" name="object 3"/>
          <p:cNvSpPr/>
          <p:nvPr/>
        </p:nvSpPr>
        <p:spPr>
          <a:xfrm>
            <a:off x="1" y="923251"/>
            <a:ext cx="8956995" cy="15232"/>
          </a:xfrm>
          <a:custGeom>
            <a:avLst/>
            <a:gdLst/>
            <a:ahLst/>
            <a:cxnLst/>
            <a:rect l="l" t="t" r="r" b="b"/>
            <a:pathLst>
              <a:path w="8961755" h="15240">
                <a:moveTo>
                  <a:pt x="0" y="15240"/>
                </a:moveTo>
                <a:lnTo>
                  <a:pt x="8961501" y="15240"/>
                </a:lnTo>
                <a:lnTo>
                  <a:pt x="8961501" y="0"/>
                </a:lnTo>
                <a:lnTo>
                  <a:pt x="0" y="0"/>
                </a:lnTo>
                <a:lnTo>
                  <a:pt x="0" y="15240"/>
                </a:lnTo>
                <a:close/>
              </a:path>
            </a:pathLst>
          </a:custGeom>
          <a:solidFill>
            <a:srgbClr val="0064BC"/>
          </a:solidFill>
        </p:spPr>
        <p:txBody>
          <a:bodyPr wrap="square" lIns="0" tIns="0" rIns="0" bIns="0" rtlCol="0"/>
          <a:lstStyle/>
          <a:p>
            <a:endParaRPr sz="1599">
              <a:latin typeface="+mn-lt"/>
              <a:ea typeface="楷体" panose="02010609060101010101" pitchFamily="49" charset="-122"/>
            </a:endParaRPr>
          </a:p>
        </p:txBody>
      </p:sp>
      <p:sp>
        <p:nvSpPr>
          <p:cNvPr id="5" name="object 5"/>
          <p:cNvSpPr txBox="1"/>
          <p:nvPr/>
        </p:nvSpPr>
        <p:spPr>
          <a:xfrm>
            <a:off x="7131704" y="45385"/>
            <a:ext cx="1603158" cy="197257"/>
          </a:xfrm>
          <a:prstGeom prst="rect">
            <a:avLst/>
          </a:prstGeom>
        </p:spPr>
        <p:txBody>
          <a:bodyPr vert="horz" wrap="square" lIns="0" tIns="12693" rIns="0" bIns="0" rtlCol="0">
            <a:spAutoFit/>
          </a:bodyPr>
          <a:lstStyle/>
          <a:p>
            <a:pPr marL="12694">
              <a:spcBef>
                <a:spcPts val="100"/>
              </a:spcBef>
            </a:pPr>
            <a:r>
              <a:rPr lang="zh-CN" sz="1199" b="1" i="1" spc="-5" dirty="0">
                <a:solidFill>
                  <a:srgbClr val="FFFFFF"/>
                </a:solidFill>
                <a:latin typeface="+mn-lt"/>
                <a:ea typeface="楷体" panose="02010609060101010101" pitchFamily="49" charset="-122"/>
                <a:cs typeface="SimSun"/>
              </a:rPr>
              <a:t>仅供内部使用</a:t>
            </a:r>
            <a:endParaRPr lang="zh-CN" sz="1199">
              <a:latin typeface="+mn-lt"/>
              <a:ea typeface="楷体" panose="02010609060101010101" pitchFamily="49" charset="-122"/>
              <a:cs typeface="SimSun"/>
            </a:endParaRPr>
          </a:p>
        </p:txBody>
      </p:sp>
      <p:sp>
        <p:nvSpPr>
          <p:cNvPr id="6" name="object 6"/>
          <p:cNvSpPr txBox="1">
            <a:spLocks noGrp="1"/>
          </p:cNvSpPr>
          <p:nvPr>
            <p:ph type="title"/>
          </p:nvPr>
        </p:nvSpPr>
        <p:spPr>
          <a:xfrm>
            <a:off x="106420" y="210145"/>
            <a:ext cx="1452108" cy="330659"/>
          </a:xfrm>
          <a:prstGeom prst="rect">
            <a:avLst/>
          </a:prstGeom>
        </p:spPr>
        <p:txBody>
          <a:bodyPr vert="horz" wrap="square" lIns="0" tIns="12693" rIns="0" bIns="0" numCol="1" rtlCol="0" anchor="t" anchorCtr="0" compatLnSpc="1">
            <a:prstTxWarp prst="textNoShape">
              <a:avLst/>
            </a:prstTxWarp>
            <a:spAutoFit/>
          </a:bodyPr>
          <a:lstStyle/>
          <a:p>
            <a:pPr marL="12694">
              <a:spcBef>
                <a:spcPts val="100"/>
              </a:spcBef>
            </a:pPr>
            <a:r>
              <a:rPr lang="zh-CN" dirty="0">
                <a:solidFill>
                  <a:schemeClr val="tx2"/>
                </a:solidFill>
                <a:latin typeface="+mn-lt"/>
                <a:ea typeface="楷体" panose="02010609060101010101" pitchFamily="49" charset="-122"/>
                <a:cs typeface="SimSun"/>
              </a:rPr>
              <a:t>朴素贝叶斯</a:t>
            </a:r>
            <a:endParaRPr lang="zh-CN" dirty="0">
              <a:solidFill>
                <a:schemeClr val="tx1"/>
              </a:solidFill>
              <a:latin typeface="+mn-lt"/>
              <a:ea typeface="楷体" panose="02010609060101010101" pitchFamily="49" charset="-122"/>
            </a:endParaRPr>
          </a:p>
        </p:txBody>
      </p:sp>
      <p:sp>
        <p:nvSpPr>
          <p:cNvPr id="7" name="object 7"/>
          <p:cNvSpPr/>
          <p:nvPr/>
        </p:nvSpPr>
        <p:spPr>
          <a:xfrm>
            <a:off x="248279" y="2568297"/>
            <a:ext cx="8461323" cy="0"/>
          </a:xfrm>
          <a:custGeom>
            <a:avLst/>
            <a:gdLst/>
            <a:ahLst/>
            <a:cxnLst/>
            <a:rect l="l" t="t" r="r" b="b"/>
            <a:pathLst>
              <a:path w="8465820">
                <a:moveTo>
                  <a:pt x="0" y="0"/>
                </a:moveTo>
                <a:lnTo>
                  <a:pt x="8465820" y="0"/>
                </a:lnTo>
              </a:path>
            </a:pathLst>
          </a:custGeom>
          <a:ln w="6096">
            <a:solidFill>
              <a:srgbClr val="808080"/>
            </a:solidFill>
            <a:prstDash val="sysDot"/>
          </a:ln>
        </p:spPr>
        <p:txBody>
          <a:bodyPr wrap="square" lIns="0" tIns="0" rIns="0" bIns="0" rtlCol="0"/>
          <a:lstStyle/>
          <a:p>
            <a:endParaRPr sz="1599">
              <a:latin typeface="+mn-lt"/>
              <a:ea typeface="楷体" panose="02010609060101010101" pitchFamily="49" charset="-122"/>
            </a:endParaRPr>
          </a:p>
        </p:txBody>
      </p:sp>
      <p:sp>
        <p:nvSpPr>
          <p:cNvPr id="8" name="object 8"/>
          <p:cNvSpPr/>
          <p:nvPr/>
        </p:nvSpPr>
        <p:spPr>
          <a:xfrm>
            <a:off x="248279" y="4447914"/>
            <a:ext cx="8461323" cy="0"/>
          </a:xfrm>
          <a:custGeom>
            <a:avLst/>
            <a:gdLst/>
            <a:ahLst/>
            <a:cxnLst/>
            <a:rect l="l" t="t" r="r" b="b"/>
            <a:pathLst>
              <a:path w="8465820">
                <a:moveTo>
                  <a:pt x="0" y="0"/>
                </a:moveTo>
                <a:lnTo>
                  <a:pt x="8465820" y="0"/>
                </a:lnTo>
              </a:path>
            </a:pathLst>
          </a:custGeom>
          <a:ln w="6096">
            <a:solidFill>
              <a:srgbClr val="808080"/>
            </a:solidFill>
            <a:prstDash val="sysDot"/>
          </a:ln>
        </p:spPr>
        <p:txBody>
          <a:bodyPr wrap="square" lIns="0" tIns="0" rIns="0" bIns="0" rtlCol="0"/>
          <a:lstStyle/>
          <a:p>
            <a:endParaRPr sz="1599">
              <a:latin typeface="+mn-lt"/>
              <a:ea typeface="楷体" panose="02010609060101010101" pitchFamily="49" charset="-122"/>
            </a:endParaRPr>
          </a:p>
        </p:txBody>
      </p:sp>
      <p:sp>
        <p:nvSpPr>
          <p:cNvPr id="9" name="object 9"/>
          <p:cNvSpPr txBox="1"/>
          <p:nvPr/>
        </p:nvSpPr>
        <p:spPr>
          <a:xfrm>
            <a:off x="1616485" y="1060720"/>
            <a:ext cx="7096798" cy="878696"/>
          </a:xfrm>
          <a:prstGeom prst="rect">
            <a:avLst/>
          </a:prstGeom>
        </p:spPr>
        <p:txBody>
          <a:bodyPr vert="horz" wrap="square" lIns="0" tIns="12059" rIns="0" bIns="0" rtlCol="0">
            <a:spAutoFit/>
          </a:bodyPr>
          <a:lstStyle/>
          <a:p>
            <a:pPr marL="12694">
              <a:spcBef>
                <a:spcPts val="95"/>
              </a:spcBef>
            </a:pPr>
            <a:r>
              <a:rPr lang="zh-CN" sz="1599" b="1" i="1" spc="-5" dirty="0">
                <a:solidFill>
                  <a:srgbClr val="F17E00"/>
                </a:solidFill>
                <a:latin typeface="+mn-lt"/>
                <a:ea typeface="楷体" panose="02010609060101010101" pitchFamily="49" charset="-122"/>
                <a:cs typeface="SimSun"/>
              </a:rPr>
              <a:t>是什么？</a:t>
            </a:r>
            <a:endParaRPr lang="zh-CN" sz="1599" dirty="0">
              <a:latin typeface="+mn-lt"/>
              <a:ea typeface="楷体" panose="02010609060101010101" pitchFamily="49" charset="-122"/>
              <a:cs typeface="SimSun"/>
            </a:endParaRPr>
          </a:p>
          <a:p>
            <a:pPr marL="206272" marR="5077" indent="-192309">
              <a:spcBef>
                <a:spcPts val="385"/>
              </a:spcBef>
              <a:buClr>
                <a:srgbClr val="00295F"/>
              </a:buClr>
              <a:buSzPct val="125000"/>
              <a:buChar char="▪"/>
              <a:tabLst>
                <a:tab pos="206906" algn="l"/>
              </a:tabLst>
            </a:pPr>
            <a:r>
              <a:rPr lang="zh-CN" sz="1599" spc="-5" dirty="0">
                <a:latin typeface="+mn-lt"/>
                <a:ea typeface="楷体" panose="02010609060101010101" pitchFamily="49" charset="-122"/>
                <a:cs typeface="SimSun"/>
              </a:rPr>
              <a:t>一种数据挖掘工具，可根据特征值计算观察到的每一个类别的概率</a:t>
            </a:r>
            <a:endParaRPr lang="zh-CN" sz="1599" dirty="0">
              <a:latin typeface="+mn-lt"/>
              <a:ea typeface="楷体" panose="02010609060101010101" pitchFamily="49" charset="-122"/>
              <a:cs typeface="SimSun"/>
            </a:endParaRPr>
          </a:p>
          <a:p>
            <a:pPr marL="206272" marR="387791" indent="-192309">
              <a:spcBef>
                <a:spcPts val="600"/>
              </a:spcBef>
              <a:buClr>
                <a:srgbClr val="00295F"/>
              </a:buClr>
              <a:buSzPct val="125000"/>
              <a:buChar char="▪"/>
              <a:tabLst>
                <a:tab pos="206906" algn="l"/>
              </a:tabLst>
            </a:pPr>
            <a:r>
              <a:rPr lang="zh-CN" sz="1599" spc="-5" dirty="0">
                <a:latin typeface="+mn-lt"/>
                <a:ea typeface="楷体" panose="02010609060101010101" pitchFamily="49" charset="-122"/>
                <a:cs typeface="SimSun"/>
              </a:rPr>
              <a:t>部署于测试数据</a:t>
            </a:r>
            <a:r>
              <a:rPr lang="zh-CN" altLang="en-US" sz="1599" spc="-5" dirty="0">
                <a:latin typeface="+mn-lt"/>
                <a:ea typeface="楷体" panose="02010609060101010101" pitchFamily="49" charset="-122"/>
                <a:cs typeface="SimSun"/>
              </a:rPr>
              <a:t>、</a:t>
            </a:r>
            <a:r>
              <a:rPr lang="zh-CN" sz="1599" spc="-5" dirty="0">
                <a:latin typeface="+mn-lt"/>
                <a:ea typeface="楷体" panose="02010609060101010101" pitchFamily="49" charset="-122"/>
                <a:cs typeface="SimSun"/>
              </a:rPr>
              <a:t>对最有可能的新特征类别进行预测的一种方法</a:t>
            </a:r>
            <a:endParaRPr lang="zh-CN" sz="1599" dirty="0">
              <a:latin typeface="+mn-lt"/>
              <a:ea typeface="楷体" panose="02010609060101010101" pitchFamily="49" charset="-122"/>
              <a:cs typeface="SimSun"/>
            </a:endParaRPr>
          </a:p>
        </p:txBody>
      </p:sp>
      <p:sp>
        <p:nvSpPr>
          <p:cNvPr id="10" name="object 10"/>
          <p:cNvSpPr/>
          <p:nvPr/>
        </p:nvSpPr>
        <p:spPr>
          <a:xfrm>
            <a:off x="693051" y="1409149"/>
            <a:ext cx="394760" cy="761595"/>
          </a:xfrm>
          <a:custGeom>
            <a:avLst/>
            <a:gdLst/>
            <a:ahLst/>
            <a:cxnLst/>
            <a:rect l="l" t="t" r="r" b="b"/>
            <a:pathLst>
              <a:path w="394969" h="762000">
                <a:moveTo>
                  <a:pt x="0" y="762000"/>
                </a:moveTo>
                <a:lnTo>
                  <a:pt x="394716" y="762000"/>
                </a:lnTo>
                <a:lnTo>
                  <a:pt x="394716" y="0"/>
                </a:lnTo>
                <a:lnTo>
                  <a:pt x="0" y="0"/>
                </a:lnTo>
                <a:lnTo>
                  <a:pt x="0" y="762000"/>
                </a:lnTo>
                <a:close/>
              </a:path>
            </a:pathLst>
          </a:custGeom>
          <a:ln w="64008">
            <a:solidFill>
              <a:srgbClr val="FFFFFF"/>
            </a:solidFill>
            <a:prstDash val="lgDash"/>
          </a:ln>
        </p:spPr>
        <p:txBody>
          <a:bodyPr wrap="square" lIns="0" tIns="0" rIns="0" bIns="0" rtlCol="0"/>
          <a:lstStyle/>
          <a:p>
            <a:endParaRPr sz="1599">
              <a:latin typeface="+mn-lt"/>
              <a:ea typeface="楷体" panose="02010609060101010101" pitchFamily="49" charset="-122"/>
            </a:endParaRPr>
          </a:p>
        </p:txBody>
      </p:sp>
      <p:sp>
        <p:nvSpPr>
          <p:cNvPr id="11" name="object 11"/>
          <p:cNvSpPr txBox="1"/>
          <p:nvPr/>
        </p:nvSpPr>
        <p:spPr>
          <a:xfrm>
            <a:off x="1616486" y="2694215"/>
            <a:ext cx="6726790" cy="891701"/>
          </a:xfrm>
          <a:prstGeom prst="rect">
            <a:avLst/>
          </a:prstGeom>
        </p:spPr>
        <p:txBody>
          <a:bodyPr vert="horz" wrap="square" lIns="0" tIns="12059" rIns="0" bIns="0" rtlCol="0">
            <a:spAutoFit/>
          </a:bodyPr>
          <a:lstStyle/>
          <a:p>
            <a:pPr marL="12694">
              <a:spcBef>
                <a:spcPts val="95"/>
              </a:spcBef>
            </a:pPr>
            <a:r>
              <a:rPr lang="zh-CN" sz="1599" b="1" i="1" spc="-5" dirty="0">
                <a:solidFill>
                  <a:srgbClr val="F17E00"/>
                </a:solidFill>
                <a:latin typeface="+mn-lt"/>
                <a:ea typeface="楷体" panose="02010609060101010101" pitchFamily="49" charset="-122"/>
                <a:cs typeface="SimSun"/>
              </a:rPr>
              <a:t>为什么使用？</a:t>
            </a:r>
            <a:endParaRPr lang="zh-CN" sz="1599">
              <a:latin typeface="+mn-lt"/>
              <a:ea typeface="楷体" panose="02010609060101010101" pitchFamily="49" charset="-122"/>
              <a:cs typeface="SimSun"/>
            </a:endParaRPr>
          </a:p>
          <a:p>
            <a:pPr marL="206272" indent="-192309">
              <a:spcBef>
                <a:spcPts val="385"/>
              </a:spcBef>
              <a:buClr>
                <a:srgbClr val="00295F"/>
              </a:buClr>
              <a:buSzPct val="125000"/>
              <a:buChar char="▪"/>
              <a:tabLst>
                <a:tab pos="206906" algn="l"/>
              </a:tabLst>
            </a:pPr>
            <a:r>
              <a:rPr lang="zh-CN" sz="1599" spc="-5" dirty="0">
                <a:latin typeface="+mn-lt"/>
                <a:ea typeface="楷体" panose="02010609060101010101" pitchFamily="49" charset="-122"/>
                <a:cs typeface="SimSun"/>
              </a:rPr>
              <a:t>简单、快速、有效，可用于嘈杂数据</a:t>
            </a:r>
            <a:endParaRPr lang="zh-CN" sz="1599">
              <a:latin typeface="+mn-lt"/>
              <a:ea typeface="楷体" panose="02010609060101010101" pitchFamily="49" charset="-122"/>
              <a:cs typeface="SimSun"/>
            </a:endParaRPr>
          </a:p>
          <a:p>
            <a:pPr marL="206272" indent="-192309">
              <a:spcBef>
                <a:spcPts val="600"/>
              </a:spcBef>
              <a:buClr>
                <a:srgbClr val="00295F"/>
              </a:buClr>
              <a:buSzPct val="125000"/>
              <a:buChar char="▪"/>
              <a:tabLst>
                <a:tab pos="206906" algn="l"/>
              </a:tabLst>
            </a:pPr>
            <a:r>
              <a:rPr lang="zh-CN" sz="1599" spc="-5" dirty="0">
                <a:latin typeface="+mn-lt"/>
                <a:ea typeface="楷体" panose="02010609060101010101" pitchFamily="49" charset="-122"/>
                <a:cs typeface="SimSun"/>
              </a:rPr>
              <a:t>尽管简单，但准确率可媲美任何复杂算法</a:t>
            </a:r>
            <a:r>
              <a:rPr lang="zh-CN" dirty="0">
                <a:latin typeface="+mn-lt"/>
                <a:ea typeface="楷体" panose="02010609060101010101" pitchFamily="49" charset="-122"/>
                <a:cs typeface="SimSun"/>
              </a:rPr>
              <a:t> </a:t>
            </a:r>
            <a:endParaRPr lang="zh-CN" sz="1599">
              <a:latin typeface="+mn-lt"/>
              <a:ea typeface="楷体" panose="02010609060101010101" pitchFamily="49" charset="-122"/>
              <a:cs typeface="SimSun"/>
            </a:endParaRPr>
          </a:p>
        </p:txBody>
      </p:sp>
      <p:sp>
        <p:nvSpPr>
          <p:cNvPr id="12" name="object 12"/>
          <p:cNvSpPr/>
          <p:nvPr/>
        </p:nvSpPr>
        <p:spPr>
          <a:xfrm>
            <a:off x="271128" y="2921677"/>
            <a:ext cx="1238354" cy="1244447"/>
          </a:xfrm>
          <a:prstGeom prst="rect">
            <a:avLst/>
          </a:prstGeom>
          <a:blipFill>
            <a:blip r:embed="rId3"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13" name="object 13"/>
          <p:cNvSpPr txBox="1"/>
          <p:nvPr/>
        </p:nvSpPr>
        <p:spPr>
          <a:xfrm>
            <a:off x="613034" y="2931528"/>
            <a:ext cx="555330" cy="1168414"/>
          </a:xfrm>
          <a:prstGeom prst="rect">
            <a:avLst/>
          </a:prstGeom>
        </p:spPr>
        <p:txBody>
          <a:bodyPr vert="horz" wrap="square" lIns="0" tIns="12693" rIns="0" bIns="0" rtlCol="0">
            <a:spAutoFit/>
          </a:bodyPr>
          <a:lstStyle/>
          <a:p>
            <a:pPr marL="12694">
              <a:spcBef>
                <a:spcPts val="100"/>
              </a:spcBef>
            </a:pPr>
            <a:r>
              <a:rPr lang="zh-CN" sz="7496" dirty="0">
                <a:solidFill>
                  <a:srgbClr val="FFFFFF"/>
                </a:solidFill>
                <a:latin typeface="+mn-lt"/>
                <a:ea typeface="楷体" panose="02010609060101010101" pitchFamily="49" charset="-122"/>
                <a:cs typeface="SimSun"/>
              </a:rPr>
              <a:t>？</a:t>
            </a:r>
            <a:endParaRPr lang="zh-CN" sz="7496">
              <a:latin typeface="+mn-lt"/>
              <a:ea typeface="楷体" panose="02010609060101010101" pitchFamily="49" charset="-122"/>
              <a:cs typeface="SimSun"/>
            </a:endParaRPr>
          </a:p>
        </p:txBody>
      </p:sp>
      <p:sp>
        <p:nvSpPr>
          <p:cNvPr id="14" name="object 14"/>
          <p:cNvSpPr txBox="1"/>
          <p:nvPr/>
        </p:nvSpPr>
        <p:spPr>
          <a:xfrm>
            <a:off x="1616485" y="4573832"/>
            <a:ext cx="6500216" cy="878824"/>
          </a:xfrm>
          <a:prstGeom prst="rect">
            <a:avLst/>
          </a:prstGeom>
        </p:spPr>
        <p:txBody>
          <a:bodyPr vert="horz" wrap="square" lIns="0" tIns="12059" rIns="0" bIns="0" rtlCol="0">
            <a:spAutoFit/>
          </a:bodyPr>
          <a:lstStyle/>
          <a:p>
            <a:pPr marL="12694">
              <a:spcBef>
                <a:spcPts val="95"/>
              </a:spcBef>
            </a:pPr>
            <a:r>
              <a:rPr lang="zh-CN" sz="1599" b="1" i="1" spc="-5" dirty="0">
                <a:solidFill>
                  <a:srgbClr val="F17E00"/>
                </a:solidFill>
                <a:latin typeface="+mn-lt"/>
                <a:ea typeface="楷体" panose="02010609060101010101" pitchFamily="49" charset="-122"/>
                <a:cs typeface="SimSun"/>
              </a:rPr>
              <a:t>什么情况下使用？</a:t>
            </a:r>
            <a:endParaRPr lang="zh-CN" sz="1599">
              <a:latin typeface="+mn-lt"/>
              <a:ea typeface="楷体" panose="02010609060101010101" pitchFamily="49" charset="-122"/>
              <a:cs typeface="SimSun"/>
            </a:endParaRPr>
          </a:p>
          <a:p>
            <a:pPr marL="206272" indent="-192309">
              <a:spcBef>
                <a:spcPts val="385"/>
              </a:spcBef>
              <a:buClr>
                <a:srgbClr val="00295F"/>
              </a:buClr>
              <a:buSzPct val="125000"/>
              <a:buChar char="▪"/>
              <a:tabLst>
                <a:tab pos="206906" algn="l"/>
              </a:tabLst>
            </a:pPr>
            <a:r>
              <a:rPr lang="zh-CN" sz="1599" spc="-5" dirty="0">
                <a:latin typeface="+mn-lt"/>
                <a:ea typeface="楷体" panose="02010609060101010101" pitchFamily="49" charset="-122"/>
                <a:cs typeface="SimSun"/>
              </a:rPr>
              <a:t>同时考虑所有数据特性时</a:t>
            </a:r>
            <a:endParaRPr lang="zh-CN" sz="1599">
              <a:latin typeface="+mn-lt"/>
              <a:ea typeface="楷体" panose="02010609060101010101" pitchFamily="49" charset="-122"/>
              <a:cs typeface="SimSun"/>
            </a:endParaRPr>
          </a:p>
          <a:p>
            <a:pPr marL="206272" marR="5077" indent="-192309">
              <a:spcBef>
                <a:spcPts val="600"/>
              </a:spcBef>
              <a:buClr>
                <a:srgbClr val="00295F"/>
              </a:buClr>
              <a:buSzPct val="125000"/>
              <a:buChar char="▪"/>
              <a:tabLst>
                <a:tab pos="206906" algn="l"/>
              </a:tabLst>
            </a:pPr>
            <a:r>
              <a:rPr lang="zh-CN" sz="1599" spc="-50" dirty="0">
                <a:latin typeface="+mn-lt"/>
                <a:ea typeface="楷体" panose="02010609060101010101" pitchFamily="49" charset="-122"/>
                <a:cs typeface="SimSun"/>
              </a:rPr>
              <a:t>文本分类，如垃圾邮件过滤、作者识别、主题分类</a:t>
            </a:r>
            <a:r>
              <a:rPr lang="zh-CN" dirty="0">
                <a:latin typeface="+mn-lt"/>
                <a:ea typeface="楷体" panose="02010609060101010101" pitchFamily="49" charset="-122"/>
                <a:cs typeface="SimSun"/>
              </a:rPr>
              <a:t> </a:t>
            </a:r>
            <a:endParaRPr lang="zh-CN" sz="1599">
              <a:latin typeface="+mn-lt"/>
              <a:ea typeface="楷体" panose="02010609060101010101" pitchFamily="49" charset="-122"/>
              <a:cs typeface="SimSun"/>
            </a:endParaRPr>
          </a:p>
        </p:txBody>
      </p:sp>
      <p:sp>
        <p:nvSpPr>
          <p:cNvPr id="15" name="object 15"/>
          <p:cNvSpPr/>
          <p:nvPr/>
        </p:nvSpPr>
        <p:spPr>
          <a:xfrm>
            <a:off x="271128" y="4865268"/>
            <a:ext cx="1238354" cy="1242922"/>
          </a:xfrm>
          <a:prstGeom prst="rect">
            <a:avLst/>
          </a:prstGeom>
          <a:blipFill>
            <a:blip r:embed="rId4"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16" name="object 16"/>
          <p:cNvSpPr/>
          <p:nvPr/>
        </p:nvSpPr>
        <p:spPr>
          <a:xfrm>
            <a:off x="470667" y="5066330"/>
            <a:ext cx="839659" cy="839659"/>
          </a:xfrm>
          <a:custGeom>
            <a:avLst/>
            <a:gdLst/>
            <a:ahLst/>
            <a:cxnLst/>
            <a:rect l="l" t="t" r="r" b="b"/>
            <a:pathLst>
              <a:path w="840105" h="840104">
                <a:moveTo>
                  <a:pt x="0" y="419862"/>
                </a:moveTo>
                <a:lnTo>
                  <a:pt x="2824" y="370893"/>
                </a:lnTo>
                <a:lnTo>
                  <a:pt x="11088" y="323585"/>
                </a:lnTo>
                <a:lnTo>
                  <a:pt x="24476" y="278252"/>
                </a:lnTo>
                <a:lnTo>
                  <a:pt x="42674" y="235209"/>
                </a:lnTo>
                <a:lnTo>
                  <a:pt x="65366" y="194770"/>
                </a:lnTo>
                <a:lnTo>
                  <a:pt x="92237" y="157251"/>
                </a:lnTo>
                <a:lnTo>
                  <a:pt x="122972" y="122967"/>
                </a:lnTo>
                <a:lnTo>
                  <a:pt x="157257" y="92233"/>
                </a:lnTo>
                <a:lnTo>
                  <a:pt x="194776" y="65362"/>
                </a:lnTo>
                <a:lnTo>
                  <a:pt x="235214" y="42672"/>
                </a:lnTo>
                <a:lnTo>
                  <a:pt x="278257" y="24475"/>
                </a:lnTo>
                <a:lnTo>
                  <a:pt x="323589" y="11087"/>
                </a:lnTo>
                <a:lnTo>
                  <a:pt x="370896" y="2824"/>
                </a:lnTo>
                <a:lnTo>
                  <a:pt x="419862" y="0"/>
                </a:lnTo>
                <a:lnTo>
                  <a:pt x="468827" y="2824"/>
                </a:lnTo>
                <a:lnTo>
                  <a:pt x="516134" y="11087"/>
                </a:lnTo>
                <a:lnTo>
                  <a:pt x="561466" y="24475"/>
                </a:lnTo>
                <a:lnTo>
                  <a:pt x="604509" y="42672"/>
                </a:lnTo>
                <a:lnTo>
                  <a:pt x="644947" y="65362"/>
                </a:lnTo>
                <a:lnTo>
                  <a:pt x="682466" y="92233"/>
                </a:lnTo>
                <a:lnTo>
                  <a:pt x="716751" y="122967"/>
                </a:lnTo>
                <a:lnTo>
                  <a:pt x="747486" y="157251"/>
                </a:lnTo>
                <a:lnTo>
                  <a:pt x="774357" y="194770"/>
                </a:lnTo>
                <a:lnTo>
                  <a:pt x="797049" y="235209"/>
                </a:lnTo>
                <a:lnTo>
                  <a:pt x="815247" y="278252"/>
                </a:lnTo>
                <a:lnTo>
                  <a:pt x="828635" y="323585"/>
                </a:lnTo>
                <a:lnTo>
                  <a:pt x="836899" y="370893"/>
                </a:lnTo>
                <a:lnTo>
                  <a:pt x="839724" y="419862"/>
                </a:lnTo>
                <a:lnTo>
                  <a:pt x="836899" y="468825"/>
                </a:lnTo>
                <a:lnTo>
                  <a:pt x="828635" y="516130"/>
                </a:lnTo>
                <a:lnTo>
                  <a:pt x="815247" y="561461"/>
                </a:lnTo>
                <a:lnTo>
                  <a:pt x="797049" y="604503"/>
                </a:lnTo>
                <a:lnTo>
                  <a:pt x="774357" y="644942"/>
                </a:lnTo>
                <a:lnTo>
                  <a:pt x="747486" y="682461"/>
                </a:lnTo>
                <a:lnTo>
                  <a:pt x="716751" y="716746"/>
                </a:lnTo>
                <a:lnTo>
                  <a:pt x="682466" y="747482"/>
                </a:lnTo>
                <a:lnTo>
                  <a:pt x="644947" y="774354"/>
                </a:lnTo>
                <a:lnTo>
                  <a:pt x="604509" y="797047"/>
                </a:lnTo>
                <a:lnTo>
                  <a:pt x="561466" y="815245"/>
                </a:lnTo>
                <a:lnTo>
                  <a:pt x="516134" y="828634"/>
                </a:lnTo>
                <a:lnTo>
                  <a:pt x="468827" y="836899"/>
                </a:lnTo>
                <a:lnTo>
                  <a:pt x="419862" y="839724"/>
                </a:lnTo>
                <a:lnTo>
                  <a:pt x="370896" y="836899"/>
                </a:lnTo>
                <a:lnTo>
                  <a:pt x="323589" y="828634"/>
                </a:lnTo>
                <a:lnTo>
                  <a:pt x="278257" y="815245"/>
                </a:lnTo>
                <a:lnTo>
                  <a:pt x="235214" y="797047"/>
                </a:lnTo>
                <a:lnTo>
                  <a:pt x="194776" y="774354"/>
                </a:lnTo>
                <a:lnTo>
                  <a:pt x="157257" y="747482"/>
                </a:lnTo>
                <a:lnTo>
                  <a:pt x="122972" y="716746"/>
                </a:lnTo>
                <a:lnTo>
                  <a:pt x="92237" y="682461"/>
                </a:lnTo>
                <a:lnTo>
                  <a:pt x="65366" y="644942"/>
                </a:lnTo>
                <a:lnTo>
                  <a:pt x="42674" y="604503"/>
                </a:lnTo>
                <a:lnTo>
                  <a:pt x="24476" y="561461"/>
                </a:lnTo>
                <a:lnTo>
                  <a:pt x="11088" y="516130"/>
                </a:lnTo>
                <a:lnTo>
                  <a:pt x="2824" y="468825"/>
                </a:lnTo>
                <a:lnTo>
                  <a:pt x="0" y="419862"/>
                </a:lnTo>
                <a:close/>
              </a:path>
            </a:pathLst>
          </a:custGeom>
          <a:ln w="64008">
            <a:solidFill>
              <a:srgbClr val="FFFFFF"/>
            </a:solidFill>
          </a:ln>
        </p:spPr>
        <p:txBody>
          <a:bodyPr wrap="square" lIns="0" tIns="0" rIns="0" bIns="0" rtlCol="0"/>
          <a:lstStyle/>
          <a:p>
            <a:endParaRPr sz="1599">
              <a:latin typeface="+mn-lt"/>
              <a:ea typeface="楷体" panose="02010609060101010101" pitchFamily="49" charset="-122"/>
            </a:endParaRPr>
          </a:p>
        </p:txBody>
      </p:sp>
      <p:sp>
        <p:nvSpPr>
          <p:cNvPr id="17" name="object 17"/>
          <p:cNvSpPr/>
          <p:nvPr/>
        </p:nvSpPr>
        <p:spPr>
          <a:xfrm>
            <a:off x="888019" y="5354213"/>
            <a:ext cx="133279" cy="144703"/>
          </a:xfrm>
          <a:custGeom>
            <a:avLst/>
            <a:gdLst/>
            <a:ahLst/>
            <a:cxnLst/>
            <a:rect l="l" t="t" r="r" b="b"/>
            <a:pathLst>
              <a:path w="133350" h="144779">
                <a:moveTo>
                  <a:pt x="133350" y="0"/>
                </a:moveTo>
                <a:lnTo>
                  <a:pt x="0" y="144462"/>
                </a:lnTo>
              </a:path>
            </a:pathLst>
          </a:custGeom>
          <a:ln w="64008">
            <a:solidFill>
              <a:srgbClr val="FFFFFF"/>
            </a:solidFill>
          </a:ln>
        </p:spPr>
        <p:txBody>
          <a:bodyPr wrap="square" lIns="0" tIns="0" rIns="0" bIns="0" rtlCol="0"/>
          <a:lstStyle/>
          <a:p>
            <a:endParaRPr sz="1599">
              <a:latin typeface="+mn-lt"/>
              <a:ea typeface="楷体" panose="02010609060101010101" pitchFamily="49" charset="-122"/>
            </a:endParaRPr>
          </a:p>
        </p:txBody>
      </p:sp>
      <p:sp>
        <p:nvSpPr>
          <p:cNvPr id="18" name="object 18"/>
          <p:cNvSpPr/>
          <p:nvPr/>
        </p:nvSpPr>
        <p:spPr>
          <a:xfrm>
            <a:off x="778350" y="5166860"/>
            <a:ext cx="120586" cy="342718"/>
          </a:xfrm>
          <a:custGeom>
            <a:avLst/>
            <a:gdLst/>
            <a:ahLst/>
            <a:cxnLst/>
            <a:rect l="l" t="t" r="r" b="b"/>
            <a:pathLst>
              <a:path w="120650" h="342900">
                <a:moveTo>
                  <a:pt x="0" y="0"/>
                </a:moveTo>
                <a:lnTo>
                  <a:pt x="120649" y="342899"/>
                </a:lnTo>
              </a:path>
            </a:pathLst>
          </a:custGeom>
          <a:ln w="64008">
            <a:solidFill>
              <a:srgbClr val="FFFFFF"/>
            </a:solidFill>
          </a:ln>
        </p:spPr>
        <p:txBody>
          <a:bodyPr wrap="square" lIns="0" tIns="0" rIns="0" bIns="0" rtlCol="0"/>
          <a:lstStyle/>
          <a:p>
            <a:endParaRPr sz="1599">
              <a:latin typeface="+mn-lt"/>
              <a:ea typeface="楷体" panose="02010609060101010101" pitchFamily="49" charset="-122"/>
            </a:endParaRPr>
          </a:p>
        </p:txBody>
      </p:sp>
      <p:sp>
        <p:nvSpPr>
          <p:cNvPr id="19" name="object 19"/>
          <p:cNvSpPr txBox="1"/>
          <p:nvPr/>
        </p:nvSpPr>
        <p:spPr>
          <a:xfrm>
            <a:off x="106420" y="6501804"/>
            <a:ext cx="2119773" cy="126315"/>
          </a:xfrm>
          <a:prstGeom prst="rect">
            <a:avLst/>
          </a:prstGeom>
        </p:spPr>
        <p:txBody>
          <a:bodyPr vert="horz" wrap="square" lIns="0" tIns="3173" rIns="0" bIns="0" rtlCol="0">
            <a:spAutoFit/>
          </a:bodyPr>
          <a:lstStyle/>
          <a:p>
            <a:pPr marL="12694">
              <a:spcBef>
                <a:spcPts val="25"/>
              </a:spcBef>
            </a:pPr>
            <a:r>
              <a:rPr lang="zh-CN" sz="800" spc="-5" dirty="0">
                <a:solidFill>
                  <a:srgbClr val="808080"/>
                </a:solidFill>
                <a:latin typeface="+mn-lt"/>
                <a:ea typeface="楷体" panose="02010609060101010101" pitchFamily="49" charset="-122"/>
                <a:cs typeface="SimSun"/>
              </a:rPr>
              <a:t>资料来源：</a:t>
            </a:r>
            <a:r>
              <a:rPr lang="zh-CN" sz="800" spc="-5" dirty="0">
                <a:solidFill>
                  <a:srgbClr val="808080"/>
                </a:solidFill>
                <a:latin typeface="+mn-lt"/>
                <a:ea typeface="楷体" panose="02010609060101010101" pitchFamily="49" charset="-122"/>
                <a:cs typeface="SimSun"/>
                <a:hlinkClick r:id="rId5"/>
              </a:rPr>
              <a:t>http://mcaps.intranet.mckinsey.com</a:t>
            </a:r>
            <a:endParaRPr lang="zh-CN" sz="800">
              <a:latin typeface="+mn-lt"/>
              <a:ea typeface="楷体" panose="02010609060101010101" pitchFamily="49" charset="-122"/>
              <a:cs typeface="SimSun"/>
            </a:endParaRPr>
          </a:p>
        </p:txBody>
      </p:sp>
      <p:sp>
        <p:nvSpPr>
          <p:cNvPr id="20" name="object 20"/>
          <p:cNvSpPr txBox="1"/>
          <p:nvPr/>
        </p:nvSpPr>
        <p:spPr>
          <a:xfrm>
            <a:off x="7446116" y="6501195"/>
            <a:ext cx="1197609" cy="249425"/>
          </a:xfrm>
          <a:prstGeom prst="rect">
            <a:avLst/>
          </a:prstGeom>
        </p:spPr>
        <p:txBody>
          <a:bodyPr vert="horz" wrap="square" lIns="0" tIns="3173" rIns="0" bIns="0" rtlCol="0">
            <a:spAutoFit/>
          </a:bodyPr>
          <a:lstStyle/>
          <a:p>
            <a:pPr marL="12694">
              <a:spcBef>
                <a:spcPts val="25"/>
              </a:spcBef>
            </a:pPr>
            <a:r>
              <a:rPr lang="zh-CN" sz="800" dirty="0">
                <a:solidFill>
                  <a:srgbClr val="808080"/>
                </a:solidFill>
                <a:latin typeface="+mn-lt"/>
                <a:ea typeface="楷体" panose="02010609060101010101" pitchFamily="49" charset="-122"/>
                <a:cs typeface="SimSun"/>
              </a:rPr>
              <a:t>McKinsey &amp; Company</a:t>
            </a:r>
            <a:r>
              <a:rPr lang="zh-CN" dirty="0">
                <a:latin typeface="+mn-lt"/>
                <a:ea typeface="楷体" panose="02010609060101010101" pitchFamily="49" charset="-122"/>
                <a:cs typeface="SimSun"/>
              </a:rPr>
              <a:t> </a:t>
            </a:r>
            <a:fld id="{81D60167-4931-47E6-BA6A-407CBD079E47}" type="slidenum">
              <a:rPr sz="800" dirty="0">
                <a:solidFill>
                  <a:srgbClr val="808080"/>
                </a:solidFill>
                <a:latin typeface="+mn-lt"/>
                <a:ea typeface="楷体" panose="02010609060101010101" pitchFamily="49" charset="-122"/>
                <a:cs typeface="Arial"/>
              </a:rPr>
              <a:pPr marL="12694">
                <a:spcBef>
                  <a:spcPts val="25"/>
                </a:spcBef>
              </a:pPr>
              <a:t>24</a:t>
            </a:fld>
            <a:endParaRPr lang="zh-CN" sz="800" dirty="0">
              <a:latin typeface="+mn-lt"/>
              <a:ea typeface="楷体" panose="02010609060101010101" pitchFamily="49" charset="-122"/>
              <a:cs typeface="SimSun"/>
            </a:endParaRPr>
          </a:p>
        </p:txBody>
      </p:sp>
    </p:spTree>
    <p:extLst>
      <p:ext uri="{BB962C8B-B14F-4D97-AF65-F5344CB8AC3E}">
        <p14:creationId xmlns:p14="http://schemas.microsoft.com/office/powerpoint/2010/main" val="42429033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930868"/>
            <a:ext cx="8956360" cy="225431"/>
          </a:xfrm>
          <a:prstGeom prst="rect">
            <a:avLst/>
          </a:prstGeom>
          <a:blipFill>
            <a:blip r:embed="rId2"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3" name="object 3"/>
          <p:cNvSpPr/>
          <p:nvPr/>
        </p:nvSpPr>
        <p:spPr>
          <a:xfrm>
            <a:off x="1" y="923251"/>
            <a:ext cx="8956995" cy="15232"/>
          </a:xfrm>
          <a:custGeom>
            <a:avLst/>
            <a:gdLst/>
            <a:ahLst/>
            <a:cxnLst/>
            <a:rect l="l" t="t" r="r" b="b"/>
            <a:pathLst>
              <a:path w="8961755" h="15240">
                <a:moveTo>
                  <a:pt x="0" y="15240"/>
                </a:moveTo>
                <a:lnTo>
                  <a:pt x="8961501" y="15240"/>
                </a:lnTo>
                <a:lnTo>
                  <a:pt x="8961501" y="0"/>
                </a:lnTo>
                <a:lnTo>
                  <a:pt x="0" y="0"/>
                </a:lnTo>
                <a:lnTo>
                  <a:pt x="0" y="15240"/>
                </a:lnTo>
                <a:close/>
              </a:path>
            </a:pathLst>
          </a:custGeom>
          <a:solidFill>
            <a:srgbClr val="0064BC"/>
          </a:solidFill>
        </p:spPr>
        <p:txBody>
          <a:bodyPr wrap="square" lIns="0" tIns="0" rIns="0" bIns="0" rtlCol="0"/>
          <a:lstStyle/>
          <a:p>
            <a:endParaRPr sz="1599">
              <a:latin typeface="+mn-lt"/>
              <a:ea typeface="楷体" panose="02010609060101010101" pitchFamily="49" charset="-122"/>
            </a:endParaRPr>
          </a:p>
        </p:txBody>
      </p:sp>
      <p:sp>
        <p:nvSpPr>
          <p:cNvPr id="5" name="object 5"/>
          <p:cNvSpPr txBox="1">
            <a:spLocks noGrp="1"/>
          </p:cNvSpPr>
          <p:nvPr>
            <p:ph type="title"/>
          </p:nvPr>
        </p:nvSpPr>
        <p:spPr>
          <a:xfrm>
            <a:off x="106420" y="210145"/>
            <a:ext cx="3821939" cy="330659"/>
          </a:xfrm>
          <a:prstGeom prst="rect">
            <a:avLst/>
          </a:prstGeom>
        </p:spPr>
        <p:txBody>
          <a:bodyPr vert="horz" wrap="square" lIns="0" tIns="12693" rIns="0" bIns="0" numCol="1" rtlCol="0" anchor="t" anchorCtr="0" compatLnSpc="1">
            <a:prstTxWarp prst="textNoShape">
              <a:avLst/>
            </a:prstTxWarp>
            <a:spAutoFit/>
          </a:bodyPr>
          <a:lstStyle/>
          <a:p>
            <a:pPr marL="12694">
              <a:spcBef>
                <a:spcPts val="100"/>
              </a:spcBef>
            </a:pPr>
            <a:r>
              <a:rPr lang="zh-CN" spc="-5" dirty="0">
                <a:latin typeface="+mn-lt"/>
                <a:ea typeface="楷体" panose="02010609060101010101" pitchFamily="49" charset="-122"/>
                <a:cs typeface="SimSun"/>
              </a:rPr>
              <a:t>朴素贝叶斯 </a:t>
            </a:r>
            <a:r>
              <a:rPr lang="zh-CN" dirty="0">
                <a:latin typeface="+mn-lt"/>
                <a:ea typeface="楷体" panose="02010609060101010101" pitchFamily="49" charset="-122"/>
                <a:cs typeface="SimSun"/>
              </a:rPr>
              <a:t>– 如何运作？</a:t>
            </a:r>
          </a:p>
        </p:txBody>
      </p:sp>
      <p:sp>
        <p:nvSpPr>
          <p:cNvPr id="9" name="object 9"/>
          <p:cNvSpPr/>
          <p:nvPr/>
        </p:nvSpPr>
        <p:spPr>
          <a:xfrm>
            <a:off x="0" y="5064806"/>
            <a:ext cx="8956360" cy="553426"/>
          </a:xfrm>
          <a:custGeom>
            <a:avLst/>
            <a:gdLst/>
            <a:ahLst/>
            <a:cxnLst/>
            <a:rect l="l" t="t" r="r" b="b"/>
            <a:pathLst>
              <a:path w="8961120" h="553720">
                <a:moveTo>
                  <a:pt x="0" y="0"/>
                </a:moveTo>
                <a:lnTo>
                  <a:pt x="0" y="553211"/>
                </a:lnTo>
                <a:lnTo>
                  <a:pt x="8961119" y="553211"/>
                </a:lnTo>
                <a:lnTo>
                  <a:pt x="8961119" y="0"/>
                </a:lnTo>
                <a:lnTo>
                  <a:pt x="0" y="0"/>
                </a:lnTo>
                <a:close/>
              </a:path>
            </a:pathLst>
          </a:custGeom>
          <a:solidFill>
            <a:srgbClr val="0064BC"/>
          </a:solidFill>
        </p:spPr>
        <p:txBody>
          <a:bodyPr wrap="square" lIns="0" tIns="0" rIns="0" bIns="0" rtlCol="0"/>
          <a:lstStyle/>
          <a:p>
            <a:endParaRPr sz="1599">
              <a:latin typeface="+mn-lt"/>
              <a:ea typeface="楷体" panose="02010609060101010101" pitchFamily="49" charset="-122"/>
            </a:endParaRPr>
          </a:p>
        </p:txBody>
      </p:sp>
      <p:sp>
        <p:nvSpPr>
          <p:cNvPr id="10" name="object 10"/>
          <p:cNvSpPr txBox="1"/>
          <p:nvPr/>
        </p:nvSpPr>
        <p:spPr>
          <a:xfrm>
            <a:off x="1192455" y="5203163"/>
            <a:ext cx="6571932" cy="258139"/>
          </a:xfrm>
          <a:prstGeom prst="rect">
            <a:avLst/>
          </a:prstGeom>
        </p:spPr>
        <p:txBody>
          <a:bodyPr vert="horz" wrap="square" lIns="0" tIns="12059" rIns="0" bIns="0" rtlCol="0">
            <a:spAutoFit/>
          </a:bodyPr>
          <a:lstStyle/>
          <a:p>
            <a:pPr marL="12694">
              <a:spcBef>
                <a:spcPts val="95"/>
              </a:spcBef>
            </a:pPr>
            <a:r>
              <a:rPr lang="zh-CN" sz="1599" b="1" spc="-5" dirty="0">
                <a:solidFill>
                  <a:srgbClr val="FFFFFF"/>
                </a:solidFill>
                <a:latin typeface="+mn-lt"/>
                <a:ea typeface="楷体" panose="02010609060101010101" pitchFamily="49" charset="-122"/>
                <a:cs typeface="SimSun"/>
              </a:rPr>
              <a:t>计算每个类别-特征组合的</a:t>
            </a:r>
            <a:r>
              <a:rPr lang="zh-CN" altLang="en-US" sz="1599" b="1" spc="-5" dirty="0">
                <a:solidFill>
                  <a:srgbClr val="FFFFFF"/>
                </a:solidFill>
                <a:latin typeface="+mn-lt"/>
                <a:ea typeface="楷体" panose="02010609060101010101" pitchFamily="49" charset="-122"/>
                <a:cs typeface="SimSun"/>
              </a:rPr>
              <a:t>后验概率</a:t>
            </a:r>
            <a:endParaRPr lang="zh-CN" sz="1599" dirty="0">
              <a:latin typeface="+mn-lt"/>
              <a:ea typeface="楷体" panose="02010609060101010101" pitchFamily="49" charset="-122"/>
              <a:cs typeface="SimSun"/>
            </a:endParaRPr>
          </a:p>
        </p:txBody>
      </p:sp>
      <p:sp>
        <p:nvSpPr>
          <p:cNvPr id="11" name="object 11"/>
          <p:cNvSpPr/>
          <p:nvPr/>
        </p:nvSpPr>
        <p:spPr>
          <a:xfrm>
            <a:off x="470414" y="4401331"/>
            <a:ext cx="4363819" cy="471006"/>
          </a:xfrm>
          <a:prstGeom prst="rect">
            <a:avLst/>
          </a:prstGeom>
          <a:blipFill>
            <a:blip r:embed="rId3"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12" name="object 12"/>
          <p:cNvSpPr/>
          <p:nvPr/>
        </p:nvSpPr>
        <p:spPr>
          <a:xfrm>
            <a:off x="481750" y="2345464"/>
            <a:ext cx="4483209" cy="1293695"/>
          </a:xfrm>
          <a:prstGeom prst="rect">
            <a:avLst/>
          </a:prstGeom>
          <a:blipFill>
            <a:blip r:embed="rId4"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13" name="object 13"/>
          <p:cNvSpPr txBox="1"/>
          <p:nvPr/>
        </p:nvSpPr>
        <p:spPr>
          <a:xfrm>
            <a:off x="452184" y="1792231"/>
            <a:ext cx="1620294" cy="258139"/>
          </a:xfrm>
          <a:prstGeom prst="rect">
            <a:avLst/>
          </a:prstGeom>
        </p:spPr>
        <p:txBody>
          <a:bodyPr vert="horz" wrap="square" lIns="0" tIns="12059" rIns="0" bIns="0" rtlCol="0">
            <a:spAutoFit/>
          </a:bodyPr>
          <a:lstStyle/>
          <a:p>
            <a:pPr marL="12694">
              <a:spcBef>
                <a:spcPts val="95"/>
              </a:spcBef>
            </a:pPr>
            <a:r>
              <a:rPr lang="zh-CN" sz="1599" b="1" spc="-5" dirty="0">
                <a:solidFill>
                  <a:srgbClr val="F17E00"/>
                </a:solidFill>
                <a:latin typeface="+mn-lt"/>
                <a:ea typeface="楷体" panose="02010609060101010101" pitchFamily="49" charset="-122"/>
                <a:cs typeface="SimSun"/>
              </a:rPr>
              <a:t>频率表</a:t>
            </a:r>
            <a:r>
              <a:rPr lang="zh-CN" dirty="0">
                <a:latin typeface="+mn-lt"/>
                <a:ea typeface="楷体" panose="02010609060101010101" pitchFamily="49" charset="-122"/>
                <a:cs typeface="SimSun"/>
              </a:rPr>
              <a:t> </a:t>
            </a:r>
            <a:endParaRPr lang="zh-CN" sz="1599">
              <a:latin typeface="+mn-lt"/>
              <a:ea typeface="楷体" panose="02010609060101010101" pitchFamily="49" charset="-122"/>
              <a:cs typeface="SimSun"/>
            </a:endParaRPr>
          </a:p>
        </p:txBody>
      </p:sp>
      <p:sp>
        <p:nvSpPr>
          <p:cNvPr id="14" name="object 14"/>
          <p:cNvSpPr txBox="1"/>
          <p:nvPr/>
        </p:nvSpPr>
        <p:spPr>
          <a:xfrm>
            <a:off x="452184" y="3993749"/>
            <a:ext cx="2021401" cy="258139"/>
          </a:xfrm>
          <a:prstGeom prst="rect">
            <a:avLst/>
          </a:prstGeom>
        </p:spPr>
        <p:txBody>
          <a:bodyPr vert="horz" wrap="square" lIns="0" tIns="12059" rIns="0" bIns="0" rtlCol="0">
            <a:spAutoFit/>
          </a:bodyPr>
          <a:lstStyle/>
          <a:p>
            <a:pPr marL="12694">
              <a:spcBef>
                <a:spcPts val="95"/>
              </a:spcBef>
            </a:pPr>
            <a:r>
              <a:rPr lang="zh-CN" sz="1599" b="1" spc="-5" dirty="0">
                <a:solidFill>
                  <a:srgbClr val="F17E00"/>
                </a:solidFill>
                <a:latin typeface="+mn-lt"/>
                <a:ea typeface="楷体" panose="02010609060101010101" pitchFamily="49" charset="-122"/>
                <a:cs typeface="SimSun"/>
              </a:rPr>
              <a:t>后验概率</a:t>
            </a:r>
            <a:endParaRPr lang="zh-CN" sz="1599">
              <a:latin typeface="+mn-lt"/>
              <a:ea typeface="楷体" panose="02010609060101010101" pitchFamily="49" charset="-122"/>
              <a:cs typeface="SimSun"/>
            </a:endParaRPr>
          </a:p>
        </p:txBody>
      </p:sp>
      <p:sp>
        <p:nvSpPr>
          <p:cNvPr id="15" name="object 15"/>
          <p:cNvSpPr txBox="1"/>
          <p:nvPr/>
        </p:nvSpPr>
        <p:spPr>
          <a:xfrm>
            <a:off x="5314792" y="1773954"/>
            <a:ext cx="3190449" cy="2017085"/>
          </a:xfrm>
          <a:prstGeom prst="rect">
            <a:avLst/>
          </a:prstGeom>
        </p:spPr>
        <p:txBody>
          <a:bodyPr vert="horz" wrap="square" lIns="0" tIns="12059" rIns="0" bIns="0" rtlCol="0">
            <a:spAutoFit/>
          </a:bodyPr>
          <a:lstStyle/>
          <a:p>
            <a:pPr marL="12694">
              <a:spcBef>
                <a:spcPts val="95"/>
              </a:spcBef>
            </a:pPr>
            <a:r>
              <a:rPr lang="zh-CN" sz="1599" b="1" spc="-5" dirty="0">
                <a:solidFill>
                  <a:srgbClr val="F17E00"/>
                </a:solidFill>
                <a:latin typeface="+mn-lt"/>
                <a:ea typeface="楷体" panose="02010609060101010101" pitchFamily="49" charset="-122"/>
                <a:cs typeface="SimSun"/>
              </a:rPr>
              <a:t>后验概率</a:t>
            </a:r>
            <a:endParaRPr lang="zh-CN" sz="1599" dirty="0">
              <a:latin typeface="+mn-lt"/>
              <a:ea typeface="楷体" panose="02010609060101010101" pitchFamily="49" charset="-122"/>
              <a:cs typeface="SimSun"/>
            </a:endParaRPr>
          </a:p>
          <a:p>
            <a:pPr marL="205637" marR="198656" indent="-191674">
              <a:spcBef>
                <a:spcPts val="160"/>
              </a:spcBef>
              <a:buClr>
                <a:srgbClr val="00295F"/>
              </a:buClr>
              <a:buSzPct val="125000"/>
              <a:buChar char="▪"/>
              <a:tabLst>
                <a:tab pos="206272" algn="l"/>
              </a:tabLst>
            </a:pPr>
            <a:r>
              <a:rPr lang="zh-CN" sz="1599" spc="-5" dirty="0">
                <a:latin typeface="+mn-lt"/>
                <a:ea typeface="楷体" panose="02010609060101010101" pitchFamily="49" charset="-122"/>
                <a:cs typeface="SimSun"/>
              </a:rPr>
              <a:t>针对每个类别的结果-特征组合，建立一个频率表</a:t>
            </a:r>
            <a:r>
              <a:rPr lang="zh-CN" dirty="0">
                <a:latin typeface="+mn-lt"/>
                <a:ea typeface="楷体" panose="02010609060101010101" pitchFamily="49" charset="-122"/>
                <a:cs typeface="SimSun"/>
              </a:rPr>
              <a:t> </a:t>
            </a:r>
            <a:endParaRPr lang="zh-CN" sz="1599" dirty="0">
              <a:latin typeface="+mn-lt"/>
              <a:ea typeface="楷体" panose="02010609060101010101" pitchFamily="49" charset="-122"/>
              <a:cs typeface="SimSun"/>
            </a:endParaRPr>
          </a:p>
          <a:p>
            <a:pPr marL="205637" marR="5077" indent="-191674">
              <a:spcBef>
                <a:spcPts val="965"/>
              </a:spcBef>
              <a:buClr>
                <a:srgbClr val="00295F"/>
              </a:buClr>
              <a:buSzPct val="125000"/>
              <a:buChar char="▪"/>
              <a:tabLst>
                <a:tab pos="206272" algn="l"/>
              </a:tabLst>
            </a:pPr>
            <a:r>
              <a:rPr lang="zh-CN" sz="1599" spc="-5" dirty="0">
                <a:latin typeface="+mn-lt"/>
                <a:ea typeface="楷体" panose="02010609060101010101" pitchFamily="49" charset="-122"/>
                <a:cs typeface="SimSun"/>
              </a:rPr>
              <a:t>计算每个类别-特征组合的后验概率</a:t>
            </a:r>
            <a:endParaRPr lang="zh-CN" sz="1599" dirty="0">
              <a:latin typeface="+mn-lt"/>
              <a:ea typeface="楷体" panose="02010609060101010101" pitchFamily="49" charset="-122"/>
              <a:cs typeface="SimSun"/>
            </a:endParaRPr>
          </a:p>
          <a:p>
            <a:pPr marL="205637" marR="316072" indent="-191674">
              <a:spcBef>
                <a:spcPts val="960"/>
              </a:spcBef>
              <a:buClr>
                <a:srgbClr val="00295F"/>
              </a:buClr>
              <a:buSzPct val="125000"/>
              <a:buChar char="▪"/>
              <a:tabLst>
                <a:tab pos="206272" algn="l"/>
              </a:tabLst>
            </a:pPr>
            <a:r>
              <a:rPr lang="zh-CN" sz="1599" spc="-5" dirty="0">
                <a:latin typeface="+mn-lt"/>
                <a:ea typeface="楷体" panose="02010609060101010101" pitchFamily="49" charset="-122"/>
                <a:cs typeface="SimSun"/>
              </a:rPr>
              <a:t>这一步的计算方法</a:t>
            </a:r>
            <a:r>
              <a:rPr lang="zh-CN" altLang="en-US" sz="1599" spc="-5" dirty="0">
                <a:latin typeface="+mn-lt"/>
                <a:ea typeface="楷体" panose="02010609060101010101" pitchFamily="49" charset="-122"/>
                <a:cs typeface="SimSun"/>
              </a:rPr>
              <a:t>是：</a:t>
            </a:r>
            <a:r>
              <a:rPr lang="zh-CN" sz="1599" spc="-5" dirty="0">
                <a:latin typeface="+mn-lt"/>
                <a:ea typeface="楷体" panose="02010609060101010101" pitchFamily="49" charset="-122"/>
                <a:cs typeface="SimSun"/>
              </a:rPr>
              <a:t>似然</a:t>
            </a:r>
            <a:r>
              <a:rPr lang="zh-CN" altLang="en-US" sz="1599" spc="-5" dirty="0">
                <a:latin typeface="+mn-lt"/>
                <a:ea typeface="楷体" panose="02010609060101010101" pitchFamily="49" charset="-122"/>
                <a:cs typeface="SimSun"/>
              </a:rPr>
              <a:t>与</a:t>
            </a:r>
            <a:r>
              <a:rPr lang="zh-CN" sz="1599" spc="-5" dirty="0">
                <a:latin typeface="+mn-lt"/>
                <a:ea typeface="楷体" panose="02010609060101010101" pitchFamily="49" charset="-122"/>
                <a:cs typeface="SimSun"/>
              </a:rPr>
              <a:t>后验概率</a:t>
            </a:r>
            <a:r>
              <a:rPr lang="zh-CN" altLang="en-US" sz="1599" spc="-5" dirty="0">
                <a:latin typeface="+mn-lt"/>
                <a:ea typeface="楷体" panose="02010609060101010101" pitchFamily="49" charset="-122"/>
                <a:cs typeface="SimSun"/>
              </a:rPr>
              <a:t>之积</a:t>
            </a:r>
            <a:r>
              <a:rPr lang="zh-CN" sz="1599" spc="-5" dirty="0">
                <a:latin typeface="+mn-lt"/>
                <a:ea typeface="楷体" panose="02010609060101010101" pitchFamily="49" charset="-122"/>
                <a:cs typeface="SimSun"/>
              </a:rPr>
              <a:t>除以边际似然</a:t>
            </a:r>
            <a:endParaRPr lang="zh-CN" sz="1599" dirty="0">
              <a:latin typeface="+mn-lt"/>
              <a:ea typeface="楷体" panose="02010609060101010101" pitchFamily="49" charset="-122"/>
              <a:cs typeface="SimSun"/>
            </a:endParaRPr>
          </a:p>
        </p:txBody>
      </p:sp>
      <p:sp>
        <p:nvSpPr>
          <p:cNvPr id="17" name="object 6">
            <a:extLst>
              <a:ext uri="{FF2B5EF4-FFF2-40B4-BE49-F238E27FC236}">
                <a16:creationId xmlns:a16="http://schemas.microsoft.com/office/drawing/2014/main" id="{34A7A2C7-6C56-47BF-988E-091CCAACF79F}"/>
              </a:ext>
            </a:extLst>
          </p:cNvPr>
          <p:cNvSpPr txBox="1">
            <a:spLocks/>
          </p:cNvSpPr>
          <p:nvPr/>
        </p:nvSpPr>
        <p:spPr bwMode="gray">
          <a:xfrm>
            <a:off x="106419" y="210145"/>
            <a:ext cx="4268935" cy="320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3" rIns="0" bIns="0" numCol="1" rtlCol="0"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99" b="0" i="0" baseline="0">
                <a:solidFill>
                  <a:schemeClr val="bg1"/>
                </a:solidFill>
                <a:latin typeface="Arial"/>
                <a:ea typeface="+mj-ea"/>
                <a:cs typeface="Arial"/>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12694">
              <a:spcBef>
                <a:spcPts val="100"/>
              </a:spcBef>
            </a:pPr>
            <a:r>
              <a:rPr lang="zh-CN" altLang="en-US" dirty="0">
                <a:solidFill>
                  <a:schemeClr val="tx2"/>
                </a:solidFill>
                <a:latin typeface="+mn-lt"/>
                <a:ea typeface="楷体" panose="02010609060101010101" pitchFamily="49" charset="-122"/>
                <a:cs typeface="SimSun"/>
              </a:rPr>
              <a:t>朴素贝叶斯</a:t>
            </a:r>
            <a:r>
              <a:rPr lang="zh-CN" dirty="0">
                <a:solidFill>
                  <a:schemeClr val="tx2"/>
                </a:solidFill>
                <a:latin typeface="+mn-lt"/>
                <a:ea typeface="楷体" panose="02010609060101010101" pitchFamily="49" charset="-122"/>
                <a:cs typeface="SimSun"/>
              </a:rPr>
              <a:t> – </a:t>
            </a:r>
            <a:r>
              <a:rPr lang="zh-CN" altLang="en-US" dirty="0">
                <a:solidFill>
                  <a:schemeClr val="tx2"/>
                </a:solidFill>
                <a:latin typeface="+mn-lt"/>
                <a:ea typeface="楷体" panose="02010609060101010101" pitchFamily="49" charset="-122"/>
                <a:cs typeface="SimSun"/>
              </a:rPr>
              <a:t>如何运作？</a:t>
            </a:r>
            <a:endParaRPr lang="zh-CN" kern="0" dirty="0">
              <a:solidFill>
                <a:schemeClr val="tx2"/>
              </a:solidFill>
              <a:latin typeface="+mn-lt"/>
              <a:ea typeface="楷体" panose="02010609060101010101" pitchFamily="49" charset="-122"/>
            </a:endParaRPr>
          </a:p>
        </p:txBody>
      </p:sp>
      <p:sp>
        <p:nvSpPr>
          <p:cNvPr id="19" name="object 20">
            <a:extLst>
              <a:ext uri="{FF2B5EF4-FFF2-40B4-BE49-F238E27FC236}">
                <a16:creationId xmlns:a16="http://schemas.microsoft.com/office/drawing/2014/main" id="{3B703729-0DD2-4E37-AC4B-6924C1175377}"/>
              </a:ext>
            </a:extLst>
          </p:cNvPr>
          <p:cNvSpPr txBox="1"/>
          <p:nvPr/>
        </p:nvSpPr>
        <p:spPr>
          <a:xfrm>
            <a:off x="7446116" y="6501195"/>
            <a:ext cx="1197609" cy="249425"/>
          </a:xfrm>
          <a:prstGeom prst="rect">
            <a:avLst/>
          </a:prstGeom>
        </p:spPr>
        <p:txBody>
          <a:bodyPr vert="horz" wrap="square" lIns="0" tIns="3173" rIns="0" bIns="0" rtlCol="0">
            <a:spAutoFit/>
          </a:bodyPr>
          <a:lstStyle/>
          <a:p>
            <a:pPr marL="12694">
              <a:spcBef>
                <a:spcPts val="25"/>
              </a:spcBef>
            </a:pPr>
            <a:r>
              <a:rPr lang="zh-CN" sz="800" dirty="0">
                <a:solidFill>
                  <a:srgbClr val="808080"/>
                </a:solidFill>
                <a:latin typeface="+mn-lt"/>
                <a:ea typeface="楷体" panose="02010609060101010101" pitchFamily="49" charset="-122"/>
                <a:cs typeface="SimSun"/>
              </a:rPr>
              <a:t>McKinsey &amp; Company</a:t>
            </a:r>
            <a:r>
              <a:rPr lang="zh-CN" dirty="0">
                <a:latin typeface="+mn-lt"/>
                <a:ea typeface="楷体" panose="02010609060101010101" pitchFamily="49" charset="-122"/>
                <a:cs typeface="SimSun"/>
              </a:rPr>
              <a:t> </a:t>
            </a:r>
            <a:fld id="{81D60167-4931-47E6-BA6A-407CBD079E47}" type="slidenum">
              <a:rPr sz="800" dirty="0">
                <a:solidFill>
                  <a:srgbClr val="808080"/>
                </a:solidFill>
                <a:latin typeface="+mn-lt"/>
                <a:ea typeface="楷体" panose="02010609060101010101" pitchFamily="49" charset="-122"/>
                <a:cs typeface="Arial"/>
              </a:rPr>
              <a:pPr marL="12694">
                <a:spcBef>
                  <a:spcPts val="25"/>
                </a:spcBef>
              </a:pPr>
              <a:t>25</a:t>
            </a:fld>
            <a:endParaRPr lang="zh-CN" sz="800" dirty="0">
              <a:latin typeface="+mn-lt"/>
              <a:ea typeface="楷体" panose="02010609060101010101" pitchFamily="49" charset="-122"/>
              <a:cs typeface="SimSun"/>
            </a:endParaRPr>
          </a:p>
        </p:txBody>
      </p:sp>
    </p:spTree>
    <p:extLst>
      <p:ext uri="{BB962C8B-B14F-4D97-AF65-F5344CB8AC3E}">
        <p14:creationId xmlns:p14="http://schemas.microsoft.com/office/powerpoint/2010/main" val="16265455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930868"/>
            <a:ext cx="8956360" cy="225431"/>
          </a:xfrm>
          <a:prstGeom prst="rect">
            <a:avLst/>
          </a:prstGeom>
          <a:blipFill>
            <a:blip r:embed="rId2"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3" name="object 3"/>
          <p:cNvSpPr/>
          <p:nvPr/>
        </p:nvSpPr>
        <p:spPr>
          <a:xfrm>
            <a:off x="1" y="923251"/>
            <a:ext cx="8956995" cy="15232"/>
          </a:xfrm>
          <a:custGeom>
            <a:avLst/>
            <a:gdLst/>
            <a:ahLst/>
            <a:cxnLst/>
            <a:rect l="l" t="t" r="r" b="b"/>
            <a:pathLst>
              <a:path w="8961755" h="15240">
                <a:moveTo>
                  <a:pt x="0" y="15240"/>
                </a:moveTo>
                <a:lnTo>
                  <a:pt x="8961501" y="15240"/>
                </a:lnTo>
                <a:lnTo>
                  <a:pt x="8961501" y="0"/>
                </a:lnTo>
                <a:lnTo>
                  <a:pt x="0" y="0"/>
                </a:lnTo>
                <a:lnTo>
                  <a:pt x="0" y="15240"/>
                </a:lnTo>
                <a:close/>
              </a:path>
            </a:pathLst>
          </a:custGeom>
          <a:solidFill>
            <a:srgbClr val="0064BC"/>
          </a:solidFill>
        </p:spPr>
        <p:txBody>
          <a:bodyPr wrap="square" lIns="0" tIns="0" rIns="0" bIns="0" rtlCol="0"/>
          <a:lstStyle/>
          <a:p>
            <a:endParaRPr sz="1599">
              <a:latin typeface="+mn-lt"/>
              <a:ea typeface="楷体" panose="02010609060101010101" pitchFamily="49" charset="-122"/>
            </a:endParaRPr>
          </a:p>
        </p:txBody>
      </p:sp>
      <p:sp>
        <p:nvSpPr>
          <p:cNvPr id="6" name="object 6"/>
          <p:cNvSpPr txBox="1">
            <a:spLocks noGrp="1"/>
          </p:cNvSpPr>
          <p:nvPr>
            <p:ph type="title"/>
          </p:nvPr>
        </p:nvSpPr>
        <p:spPr>
          <a:xfrm>
            <a:off x="106420" y="210145"/>
            <a:ext cx="1961742" cy="330659"/>
          </a:xfrm>
          <a:prstGeom prst="rect">
            <a:avLst/>
          </a:prstGeom>
        </p:spPr>
        <p:txBody>
          <a:bodyPr vert="horz" wrap="square" lIns="0" tIns="12693" rIns="0" bIns="0" numCol="1" rtlCol="0" anchor="t" anchorCtr="0" compatLnSpc="1">
            <a:prstTxWarp prst="textNoShape">
              <a:avLst/>
            </a:prstTxWarp>
            <a:spAutoFit/>
          </a:bodyPr>
          <a:lstStyle/>
          <a:p>
            <a:pPr marL="12694">
              <a:spcBef>
                <a:spcPts val="100"/>
              </a:spcBef>
            </a:pPr>
            <a:r>
              <a:rPr lang="zh-CN" dirty="0">
                <a:latin typeface="+mn-lt"/>
                <a:ea typeface="楷体" panose="02010609060101010101" pitchFamily="49" charset="-122"/>
                <a:cs typeface="SimSun"/>
              </a:rPr>
              <a:t>套索回归</a:t>
            </a:r>
            <a:endParaRPr lang="zh-CN">
              <a:latin typeface="+mn-lt"/>
              <a:ea typeface="楷体" panose="02010609060101010101" pitchFamily="49" charset="-122"/>
            </a:endParaRPr>
          </a:p>
        </p:txBody>
      </p:sp>
      <p:sp>
        <p:nvSpPr>
          <p:cNvPr id="7" name="object 7"/>
          <p:cNvSpPr/>
          <p:nvPr/>
        </p:nvSpPr>
        <p:spPr>
          <a:xfrm>
            <a:off x="271128" y="2850087"/>
            <a:ext cx="8461323" cy="0"/>
          </a:xfrm>
          <a:custGeom>
            <a:avLst/>
            <a:gdLst/>
            <a:ahLst/>
            <a:cxnLst/>
            <a:rect l="l" t="t" r="r" b="b"/>
            <a:pathLst>
              <a:path w="8465820">
                <a:moveTo>
                  <a:pt x="0" y="0"/>
                </a:moveTo>
                <a:lnTo>
                  <a:pt x="8465820" y="0"/>
                </a:lnTo>
              </a:path>
            </a:pathLst>
          </a:custGeom>
          <a:ln w="6096">
            <a:solidFill>
              <a:srgbClr val="808080"/>
            </a:solidFill>
            <a:prstDash val="sysDot"/>
          </a:ln>
        </p:spPr>
        <p:txBody>
          <a:bodyPr wrap="square" lIns="0" tIns="0" rIns="0" bIns="0" rtlCol="0"/>
          <a:lstStyle/>
          <a:p>
            <a:endParaRPr sz="1599">
              <a:latin typeface="+mn-lt"/>
              <a:ea typeface="楷体" panose="02010609060101010101" pitchFamily="49" charset="-122"/>
            </a:endParaRPr>
          </a:p>
        </p:txBody>
      </p:sp>
      <p:sp>
        <p:nvSpPr>
          <p:cNvPr id="8" name="object 8"/>
          <p:cNvSpPr/>
          <p:nvPr/>
        </p:nvSpPr>
        <p:spPr>
          <a:xfrm>
            <a:off x="271128" y="4441821"/>
            <a:ext cx="8461323" cy="0"/>
          </a:xfrm>
          <a:custGeom>
            <a:avLst/>
            <a:gdLst/>
            <a:ahLst/>
            <a:cxnLst/>
            <a:rect l="l" t="t" r="r" b="b"/>
            <a:pathLst>
              <a:path w="8465820">
                <a:moveTo>
                  <a:pt x="0" y="0"/>
                </a:moveTo>
                <a:lnTo>
                  <a:pt x="8465820" y="0"/>
                </a:lnTo>
              </a:path>
            </a:pathLst>
          </a:custGeom>
          <a:ln w="6096">
            <a:solidFill>
              <a:srgbClr val="808080"/>
            </a:solidFill>
            <a:prstDash val="sysDot"/>
          </a:ln>
        </p:spPr>
        <p:txBody>
          <a:bodyPr wrap="square" lIns="0" tIns="0" rIns="0" bIns="0" rtlCol="0"/>
          <a:lstStyle/>
          <a:p>
            <a:endParaRPr sz="1599">
              <a:latin typeface="+mn-lt"/>
              <a:ea typeface="楷体" panose="02010609060101010101" pitchFamily="49" charset="-122"/>
            </a:endParaRPr>
          </a:p>
        </p:txBody>
      </p:sp>
      <p:sp>
        <p:nvSpPr>
          <p:cNvPr id="9" name="object 9"/>
          <p:cNvSpPr txBox="1"/>
          <p:nvPr/>
        </p:nvSpPr>
        <p:spPr>
          <a:xfrm>
            <a:off x="1616485" y="1060720"/>
            <a:ext cx="7109492" cy="1124917"/>
          </a:xfrm>
          <a:prstGeom prst="rect">
            <a:avLst/>
          </a:prstGeom>
        </p:spPr>
        <p:txBody>
          <a:bodyPr vert="horz" wrap="square" lIns="0" tIns="12059" rIns="0" bIns="0" rtlCol="0">
            <a:spAutoFit/>
          </a:bodyPr>
          <a:lstStyle/>
          <a:p>
            <a:pPr marL="12694">
              <a:spcBef>
                <a:spcPts val="95"/>
              </a:spcBef>
            </a:pPr>
            <a:r>
              <a:rPr lang="zh-CN" sz="1599" b="1" i="1" spc="-5" dirty="0">
                <a:solidFill>
                  <a:srgbClr val="F17E00"/>
                </a:solidFill>
                <a:latin typeface="+mn-lt"/>
                <a:ea typeface="楷体" panose="02010609060101010101" pitchFamily="49" charset="-122"/>
                <a:cs typeface="SimSun"/>
              </a:rPr>
              <a:t>是什么？</a:t>
            </a:r>
            <a:endParaRPr lang="zh-CN" sz="1599" dirty="0">
              <a:latin typeface="+mn-lt"/>
              <a:ea typeface="楷体" panose="02010609060101010101" pitchFamily="49" charset="-122"/>
              <a:cs typeface="SimSun"/>
            </a:endParaRPr>
          </a:p>
          <a:p>
            <a:pPr marL="206272" marR="88856" indent="-192309">
              <a:spcBef>
                <a:spcPts val="385"/>
              </a:spcBef>
              <a:buClr>
                <a:srgbClr val="00295F"/>
              </a:buClr>
              <a:buSzPct val="125000"/>
              <a:buChar char="▪"/>
              <a:tabLst>
                <a:tab pos="206906" algn="l"/>
              </a:tabLst>
            </a:pPr>
            <a:r>
              <a:rPr lang="zh-CN" sz="1599" spc="-5" dirty="0">
                <a:latin typeface="+mn-lt"/>
                <a:ea typeface="楷体" panose="02010609060101010101" pitchFamily="49" charset="-122"/>
                <a:cs typeface="SimSun"/>
              </a:rPr>
              <a:t>一种统计预测工具，可估算营销活动响应、贷款违约、设备故障、保险理赔、航班准点、客户流失、疾病发生、体育赛事胜出等二进制响应的概率</a:t>
            </a:r>
            <a:endParaRPr lang="zh-CN" sz="1599" dirty="0">
              <a:latin typeface="+mn-lt"/>
              <a:ea typeface="楷体" panose="02010609060101010101" pitchFamily="49" charset="-122"/>
              <a:cs typeface="SimSun"/>
            </a:endParaRPr>
          </a:p>
          <a:p>
            <a:pPr marL="206272" indent="-192309">
              <a:spcBef>
                <a:spcPts val="600"/>
              </a:spcBef>
              <a:buClr>
                <a:srgbClr val="00295F"/>
              </a:buClr>
              <a:buSzPct val="125000"/>
              <a:buChar char="▪"/>
              <a:tabLst>
                <a:tab pos="206906" algn="l"/>
              </a:tabLst>
            </a:pPr>
            <a:r>
              <a:rPr lang="zh-CN" sz="1599" spc="-5" dirty="0">
                <a:latin typeface="+mn-lt"/>
                <a:ea typeface="楷体" panose="02010609060101010101" pitchFamily="49" charset="-122"/>
                <a:cs typeface="SimSun"/>
              </a:rPr>
              <a:t>与因变量保持连续的线性回归不同</a:t>
            </a:r>
            <a:endParaRPr lang="zh-CN" sz="1599" dirty="0">
              <a:latin typeface="+mn-lt"/>
              <a:ea typeface="楷体" panose="02010609060101010101" pitchFamily="49" charset="-122"/>
              <a:cs typeface="SimSun"/>
            </a:endParaRPr>
          </a:p>
        </p:txBody>
      </p:sp>
      <p:sp>
        <p:nvSpPr>
          <p:cNvPr id="10" name="object 10"/>
          <p:cNvSpPr/>
          <p:nvPr/>
        </p:nvSpPr>
        <p:spPr>
          <a:xfrm>
            <a:off x="271128" y="1267492"/>
            <a:ext cx="1238354" cy="1244447"/>
          </a:xfrm>
          <a:prstGeom prst="rect">
            <a:avLst/>
          </a:prstGeom>
          <a:blipFill>
            <a:blip r:embed="rId3"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11" name="object 11"/>
          <p:cNvSpPr/>
          <p:nvPr/>
        </p:nvSpPr>
        <p:spPr>
          <a:xfrm>
            <a:off x="693051" y="1509680"/>
            <a:ext cx="394760" cy="761595"/>
          </a:xfrm>
          <a:custGeom>
            <a:avLst/>
            <a:gdLst/>
            <a:ahLst/>
            <a:cxnLst/>
            <a:rect l="l" t="t" r="r" b="b"/>
            <a:pathLst>
              <a:path w="394969" h="762000">
                <a:moveTo>
                  <a:pt x="0" y="762000"/>
                </a:moveTo>
                <a:lnTo>
                  <a:pt x="394716" y="762000"/>
                </a:lnTo>
                <a:lnTo>
                  <a:pt x="394716" y="0"/>
                </a:lnTo>
                <a:lnTo>
                  <a:pt x="0" y="0"/>
                </a:lnTo>
                <a:lnTo>
                  <a:pt x="0" y="762000"/>
                </a:lnTo>
                <a:close/>
              </a:path>
            </a:pathLst>
          </a:custGeom>
          <a:ln w="64008">
            <a:solidFill>
              <a:srgbClr val="FFFFFF"/>
            </a:solidFill>
            <a:prstDash val="lgDash"/>
          </a:ln>
        </p:spPr>
        <p:txBody>
          <a:bodyPr wrap="square" lIns="0" tIns="0" rIns="0" bIns="0" rtlCol="0"/>
          <a:lstStyle/>
          <a:p>
            <a:endParaRPr sz="1599">
              <a:latin typeface="+mn-lt"/>
              <a:ea typeface="楷体" panose="02010609060101010101" pitchFamily="49" charset="-122"/>
            </a:endParaRPr>
          </a:p>
        </p:txBody>
      </p:sp>
      <p:sp>
        <p:nvSpPr>
          <p:cNvPr id="12" name="object 12"/>
          <p:cNvSpPr txBox="1"/>
          <p:nvPr/>
        </p:nvSpPr>
        <p:spPr>
          <a:xfrm>
            <a:off x="1616485" y="3063461"/>
            <a:ext cx="6905130" cy="878824"/>
          </a:xfrm>
          <a:prstGeom prst="rect">
            <a:avLst/>
          </a:prstGeom>
        </p:spPr>
        <p:txBody>
          <a:bodyPr vert="horz" wrap="square" lIns="0" tIns="12059" rIns="0" bIns="0" rtlCol="0">
            <a:spAutoFit/>
          </a:bodyPr>
          <a:lstStyle/>
          <a:p>
            <a:pPr marL="12694">
              <a:spcBef>
                <a:spcPts val="95"/>
              </a:spcBef>
            </a:pPr>
            <a:r>
              <a:rPr lang="zh-CN" sz="1599" b="1" i="1" spc="-5" dirty="0">
                <a:solidFill>
                  <a:srgbClr val="F17E00"/>
                </a:solidFill>
                <a:latin typeface="+mn-lt"/>
                <a:ea typeface="楷体" panose="02010609060101010101" pitchFamily="49" charset="-122"/>
                <a:cs typeface="SimSun"/>
              </a:rPr>
              <a:t>为什么使用？</a:t>
            </a:r>
            <a:endParaRPr lang="zh-CN" sz="1599">
              <a:latin typeface="+mn-lt"/>
              <a:ea typeface="楷体" panose="02010609060101010101" pitchFamily="49" charset="-122"/>
              <a:cs typeface="SimSun"/>
            </a:endParaRPr>
          </a:p>
          <a:p>
            <a:pPr marL="206272" marR="5077" indent="-192309">
              <a:spcBef>
                <a:spcPts val="385"/>
              </a:spcBef>
              <a:buClr>
                <a:srgbClr val="00295F"/>
              </a:buClr>
              <a:buSzPct val="125000"/>
              <a:buChar char="▪"/>
              <a:tabLst>
                <a:tab pos="206906" algn="l"/>
              </a:tabLst>
            </a:pPr>
            <a:r>
              <a:rPr lang="zh-CN" sz="1599" spc="-5" dirty="0">
                <a:latin typeface="+mn-lt"/>
                <a:ea typeface="楷体" panose="02010609060101010101" pitchFamily="49" charset="-122"/>
                <a:cs typeface="SimSun"/>
              </a:rPr>
              <a:t>输出透明，易于解读，易于执行，有助于获得客户认同 </a:t>
            </a:r>
            <a:r>
              <a:rPr lang="zh-CN" dirty="0">
                <a:latin typeface="+mn-lt"/>
                <a:ea typeface="楷体" panose="02010609060101010101" pitchFamily="49" charset="-122"/>
                <a:cs typeface="SimSun"/>
              </a:rPr>
              <a:t> </a:t>
            </a:r>
            <a:endParaRPr lang="zh-CN" sz="1599">
              <a:latin typeface="+mn-lt"/>
              <a:ea typeface="楷体" panose="02010609060101010101" pitchFamily="49" charset="-122"/>
              <a:cs typeface="SimSun"/>
            </a:endParaRPr>
          </a:p>
          <a:p>
            <a:pPr marL="206272" indent="-192309">
              <a:spcBef>
                <a:spcPts val="600"/>
              </a:spcBef>
              <a:buClr>
                <a:srgbClr val="00295F"/>
              </a:buClr>
              <a:buSzPct val="125000"/>
              <a:buChar char="▪"/>
              <a:tabLst>
                <a:tab pos="206906" algn="l"/>
              </a:tabLst>
            </a:pPr>
            <a:r>
              <a:rPr lang="zh-CN" sz="1599" spc="-5" dirty="0">
                <a:latin typeface="+mn-lt"/>
                <a:ea typeface="楷体" panose="02010609060101010101" pitchFamily="49" charset="-122"/>
                <a:cs typeface="SimSun"/>
              </a:rPr>
              <a:t>易于满足政府监管要求</a:t>
            </a:r>
            <a:endParaRPr lang="zh-CN" sz="1599">
              <a:latin typeface="+mn-lt"/>
              <a:ea typeface="楷体" panose="02010609060101010101" pitchFamily="49" charset="-122"/>
              <a:cs typeface="SimSun"/>
            </a:endParaRPr>
          </a:p>
        </p:txBody>
      </p:sp>
      <p:sp>
        <p:nvSpPr>
          <p:cNvPr id="13" name="object 13"/>
          <p:cNvSpPr/>
          <p:nvPr/>
        </p:nvSpPr>
        <p:spPr>
          <a:xfrm>
            <a:off x="271128" y="3023731"/>
            <a:ext cx="1238354" cy="1244447"/>
          </a:xfrm>
          <a:prstGeom prst="rect">
            <a:avLst/>
          </a:prstGeom>
          <a:blipFill>
            <a:blip r:embed="rId4"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14" name="object 14"/>
          <p:cNvSpPr txBox="1"/>
          <p:nvPr/>
        </p:nvSpPr>
        <p:spPr>
          <a:xfrm>
            <a:off x="613034" y="3030789"/>
            <a:ext cx="555330" cy="1168414"/>
          </a:xfrm>
          <a:prstGeom prst="rect">
            <a:avLst/>
          </a:prstGeom>
        </p:spPr>
        <p:txBody>
          <a:bodyPr vert="horz" wrap="square" lIns="0" tIns="12693" rIns="0" bIns="0" rtlCol="0">
            <a:spAutoFit/>
          </a:bodyPr>
          <a:lstStyle/>
          <a:p>
            <a:pPr marL="12694">
              <a:spcBef>
                <a:spcPts val="100"/>
              </a:spcBef>
            </a:pPr>
            <a:r>
              <a:rPr lang="zh-CN" sz="7496" dirty="0">
                <a:solidFill>
                  <a:srgbClr val="FFFFFF"/>
                </a:solidFill>
                <a:latin typeface="+mn-lt"/>
                <a:ea typeface="楷体" panose="02010609060101010101" pitchFamily="49" charset="-122"/>
                <a:cs typeface="SimSun"/>
              </a:rPr>
              <a:t>？</a:t>
            </a:r>
            <a:endParaRPr lang="zh-CN" sz="7496">
              <a:latin typeface="+mn-lt"/>
              <a:ea typeface="楷体" panose="02010609060101010101" pitchFamily="49" charset="-122"/>
              <a:cs typeface="SimSun"/>
            </a:endParaRPr>
          </a:p>
        </p:txBody>
      </p:sp>
      <p:sp>
        <p:nvSpPr>
          <p:cNvPr id="15" name="object 15"/>
          <p:cNvSpPr txBox="1"/>
          <p:nvPr/>
        </p:nvSpPr>
        <p:spPr>
          <a:xfrm>
            <a:off x="1640604" y="4573832"/>
            <a:ext cx="5129979" cy="1211571"/>
          </a:xfrm>
          <a:prstGeom prst="rect">
            <a:avLst/>
          </a:prstGeom>
        </p:spPr>
        <p:txBody>
          <a:bodyPr vert="horz" wrap="square" lIns="0" tIns="12059" rIns="0" bIns="0" rtlCol="0">
            <a:spAutoFit/>
          </a:bodyPr>
          <a:lstStyle/>
          <a:p>
            <a:pPr marL="12694">
              <a:spcBef>
                <a:spcPts val="95"/>
              </a:spcBef>
            </a:pPr>
            <a:r>
              <a:rPr lang="zh-CN" sz="1599" b="1" i="1" spc="-5" dirty="0">
                <a:solidFill>
                  <a:srgbClr val="F17E00"/>
                </a:solidFill>
                <a:latin typeface="+mn-lt"/>
                <a:ea typeface="楷体" panose="02010609060101010101" pitchFamily="49" charset="-122"/>
                <a:cs typeface="SimSun"/>
              </a:rPr>
              <a:t>什么情况下使用？</a:t>
            </a:r>
            <a:endParaRPr lang="zh-CN" sz="1599" dirty="0">
              <a:latin typeface="+mn-lt"/>
              <a:ea typeface="楷体" panose="02010609060101010101" pitchFamily="49" charset="-122"/>
              <a:cs typeface="SimSun"/>
            </a:endParaRPr>
          </a:p>
          <a:p>
            <a:pPr marL="205637" indent="-191674">
              <a:spcBef>
                <a:spcPts val="385"/>
              </a:spcBef>
              <a:buClr>
                <a:srgbClr val="00295F"/>
              </a:buClr>
              <a:buSzPct val="125000"/>
              <a:buChar char="▪"/>
              <a:tabLst>
                <a:tab pos="206272" algn="l"/>
              </a:tabLst>
            </a:pPr>
            <a:r>
              <a:rPr lang="zh-CN" sz="1599" spc="-5" dirty="0">
                <a:latin typeface="+mn-lt"/>
                <a:ea typeface="楷体" panose="02010609060101010101" pitchFamily="49" charset="-122"/>
                <a:cs typeface="SimSun"/>
              </a:rPr>
              <a:t>对于要解决的问题建立了明确假设</a:t>
            </a:r>
            <a:r>
              <a:rPr lang="zh-CN" dirty="0">
                <a:latin typeface="+mn-lt"/>
                <a:ea typeface="楷体" panose="02010609060101010101" pitchFamily="49" charset="-122"/>
                <a:cs typeface="SimSun"/>
              </a:rPr>
              <a:t> </a:t>
            </a:r>
            <a:endParaRPr lang="zh-CN" sz="1599" dirty="0">
              <a:latin typeface="+mn-lt"/>
              <a:ea typeface="楷体" panose="02010609060101010101" pitchFamily="49" charset="-122"/>
              <a:cs typeface="SimSun"/>
            </a:endParaRPr>
          </a:p>
          <a:p>
            <a:pPr marL="205637" indent="-191674">
              <a:spcBef>
                <a:spcPts val="600"/>
              </a:spcBef>
              <a:buClr>
                <a:srgbClr val="00295F"/>
              </a:buClr>
              <a:buSzPct val="125000"/>
              <a:buChar char="▪"/>
              <a:tabLst>
                <a:tab pos="206272" algn="l"/>
              </a:tabLst>
            </a:pPr>
            <a:r>
              <a:rPr lang="zh-CN" sz="1599" spc="-5" dirty="0">
                <a:latin typeface="+mn-lt"/>
                <a:ea typeface="楷体" panose="02010609060101010101" pitchFamily="49" charset="-122"/>
                <a:cs typeface="SimSun"/>
              </a:rPr>
              <a:t>数据必需是结构化数据</a:t>
            </a:r>
            <a:endParaRPr lang="zh-CN" sz="1599" dirty="0">
              <a:latin typeface="+mn-lt"/>
              <a:ea typeface="楷体" panose="02010609060101010101" pitchFamily="49" charset="-122"/>
              <a:cs typeface="SimSun"/>
            </a:endParaRPr>
          </a:p>
          <a:p>
            <a:pPr marL="205637" indent="-191674">
              <a:spcBef>
                <a:spcPts val="600"/>
              </a:spcBef>
              <a:buClr>
                <a:srgbClr val="00295F"/>
              </a:buClr>
              <a:buSzPct val="125000"/>
              <a:buChar char="▪"/>
              <a:tabLst>
                <a:tab pos="206272" algn="l"/>
              </a:tabLst>
            </a:pPr>
            <a:r>
              <a:rPr lang="zh-CN" sz="1599" spc="-5" dirty="0">
                <a:latin typeface="+mn-lt"/>
                <a:ea typeface="楷体" panose="02010609060101010101" pitchFamily="49" charset="-122"/>
                <a:cs typeface="SimSun"/>
              </a:rPr>
              <a:t>监管部门</a:t>
            </a:r>
            <a:r>
              <a:rPr lang="zh-CN" altLang="en-US" sz="1599" spc="-5" dirty="0">
                <a:latin typeface="+mn-lt"/>
                <a:ea typeface="楷体" panose="02010609060101010101" pitchFamily="49" charset="-122"/>
                <a:cs typeface="SimSun"/>
              </a:rPr>
              <a:t>对于清晰描述模型有</a:t>
            </a:r>
            <a:r>
              <a:rPr lang="zh-CN" sz="1599" spc="-5" dirty="0">
                <a:latin typeface="+mn-lt"/>
                <a:ea typeface="楷体" panose="02010609060101010101" pitchFamily="49" charset="-122"/>
                <a:cs typeface="SimSun"/>
              </a:rPr>
              <a:t>明确要求</a:t>
            </a:r>
            <a:endParaRPr lang="zh-CN" sz="1599" dirty="0">
              <a:latin typeface="+mn-lt"/>
              <a:ea typeface="楷体" panose="02010609060101010101" pitchFamily="49" charset="-122"/>
              <a:cs typeface="SimSun"/>
            </a:endParaRPr>
          </a:p>
        </p:txBody>
      </p:sp>
      <p:sp>
        <p:nvSpPr>
          <p:cNvPr id="16" name="object 16"/>
          <p:cNvSpPr/>
          <p:nvPr/>
        </p:nvSpPr>
        <p:spPr>
          <a:xfrm>
            <a:off x="271128" y="4613942"/>
            <a:ext cx="1238354" cy="1244447"/>
          </a:xfrm>
          <a:prstGeom prst="rect">
            <a:avLst/>
          </a:prstGeom>
          <a:blipFill>
            <a:blip r:embed="rId5"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17" name="object 17"/>
          <p:cNvSpPr/>
          <p:nvPr/>
        </p:nvSpPr>
        <p:spPr>
          <a:xfrm>
            <a:off x="470667" y="4816527"/>
            <a:ext cx="839659" cy="839659"/>
          </a:xfrm>
          <a:custGeom>
            <a:avLst/>
            <a:gdLst/>
            <a:ahLst/>
            <a:cxnLst/>
            <a:rect l="l" t="t" r="r" b="b"/>
            <a:pathLst>
              <a:path w="840105" h="840104">
                <a:moveTo>
                  <a:pt x="0" y="419861"/>
                </a:moveTo>
                <a:lnTo>
                  <a:pt x="2824" y="370893"/>
                </a:lnTo>
                <a:lnTo>
                  <a:pt x="11088" y="323585"/>
                </a:lnTo>
                <a:lnTo>
                  <a:pt x="24476" y="278252"/>
                </a:lnTo>
                <a:lnTo>
                  <a:pt x="42674" y="235209"/>
                </a:lnTo>
                <a:lnTo>
                  <a:pt x="65366" y="194770"/>
                </a:lnTo>
                <a:lnTo>
                  <a:pt x="92237" y="157251"/>
                </a:lnTo>
                <a:lnTo>
                  <a:pt x="122972" y="122967"/>
                </a:lnTo>
                <a:lnTo>
                  <a:pt x="157257" y="92233"/>
                </a:lnTo>
                <a:lnTo>
                  <a:pt x="194776" y="65362"/>
                </a:lnTo>
                <a:lnTo>
                  <a:pt x="235214" y="42672"/>
                </a:lnTo>
                <a:lnTo>
                  <a:pt x="278257" y="24475"/>
                </a:lnTo>
                <a:lnTo>
                  <a:pt x="323589" y="11087"/>
                </a:lnTo>
                <a:lnTo>
                  <a:pt x="370896" y="2824"/>
                </a:lnTo>
                <a:lnTo>
                  <a:pt x="419862" y="0"/>
                </a:lnTo>
                <a:lnTo>
                  <a:pt x="468827" y="2824"/>
                </a:lnTo>
                <a:lnTo>
                  <a:pt x="516134" y="11087"/>
                </a:lnTo>
                <a:lnTo>
                  <a:pt x="561466" y="24475"/>
                </a:lnTo>
                <a:lnTo>
                  <a:pt x="604509" y="42671"/>
                </a:lnTo>
                <a:lnTo>
                  <a:pt x="644947" y="65362"/>
                </a:lnTo>
                <a:lnTo>
                  <a:pt x="682466" y="92233"/>
                </a:lnTo>
                <a:lnTo>
                  <a:pt x="716751" y="122967"/>
                </a:lnTo>
                <a:lnTo>
                  <a:pt x="747486" y="157251"/>
                </a:lnTo>
                <a:lnTo>
                  <a:pt x="774357" y="194770"/>
                </a:lnTo>
                <a:lnTo>
                  <a:pt x="797049" y="235209"/>
                </a:lnTo>
                <a:lnTo>
                  <a:pt x="815247" y="278252"/>
                </a:lnTo>
                <a:lnTo>
                  <a:pt x="828635" y="323585"/>
                </a:lnTo>
                <a:lnTo>
                  <a:pt x="836899" y="370893"/>
                </a:lnTo>
                <a:lnTo>
                  <a:pt x="839724" y="419861"/>
                </a:lnTo>
                <a:lnTo>
                  <a:pt x="836899" y="468825"/>
                </a:lnTo>
                <a:lnTo>
                  <a:pt x="828635" y="516130"/>
                </a:lnTo>
                <a:lnTo>
                  <a:pt x="815247" y="561461"/>
                </a:lnTo>
                <a:lnTo>
                  <a:pt x="797049" y="604503"/>
                </a:lnTo>
                <a:lnTo>
                  <a:pt x="774357" y="644942"/>
                </a:lnTo>
                <a:lnTo>
                  <a:pt x="747486" y="682461"/>
                </a:lnTo>
                <a:lnTo>
                  <a:pt x="716751" y="716746"/>
                </a:lnTo>
                <a:lnTo>
                  <a:pt x="682466" y="747482"/>
                </a:lnTo>
                <a:lnTo>
                  <a:pt x="644947" y="774354"/>
                </a:lnTo>
                <a:lnTo>
                  <a:pt x="604509" y="797047"/>
                </a:lnTo>
                <a:lnTo>
                  <a:pt x="561466" y="815245"/>
                </a:lnTo>
                <a:lnTo>
                  <a:pt x="516134" y="828634"/>
                </a:lnTo>
                <a:lnTo>
                  <a:pt x="468827" y="836899"/>
                </a:lnTo>
                <a:lnTo>
                  <a:pt x="419862" y="839723"/>
                </a:lnTo>
                <a:lnTo>
                  <a:pt x="370896" y="836899"/>
                </a:lnTo>
                <a:lnTo>
                  <a:pt x="323589" y="828634"/>
                </a:lnTo>
                <a:lnTo>
                  <a:pt x="278257" y="815245"/>
                </a:lnTo>
                <a:lnTo>
                  <a:pt x="235214" y="797047"/>
                </a:lnTo>
                <a:lnTo>
                  <a:pt x="194776" y="774354"/>
                </a:lnTo>
                <a:lnTo>
                  <a:pt x="157257" y="747482"/>
                </a:lnTo>
                <a:lnTo>
                  <a:pt x="122972" y="716746"/>
                </a:lnTo>
                <a:lnTo>
                  <a:pt x="92237" y="682461"/>
                </a:lnTo>
                <a:lnTo>
                  <a:pt x="65366" y="644942"/>
                </a:lnTo>
                <a:lnTo>
                  <a:pt x="42674" y="604503"/>
                </a:lnTo>
                <a:lnTo>
                  <a:pt x="24476" y="561461"/>
                </a:lnTo>
                <a:lnTo>
                  <a:pt x="11088" y="516130"/>
                </a:lnTo>
                <a:lnTo>
                  <a:pt x="2824" y="468825"/>
                </a:lnTo>
                <a:lnTo>
                  <a:pt x="0" y="419861"/>
                </a:lnTo>
                <a:close/>
              </a:path>
            </a:pathLst>
          </a:custGeom>
          <a:ln w="64008">
            <a:solidFill>
              <a:srgbClr val="FFFFFF"/>
            </a:solidFill>
          </a:ln>
        </p:spPr>
        <p:txBody>
          <a:bodyPr wrap="square" lIns="0" tIns="0" rIns="0" bIns="0" rtlCol="0"/>
          <a:lstStyle/>
          <a:p>
            <a:endParaRPr sz="1599">
              <a:latin typeface="+mn-lt"/>
              <a:ea typeface="楷体" panose="02010609060101010101" pitchFamily="49" charset="-122"/>
            </a:endParaRPr>
          </a:p>
        </p:txBody>
      </p:sp>
      <p:sp>
        <p:nvSpPr>
          <p:cNvPr id="18" name="object 18"/>
          <p:cNvSpPr/>
          <p:nvPr/>
        </p:nvSpPr>
        <p:spPr>
          <a:xfrm>
            <a:off x="888019" y="5104409"/>
            <a:ext cx="133279" cy="144703"/>
          </a:xfrm>
          <a:custGeom>
            <a:avLst/>
            <a:gdLst/>
            <a:ahLst/>
            <a:cxnLst/>
            <a:rect l="l" t="t" r="r" b="b"/>
            <a:pathLst>
              <a:path w="133350" h="144779">
                <a:moveTo>
                  <a:pt x="133350" y="0"/>
                </a:moveTo>
                <a:lnTo>
                  <a:pt x="0" y="144398"/>
                </a:lnTo>
              </a:path>
            </a:pathLst>
          </a:custGeom>
          <a:ln w="64008">
            <a:solidFill>
              <a:srgbClr val="FFFFFF"/>
            </a:solidFill>
          </a:ln>
        </p:spPr>
        <p:txBody>
          <a:bodyPr wrap="square" lIns="0" tIns="0" rIns="0" bIns="0" rtlCol="0"/>
          <a:lstStyle/>
          <a:p>
            <a:endParaRPr sz="1599">
              <a:latin typeface="+mn-lt"/>
              <a:ea typeface="楷体" panose="02010609060101010101" pitchFamily="49" charset="-122"/>
            </a:endParaRPr>
          </a:p>
        </p:txBody>
      </p:sp>
      <p:sp>
        <p:nvSpPr>
          <p:cNvPr id="19" name="object 19"/>
          <p:cNvSpPr/>
          <p:nvPr/>
        </p:nvSpPr>
        <p:spPr>
          <a:xfrm>
            <a:off x="778350" y="4917057"/>
            <a:ext cx="120586" cy="342718"/>
          </a:xfrm>
          <a:custGeom>
            <a:avLst/>
            <a:gdLst/>
            <a:ahLst/>
            <a:cxnLst/>
            <a:rect l="l" t="t" r="r" b="b"/>
            <a:pathLst>
              <a:path w="120650" h="342900">
                <a:moveTo>
                  <a:pt x="0" y="0"/>
                </a:moveTo>
                <a:lnTo>
                  <a:pt x="120649" y="342900"/>
                </a:lnTo>
              </a:path>
            </a:pathLst>
          </a:custGeom>
          <a:ln w="64008">
            <a:solidFill>
              <a:srgbClr val="FFFFFF"/>
            </a:solidFill>
          </a:ln>
        </p:spPr>
        <p:txBody>
          <a:bodyPr wrap="square" lIns="0" tIns="0" rIns="0" bIns="0" rtlCol="0"/>
          <a:lstStyle/>
          <a:p>
            <a:endParaRPr sz="1599">
              <a:latin typeface="+mn-lt"/>
              <a:ea typeface="楷体" panose="02010609060101010101" pitchFamily="49" charset="-122"/>
            </a:endParaRPr>
          </a:p>
        </p:txBody>
      </p:sp>
      <p:sp>
        <p:nvSpPr>
          <p:cNvPr id="21" name="object 19">
            <a:extLst>
              <a:ext uri="{FF2B5EF4-FFF2-40B4-BE49-F238E27FC236}">
                <a16:creationId xmlns:a16="http://schemas.microsoft.com/office/drawing/2014/main" id="{A05CC6A9-9CD1-4637-966F-08157C28855E}"/>
              </a:ext>
            </a:extLst>
          </p:cNvPr>
          <p:cNvSpPr txBox="1"/>
          <p:nvPr/>
        </p:nvSpPr>
        <p:spPr>
          <a:xfrm>
            <a:off x="106420" y="6473649"/>
            <a:ext cx="1447031" cy="153678"/>
          </a:xfrm>
          <a:prstGeom prst="rect">
            <a:avLst/>
          </a:prstGeom>
        </p:spPr>
        <p:txBody>
          <a:bodyPr vert="horz" wrap="square" lIns="0" tIns="0" rIns="0" bIns="0" rtlCol="0">
            <a:spAutoFit/>
          </a:bodyPr>
          <a:lstStyle/>
          <a:p>
            <a:pPr marL="12694"/>
            <a:r>
              <a:rPr lang="zh-CN" sz="999" spc="-5" dirty="0">
                <a:solidFill>
                  <a:srgbClr val="808080"/>
                </a:solidFill>
                <a:latin typeface="+mn-lt"/>
                <a:ea typeface="楷体" panose="02010609060101010101" pitchFamily="49" charset="-122"/>
                <a:cs typeface="SimSun"/>
              </a:rPr>
              <a:t>资料来源：小组分析</a:t>
            </a:r>
            <a:endParaRPr lang="zh-CN" sz="999" dirty="0">
              <a:latin typeface="+mn-lt"/>
              <a:ea typeface="楷体" panose="02010609060101010101" pitchFamily="49" charset="-122"/>
              <a:cs typeface="SimSun"/>
            </a:endParaRPr>
          </a:p>
        </p:txBody>
      </p:sp>
      <p:sp>
        <p:nvSpPr>
          <p:cNvPr id="22" name="object 20">
            <a:extLst>
              <a:ext uri="{FF2B5EF4-FFF2-40B4-BE49-F238E27FC236}">
                <a16:creationId xmlns:a16="http://schemas.microsoft.com/office/drawing/2014/main" id="{2A3B257E-374F-41D6-9DBE-CE07ABD62C77}"/>
              </a:ext>
            </a:extLst>
          </p:cNvPr>
          <p:cNvSpPr txBox="1"/>
          <p:nvPr/>
        </p:nvSpPr>
        <p:spPr>
          <a:xfrm>
            <a:off x="7446116" y="6501195"/>
            <a:ext cx="1197609" cy="249425"/>
          </a:xfrm>
          <a:prstGeom prst="rect">
            <a:avLst/>
          </a:prstGeom>
        </p:spPr>
        <p:txBody>
          <a:bodyPr vert="horz" wrap="square" lIns="0" tIns="3173" rIns="0" bIns="0" rtlCol="0">
            <a:spAutoFit/>
          </a:bodyPr>
          <a:lstStyle/>
          <a:p>
            <a:pPr marL="12694">
              <a:spcBef>
                <a:spcPts val="25"/>
              </a:spcBef>
            </a:pPr>
            <a:r>
              <a:rPr lang="zh-CN" sz="800" dirty="0">
                <a:solidFill>
                  <a:srgbClr val="808080"/>
                </a:solidFill>
                <a:latin typeface="+mn-lt"/>
                <a:ea typeface="楷体" panose="02010609060101010101" pitchFamily="49" charset="-122"/>
                <a:cs typeface="SimSun"/>
              </a:rPr>
              <a:t>McKinsey &amp; Company</a:t>
            </a:r>
            <a:r>
              <a:rPr lang="zh-CN" dirty="0">
                <a:latin typeface="+mn-lt"/>
                <a:ea typeface="楷体" panose="02010609060101010101" pitchFamily="49" charset="-122"/>
                <a:cs typeface="SimSun"/>
              </a:rPr>
              <a:t> </a:t>
            </a:r>
            <a:fld id="{81D60167-4931-47E6-BA6A-407CBD079E47}" type="slidenum">
              <a:rPr sz="800" dirty="0">
                <a:solidFill>
                  <a:srgbClr val="808080"/>
                </a:solidFill>
                <a:latin typeface="+mn-lt"/>
                <a:ea typeface="楷体" panose="02010609060101010101" pitchFamily="49" charset="-122"/>
                <a:cs typeface="Arial"/>
              </a:rPr>
              <a:pPr marL="12694">
                <a:spcBef>
                  <a:spcPts val="25"/>
                </a:spcBef>
              </a:pPr>
              <a:t>26</a:t>
            </a:fld>
            <a:endParaRPr lang="zh-CN" sz="800">
              <a:latin typeface="+mn-lt"/>
              <a:ea typeface="楷体" panose="02010609060101010101" pitchFamily="49" charset="-122"/>
              <a:cs typeface="SimSun"/>
            </a:endParaRPr>
          </a:p>
        </p:txBody>
      </p:sp>
      <p:sp>
        <p:nvSpPr>
          <p:cNvPr id="23" name="object 7">
            <a:extLst>
              <a:ext uri="{FF2B5EF4-FFF2-40B4-BE49-F238E27FC236}">
                <a16:creationId xmlns:a16="http://schemas.microsoft.com/office/drawing/2014/main" id="{DB3530B6-E01D-476A-BA9E-B534A446732D}"/>
              </a:ext>
            </a:extLst>
          </p:cNvPr>
          <p:cNvSpPr txBox="1">
            <a:spLocks/>
          </p:cNvSpPr>
          <p:nvPr/>
        </p:nvSpPr>
        <p:spPr bwMode="gray">
          <a:xfrm>
            <a:off x="106420" y="210145"/>
            <a:ext cx="2538457" cy="320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3" rIns="0" bIns="0" numCol="1" rtlCol="0"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99" b="0" i="0" baseline="0">
                <a:solidFill>
                  <a:schemeClr val="bg1"/>
                </a:solidFill>
                <a:latin typeface="Arial"/>
                <a:ea typeface="+mj-ea"/>
                <a:cs typeface="Arial"/>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12694">
              <a:spcBef>
                <a:spcPts val="100"/>
              </a:spcBef>
            </a:pPr>
            <a:r>
              <a:rPr lang="zh-CN" kern="0" dirty="0">
                <a:solidFill>
                  <a:schemeClr val="tx2"/>
                </a:solidFill>
                <a:latin typeface="+mn-lt"/>
                <a:ea typeface="楷体" panose="02010609060101010101" pitchFamily="49" charset="-122"/>
                <a:cs typeface="SimSun"/>
              </a:rPr>
              <a:t>逻辑回归</a:t>
            </a:r>
            <a:endParaRPr lang="zh-CN" kern="0" dirty="0">
              <a:solidFill>
                <a:schemeClr val="tx2"/>
              </a:solidFill>
              <a:latin typeface="+mn-lt"/>
              <a:ea typeface="楷体" panose="02010609060101010101" pitchFamily="49" charset="-122"/>
            </a:endParaRPr>
          </a:p>
        </p:txBody>
      </p:sp>
    </p:spTree>
    <p:extLst>
      <p:ext uri="{BB962C8B-B14F-4D97-AF65-F5344CB8AC3E}">
        <p14:creationId xmlns:p14="http://schemas.microsoft.com/office/powerpoint/2010/main" val="28059437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930868"/>
            <a:ext cx="8956360" cy="225431"/>
          </a:xfrm>
          <a:prstGeom prst="rect">
            <a:avLst/>
          </a:prstGeom>
          <a:blipFill>
            <a:blip r:embed="rId2"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3" name="object 3"/>
          <p:cNvSpPr/>
          <p:nvPr/>
        </p:nvSpPr>
        <p:spPr>
          <a:xfrm>
            <a:off x="1" y="923251"/>
            <a:ext cx="8956995" cy="15232"/>
          </a:xfrm>
          <a:custGeom>
            <a:avLst/>
            <a:gdLst/>
            <a:ahLst/>
            <a:cxnLst/>
            <a:rect l="l" t="t" r="r" b="b"/>
            <a:pathLst>
              <a:path w="8961755" h="15240">
                <a:moveTo>
                  <a:pt x="0" y="15240"/>
                </a:moveTo>
                <a:lnTo>
                  <a:pt x="8961501" y="15240"/>
                </a:lnTo>
                <a:lnTo>
                  <a:pt x="8961501" y="0"/>
                </a:lnTo>
                <a:lnTo>
                  <a:pt x="0" y="0"/>
                </a:lnTo>
                <a:lnTo>
                  <a:pt x="0" y="15240"/>
                </a:lnTo>
                <a:close/>
              </a:path>
            </a:pathLst>
          </a:custGeom>
          <a:solidFill>
            <a:srgbClr val="0064BC"/>
          </a:solidFill>
        </p:spPr>
        <p:txBody>
          <a:bodyPr wrap="square" lIns="0" tIns="0" rIns="0" bIns="0" rtlCol="0"/>
          <a:lstStyle/>
          <a:p>
            <a:endParaRPr sz="1599">
              <a:latin typeface="+mn-lt"/>
              <a:ea typeface="楷体" panose="02010609060101010101" pitchFamily="49" charset="-122"/>
            </a:endParaRPr>
          </a:p>
        </p:txBody>
      </p:sp>
      <p:sp>
        <p:nvSpPr>
          <p:cNvPr id="4" name="object 4"/>
          <p:cNvSpPr txBox="1"/>
          <p:nvPr/>
        </p:nvSpPr>
        <p:spPr>
          <a:xfrm>
            <a:off x="7446117" y="6491529"/>
            <a:ext cx="1184915" cy="259038"/>
          </a:xfrm>
          <a:prstGeom prst="rect">
            <a:avLst/>
          </a:prstGeom>
        </p:spPr>
        <p:txBody>
          <a:bodyPr vert="horz" wrap="square" lIns="0" tIns="12693" rIns="0" bIns="0" rtlCol="0">
            <a:spAutoFit/>
          </a:bodyPr>
          <a:lstStyle/>
          <a:p>
            <a:pPr marL="12694">
              <a:spcBef>
                <a:spcPts val="100"/>
              </a:spcBef>
            </a:pPr>
            <a:r>
              <a:rPr lang="zh-CN" sz="800" dirty="0">
                <a:solidFill>
                  <a:srgbClr val="808080"/>
                </a:solidFill>
                <a:latin typeface="+mn-lt"/>
                <a:ea typeface="楷体" panose="02010609060101010101" pitchFamily="49" charset="-122"/>
                <a:cs typeface="SimSun"/>
              </a:rPr>
              <a:t>McKinsey &amp; Company</a:t>
            </a:r>
            <a:r>
              <a:rPr lang="zh-CN" dirty="0">
                <a:latin typeface="+mn-lt"/>
                <a:ea typeface="楷体" panose="02010609060101010101" pitchFamily="49" charset="-122"/>
                <a:cs typeface="SimSun"/>
              </a:rPr>
              <a:t> </a:t>
            </a:r>
            <a:r>
              <a:rPr lang="zh-CN" sz="800" dirty="0">
                <a:solidFill>
                  <a:srgbClr val="808080"/>
                </a:solidFill>
                <a:latin typeface="+mn-lt"/>
                <a:ea typeface="楷体" panose="02010609060101010101" pitchFamily="49" charset="-122"/>
                <a:cs typeface="SimSun"/>
              </a:rPr>
              <a:t>4</a:t>
            </a:r>
            <a:endParaRPr lang="zh-CN" sz="800">
              <a:latin typeface="+mn-lt"/>
              <a:ea typeface="楷体" panose="02010609060101010101" pitchFamily="49" charset="-122"/>
              <a:cs typeface="SimSun"/>
            </a:endParaRPr>
          </a:p>
        </p:txBody>
      </p:sp>
      <p:sp>
        <p:nvSpPr>
          <p:cNvPr id="7" name="object 7"/>
          <p:cNvSpPr txBox="1">
            <a:spLocks noGrp="1"/>
          </p:cNvSpPr>
          <p:nvPr>
            <p:ph type="title"/>
          </p:nvPr>
        </p:nvSpPr>
        <p:spPr>
          <a:xfrm>
            <a:off x="106420" y="210145"/>
            <a:ext cx="1723109" cy="330659"/>
          </a:xfrm>
          <a:prstGeom prst="rect">
            <a:avLst/>
          </a:prstGeom>
        </p:spPr>
        <p:txBody>
          <a:bodyPr vert="horz" wrap="square" lIns="0" tIns="12693" rIns="0" bIns="0" numCol="1" rtlCol="0" anchor="t" anchorCtr="0" compatLnSpc="1">
            <a:prstTxWarp prst="textNoShape">
              <a:avLst/>
            </a:prstTxWarp>
            <a:spAutoFit/>
          </a:bodyPr>
          <a:lstStyle/>
          <a:p>
            <a:pPr marL="12694">
              <a:spcBef>
                <a:spcPts val="100"/>
              </a:spcBef>
            </a:pPr>
            <a:r>
              <a:rPr lang="zh-CN" dirty="0">
                <a:latin typeface="+mn-lt"/>
                <a:ea typeface="楷体" panose="02010609060101010101" pitchFamily="49" charset="-122"/>
                <a:cs typeface="SimSun"/>
              </a:rPr>
              <a:t>决策树</a:t>
            </a:r>
          </a:p>
        </p:txBody>
      </p:sp>
      <p:sp>
        <p:nvSpPr>
          <p:cNvPr id="8" name="object 8"/>
          <p:cNvSpPr txBox="1"/>
          <p:nvPr/>
        </p:nvSpPr>
        <p:spPr>
          <a:xfrm>
            <a:off x="106420" y="6461673"/>
            <a:ext cx="2617349" cy="165937"/>
          </a:xfrm>
          <a:prstGeom prst="rect">
            <a:avLst/>
          </a:prstGeom>
        </p:spPr>
        <p:txBody>
          <a:bodyPr vert="horz" wrap="square" lIns="0" tIns="12059" rIns="0" bIns="0" rtlCol="0">
            <a:spAutoFit/>
          </a:bodyPr>
          <a:lstStyle/>
          <a:p>
            <a:pPr marL="12694">
              <a:spcBef>
                <a:spcPts val="95"/>
              </a:spcBef>
            </a:pPr>
            <a:r>
              <a:rPr lang="zh-CN" sz="999" spc="-5" dirty="0">
                <a:solidFill>
                  <a:srgbClr val="808080"/>
                </a:solidFill>
                <a:latin typeface="+mn-lt"/>
                <a:ea typeface="楷体" panose="02010609060101010101" pitchFamily="49" charset="-122"/>
                <a:cs typeface="SimSun"/>
              </a:rPr>
              <a:t>资料来源：</a:t>
            </a:r>
            <a:r>
              <a:rPr lang="zh-CN" sz="999" spc="-5" dirty="0">
                <a:solidFill>
                  <a:srgbClr val="808080"/>
                </a:solidFill>
                <a:latin typeface="+mn-lt"/>
                <a:ea typeface="楷体" panose="02010609060101010101" pitchFamily="49" charset="-122"/>
                <a:cs typeface="SimSun"/>
                <a:hlinkClick r:id="rId3"/>
              </a:rPr>
              <a:t>http://mcaps.intranet.mckinsey.com</a:t>
            </a:r>
            <a:endParaRPr lang="zh-CN" sz="999">
              <a:latin typeface="+mn-lt"/>
              <a:ea typeface="楷体" panose="02010609060101010101" pitchFamily="49" charset="-122"/>
              <a:cs typeface="SimSun"/>
            </a:endParaRPr>
          </a:p>
        </p:txBody>
      </p:sp>
      <p:sp>
        <p:nvSpPr>
          <p:cNvPr id="9" name="object 9"/>
          <p:cNvSpPr/>
          <p:nvPr/>
        </p:nvSpPr>
        <p:spPr>
          <a:xfrm>
            <a:off x="1" y="6205676"/>
            <a:ext cx="8956995" cy="0"/>
          </a:xfrm>
          <a:custGeom>
            <a:avLst/>
            <a:gdLst/>
            <a:ahLst/>
            <a:cxnLst/>
            <a:rect l="l" t="t" r="r" b="b"/>
            <a:pathLst>
              <a:path w="8961755">
                <a:moveTo>
                  <a:pt x="0" y="0"/>
                </a:moveTo>
                <a:lnTo>
                  <a:pt x="8961501" y="0"/>
                </a:lnTo>
              </a:path>
            </a:pathLst>
          </a:custGeom>
          <a:ln w="12192">
            <a:solidFill>
              <a:srgbClr val="0064BC"/>
            </a:solidFill>
          </a:ln>
        </p:spPr>
        <p:txBody>
          <a:bodyPr wrap="square" lIns="0" tIns="0" rIns="0" bIns="0" rtlCol="0"/>
          <a:lstStyle/>
          <a:p>
            <a:endParaRPr sz="1599">
              <a:latin typeface="+mn-lt"/>
              <a:ea typeface="楷体" panose="02010609060101010101" pitchFamily="49" charset="-122"/>
            </a:endParaRPr>
          </a:p>
        </p:txBody>
      </p:sp>
      <p:sp>
        <p:nvSpPr>
          <p:cNvPr id="10" name="object 10"/>
          <p:cNvSpPr/>
          <p:nvPr/>
        </p:nvSpPr>
        <p:spPr>
          <a:xfrm>
            <a:off x="449342" y="2839425"/>
            <a:ext cx="7954228" cy="0"/>
          </a:xfrm>
          <a:custGeom>
            <a:avLst/>
            <a:gdLst/>
            <a:ahLst/>
            <a:cxnLst/>
            <a:rect l="l" t="t" r="r" b="b"/>
            <a:pathLst>
              <a:path w="7958455">
                <a:moveTo>
                  <a:pt x="0" y="0"/>
                </a:moveTo>
                <a:lnTo>
                  <a:pt x="7958328" y="0"/>
                </a:lnTo>
              </a:path>
            </a:pathLst>
          </a:custGeom>
          <a:ln w="6096">
            <a:solidFill>
              <a:srgbClr val="808080"/>
            </a:solidFill>
            <a:prstDash val="sysDot"/>
          </a:ln>
        </p:spPr>
        <p:txBody>
          <a:bodyPr wrap="square" lIns="0" tIns="0" rIns="0" bIns="0" rtlCol="0"/>
          <a:lstStyle/>
          <a:p>
            <a:endParaRPr sz="1599">
              <a:latin typeface="+mn-lt"/>
              <a:ea typeface="楷体" panose="02010609060101010101" pitchFamily="49" charset="-122"/>
            </a:endParaRPr>
          </a:p>
        </p:txBody>
      </p:sp>
      <p:sp>
        <p:nvSpPr>
          <p:cNvPr id="11" name="object 11"/>
          <p:cNvSpPr/>
          <p:nvPr/>
        </p:nvSpPr>
        <p:spPr>
          <a:xfrm>
            <a:off x="449342" y="4403742"/>
            <a:ext cx="7954228" cy="0"/>
          </a:xfrm>
          <a:custGeom>
            <a:avLst/>
            <a:gdLst/>
            <a:ahLst/>
            <a:cxnLst/>
            <a:rect l="l" t="t" r="r" b="b"/>
            <a:pathLst>
              <a:path w="7958455">
                <a:moveTo>
                  <a:pt x="0" y="0"/>
                </a:moveTo>
                <a:lnTo>
                  <a:pt x="7958328" y="0"/>
                </a:lnTo>
              </a:path>
            </a:pathLst>
          </a:custGeom>
          <a:ln w="6096">
            <a:solidFill>
              <a:srgbClr val="808080"/>
            </a:solidFill>
            <a:prstDash val="sysDot"/>
          </a:ln>
        </p:spPr>
        <p:txBody>
          <a:bodyPr wrap="square" lIns="0" tIns="0" rIns="0" bIns="0" rtlCol="0"/>
          <a:lstStyle/>
          <a:p>
            <a:endParaRPr sz="1599">
              <a:latin typeface="+mn-lt"/>
              <a:ea typeface="楷体" panose="02010609060101010101" pitchFamily="49" charset="-122"/>
            </a:endParaRPr>
          </a:p>
        </p:txBody>
      </p:sp>
      <p:sp>
        <p:nvSpPr>
          <p:cNvPr id="12" name="object 12"/>
          <p:cNvSpPr txBox="1"/>
          <p:nvPr/>
        </p:nvSpPr>
        <p:spPr>
          <a:xfrm>
            <a:off x="1794445" y="1267874"/>
            <a:ext cx="6568124" cy="1176213"/>
          </a:xfrm>
          <a:prstGeom prst="rect">
            <a:avLst/>
          </a:prstGeom>
        </p:spPr>
        <p:txBody>
          <a:bodyPr vert="horz" wrap="square" lIns="0" tIns="12059" rIns="0" bIns="0" rtlCol="0">
            <a:spAutoFit/>
          </a:bodyPr>
          <a:lstStyle/>
          <a:p>
            <a:pPr marL="12694">
              <a:spcBef>
                <a:spcPts val="95"/>
              </a:spcBef>
            </a:pPr>
            <a:r>
              <a:rPr lang="zh-CN" sz="1599" b="1" i="1" spc="-5" dirty="0">
                <a:solidFill>
                  <a:srgbClr val="F17E00"/>
                </a:solidFill>
                <a:latin typeface="+mn-lt"/>
                <a:ea typeface="楷体" panose="02010609060101010101" pitchFamily="49" charset="-122"/>
                <a:cs typeface="SimSun"/>
              </a:rPr>
              <a:t>是什么？</a:t>
            </a:r>
            <a:endParaRPr lang="zh-CN" sz="1599" dirty="0">
              <a:latin typeface="+mn-lt"/>
              <a:ea typeface="楷体" panose="02010609060101010101" pitchFamily="49" charset="-122"/>
              <a:cs typeface="SimSun"/>
            </a:endParaRPr>
          </a:p>
          <a:p>
            <a:pPr marL="205637" indent="-191674">
              <a:spcBef>
                <a:spcPts val="385"/>
              </a:spcBef>
              <a:buClr>
                <a:srgbClr val="00295F"/>
              </a:buClr>
              <a:buSzPct val="125000"/>
              <a:buChar char="▪"/>
              <a:tabLst>
                <a:tab pos="206272" algn="l"/>
              </a:tabLst>
            </a:pPr>
            <a:r>
              <a:rPr lang="zh-CN" sz="1599" spc="-5" dirty="0">
                <a:latin typeface="+mn-lt"/>
                <a:ea typeface="楷体" panose="02010609060101010101" pitchFamily="49" charset="-122"/>
                <a:cs typeface="SimSun"/>
              </a:rPr>
              <a:t>一款数据挖掘工具，可创建规则，将情况划分到与选定关键结果相似的小组</a:t>
            </a:r>
            <a:r>
              <a:rPr lang="zh-CN" dirty="0">
                <a:latin typeface="+mn-lt"/>
                <a:ea typeface="楷体" panose="02010609060101010101" pitchFamily="49" charset="-122"/>
                <a:cs typeface="SimSun"/>
              </a:rPr>
              <a:t> </a:t>
            </a:r>
            <a:endParaRPr lang="zh-CN" sz="1599" dirty="0">
              <a:latin typeface="+mn-lt"/>
              <a:ea typeface="楷体" panose="02010609060101010101" pitchFamily="49" charset="-122"/>
              <a:cs typeface="SimSun"/>
            </a:endParaRPr>
          </a:p>
          <a:p>
            <a:pPr marL="205637" marR="286242" indent="-191674">
              <a:spcBef>
                <a:spcPts val="960"/>
              </a:spcBef>
              <a:buClr>
                <a:srgbClr val="00295F"/>
              </a:buClr>
              <a:buSzPct val="125000"/>
              <a:buChar char="▪"/>
              <a:tabLst>
                <a:tab pos="206272" algn="l"/>
              </a:tabLst>
            </a:pPr>
            <a:r>
              <a:rPr lang="zh-CN" sz="1599" spc="-5" dirty="0">
                <a:latin typeface="+mn-lt"/>
                <a:ea typeface="楷体" panose="02010609060101010101" pitchFamily="49" charset="-122"/>
                <a:cs typeface="SimSun"/>
              </a:rPr>
              <a:t>一种可将关键结果预测应用于新总体的方法</a:t>
            </a:r>
            <a:endParaRPr lang="zh-CN" sz="1599" dirty="0">
              <a:latin typeface="+mn-lt"/>
              <a:ea typeface="楷体" panose="02010609060101010101" pitchFamily="49" charset="-122"/>
              <a:cs typeface="SimSun"/>
            </a:endParaRPr>
          </a:p>
        </p:txBody>
      </p:sp>
      <p:sp>
        <p:nvSpPr>
          <p:cNvPr id="13" name="object 13"/>
          <p:cNvSpPr/>
          <p:nvPr/>
        </p:nvSpPr>
        <p:spPr>
          <a:xfrm>
            <a:off x="449341" y="1375640"/>
            <a:ext cx="1238354" cy="1242922"/>
          </a:xfrm>
          <a:prstGeom prst="rect">
            <a:avLst/>
          </a:prstGeom>
          <a:blipFill>
            <a:blip r:embed="rId4"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14" name="object 14"/>
          <p:cNvSpPr/>
          <p:nvPr/>
        </p:nvSpPr>
        <p:spPr>
          <a:xfrm>
            <a:off x="871264" y="1616303"/>
            <a:ext cx="394760" cy="761595"/>
          </a:xfrm>
          <a:custGeom>
            <a:avLst/>
            <a:gdLst/>
            <a:ahLst/>
            <a:cxnLst/>
            <a:rect l="l" t="t" r="r" b="b"/>
            <a:pathLst>
              <a:path w="394969" h="762000">
                <a:moveTo>
                  <a:pt x="0" y="762000"/>
                </a:moveTo>
                <a:lnTo>
                  <a:pt x="394716" y="762000"/>
                </a:lnTo>
                <a:lnTo>
                  <a:pt x="394716" y="0"/>
                </a:lnTo>
                <a:lnTo>
                  <a:pt x="0" y="0"/>
                </a:lnTo>
                <a:lnTo>
                  <a:pt x="0" y="762000"/>
                </a:lnTo>
                <a:close/>
              </a:path>
            </a:pathLst>
          </a:custGeom>
          <a:ln w="64007">
            <a:solidFill>
              <a:srgbClr val="FFFFFF"/>
            </a:solidFill>
            <a:prstDash val="lgDash"/>
          </a:ln>
        </p:spPr>
        <p:txBody>
          <a:bodyPr wrap="square" lIns="0" tIns="0" rIns="0" bIns="0" rtlCol="0"/>
          <a:lstStyle/>
          <a:p>
            <a:endParaRPr sz="1599">
              <a:latin typeface="+mn-lt"/>
              <a:ea typeface="楷体" panose="02010609060101010101" pitchFamily="49" charset="-122"/>
            </a:endParaRPr>
          </a:p>
        </p:txBody>
      </p:sp>
      <p:sp>
        <p:nvSpPr>
          <p:cNvPr id="15" name="object 15"/>
          <p:cNvSpPr txBox="1"/>
          <p:nvPr/>
        </p:nvSpPr>
        <p:spPr>
          <a:xfrm>
            <a:off x="1794444" y="2954679"/>
            <a:ext cx="6569393" cy="1302963"/>
          </a:xfrm>
          <a:prstGeom prst="rect">
            <a:avLst/>
          </a:prstGeom>
        </p:spPr>
        <p:txBody>
          <a:bodyPr vert="horz" wrap="square" lIns="0" tIns="12059" rIns="0" bIns="0" rtlCol="0">
            <a:spAutoFit/>
          </a:bodyPr>
          <a:lstStyle/>
          <a:p>
            <a:pPr marL="12694">
              <a:spcBef>
                <a:spcPts val="95"/>
              </a:spcBef>
            </a:pPr>
            <a:r>
              <a:rPr lang="zh-CN" sz="1599" b="1" i="1" spc="-5" dirty="0">
                <a:solidFill>
                  <a:srgbClr val="F17E00"/>
                </a:solidFill>
                <a:latin typeface="+mn-lt"/>
                <a:ea typeface="楷体" panose="02010609060101010101" pitchFamily="49" charset="-122"/>
                <a:cs typeface="SimSun"/>
              </a:rPr>
              <a:t>为什么使用？</a:t>
            </a:r>
            <a:endParaRPr lang="zh-CN" sz="1599">
              <a:latin typeface="+mn-lt"/>
              <a:ea typeface="楷体" panose="02010609060101010101" pitchFamily="49" charset="-122"/>
              <a:cs typeface="SimSun"/>
            </a:endParaRPr>
          </a:p>
          <a:p>
            <a:pPr marL="205637" indent="-191674">
              <a:spcBef>
                <a:spcPts val="385"/>
              </a:spcBef>
              <a:buClr>
                <a:srgbClr val="00295F"/>
              </a:buClr>
              <a:buSzPct val="125000"/>
              <a:buChar char="▪"/>
              <a:tabLst>
                <a:tab pos="206272" algn="l"/>
              </a:tabLst>
            </a:pPr>
            <a:r>
              <a:rPr lang="zh-CN" sz="1599" spc="-5" dirty="0">
                <a:latin typeface="+mn-lt"/>
                <a:ea typeface="楷体" panose="02010609060101010101" pitchFamily="49" charset="-122"/>
                <a:cs typeface="SimSun"/>
              </a:rPr>
              <a:t>输出高度可视化，易于解读</a:t>
            </a:r>
            <a:endParaRPr lang="zh-CN" sz="1599">
              <a:latin typeface="+mn-lt"/>
              <a:ea typeface="楷体" panose="02010609060101010101" pitchFamily="49" charset="-122"/>
              <a:cs typeface="SimSun"/>
            </a:endParaRPr>
          </a:p>
          <a:p>
            <a:pPr marL="205637" indent="-191674">
              <a:spcBef>
                <a:spcPts val="960"/>
              </a:spcBef>
              <a:buClr>
                <a:srgbClr val="00295F"/>
              </a:buClr>
              <a:buSzPct val="125000"/>
              <a:buChar char="▪"/>
              <a:tabLst>
                <a:tab pos="206272" algn="l"/>
              </a:tabLst>
            </a:pPr>
            <a:r>
              <a:rPr lang="zh-CN" sz="1599" spc="-5" dirty="0">
                <a:latin typeface="+mn-lt"/>
                <a:ea typeface="楷体" panose="02010609060101010101" pitchFamily="49" charset="-122"/>
                <a:cs typeface="SimSun"/>
              </a:rPr>
              <a:t>由于可直接对输出进行验证，因此客户接受度高</a:t>
            </a:r>
            <a:r>
              <a:rPr lang="zh-CN" dirty="0">
                <a:latin typeface="+mn-lt"/>
                <a:ea typeface="楷体" panose="02010609060101010101" pitchFamily="49" charset="-122"/>
                <a:cs typeface="SimSun"/>
              </a:rPr>
              <a:t> </a:t>
            </a:r>
            <a:endParaRPr lang="zh-CN" sz="1599">
              <a:latin typeface="+mn-lt"/>
              <a:ea typeface="楷体" panose="02010609060101010101" pitchFamily="49" charset="-122"/>
              <a:cs typeface="SimSun"/>
            </a:endParaRPr>
          </a:p>
          <a:p>
            <a:pPr marL="205637" indent="-191674">
              <a:spcBef>
                <a:spcPts val="960"/>
              </a:spcBef>
              <a:buClr>
                <a:srgbClr val="00295F"/>
              </a:buClr>
              <a:buSzPct val="125000"/>
              <a:buChar char="▪"/>
              <a:tabLst>
                <a:tab pos="206272" algn="l"/>
              </a:tabLst>
            </a:pPr>
            <a:r>
              <a:rPr lang="zh-CN" sz="1599" spc="-5" dirty="0">
                <a:latin typeface="+mn-lt"/>
                <a:ea typeface="楷体" panose="02010609060101010101" pitchFamily="49" charset="-122"/>
                <a:cs typeface="SimSun"/>
              </a:rPr>
              <a:t>不需要线性关系或独立参数</a:t>
            </a:r>
            <a:r>
              <a:rPr lang="zh-CN" dirty="0">
                <a:latin typeface="+mn-lt"/>
                <a:ea typeface="楷体" panose="02010609060101010101" pitchFamily="49" charset="-122"/>
                <a:cs typeface="SimSun"/>
              </a:rPr>
              <a:t> </a:t>
            </a:r>
            <a:endParaRPr lang="zh-CN" sz="1599">
              <a:latin typeface="+mn-lt"/>
              <a:ea typeface="楷体" panose="02010609060101010101" pitchFamily="49" charset="-122"/>
              <a:cs typeface="SimSun"/>
            </a:endParaRPr>
          </a:p>
        </p:txBody>
      </p:sp>
      <p:sp>
        <p:nvSpPr>
          <p:cNvPr id="16" name="object 16"/>
          <p:cNvSpPr/>
          <p:nvPr/>
        </p:nvSpPr>
        <p:spPr>
          <a:xfrm>
            <a:off x="449341" y="2994791"/>
            <a:ext cx="1238354" cy="1244446"/>
          </a:xfrm>
          <a:prstGeom prst="rect">
            <a:avLst/>
          </a:prstGeom>
          <a:blipFill>
            <a:blip r:embed="rId5"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17" name="object 17"/>
          <p:cNvSpPr txBox="1"/>
          <p:nvPr/>
        </p:nvSpPr>
        <p:spPr>
          <a:xfrm>
            <a:off x="790638" y="3004641"/>
            <a:ext cx="555330" cy="1168414"/>
          </a:xfrm>
          <a:prstGeom prst="rect">
            <a:avLst/>
          </a:prstGeom>
        </p:spPr>
        <p:txBody>
          <a:bodyPr vert="horz" wrap="square" lIns="0" tIns="12693" rIns="0" bIns="0" rtlCol="0">
            <a:spAutoFit/>
          </a:bodyPr>
          <a:lstStyle/>
          <a:p>
            <a:pPr marL="12694">
              <a:spcBef>
                <a:spcPts val="100"/>
              </a:spcBef>
            </a:pPr>
            <a:r>
              <a:rPr lang="zh-CN" sz="7496" dirty="0">
                <a:solidFill>
                  <a:srgbClr val="FFFFFF"/>
                </a:solidFill>
                <a:latin typeface="+mn-lt"/>
                <a:ea typeface="楷体" panose="02010609060101010101" pitchFamily="49" charset="-122"/>
                <a:cs typeface="SimSun"/>
              </a:rPr>
              <a:t>？</a:t>
            </a:r>
            <a:endParaRPr lang="zh-CN" sz="7496">
              <a:latin typeface="+mn-lt"/>
              <a:ea typeface="楷体" panose="02010609060101010101" pitchFamily="49" charset="-122"/>
              <a:cs typeface="SimSun"/>
            </a:endParaRPr>
          </a:p>
        </p:txBody>
      </p:sp>
      <p:sp>
        <p:nvSpPr>
          <p:cNvPr id="18" name="object 18"/>
          <p:cNvSpPr txBox="1"/>
          <p:nvPr/>
        </p:nvSpPr>
        <p:spPr>
          <a:xfrm>
            <a:off x="1794445" y="4575355"/>
            <a:ext cx="5828742" cy="930249"/>
          </a:xfrm>
          <a:prstGeom prst="rect">
            <a:avLst/>
          </a:prstGeom>
        </p:spPr>
        <p:txBody>
          <a:bodyPr vert="horz" wrap="square" lIns="0" tIns="12059" rIns="0" bIns="0" rtlCol="0">
            <a:spAutoFit/>
          </a:bodyPr>
          <a:lstStyle/>
          <a:p>
            <a:pPr marL="12694">
              <a:spcBef>
                <a:spcPts val="95"/>
              </a:spcBef>
            </a:pPr>
            <a:r>
              <a:rPr lang="zh-CN" sz="1599" b="1" i="1" spc="-5" dirty="0">
                <a:solidFill>
                  <a:srgbClr val="F17E00"/>
                </a:solidFill>
                <a:latin typeface="+mn-lt"/>
                <a:ea typeface="楷体" panose="02010609060101010101" pitchFamily="49" charset="-122"/>
                <a:cs typeface="SimSun"/>
              </a:rPr>
              <a:t>什么情况下使用？</a:t>
            </a:r>
            <a:endParaRPr lang="zh-CN" sz="1599">
              <a:latin typeface="+mn-lt"/>
              <a:ea typeface="楷体" panose="02010609060101010101" pitchFamily="49" charset="-122"/>
              <a:cs typeface="SimSun"/>
            </a:endParaRPr>
          </a:p>
          <a:p>
            <a:pPr marL="205637" indent="-191674">
              <a:spcBef>
                <a:spcPts val="385"/>
              </a:spcBef>
              <a:buClr>
                <a:srgbClr val="00295F"/>
              </a:buClr>
              <a:buSzPct val="125000"/>
              <a:buChar char="▪"/>
              <a:tabLst>
                <a:tab pos="206272" algn="l"/>
              </a:tabLst>
            </a:pPr>
            <a:r>
              <a:rPr lang="zh-CN" sz="1599" spc="-5" dirty="0">
                <a:latin typeface="+mn-lt"/>
                <a:ea typeface="楷体" panose="02010609060101010101" pitchFamily="49" charset="-122"/>
                <a:cs typeface="SimSun"/>
              </a:rPr>
              <a:t>对于要解决的问题建立了明确假设</a:t>
            </a:r>
            <a:r>
              <a:rPr lang="zh-CN" dirty="0">
                <a:latin typeface="+mn-lt"/>
                <a:ea typeface="楷体" panose="02010609060101010101" pitchFamily="49" charset="-122"/>
                <a:cs typeface="SimSun"/>
              </a:rPr>
              <a:t> </a:t>
            </a:r>
            <a:endParaRPr lang="zh-CN" sz="1599">
              <a:latin typeface="+mn-lt"/>
              <a:ea typeface="楷体" panose="02010609060101010101" pitchFamily="49" charset="-122"/>
              <a:cs typeface="SimSun"/>
            </a:endParaRPr>
          </a:p>
          <a:p>
            <a:pPr marL="205637" marR="5077" indent="-191674">
              <a:spcBef>
                <a:spcPts val="960"/>
              </a:spcBef>
              <a:buClr>
                <a:srgbClr val="00295F"/>
              </a:buClr>
              <a:buSzPct val="125000"/>
              <a:buChar char="▪"/>
              <a:tabLst>
                <a:tab pos="206272" algn="l"/>
              </a:tabLst>
            </a:pPr>
            <a:r>
              <a:rPr lang="zh-CN" sz="1599" spc="-5" dirty="0">
                <a:latin typeface="+mn-lt"/>
                <a:ea typeface="楷体" panose="02010609060101010101" pitchFamily="49" charset="-122"/>
                <a:cs typeface="SimSun"/>
              </a:rPr>
              <a:t>特定细分客群行为的预测（例如，购买决策、流失率、消费率）</a:t>
            </a:r>
            <a:r>
              <a:rPr lang="zh-CN" dirty="0">
                <a:latin typeface="+mn-lt"/>
                <a:ea typeface="楷体" panose="02010609060101010101" pitchFamily="49" charset="-122"/>
                <a:cs typeface="SimSun"/>
              </a:rPr>
              <a:t> </a:t>
            </a:r>
            <a:endParaRPr lang="zh-CN" sz="1599">
              <a:latin typeface="+mn-lt"/>
              <a:ea typeface="楷体" panose="02010609060101010101" pitchFamily="49" charset="-122"/>
              <a:cs typeface="SimSun"/>
            </a:endParaRPr>
          </a:p>
        </p:txBody>
      </p:sp>
      <p:sp>
        <p:nvSpPr>
          <p:cNvPr id="19" name="object 19"/>
          <p:cNvSpPr/>
          <p:nvPr/>
        </p:nvSpPr>
        <p:spPr>
          <a:xfrm>
            <a:off x="449341" y="4559108"/>
            <a:ext cx="1238354" cy="1242922"/>
          </a:xfrm>
          <a:prstGeom prst="rect">
            <a:avLst/>
          </a:prstGeom>
          <a:blipFill>
            <a:blip r:embed="rId6"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20" name="object 20"/>
          <p:cNvSpPr/>
          <p:nvPr/>
        </p:nvSpPr>
        <p:spPr>
          <a:xfrm>
            <a:off x="648879" y="4761692"/>
            <a:ext cx="839659" cy="839659"/>
          </a:xfrm>
          <a:custGeom>
            <a:avLst/>
            <a:gdLst/>
            <a:ahLst/>
            <a:cxnLst/>
            <a:rect l="l" t="t" r="r" b="b"/>
            <a:pathLst>
              <a:path w="840105" h="840104">
                <a:moveTo>
                  <a:pt x="0" y="419862"/>
                </a:moveTo>
                <a:lnTo>
                  <a:pt x="2824" y="370893"/>
                </a:lnTo>
                <a:lnTo>
                  <a:pt x="11088" y="323585"/>
                </a:lnTo>
                <a:lnTo>
                  <a:pt x="24476" y="278252"/>
                </a:lnTo>
                <a:lnTo>
                  <a:pt x="42674" y="235209"/>
                </a:lnTo>
                <a:lnTo>
                  <a:pt x="65366" y="194770"/>
                </a:lnTo>
                <a:lnTo>
                  <a:pt x="92237" y="157251"/>
                </a:lnTo>
                <a:lnTo>
                  <a:pt x="122972" y="122967"/>
                </a:lnTo>
                <a:lnTo>
                  <a:pt x="157257" y="92233"/>
                </a:lnTo>
                <a:lnTo>
                  <a:pt x="194776" y="65362"/>
                </a:lnTo>
                <a:lnTo>
                  <a:pt x="235214" y="42672"/>
                </a:lnTo>
                <a:lnTo>
                  <a:pt x="278257" y="24475"/>
                </a:lnTo>
                <a:lnTo>
                  <a:pt x="323589" y="11087"/>
                </a:lnTo>
                <a:lnTo>
                  <a:pt x="370896" y="2824"/>
                </a:lnTo>
                <a:lnTo>
                  <a:pt x="419862" y="0"/>
                </a:lnTo>
                <a:lnTo>
                  <a:pt x="468830" y="2824"/>
                </a:lnTo>
                <a:lnTo>
                  <a:pt x="516138" y="11087"/>
                </a:lnTo>
                <a:lnTo>
                  <a:pt x="561471" y="24475"/>
                </a:lnTo>
                <a:lnTo>
                  <a:pt x="604514" y="42672"/>
                </a:lnTo>
                <a:lnTo>
                  <a:pt x="644953" y="65362"/>
                </a:lnTo>
                <a:lnTo>
                  <a:pt x="682472" y="92233"/>
                </a:lnTo>
                <a:lnTo>
                  <a:pt x="716756" y="122967"/>
                </a:lnTo>
                <a:lnTo>
                  <a:pt x="747490" y="157251"/>
                </a:lnTo>
                <a:lnTo>
                  <a:pt x="774361" y="194770"/>
                </a:lnTo>
                <a:lnTo>
                  <a:pt x="797052" y="235209"/>
                </a:lnTo>
                <a:lnTo>
                  <a:pt x="815248" y="278252"/>
                </a:lnTo>
                <a:lnTo>
                  <a:pt x="828636" y="323585"/>
                </a:lnTo>
                <a:lnTo>
                  <a:pt x="836899" y="370893"/>
                </a:lnTo>
                <a:lnTo>
                  <a:pt x="839724" y="419862"/>
                </a:lnTo>
                <a:lnTo>
                  <a:pt x="836899" y="468830"/>
                </a:lnTo>
                <a:lnTo>
                  <a:pt x="828636" y="516138"/>
                </a:lnTo>
                <a:lnTo>
                  <a:pt x="815248" y="561471"/>
                </a:lnTo>
                <a:lnTo>
                  <a:pt x="797052" y="604514"/>
                </a:lnTo>
                <a:lnTo>
                  <a:pt x="774361" y="644953"/>
                </a:lnTo>
                <a:lnTo>
                  <a:pt x="747490" y="682472"/>
                </a:lnTo>
                <a:lnTo>
                  <a:pt x="716756" y="716756"/>
                </a:lnTo>
                <a:lnTo>
                  <a:pt x="682472" y="747490"/>
                </a:lnTo>
                <a:lnTo>
                  <a:pt x="644953" y="774361"/>
                </a:lnTo>
                <a:lnTo>
                  <a:pt x="604514" y="797052"/>
                </a:lnTo>
                <a:lnTo>
                  <a:pt x="561471" y="815248"/>
                </a:lnTo>
                <a:lnTo>
                  <a:pt x="516138" y="828636"/>
                </a:lnTo>
                <a:lnTo>
                  <a:pt x="468830" y="836899"/>
                </a:lnTo>
                <a:lnTo>
                  <a:pt x="419862" y="839724"/>
                </a:lnTo>
                <a:lnTo>
                  <a:pt x="370896" y="836899"/>
                </a:lnTo>
                <a:lnTo>
                  <a:pt x="323589" y="828636"/>
                </a:lnTo>
                <a:lnTo>
                  <a:pt x="278257" y="815248"/>
                </a:lnTo>
                <a:lnTo>
                  <a:pt x="235214" y="797052"/>
                </a:lnTo>
                <a:lnTo>
                  <a:pt x="194776" y="774361"/>
                </a:lnTo>
                <a:lnTo>
                  <a:pt x="157257" y="747490"/>
                </a:lnTo>
                <a:lnTo>
                  <a:pt x="122972" y="716756"/>
                </a:lnTo>
                <a:lnTo>
                  <a:pt x="92237" y="682472"/>
                </a:lnTo>
                <a:lnTo>
                  <a:pt x="65366" y="644953"/>
                </a:lnTo>
                <a:lnTo>
                  <a:pt x="42674" y="604514"/>
                </a:lnTo>
                <a:lnTo>
                  <a:pt x="24476" y="561471"/>
                </a:lnTo>
                <a:lnTo>
                  <a:pt x="11088" y="516138"/>
                </a:lnTo>
                <a:lnTo>
                  <a:pt x="2824" y="468830"/>
                </a:lnTo>
                <a:lnTo>
                  <a:pt x="0" y="419862"/>
                </a:lnTo>
                <a:close/>
              </a:path>
            </a:pathLst>
          </a:custGeom>
          <a:ln w="64007">
            <a:solidFill>
              <a:srgbClr val="FFFFFF"/>
            </a:solidFill>
          </a:ln>
        </p:spPr>
        <p:txBody>
          <a:bodyPr wrap="square" lIns="0" tIns="0" rIns="0" bIns="0" rtlCol="0"/>
          <a:lstStyle/>
          <a:p>
            <a:endParaRPr sz="1599">
              <a:latin typeface="+mn-lt"/>
              <a:ea typeface="楷体" panose="02010609060101010101" pitchFamily="49" charset="-122"/>
            </a:endParaRPr>
          </a:p>
        </p:txBody>
      </p:sp>
      <p:sp>
        <p:nvSpPr>
          <p:cNvPr id="21" name="object 21"/>
          <p:cNvSpPr/>
          <p:nvPr/>
        </p:nvSpPr>
        <p:spPr>
          <a:xfrm>
            <a:off x="1064710" y="5049575"/>
            <a:ext cx="133279" cy="144703"/>
          </a:xfrm>
          <a:custGeom>
            <a:avLst/>
            <a:gdLst/>
            <a:ahLst/>
            <a:cxnLst/>
            <a:rect l="l" t="t" r="r" b="b"/>
            <a:pathLst>
              <a:path w="133350" h="144779">
                <a:moveTo>
                  <a:pt x="133350" y="0"/>
                </a:moveTo>
                <a:lnTo>
                  <a:pt x="0" y="144398"/>
                </a:lnTo>
              </a:path>
            </a:pathLst>
          </a:custGeom>
          <a:ln w="64008">
            <a:solidFill>
              <a:srgbClr val="FFFFFF"/>
            </a:solidFill>
          </a:ln>
        </p:spPr>
        <p:txBody>
          <a:bodyPr wrap="square" lIns="0" tIns="0" rIns="0" bIns="0" rtlCol="0"/>
          <a:lstStyle/>
          <a:p>
            <a:endParaRPr sz="1599">
              <a:latin typeface="+mn-lt"/>
              <a:ea typeface="楷体" panose="02010609060101010101" pitchFamily="49" charset="-122"/>
            </a:endParaRPr>
          </a:p>
        </p:txBody>
      </p:sp>
      <p:sp>
        <p:nvSpPr>
          <p:cNvPr id="22" name="object 22"/>
          <p:cNvSpPr/>
          <p:nvPr/>
        </p:nvSpPr>
        <p:spPr>
          <a:xfrm>
            <a:off x="956564" y="4860699"/>
            <a:ext cx="120586" cy="342718"/>
          </a:xfrm>
          <a:custGeom>
            <a:avLst/>
            <a:gdLst/>
            <a:ahLst/>
            <a:cxnLst/>
            <a:rect l="l" t="t" r="r" b="b"/>
            <a:pathLst>
              <a:path w="120650" h="342900">
                <a:moveTo>
                  <a:pt x="0" y="0"/>
                </a:moveTo>
                <a:lnTo>
                  <a:pt x="120650" y="342899"/>
                </a:lnTo>
              </a:path>
            </a:pathLst>
          </a:custGeom>
          <a:ln w="64008">
            <a:solidFill>
              <a:srgbClr val="FFFFFF"/>
            </a:solidFill>
          </a:ln>
        </p:spPr>
        <p:txBody>
          <a:bodyPr wrap="square" lIns="0" tIns="0" rIns="0" bIns="0" rtlCol="0"/>
          <a:lstStyle/>
          <a:p>
            <a:endParaRPr sz="1599">
              <a:latin typeface="+mn-lt"/>
              <a:ea typeface="楷体" panose="02010609060101010101" pitchFamily="49" charset="-122"/>
            </a:endParaRPr>
          </a:p>
        </p:txBody>
      </p:sp>
      <p:sp>
        <p:nvSpPr>
          <p:cNvPr id="23" name="object 6">
            <a:extLst>
              <a:ext uri="{FF2B5EF4-FFF2-40B4-BE49-F238E27FC236}">
                <a16:creationId xmlns:a16="http://schemas.microsoft.com/office/drawing/2014/main" id="{12BBB470-3819-4EAC-B9D5-E3E41E6A7205}"/>
              </a:ext>
            </a:extLst>
          </p:cNvPr>
          <p:cNvSpPr txBox="1">
            <a:spLocks/>
          </p:cNvSpPr>
          <p:nvPr/>
        </p:nvSpPr>
        <p:spPr bwMode="gray">
          <a:xfrm>
            <a:off x="106419" y="210145"/>
            <a:ext cx="1928857" cy="320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3" rIns="0" bIns="0" numCol="1" rtlCol="0"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99" b="0" i="0" baseline="0">
                <a:solidFill>
                  <a:schemeClr val="bg1"/>
                </a:solidFill>
                <a:latin typeface="Arial"/>
                <a:ea typeface="+mj-ea"/>
                <a:cs typeface="Arial"/>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12694">
              <a:spcBef>
                <a:spcPts val="100"/>
              </a:spcBef>
            </a:pPr>
            <a:r>
              <a:rPr lang="zh-CN" kern="0" dirty="0">
                <a:solidFill>
                  <a:schemeClr val="tx2"/>
                </a:solidFill>
                <a:latin typeface="+mn-lt"/>
                <a:ea typeface="楷体" panose="02010609060101010101" pitchFamily="49" charset="-122"/>
                <a:cs typeface="SimSun"/>
              </a:rPr>
              <a:t>决策树</a:t>
            </a:r>
          </a:p>
        </p:txBody>
      </p:sp>
    </p:spTree>
    <p:extLst>
      <p:ext uri="{BB962C8B-B14F-4D97-AF65-F5344CB8AC3E}">
        <p14:creationId xmlns:p14="http://schemas.microsoft.com/office/powerpoint/2010/main" val="13167423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603445" y="978467"/>
            <a:ext cx="338554" cy="1992205"/>
          </a:xfrm>
          <a:prstGeom prst="rect">
            <a:avLst/>
          </a:prstGeom>
        </p:spPr>
        <p:txBody>
          <a:bodyPr vert="vert" wrap="square" lIns="0" tIns="5077" rIns="0" bIns="0" rtlCol="0">
            <a:spAutoFit/>
          </a:bodyPr>
          <a:lstStyle/>
          <a:p>
            <a:pPr marL="12694">
              <a:spcBef>
                <a:spcPts val="40"/>
              </a:spcBef>
            </a:pPr>
            <a:r>
              <a:rPr lang="zh-CN" sz="600" dirty="0">
                <a:solidFill>
                  <a:srgbClr val="808080"/>
                </a:solidFill>
                <a:latin typeface="+mn-lt"/>
                <a:ea typeface="楷体" panose="02010609060101010101" pitchFamily="49" charset="-122"/>
                <a:cs typeface="SimSun"/>
              </a:rPr>
              <a:t>Last Modified 1/19/2017 </a:t>
            </a:r>
            <a:r>
              <a:rPr lang="zh-CN" sz="600" spc="-5" dirty="0">
                <a:solidFill>
                  <a:srgbClr val="808080"/>
                </a:solidFill>
                <a:latin typeface="+mn-lt"/>
                <a:ea typeface="楷体" panose="02010609060101010101" pitchFamily="49" charset="-122"/>
                <a:cs typeface="SimSun"/>
              </a:rPr>
              <a:t>10:32 AM Eastern Standard</a:t>
            </a:r>
            <a:r>
              <a:rPr lang="zh-CN" dirty="0">
                <a:latin typeface="+mn-lt"/>
                <a:ea typeface="楷体" panose="02010609060101010101" pitchFamily="49" charset="-122"/>
                <a:cs typeface="SimSun"/>
              </a:rPr>
              <a:t> </a:t>
            </a:r>
            <a:r>
              <a:rPr lang="zh-CN" sz="600" spc="-5" dirty="0">
                <a:solidFill>
                  <a:srgbClr val="808080"/>
                </a:solidFill>
                <a:latin typeface="+mn-lt"/>
                <a:ea typeface="楷体" panose="02010609060101010101" pitchFamily="49" charset="-122"/>
                <a:cs typeface="SimSun"/>
              </a:rPr>
              <a:t>Time</a:t>
            </a:r>
            <a:endParaRPr lang="zh-CN" sz="600">
              <a:latin typeface="+mn-lt"/>
              <a:ea typeface="楷体" panose="02010609060101010101" pitchFamily="49" charset="-122"/>
              <a:cs typeface="SimSun"/>
            </a:endParaRPr>
          </a:p>
        </p:txBody>
      </p:sp>
      <p:sp>
        <p:nvSpPr>
          <p:cNvPr id="3" name="object 3"/>
          <p:cNvSpPr txBox="1"/>
          <p:nvPr/>
        </p:nvSpPr>
        <p:spPr>
          <a:xfrm>
            <a:off x="8849666" y="4024213"/>
            <a:ext cx="92333" cy="269097"/>
          </a:xfrm>
          <a:prstGeom prst="rect">
            <a:avLst/>
          </a:prstGeom>
        </p:spPr>
        <p:txBody>
          <a:bodyPr vert="vert" wrap="square" lIns="0" tIns="5077" rIns="0" bIns="0" rtlCol="0">
            <a:spAutoFit/>
          </a:bodyPr>
          <a:lstStyle/>
          <a:p>
            <a:pPr marL="12694">
              <a:spcBef>
                <a:spcPts val="40"/>
              </a:spcBef>
            </a:pPr>
            <a:r>
              <a:rPr lang="zh-CN" sz="600" spc="-5" dirty="0">
                <a:solidFill>
                  <a:srgbClr val="808080"/>
                </a:solidFill>
                <a:latin typeface="+mn-lt"/>
                <a:ea typeface="楷体" panose="02010609060101010101" pitchFamily="49" charset="-122"/>
                <a:cs typeface="SimSun"/>
              </a:rPr>
              <a:t>P</a:t>
            </a:r>
            <a:r>
              <a:rPr lang="zh-CN" sz="600" dirty="0">
                <a:solidFill>
                  <a:srgbClr val="808080"/>
                </a:solidFill>
                <a:latin typeface="+mn-lt"/>
                <a:ea typeface="楷体" panose="02010609060101010101" pitchFamily="49" charset="-122"/>
                <a:cs typeface="SimSun"/>
              </a:rPr>
              <a:t>r</a:t>
            </a:r>
            <a:r>
              <a:rPr lang="zh-CN" sz="600" spc="10" dirty="0">
                <a:solidFill>
                  <a:srgbClr val="808080"/>
                </a:solidFill>
                <a:latin typeface="+mn-lt"/>
                <a:ea typeface="楷体" panose="02010609060101010101" pitchFamily="49" charset="-122"/>
                <a:cs typeface="SimSun"/>
              </a:rPr>
              <a:t>i</a:t>
            </a:r>
            <a:r>
              <a:rPr lang="zh-CN" sz="600" dirty="0">
                <a:solidFill>
                  <a:srgbClr val="808080"/>
                </a:solidFill>
                <a:latin typeface="+mn-lt"/>
                <a:ea typeface="楷体" panose="02010609060101010101" pitchFamily="49" charset="-122"/>
                <a:cs typeface="SimSun"/>
              </a:rPr>
              <a:t>nted</a:t>
            </a:r>
            <a:endParaRPr lang="zh-CN" sz="600">
              <a:latin typeface="+mn-lt"/>
              <a:ea typeface="楷体" panose="02010609060101010101" pitchFamily="49" charset="-122"/>
              <a:cs typeface="SimSun"/>
            </a:endParaRPr>
          </a:p>
        </p:txBody>
      </p:sp>
      <p:sp>
        <p:nvSpPr>
          <p:cNvPr id="5" name="object 5"/>
          <p:cNvSpPr/>
          <p:nvPr/>
        </p:nvSpPr>
        <p:spPr>
          <a:xfrm>
            <a:off x="0" y="930868"/>
            <a:ext cx="8956360" cy="1418089"/>
          </a:xfrm>
          <a:prstGeom prst="rect">
            <a:avLst/>
          </a:prstGeom>
          <a:blipFill>
            <a:blip r:embed="rId2"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6" name="object 6"/>
          <p:cNvSpPr/>
          <p:nvPr/>
        </p:nvSpPr>
        <p:spPr>
          <a:xfrm>
            <a:off x="1" y="923251"/>
            <a:ext cx="8956995" cy="15232"/>
          </a:xfrm>
          <a:custGeom>
            <a:avLst/>
            <a:gdLst/>
            <a:ahLst/>
            <a:cxnLst/>
            <a:rect l="l" t="t" r="r" b="b"/>
            <a:pathLst>
              <a:path w="8961755" h="15240">
                <a:moveTo>
                  <a:pt x="0" y="15240"/>
                </a:moveTo>
                <a:lnTo>
                  <a:pt x="8961501" y="15240"/>
                </a:lnTo>
                <a:lnTo>
                  <a:pt x="8961501" y="0"/>
                </a:lnTo>
                <a:lnTo>
                  <a:pt x="0" y="0"/>
                </a:lnTo>
                <a:lnTo>
                  <a:pt x="0" y="15240"/>
                </a:lnTo>
                <a:close/>
              </a:path>
            </a:pathLst>
          </a:custGeom>
          <a:solidFill>
            <a:srgbClr val="0064BC"/>
          </a:solidFill>
        </p:spPr>
        <p:txBody>
          <a:bodyPr wrap="square" lIns="0" tIns="0" rIns="0" bIns="0" rtlCol="0"/>
          <a:lstStyle/>
          <a:p>
            <a:endParaRPr sz="1599">
              <a:latin typeface="+mn-lt"/>
              <a:ea typeface="楷体" panose="02010609060101010101" pitchFamily="49" charset="-122"/>
            </a:endParaRPr>
          </a:p>
        </p:txBody>
      </p:sp>
      <p:sp>
        <p:nvSpPr>
          <p:cNvPr id="9" name="object 9"/>
          <p:cNvSpPr txBox="1">
            <a:spLocks noGrp="1"/>
          </p:cNvSpPr>
          <p:nvPr>
            <p:ph type="title"/>
          </p:nvPr>
        </p:nvSpPr>
        <p:spPr>
          <a:xfrm>
            <a:off x="106420" y="210145"/>
            <a:ext cx="1961742" cy="330659"/>
          </a:xfrm>
          <a:prstGeom prst="rect">
            <a:avLst/>
          </a:prstGeom>
        </p:spPr>
        <p:txBody>
          <a:bodyPr vert="horz" wrap="square" lIns="0" tIns="12693" rIns="0" bIns="0" numCol="1" rtlCol="0" anchor="t" anchorCtr="0" compatLnSpc="1">
            <a:prstTxWarp prst="textNoShape">
              <a:avLst/>
            </a:prstTxWarp>
            <a:spAutoFit/>
          </a:bodyPr>
          <a:lstStyle/>
          <a:p>
            <a:pPr marL="12694">
              <a:spcBef>
                <a:spcPts val="100"/>
              </a:spcBef>
            </a:pPr>
            <a:r>
              <a:rPr lang="zh-CN" dirty="0">
                <a:latin typeface="+mn-lt"/>
                <a:ea typeface="楷体" panose="02010609060101010101" pitchFamily="49" charset="-122"/>
                <a:cs typeface="SimSun"/>
              </a:rPr>
              <a:t>随机森林</a:t>
            </a:r>
            <a:endParaRPr lang="zh-CN" dirty="0">
              <a:latin typeface="+mn-lt"/>
              <a:ea typeface="楷体" panose="02010609060101010101" pitchFamily="49" charset="-122"/>
            </a:endParaRPr>
          </a:p>
        </p:txBody>
      </p:sp>
      <p:sp>
        <p:nvSpPr>
          <p:cNvPr id="10" name="object 10"/>
          <p:cNvSpPr txBox="1"/>
          <p:nvPr/>
        </p:nvSpPr>
        <p:spPr>
          <a:xfrm>
            <a:off x="106419" y="6492137"/>
            <a:ext cx="8524790" cy="259038"/>
          </a:xfrm>
          <a:prstGeom prst="rect">
            <a:avLst/>
          </a:prstGeom>
        </p:spPr>
        <p:txBody>
          <a:bodyPr vert="horz" wrap="square" lIns="0" tIns="12693" rIns="0" bIns="0" rtlCol="0">
            <a:spAutoFit/>
          </a:bodyPr>
          <a:lstStyle/>
          <a:p>
            <a:pPr marL="12694">
              <a:spcBef>
                <a:spcPts val="100"/>
              </a:spcBef>
              <a:tabLst>
                <a:tab pos="7352162" algn="l"/>
              </a:tabLst>
            </a:pPr>
            <a:r>
              <a:rPr lang="zh-CN" sz="800" spc="-5" dirty="0">
                <a:solidFill>
                  <a:srgbClr val="808080"/>
                </a:solidFill>
                <a:latin typeface="+mn-lt"/>
                <a:ea typeface="楷体" panose="02010609060101010101" pitchFamily="49" charset="-122"/>
                <a:cs typeface="SimSun"/>
              </a:rPr>
              <a:t>资料来源：</a:t>
            </a:r>
            <a:r>
              <a:rPr lang="zh-CN" sz="800" spc="-5" dirty="0">
                <a:solidFill>
                  <a:srgbClr val="808080"/>
                </a:solidFill>
                <a:latin typeface="+mn-lt"/>
                <a:ea typeface="楷体" panose="02010609060101010101" pitchFamily="49" charset="-122"/>
                <a:cs typeface="SimSun"/>
                <a:hlinkClick r:id="rId3"/>
              </a:rPr>
              <a:t>http://mcaps.intranet.mckinsey.com</a:t>
            </a:r>
            <a:r>
              <a:rPr lang="en-US" dirty="0">
                <a:latin typeface="+mn-lt"/>
                <a:ea typeface="楷体" panose="02010609060101010101" pitchFamily="49" charset="-122"/>
                <a:cs typeface="SimSun"/>
              </a:rPr>
              <a:t>	</a:t>
            </a:r>
            <a:r>
              <a:rPr lang="zh-CN" sz="800" dirty="0">
                <a:solidFill>
                  <a:srgbClr val="808080"/>
                </a:solidFill>
                <a:latin typeface="+mn-lt"/>
                <a:ea typeface="楷体" panose="02010609060101010101" pitchFamily="49" charset="-122"/>
                <a:cs typeface="SimSun"/>
              </a:rPr>
              <a:t>McKinsey &amp; Company</a:t>
            </a:r>
            <a:r>
              <a:rPr lang="zh-CN" dirty="0">
                <a:latin typeface="+mn-lt"/>
                <a:ea typeface="楷体" panose="02010609060101010101" pitchFamily="49" charset="-122"/>
                <a:cs typeface="SimSun"/>
              </a:rPr>
              <a:t> </a:t>
            </a:r>
            <a:r>
              <a:rPr lang="zh-CN" sz="800" dirty="0">
                <a:solidFill>
                  <a:srgbClr val="808080"/>
                </a:solidFill>
                <a:latin typeface="+mn-lt"/>
                <a:ea typeface="楷体" panose="02010609060101010101" pitchFamily="49" charset="-122"/>
                <a:cs typeface="SimSun"/>
              </a:rPr>
              <a:t>5</a:t>
            </a:r>
            <a:endParaRPr lang="zh-CN" sz="800">
              <a:latin typeface="+mn-lt"/>
              <a:ea typeface="楷体" panose="02010609060101010101" pitchFamily="49" charset="-122"/>
              <a:cs typeface="SimSun"/>
            </a:endParaRPr>
          </a:p>
        </p:txBody>
      </p:sp>
      <p:sp>
        <p:nvSpPr>
          <p:cNvPr id="11" name="object 11"/>
          <p:cNvSpPr/>
          <p:nvPr/>
        </p:nvSpPr>
        <p:spPr>
          <a:xfrm>
            <a:off x="191921" y="2479952"/>
            <a:ext cx="8574293" cy="0"/>
          </a:xfrm>
          <a:custGeom>
            <a:avLst/>
            <a:gdLst/>
            <a:ahLst/>
            <a:cxnLst/>
            <a:rect l="l" t="t" r="r" b="b"/>
            <a:pathLst>
              <a:path w="8578850">
                <a:moveTo>
                  <a:pt x="0" y="0"/>
                </a:moveTo>
                <a:lnTo>
                  <a:pt x="8578596" y="0"/>
                </a:lnTo>
              </a:path>
            </a:pathLst>
          </a:custGeom>
          <a:ln w="6096">
            <a:solidFill>
              <a:srgbClr val="808080"/>
            </a:solidFill>
            <a:prstDash val="sysDot"/>
          </a:ln>
        </p:spPr>
        <p:txBody>
          <a:bodyPr wrap="square" lIns="0" tIns="0" rIns="0" bIns="0" rtlCol="0"/>
          <a:lstStyle/>
          <a:p>
            <a:endParaRPr sz="1599">
              <a:latin typeface="+mn-lt"/>
              <a:ea typeface="楷体" panose="02010609060101010101" pitchFamily="49" charset="-122"/>
            </a:endParaRPr>
          </a:p>
        </p:txBody>
      </p:sp>
      <p:sp>
        <p:nvSpPr>
          <p:cNvPr id="12" name="object 12"/>
          <p:cNvSpPr/>
          <p:nvPr/>
        </p:nvSpPr>
        <p:spPr>
          <a:xfrm>
            <a:off x="191921" y="4167647"/>
            <a:ext cx="8574293" cy="0"/>
          </a:xfrm>
          <a:custGeom>
            <a:avLst/>
            <a:gdLst/>
            <a:ahLst/>
            <a:cxnLst/>
            <a:rect l="l" t="t" r="r" b="b"/>
            <a:pathLst>
              <a:path w="8578850">
                <a:moveTo>
                  <a:pt x="0" y="0"/>
                </a:moveTo>
                <a:lnTo>
                  <a:pt x="8578596" y="0"/>
                </a:lnTo>
              </a:path>
            </a:pathLst>
          </a:custGeom>
          <a:ln w="6096">
            <a:solidFill>
              <a:srgbClr val="808080"/>
            </a:solidFill>
            <a:prstDash val="sysDot"/>
          </a:ln>
        </p:spPr>
        <p:txBody>
          <a:bodyPr wrap="square" lIns="0" tIns="0" rIns="0" bIns="0" rtlCol="0"/>
          <a:lstStyle/>
          <a:p>
            <a:endParaRPr sz="1599">
              <a:latin typeface="+mn-lt"/>
              <a:ea typeface="楷体" panose="02010609060101010101" pitchFamily="49" charset="-122"/>
            </a:endParaRPr>
          </a:p>
        </p:txBody>
      </p:sp>
      <p:sp>
        <p:nvSpPr>
          <p:cNvPr id="13" name="object 13"/>
          <p:cNvSpPr/>
          <p:nvPr/>
        </p:nvSpPr>
        <p:spPr>
          <a:xfrm>
            <a:off x="693051" y="1345175"/>
            <a:ext cx="394760" cy="761595"/>
          </a:xfrm>
          <a:custGeom>
            <a:avLst/>
            <a:gdLst/>
            <a:ahLst/>
            <a:cxnLst/>
            <a:rect l="l" t="t" r="r" b="b"/>
            <a:pathLst>
              <a:path w="394969" h="762000">
                <a:moveTo>
                  <a:pt x="0" y="762000"/>
                </a:moveTo>
                <a:lnTo>
                  <a:pt x="394716" y="762000"/>
                </a:lnTo>
                <a:lnTo>
                  <a:pt x="394716" y="0"/>
                </a:lnTo>
                <a:lnTo>
                  <a:pt x="0" y="0"/>
                </a:lnTo>
                <a:lnTo>
                  <a:pt x="0" y="762000"/>
                </a:lnTo>
                <a:close/>
              </a:path>
            </a:pathLst>
          </a:custGeom>
          <a:ln w="64008">
            <a:solidFill>
              <a:srgbClr val="FFFFFF"/>
            </a:solidFill>
            <a:prstDash val="lgDash"/>
          </a:ln>
        </p:spPr>
        <p:txBody>
          <a:bodyPr wrap="square" lIns="0" tIns="0" rIns="0" bIns="0" rtlCol="0"/>
          <a:lstStyle/>
          <a:p>
            <a:endParaRPr sz="1599">
              <a:latin typeface="+mn-lt"/>
              <a:ea typeface="楷体" panose="02010609060101010101" pitchFamily="49" charset="-122"/>
            </a:endParaRPr>
          </a:p>
        </p:txBody>
      </p:sp>
      <p:sp>
        <p:nvSpPr>
          <p:cNvPr id="14" name="object 14"/>
          <p:cNvSpPr/>
          <p:nvPr/>
        </p:nvSpPr>
        <p:spPr>
          <a:xfrm>
            <a:off x="271128" y="2719093"/>
            <a:ext cx="1238354" cy="1244447"/>
          </a:xfrm>
          <a:prstGeom prst="rect">
            <a:avLst/>
          </a:prstGeom>
          <a:blipFill>
            <a:blip r:embed="rId4"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15" name="object 15"/>
          <p:cNvSpPr txBox="1"/>
          <p:nvPr/>
        </p:nvSpPr>
        <p:spPr>
          <a:xfrm>
            <a:off x="613034" y="2728994"/>
            <a:ext cx="554695" cy="1167779"/>
          </a:xfrm>
          <a:prstGeom prst="rect">
            <a:avLst/>
          </a:prstGeom>
        </p:spPr>
        <p:txBody>
          <a:bodyPr vert="horz" wrap="square" lIns="0" tIns="12693" rIns="0" bIns="0" rtlCol="0">
            <a:spAutoFit/>
          </a:bodyPr>
          <a:lstStyle/>
          <a:p>
            <a:pPr marL="12694">
              <a:spcBef>
                <a:spcPts val="100"/>
              </a:spcBef>
            </a:pPr>
            <a:r>
              <a:rPr lang="zh-CN" sz="7496" spc="-5" dirty="0">
                <a:solidFill>
                  <a:srgbClr val="FFFFFF"/>
                </a:solidFill>
                <a:latin typeface="+mn-lt"/>
                <a:ea typeface="楷体" panose="02010609060101010101" pitchFamily="49" charset="-122"/>
                <a:cs typeface="SimSun"/>
              </a:rPr>
              <a:t>？</a:t>
            </a:r>
            <a:endParaRPr lang="zh-CN" sz="7496">
              <a:latin typeface="+mn-lt"/>
              <a:ea typeface="楷体" panose="02010609060101010101" pitchFamily="49" charset="-122"/>
              <a:cs typeface="SimSun"/>
            </a:endParaRPr>
          </a:p>
        </p:txBody>
      </p:sp>
      <p:sp>
        <p:nvSpPr>
          <p:cNvPr id="16" name="object 16"/>
          <p:cNvSpPr/>
          <p:nvPr/>
        </p:nvSpPr>
        <p:spPr>
          <a:xfrm>
            <a:off x="271128" y="4725135"/>
            <a:ext cx="1238354" cy="1244447"/>
          </a:xfrm>
          <a:prstGeom prst="rect">
            <a:avLst/>
          </a:prstGeom>
          <a:blipFill>
            <a:blip r:embed="rId5"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17" name="object 17"/>
          <p:cNvSpPr/>
          <p:nvPr/>
        </p:nvSpPr>
        <p:spPr>
          <a:xfrm>
            <a:off x="470667" y="4927720"/>
            <a:ext cx="839659" cy="839659"/>
          </a:xfrm>
          <a:custGeom>
            <a:avLst/>
            <a:gdLst/>
            <a:ahLst/>
            <a:cxnLst/>
            <a:rect l="l" t="t" r="r" b="b"/>
            <a:pathLst>
              <a:path w="840105" h="840104">
                <a:moveTo>
                  <a:pt x="0" y="419862"/>
                </a:moveTo>
                <a:lnTo>
                  <a:pt x="2824" y="370893"/>
                </a:lnTo>
                <a:lnTo>
                  <a:pt x="11088" y="323585"/>
                </a:lnTo>
                <a:lnTo>
                  <a:pt x="24476" y="278252"/>
                </a:lnTo>
                <a:lnTo>
                  <a:pt x="42674" y="235209"/>
                </a:lnTo>
                <a:lnTo>
                  <a:pt x="65366" y="194770"/>
                </a:lnTo>
                <a:lnTo>
                  <a:pt x="92237" y="157251"/>
                </a:lnTo>
                <a:lnTo>
                  <a:pt x="122972" y="122967"/>
                </a:lnTo>
                <a:lnTo>
                  <a:pt x="157257" y="92233"/>
                </a:lnTo>
                <a:lnTo>
                  <a:pt x="194776" y="65362"/>
                </a:lnTo>
                <a:lnTo>
                  <a:pt x="235214" y="42672"/>
                </a:lnTo>
                <a:lnTo>
                  <a:pt x="278257" y="24475"/>
                </a:lnTo>
                <a:lnTo>
                  <a:pt x="323589" y="11087"/>
                </a:lnTo>
                <a:lnTo>
                  <a:pt x="370896" y="2824"/>
                </a:lnTo>
                <a:lnTo>
                  <a:pt x="419862" y="0"/>
                </a:lnTo>
                <a:lnTo>
                  <a:pt x="468827" y="2824"/>
                </a:lnTo>
                <a:lnTo>
                  <a:pt x="516134" y="11087"/>
                </a:lnTo>
                <a:lnTo>
                  <a:pt x="561466" y="24475"/>
                </a:lnTo>
                <a:lnTo>
                  <a:pt x="604509" y="42671"/>
                </a:lnTo>
                <a:lnTo>
                  <a:pt x="644947" y="65362"/>
                </a:lnTo>
                <a:lnTo>
                  <a:pt x="682466" y="92233"/>
                </a:lnTo>
                <a:lnTo>
                  <a:pt x="716751" y="122967"/>
                </a:lnTo>
                <a:lnTo>
                  <a:pt x="747486" y="157251"/>
                </a:lnTo>
                <a:lnTo>
                  <a:pt x="774357" y="194770"/>
                </a:lnTo>
                <a:lnTo>
                  <a:pt x="797049" y="235209"/>
                </a:lnTo>
                <a:lnTo>
                  <a:pt x="815247" y="278252"/>
                </a:lnTo>
                <a:lnTo>
                  <a:pt x="828635" y="323585"/>
                </a:lnTo>
                <a:lnTo>
                  <a:pt x="836899" y="370893"/>
                </a:lnTo>
                <a:lnTo>
                  <a:pt x="839724" y="419862"/>
                </a:lnTo>
                <a:lnTo>
                  <a:pt x="836899" y="468827"/>
                </a:lnTo>
                <a:lnTo>
                  <a:pt x="828635" y="516134"/>
                </a:lnTo>
                <a:lnTo>
                  <a:pt x="815247" y="561466"/>
                </a:lnTo>
                <a:lnTo>
                  <a:pt x="797049" y="604509"/>
                </a:lnTo>
                <a:lnTo>
                  <a:pt x="774357" y="644947"/>
                </a:lnTo>
                <a:lnTo>
                  <a:pt x="747486" y="682466"/>
                </a:lnTo>
                <a:lnTo>
                  <a:pt x="716751" y="716751"/>
                </a:lnTo>
                <a:lnTo>
                  <a:pt x="682466" y="747486"/>
                </a:lnTo>
                <a:lnTo>
                  <a:pt x="644947" y="774357"/>
                </a:lnTo>
                <a:lnTo>
                  <a:pt x="604509" y="797049"/>
                </a:lnTo>
                <a:lnTo>
                  <a:pt x="561466" y="815247"/>
                </a:lnTo>
                <a:lnTo>
                  <a:pt x="516134" y="828635"/>
                </a:lnTo>
                <a:lnTo>
                  <a:pt x="468827" y="836899"/>
                </a:lnTo>
                <a:lnTo>
                  <a:pt x="419862" y="839724"/>
                </a:lnTo>
                <a:lnTo>
                  <a:pt x="370896" y="836899"/>
                </a:lnTo>
                <a:lnTo>
                  <a:pt x="323589" y="828635"/>
                </a:lnTo>
                <a:lnTo>
                  <a:pt x="278257" y="815247"/>
                </a:lnTo>
                <a:lnTo>
                  <a:pt x="235214" y="797049"/>
                </a:lnTo>
                <a:lnTo>
                  <a:pt x="194776" y="774357"/>
                </a:lnTo>
                <a:lnTo>
                  <a:pt x="157257" y="747486"/>
                </a:lnTo>
                <a:lnTo>
                  <a:pt x="122972" y="716751"/>
                </a:lnTo>
                <a:lnTo>
                  <a:pt x="92237" y="682466"/>
                </a:lnTo>
                <a:lnTo>
                  <a:pt x="65366" y="644947"/>
                </a:lnTo>
                <a:lnTo>
                  <a:pt x="42674" y="604509"/>
                </a:lnTo>
                <a:lnTo>
                  <a:pt x="24476" y="561466"/>
                </a:lnTo>
                <a:lnTo>
                  <a:pt x="11088" y="516134"/>
                </a:lnTo>
                <a:lnTo>
                  <a:pt x="2824" y="468827"/>
                </a:lnTo>
                <a:lnTo>
                  <a:pt x="0" y="419862"/>
                </a:lnTo>
                <a:close/>
              </a:path>
            </a:pathLst>
          </a:custGeom>
          <a:ln w="64008">
            <a:solidFill>
              <a:srgbClr val="FFFFFF"/>
            </a:solidFill>
          </a:ln>
        </p:spPr>
        <p:txBody>
          <a:bodyPr wrap="square" lIns="0" tIns="0" rIns="0" bIns="0" rtlCol="0"/>
          <a:lstStyle/>
          <a:p>
            <a:endParaRPr sz="1599">
              <a:latin typeface="+mn-lt"/>
              <a:ea typeface="楷体" panose="02010609060101010101" pitchFamily="49" charset="-122"/>
            </a:endParaRPr>
          </a:p>
        </p:txBody>
      </p:sp>
      <p:sp>
        <p:nvSpPr>
          <p:cNvPr id="18" name="object 18"/>
          <p:cNvSpPr/>
          <p:nvPr/>
        </p:nvSpPr>
        <p:spPr>
          <a:xfrm>
            <a:off x="888019" y="5215602"/>
            <a:ext cx="133279" cy="144703"/>
          </a:xfrm>
          <a:custGeom>
            <a:avLst/>
            <a:gdLst/>
            <a:ahLst/>
            <a:cxnLst/>
            <a:rect l="l" t="t" r="r" b="b"/>
            <a:pathLst>
              <a:path w="133350" h="144779">
                <a:moveTo>
                  <a:pt x="133350" y="0"/>
                </a:moveTo>
                <a:lnTo>
                  <a:pt x="0" y="144398"/>
                </a:lnTo>
              </a:path>
            </a:pathLst>
          </a:custGeom>
          <a:ln w="64008">
            <a:solidFill>
              <a:srgbClr val="FFFFFF"/>
            </a:solidFill>
          </a:ln>
        </p:spPr>
        <p:txBody>
          <a:bodyPr wrap="square" lIns="0" tIns="0" rIns="0" bIns="0" rtlCol="0"/>
          <a:lstStyle/>
          <a:p>
            <a:endParaRPr sz="1599">
              <a:latin typeface="+mn-lt"/>
              <a:ea typeface="楷体" panose="02010609060101010101" pitchFamily="49" charset="-122"/>
            </a:endParaRPr>
          </a:p>
        </p:txBody>
      </p:sp>
      <p:sp>
        <p:nvSpPr>
          <p:cNvPr id="19" name="object 19"/>
          <p:cNvSpPr/>
          <p:nvPr/>
        </p:nvSpPr>
        <p:spPr>
          <a:xfrm>
            <a:off x="778350" y="5026727"/>
            <a:ext cx="120586" cy="342718"/>
          </a:xfrm>
          <a:custGeom>
            <a:avLst/>
            <a:gdLst/>
            <a:ahLst/>
            <a:cxnLst/>
            <a:rect l="l" t="t" r="r" b="b"/>
            <a:pathLst>
              <a:path w="120650" h="342900">
                <a:moveTo>
                  <a:pt x="0" y="0"/>
                </a:moveTo>
                <a:lnTo>
                  <a:pt x="120649" y="342899"/>
                </a:lnTo>
              </a:path>
            </a:pathLst>
          </a:custGeom>
          <a:ln w="64008">
            <a:solidFill>
              <a:srgbClr val="FFFFFF"/>
            </a:solidFill>
          </a:ln>
        </p:spPr>
        <p:txBody>
          <a:bodyPr wrap="square" lIns="0" tIns="0" rIns="0" bIns="0" rtlCol="0"/>
          <a:lstStyle/>
          <a:p>
            <a:endParaRPr sz="1599">
              <a:latin typeface="+mn-lt"/>
              <a:ea typeface="楷体" panose="02010609060101010101" pitchFamily="49" charset="-122"/>
            </a:endParaRPr>
          </a:p>
        </p:txBody>
      </p:sp>
      <p:sp>
        <p:nvSpPr>
          <p:cNvPr id="20" name="object 20"/>
          <p:cNvSpPr txBox="1"/>
          <p:nvPr/>
        </p:nvSpPr>
        <p:spPr>
          <a:xfrm>
            <a:off x="1616486" y="1060719"/>
            <a:ext cx="7013522" cy="906781"/>
          </a:xfrm>
          <a:prstGeom prst="rect">
            <a:avLst/>
          </a:prstGeom>
        </p:spPr>
        <p:txBody>
          <a:bodyPr vert="horz" wrap="square" lIns="0" tIns="12059" rIns="0" bIns="0" rtlCol="0">
            <a:spAutoFit/>
          </a:bodyPr>
          <a:lstStyle/>
          <a:p>
            <a:pPr marL="12694">
              <a:spcBef>
                <a:spcPts val="95"/>
              </a:spcBef>
            </a:pPr>
            <a:r>
              <a:rPr lang="zh-CN" sz="1599" b="1" i="1" spc="-5" dirty="0">
                <a:solidFill>
                  <a:srgbClr val="F17E00"/>
                </a:solidFill>
                <a:latin typeface="+mn-lt"/>
                <a:ea typeface="楷体" panose="02010609060101010101" pitchFamily="49" charset="-122"/>
                <a:cs typeface="SimSun"/>
              </a:rPr>
              <a:t>是什么？</a:t>
            </a:r>
            <a:endParaRPr lang="zh-CN" sz="1599" dirty="0">
              <a:latin typeface="+mn-lt"/>
              <a:ea typeface="楷体" panose="02010609060101010101" pitchFamily="49" charset="-122"/>
              <a:cs typeface="SimSun"/>
            </a:endParaRPr>
          </a:p>
          <a:p>
            <a:pPr marL="206272" marR="53948" indent="-192309">
              <a:spcBef>
                <a:spcPts val="240"/>
              </a:spcBef>
              <a:buClr>
                <a:srgbClr val="00295F"/>
              </a:buClr>
              <a:buSzPct val="125925"/>
              <a:buChar char="▪"/>
              <a:tabLst>
                <a:tab pos="206906" algn="l"/>
              </a:tabLst>
            </a:pPr>
            <a:r>
              <a:rPr lang="zh-CN" sz="1349" dirty="0">
                <a:latin typeface="+mn-lt"/>
                <a:ea typeface="楷体" panose="02010609060101010101" pitchFamily="49" charset="-122"/>
                <a:cs typeface="SimSun"/>
              </a:rPr>
              <a:t>决策树的集合，能产生更加稳定的预测，与单个决策树相比，较不容易出现过度拟合问题</a:t>
            </a:r>
          </a:p>
          <a:p>
            <a:pPr marL="206272" marR="5077" indent="-192309">
              <a:buClr>
                <a:srgbClr val="00295F"/>
              </a:buClr>
              <a:buSzPct val="125925"/>
              <a:buChar char="▪"/>
              <a:tabLst>
                <a:tab pos="206906" algn="l"/>
              </a:tabLst>
            </a:pPr>
            <a:r>
              <a:rPr lang="zh-CN" sz="1349" dirty="0">
                <a:latin typeface="+mn-lt"/>
                <a:ea typeface="楷体" panose="02010609060101010101" pitchFamily="49" charset="-122"/>
                <a:cs typeface="SimSun"/>
              </a:rPr>
              <a:t>每棵树使用数据集的一个随机子集和每个节点变量的一个随机子集</a:t>
            </a:r>
          </a:p>
          <a:p>
            <a:pPr marL="206272" indent="-192309">
              <a:buClr>
                <a:srgbClr val="00295F"/>
              </a:buClr>
              <a:buSzPct val="125925"/>
              <a:buChar char="▪"/>
              <a:tabLst>
                <a:tab pos="206906" algn="l"/>
              </a:tabLst>
            </a:pPr>
            <a:r>
              <a:rPr lang="zh-CN" sz="1349" dirty="0">
                <a:latin typeface="+mn-lt"/>
                <a:ea typeface="楷体" panose="02010609060101010101" pitchFamily="49" charset="-122"/>
                <a:cs typeface="SimSun"/>
              </a:rPr>
              <a:t>最终预测为每棵树预测</a:t>
            </a:r>
            <a:r>
              <a:rPr lang="zh-CN" altLang="en-US" sz="1349" dirty="0">
                <a:latin typeface="+mn-lt"/>
                <a:ea typeface="楷体" panose="02010609060101010101" pitchFamily="49" charset="-122"/>
                <a:cs typeface="SimSun"/>
              </a:rPr>
              <a:t>结果</a:t>
            </a:r>
            <a:r>
              <a:rPr lang="zh-CN" sz="1349" dirty="0">
                <a:latin typeface="+mn-lt"/>
                <a:ea typeface="楷体" panose="02010609060101010101" pitchFamily="49" charset="-122"/>
                <a:cs typeface="SimSun"/>
              </a:rPr>
              <a:t>的平均值</a:t>
            </a:r>
          </a:p>
        </p:txBody>
      </p:sp>
      <p:sp>
        <p:nvSpPr>
          <p:cNvPr id="21" name="object 21"/>
          <p:cNvSpPr txBox="1"/>
          <p:nvPr/>
        </p:nvSpPr>
        <p:spPr>
          <a:xfrm>
            <a:off x="1616485" y="2542225"/>
            <a:ext cx="4629230" cy="505191"/>
          </a:xfrm>
          <a:prstGeom prst="rect">
            <a:avLst/>
          </a:prstGeom>
        </p:spPr>
        <p:txBody>
          <a:bodyPr vert="horz" wrap="square" lIns="0" tIns="12059" rIns="0" bIns="0" rtlCol="0">
            <a:spAutoFit/>
          </a:bodyPr>
          <a:lstStyle/>
          <a:p>
            <a:pPr marL="12694">
              <a:spcBef>
                <a:spcPts val="95"/>
              </a:spcBef>
            </a:pPr>
            <a:r>
              <a:rPr lang="zh-CN" sz="1599" b="1" i="1" spc="-5" dirty="0">
                <a:solidFill>
                  <a:srgbClr val="F17E00"/>
                </a:solidFill>
                <a:latin typeface="+mn-lt"/>
                <a:ea typeface="楷体" panose="02010609060101010101" pitchFamily="49" charset="-122"/>
                <a:cs typeface="SimSun"/>
              </a:rPr>
              <a:t>为什么使用？</a:t>
            </a:r>
            <a:endParaRPr lang="zh-CN" sz="1599">
              <a:latin typeface="+mn-lt"/>
              <a:ea typeface="楷体" panose="02010609060101010101" pitchFamily="49" charset="-122"/>
              <a:cs typeface="SimSun"/>
            </a:endParaRPr>
          </a:p>
          <a:p>
            <a:pPr marL="206272" indent="-192309">
              <a:spcBef>
                <a:spcPts val="175"/>
              </a:spcBef>
              <a:buClr>
                <a:srgbClr val="00295F"/>
              </a:buClr>
              <a:buSzPct val="125925"/>
              <a:buChar char="▪"/>
              <a:tabLst>
                <a:tab pos="206906" algn="l"/>
              </a:tabLst>
            </a:pPr>
            <a:r>
              <a:rPr lang="zh-CN" sz="1349" dirty="0">
                <a:latin typeface="+mn-lt"/>
                <a:ea typeface="楷体" panose="02010609060101010101" pitchFamily="49" charset="-122"/>
                <a:cs typeface="SimSun"/>
              </a:rPr>
              <a:t>简单易用，即便是小型数据集也能确保准确率</a:t>
            </a:r>
            <a:endParaRPr lang="zh-CN" sz="1349">
              <a:latin typeface="+mn-lt"/>
              <a:ea typeface="楷体" panose="02010609060101010101" pitchFamily="49" charset="-122"/>
              <a:cs typeface="SimSun"/>
            </a:endParaRPr>
          </a:p>
        </p:txBody>
      </p:sp>
      <p:sp>
        <p:nvSpPr>
          <p:cNvPr id="22" name="object 22"/>
          <p:cNvSpPr txBox="1"/>
          <p:nvPr/>
        </p:nvSpPr>
        <p:spPr>
          <a:xfrm>
            <a:off x="1618008" y="3012002"/>
            <a:ext cx="7231657" cy="636321"/>
          </a:xfrm>
          <a:prstGeom prst="rect">
            <a:avLst/>
          </a:prstGeom>
        </p:spPr>
        <p:txBody>
          <a:bodyPr vert="horz" wrap="square" lIns="0" tIns="13328" rIns="0" bIns="0" rtlCol="0">
            <a:spAutoFit/>
          </a:bodyPr>
          <a:lstStyle/>
          <a:p>
            <a:pPr marL="205001" indent="-192309">
              <a:spcBef>
                <a:spcPts val="105"/>
              </a:spcBef>
              <a:buClr>
                <a:srgbClr val="00295F"/>
              </a:buClr>
              <a:buSzPct val="125925"/>
              <a:buChar char="▪"/>
              <a:tabLst>
                <a:tab pos="205001" algn="l"/>
              </a:tabLst>
            </a:pPr>
            <a:r>
              <a:rPr lang="zh-CN" sz="1349" dirty="0">
                <a:latin typeface="+mn-lt"/>
                <a:ea typeface="楷体" panose="02010609060101010101" pitchFamily="49" charset="-122"/>
                <a:cs typeface="SimSun"/>
              </a:rPr>
              <a:t>与单个决策树相比，能最大限度减少</a:t>
            </a:r>
            <a:r>
              <a:rPr lang="zh-CN" sz="1349" spc="-5" dirty="0">
                <a:latin typeface="+mn-lt"/>
                <a:ea typeface="楷体" panose="02010609060101010101" pitchFamily="49" charset="-122"/>
                <a:cs typeface="SimSun"/>
              </a:rPr>
              <a:t>过度拟合问题</a:t>
            </a:r>
            <a:endParaRPr lang="zh-CN" sz="1349" dirty="0">
              <a:latin typeface="+mn-lt"/>
              <a:ea typeface="楷体" panose="02010609060101010101" pitchFamily="49" charset="-122"/>
              <a:cs typeface="SimSun"/>
            </a:endParaRPr>
          </a:p>
          <a:p>
            <a:pPr marL="205001" marR="590889" indent="-192309">
              <a:buClr>
                <a:srgbClr val="00295F"/>
              </a:buClr>
              <a:buSzPct val="125925"/>
              <a:buChar char="▪"/>
              <a:tabLst>
                <a:tab pos="205001" algn="l"/>
              </a:tabLst>
            </a:pPr>
            <a:r>
              <a:rPr lang="zh-CN" sz="1349" spc="-20" dirty="0">
                <a:latin typeface="+mn-lt"/>
                <a:ea typeface="楷体" panose="02010609060101010101" pitchFamily="49" charset="-122"/>
                <a:cs typeface="SimSun"/>
              </a:rPr>
              <a:t>在处理</a:t>
            </a:r>
            <a:r>
              <a:rPr lang="zh-CN" altLang="en-US" sz="1349" spc="-20" dirty="0">
                <a:latin typeface="+mn-lt"/>
                <a:ea typeface="楷体" panose="02010609060101010101" pitchFamily="49" charset="-122"/>
                <a:cs typeface="SimSun"/>
              </a:rPr>
              <a:t>有大量</a:t>
            </a:r>
            <a:r>
              <a:rPr lang="zh-CN" sz="1349" spc="-20" dirty="0">
                <a:latin typeface="+mn-lt"/>
                <a:ea typeface="楷体" panose="02010609060101010101" pitchFamily="49" charset="-122"/>
                <a:cs typeface="SimSun"/>
              </a:rPr>
              <a:t>输入参数的数据集方面非常高效，在从中识别最重要的参数方面更加确定</a:t>
            </a:r>
            <a:endParaRPr lang="zh-CN" sz="1349" dirty="0">
              <a:latin typeface="+mn-lt"/>
              <a:ea typeface="楷体" panose="02010609060101010101" pitchFamily="49" charset="-122"/>
              <a:cs typeface="SimSun"/>
            </a:endParaRPr>
          </a:p>
          <a:p>
            <a:pPr marL="205001" indent="-192309">
              <a:buClr>
                <a:srgbClr val="00295F"/>
              </a:buClr>
              <a:buSzPct val="125925"/>
              <a:buChar char="▪"/>
              <a:tabLst>
                <a:tab pos="205001" algn="l"/>
              </a:tabLst>
            </a:pPr>
            <a:r>
              <a:rPr lang="zh-CN" altLang="en-US" sz="1349" spc="-5" dirty="0">
                <a:latin typeface="+mn-lt"/>
                <a:ea typeface="楷体" panose="02010609060101010101" pitchFamily="49" charset="-122"/>
                <a:cs typeface="SimSun"/>
              </a:rPr>
              <a:t>在</a:t>
            </a:r>
            <a:r>
              <a:rPr lang="zh-CN" sz="1349" spc="-5" dirty="0">
                <a:latin typeface="+mn-lt"/>
                <a:ea typeface="楷体" panose="02010609060101010101" pitchFamily="49" charset="-122"/>
                <a:cs typeface="SimSun"/>
              </a:rPr>
              <a:t>预测参数相互关联</a:t>
            </a:r>
            <a:r>
              <a:rPr lang="zh-CN" altLang="en-US" sz="1349" spc="-5" dirty="0">
                <a:latin typeface="+mn-lt"/>
                <a:ea typeface="楷体" panose="02010609060101010101" pitchFamily="49" charset="-122"/>
                <a:cs typeface="SimSun"/>
              </a:rPr>
              <a:t>的情况下</a:t>
            </a:r>
            <a:r>
              <a:rPr lang="zh-CN" sz="1349" spc="-5" dirty="0">
                <a:latin typeface="+mn-lt"/>
                <a:ea typeface="楷体" panose="02010609060101010101" pitchFamily="49" charset="-122"/>
                <a:cs typeface="SimSun"/>
              </a:rPr>
              <a:t>非常高效</a:t>
            </a:r>
            <a:endParaRPr lang="zh-CN" sz="1349" dirty="0">
              <a:latin typeface="+mn-lt"/>
              <a:ea typeface="楷体" panose="02010609060101010101" pitchFamily="49" charset="-122"/>
              <a:cs typeface="SimSun"/>
            </a:endParaRPr>
          </a:p>
        </p:txBody>
      </p:sp>
      <p:sp>
        <p:nvSpPr>
          <p:cNvPr id="23" name="object 23"/>
          <p:cNvSpPr txBox="1"/>
          <p:nvPr/>
        </p:nvSpPr>
        <p:spPr>
          <a:xfrm>
            <a:off x="1616486" y="4231114"/>
            <a:ext cx="7149728" cy="1770863"/>
          </a:xfrm>
          <a:prstGeom prst="rect">
            <a:avLst/>
          </a:prstGeom>
        </p:spPr>
        <p:txBody>
          <a:bodyPr vert="horz" wrap="square" lIns="0" tIns="12059" rIns="0" bIns="0" rtlCol="0">
            <a:spAutoFit/>
          </a:bodyPr>
          <a:lstStyle/>
          <a:p>
            <a:pPr marL="12694">
              <a:spcBef>
                <a:spcPts val="95"/>
              </a:spcBef>
            </a:pPr>
            <a:r>
              <a:rPr lang="zh-CN" sz="1599" b="1" i="1" spc="-5" dirty="0">
                <a:solidFill>
                  <a:srgbClr val="F17E00"/>
                </a:solidFill>
                <a:latin typeface="+mn-lt"/>
                <a:ea typeface="楷体" panose="02010609060101010101" pitchFamily="49" charset="-122"/>
                <a:cs typeface="SimSun"/>
              </a:rPr>
              <a:t>什么情况下使用？</a:t>
            </a:r>
            <a:endParaRPr lang="zh-CN" sz="1599" dirty="0">
              <a:latin typeface="+mn-lt"/>
              <a:ea typeface="楷体" panose="02010609060101010101" pitchFamily="49" charset="-122"/>
              <a:cs typeface="SimSun"/>
            </a:endParaRPr>
          </a:p>
          <a:p>
            <a:pPr marL="206272" indent="-192309">
              <a:spcBef>
                <a:spcPts val="375"/>
              </a:spcBef>
              <a:buClr>
                <a:srgbClr val="00295F"/>
              </a:buClr>
              <a:buSzPct val="125925"/>
              <a:buChar char="▪"/>
              <a:tabLst>
                <a:tab pos="206906" algn="l"/>
              </a:tabLst>
            </a:pPr>
            <a:r>
              <a:rPr lang="zh-CN" sz="1349" spc="5" dirty="0">
                <a:latin typeface="+mn-lt"/>
                <a:ea typeface="楷体" panose="02010609060101010101" pitchFamily="49" charset="-122"/>
                <a:cs typeface="SimSun"/>
              </a:rPr>
              <a:t>数据集较小、输入变量较多时</a:t>
            </a:r>
            <a:endParaRPr lang="zh-CN" sz="1349" dirty="0">
              <a:latin typeface="+mn-lt"/>
              <a:ea typeface="楷体" panose="02010609060101010101" pitchFamily="49" charset="-122"/>
              <a:cs typeface="SimSun"/>
            </a:endParaRPr>
          </a:p>
          <a:p>
            <a:pPr marL="206272" indent="-192309">
              <a:buClr>
                <a:srgbClr val="00295F"/>
              </a:buClr>
              <a:buSzPct val="125925"/>
              <a:buChar char="▪"/>
              <a:tabLst>
                <a:tab pos="206906" algn="l"/>
              </a:tabLst>
            </a:pPr>
            <a:r>
              <a:rPr lang="zh-CN" sz="1349" spc="5" dirty="0">
                <a:latin typeface="+mn-lt"/>
                <a:ea typeface="楷体" panose="02010609060101010101" pitchFamily="49" charset="-122"/>
                <a:cs typeface="SimSun"/>
              </a:rPr>
              <a:t>输入/预测变量相互关联时</a:t>
            </a:r>
            <a:endParaRPr lang="zh-CN" sz="1349" dirty="0">
              <a:latin typeface="+mn-lt"/>
              <a:ea typeface="楷体" panose="02010609060101010101" pitchFamily="49" charset="-122"/>
              <a:cs typeface="SimSun"/>
            </a:endParaRPr>
          </a:p>
          <a:p>
            <a:pPr marL="206272" indent="-192309">
              <a:buClr>
                <a:srgbClr val="00295F"/>
              </a:buClr>
              <a:buSzPct val="125925"/>
              <a:buChar char="▪"/>
              <a:tabLst>
                <a:tab pos="206906" algn="l"/>
              </a:tabLst>
            </a:pPr>
            <a:r>
              <a:rPr lang="zh-CN" sz="1349" spc="5" dirty="0">
                <a:latin typeface="+mn-lt"/>
                <a:ea typeface="楷体" panose="02010609060101010101" pitchFamily="49" charset="-122"/>
                <a:cs typeface="SimSun"/>
              </a:rPr>
              <a:t>当我们还想知道输入参数的重要性时</a:t>
            </a:r>
            <a:endParaRPr lang="zh-CN" sz="1349" dirty="0">
              <a:latin typeface="+mn-lt"/>
              <a:ea typeface="楷体" panose="02010609060101010101" pitchFamily="49" charset="-122"/>
              <a:cs typeface="SimSun"/>
            </a:endParaRPr>
          </a:p>
          <a:p>
            <a:pPr marL="206272" indent="-192309">
              <a:lnSpc>
                <a:spcPts val="1494"/>
              </a:lnSpc>
              <a:buClr>
                <a:srgbClr val="00295F"/>
              </a:buClr>
              <a:buSzPct val="125925"/>
              <a:buChar char="▪"/>
              <a:tabLst>
                <a:tab pos="206906" algn="l"/>
              </a:tabLst>
            </a:pPr>
            <a:r>
              <a:rPr lang="zh-CN" sz="1349" spc="5" dirty="0">
                <a:latin typeface="+mn-lt"/>
                <a:ea typeface="楷体" panose="02010609060101010101" pitchFamily="49" charset="-122"/>
                <a:cs typeface="SimSun"/>
              </a:rPr>
              <a:t>预测能力比透明度更重要时</a:t>
            </a:r>
            <a:endParaRPr lang="zh-CN" sz="1349" dirty="0">
              <a:latin typeface="+mn-lt"/>
              <a:ea typeface="楷体" panose="02010609060101010101" pitchFamily="49" charset="-122"/>
              <a:cs typeface="SimSun"/>
            </a:endParaRPr>
          </a:p>
          <a:p>
            <a:pPr marL="207541">
              <a:lnSpc>
                <a:spcPts val="1769"/>
              </a:lnSpc>
              <a:tabLst>
                <a:tab pos="469665" algn="l"/>
              </a:tabLst>
            </a:pPr>
            <a:r>
              <a:rPr lang="zh-CN" sz="1599" spc="10" dirty="0">
                <a:solidFill>
                  <a:srgbClr val="00295F"/>
                </a:solidFill>
                <a:latin typeface="+mn-lt"/>
                <a:ea typeface="楷体" panose="02010609060101010101" pitchFamily="49" charset="-122"/>
                <a:cs typeface="SimSun"/>
              </a:rPr>
              <a:t>–</a:t>
            </a:r>
            <a:r>
              <a:rPr lang="en-US" sz="1599" spc="10" dirty="0">
                <a:solidFill>
                  <a:srgbClr val="00295F"/>
                </a:solidFill>
                <a:latin typeface="+mn-lt"/>
                <a:ea typeface="楷体" panose="02010609060101010101" pitchFamily="49" charset="-122"/>
                <a:cs typeface="SimSun"/>
              </a:rPr>
              <a:t>	</a:t>
            </a:r>
            <a:r>
              <a:rPr lang="zh-CN" sz="1349" dirty="0">
                <a:latin typeface="+mn-lt"/>
                <a:ea typeface="楷体" panose="02010609060101010101" pitchFamily="49" charset="-122"/>
                <a:cs typeface="SimSun"/>
              </a:rPr>
              <a:t>随机森林的性能通常优于单一决策树或一般线性模型（GLM）/逻辑回归，但是不可追溯</a:t>
            </a:r>
          </a:p>
          <a:p>
            <a:pPr marL="206272" indent="-192309">
              <a:buClr>
                <a:srgbClr val="00295F"/>
              </a:buClr>
              <a:buSzPct val="125925"/>
              <a:buChar char="▪"/>
              <a:tabLst>
                <a:tab pos="206906" algn="l"/>
              </a:tabLst>
            </a:pPr>
            <a:r>
              <a:rPr lang="zh-CN" sz="1349" spc="5" dirty="0">
                <a:latin typeface="+mn-lt"/>
                <a:ea typeface="楷体" panose="02010609060101010101" pitchFamily="49" charset="-122"/>
                <a:cs typeface="SimSun"/>
              </a:rPr>
              <a:t>需要通过预测模型解决分类或回归问题时</a:t>
            </a:r>
            <a:endParaRPr lang="zh-CN" sz="1349" dirty="0">
              <a:latin typeface="+mn-lt"/>
              <a:ea typeface="楷体" panose="02010609060101010101" pitchFamily="49" charset="-122"/>
              <a:cs typeface="SimSun"/>
            </a:endParaRPr>
          </a:p>
          <a:p>
            <a:pPr marL="206272" marR="5077" indent="-192309">
              <a:buClr>
                <a:srgbClr val="00295F"/>
              </a:buClr>
              <a:buSzPct val="125925"/>
              <a:buChar char="▪"/>
              <a:tabLst>
                <a:tab pos="206906" algn="l"/>
              </a:tabLst>
            </a:pPr>
            <a:r>
              <a:rPr lang="zh-CN" sz="1349" spc="5" dirty="0">
                <a:latin typeface="+mn-lt"/>
                <a:ea typeface="楷体" panose="02010609060101010101" pitchFamily="49" charset="-122"/>
                <a:cs typeface="SimSun"/>
              </a:rPr>
              <a:t>预测器与目标是非线性关系、或者预测器之间的</a:t>
            </a:r>
            <a:r>
              <a:rPr lang="zh-CN" altLang="en-US" sz="1349" spc="5" dirty="0">
                <a:latin typeface="+mn-lt"/>
                <a:ea typeface="楷体" panose="02010609060101010101" pitchFamily="49" charset="-122"/>
                <a:cs typeface="SimSun"/>
              </a:rPr>
              <a:t>交互</a:t>
            </a:r>
            <a:r>
              <a:rPr lang="zh-CN" sz="1349" spc="5" dirty="0">
                <a:latin typeface="+mn-lt"/>
                <a:ea typeface="楷体" panose="02010609060101010101" pitchFamily="49" charset="-122"/>
                <a:cs typeface="SimSun"/>
              </a:rPr>
              <a:t>较为重要时</a:t>
            </a:r>
            <a:endParaRPr lang="zh-CN" sz="1349" dirty="0">
              <a:latin typeface="+mn-lt"/>
              <a:ea typeface="楷体" panose="02010609060101010101" pitchFamily="49" charset="-122"/>
              <a:cs typeface="SimSun"/>
            </a:endParaRPr>
          </a:p>
        </p:txBody>
      </p:sp>
      <p:sp>
        <p:nvSpPr>
          <p:cNvPr id="24" name="object 7">
            <a:extLst>
              <a:ext uri="{FF2B5EF4-FFF2-40B4-BE49-F238E27FC236}">
                <a16:creationId xmlns:a16="http://schemas.microsoft.com/office/drawing/2014/main" id="{CDAB5505-4667-4E11-B6D8-72A5E5A61ACC}"/>
              </a:ext>
            </a:extLst>
          </p:cNvPr>
          <p:cNvSpPr txBox="1">
            <a:spLocks/>
          </p:cNvSpPr>
          <p:nvPr/>
        </p:nvSpPr>
        <p:spPr bwMode="gray">
          <a:xfrm>
            <a:off x="106420" y="210145"/>
            <a:ext cx="2046845" cy="320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3" rIns="0" bIns="0" numCol="1" rtlCol="0"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99" b="0" i="0" baseline="0">
                <a:solidFill>
                  <a:schemeClr val="bg1"/>
                </a:solidFill>
                <a:latin typeface="Arial"/>
                <a:ea typeface="+mj-ea"/>
                <a:cs typeface="Arial"/>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12694">
              <a:spcBef>
                <a:spcPts val="100"/>
              </a:spcBef>
            </a:pPr>
            <a:r>
              <a:rPr lang="zh-CN" kern="0" dirty="0">
                <a:solidFill>
                  <a:schemeClr val="tx2"/>
                </a:solidFill>
                <a:latin typeface="+mn-lt"/>
                <a:ea typeface="楷体" panose="02010609060101010101" pitchFamily="49" charset="-122"/>
                <a:cs typeface="SimSun"/>
              </a:rPr>
              <a:t>随机森林</a:t>
            </a:r>
          </a:p>
        </p:txBody>
      </p:sp>
    </p:spTree>
    <p:extLst>
      <p:ext uri="{BB962C8B-B14F-4D97-AF65-F5344CB8AC3E}">
        <p14:creationId xmlns:p14="http://schemas.microsoft.com/office/powerpoint/2010/main" val="28238577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930868"/>
            <a:ext cx="8956360" cy="1480540"/>
          </a:xfrm>
          <a:prstGeom prst="rect">
            <a:avLst/>
          </a:prstGeom>
          <a:blipFill>
            <a:blip r:embed="rId2"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3" name="object 3"/>
          <p:cNvSpPr/>
          <p:nvPr/>
        </p:nvSpPr>
        <p:spPr>
          <a:xfrm>
            <a:off x="1" y="923251"/>
            <a:ext cx="8956995" cy="15232"/>
          </a:xfrm>
          <a:custGeom>
            <a:avLst/>
            <a:gdLst/>
            <a:ahLst/>
            <a:cxnLst/>
            <a:rect l="l" t="t" r="r" b="b"/>
            <a:pathLst>
              <a:path w="8961755" h="15240">
                <a:moveTo>
                  <a:pt x="0" y="15240"/>
                </a:moveTo>
                <a:lnTo>
                  <a:pt x="8961501" y="15240"/>
                </a:lnTo>
                <a:lnTo>
                  <a:pt x="8961501" y="0"/>
                </a:lnTo>
                <a:lnTo>
                  <a:pt x="0" y="0"/>
                </a:lnTo>
                <a:lnTo>
                  <a:pt x="0" y="15240"/>
                </a:lnTo>
                <a:close/>
              </a:path>
            </a:pathLst>
          </a:custGeom>
          <a:solidFill>
            <a:srgbClr val="0064BC"/>
          </a:solidFill>
        </p:spPr>
        <p:txBody>
          <a:bodyPr wrap="square" lIns="0" tIns="0" rIns="0" bIns="0" rtlCol="0"/>
          <a:lstStyle/>
          <a:p>
            <a:endParaRPr sz="1599">
              <a:latin typeface="+mn-lt"/>
              <a:ea typeface="楷体" panose="02010609060101010101" pitchFamily="49" charset="-122"/>
            </a:endParaRPr>
          </a:p>
        </p:txBody>
      </p:sp>
      <p:sp>
        <p:nvSpPr>
          <p:cNvPr id="6" name="object 6"/>
          <p:cNvSpPr txBox="1">
            <a:spLocks noGrp="1"/>
          </p:cNvSpPr>
          <p:nvPr>
            <p:ph type="title"/>
          </p:nvPr>
        </p:nvSpPr>
        <p:spPr>
          <a:xfrm>
            <a:off x="106420" y="210145"/>
            <a:ext cx="3328806" cy="320465"/>
          </a:xfrm>
          <a:prstGeom prst="rect">
            <a:avLst/>
          </a:prstGeom>
        </p:spPr>
        <p:txBody>
          <a:bodyPr vert="horz" wrap="square" lIns="0" tIns="12693" rIns="0" bIns="0" numCol="1" rtlCol="0" anchor="t" anchorCtr="0" compatLnSpc="1">
            <a:prstTxWarp prst="textNoShape">
              <a:avLst/>
            </a:prstTxWarp>
            <a:spAutoFit/>
          </a:bodyPr>
          <a:lstStyle/>
          <a:p>
            <a:pPr marL="12694">
              <a:spcBef>
                <a:spcPts val="100"/>
              </a:spcBef>
            </a:pPr>
            <a:r>
              <a:rPr lang="zh-CN" dirty="0">
                <a:latin typeface="+mn-lt"/>
                <a:ea typeface="楷体" panose="02010609060101010101" pitchFamily="49" charset="-122"/>
                <a:cs typeface="SimSun"/>
              </a:rPr>
              <a:t>Adaboost (adaptive boosting)</a:t>
            </a:r>
          </a:p>
        </p:txBody>
      </p:sp>
      <p:sp>
        <p:nvSpPr>
          <p:cNvPr id="7" name="object 7"/>
          <p:cNvSpPr/>
          <p:nvPr/>
        </p:nvSpPr>
        <p:spPr>
          <a:xfrm>
            <a:off x="248279" y="2554588"/>
            <a:ext cx="8461323" cy="0"/>
          </a:xfrm>
          <a:custGeom>
            <a:avLst/>
            <a:gdLst/>
            <a:ahLst/>
            <a:cxnLst/>
            <a:rect l="l" t="t" r="r" b="b"/>
            <a:pathLst>
              <a:path w="8465820">
                <a:moveTo>
                  <a:pt x="0" y="0"/>
                </a:moveTo>
                <a:lnTo>
                  <a:pt x="8465820" y="0"/>
                </a:lnTo>
              </a:path>
            </a:pathLst>
          </a:custGeom>
          <a:ln w="6096">
            <a:solidFill>
              <a:srgbClr val="808080"/>
            </a:solidFill>
            <a:prstDash val="sysDot"/>
          </a:ln>
        </p:spPr>
        <p:txBody>
          <a:bodyPr wrap="square" lIns="0" tIns="0" rIns="0" bIns="0" rtlCol="0"/>
          <a:lstStyle/>
          <a:p>
            <a:endParaRPr sz="1599">
              <a:latin typeface="+mn-lt"/>
              <a:ea typeface="楷体" panose="02010609060101010101" pitchFamily="49" charset="-122"/>
            </a:endParaRPr>
          </a:p>
        </p:txBody>
      </p:sp>
      <p:sp>
        <p:nvSpPr>
          <p:cNvPr id="8" name="object 8"/>
          <p:cNvSpPr/>
          <p:nvPr/>
        </p:nvSpPr>
        <p:spPr>
          <a:xfrm>
            <a:off x="248279" y="4234668"/>
            <a:ext cx="8461323" cy="0"/>
          </a:xfrm>
          <a:custGeom>
            <a:avLst/>
            <a:gdLst/>
            <a:ahLst/>
            <a:cxnLst/>
            <a:rect l="l" t="t" r="r" b="b"/>
            <a:pathLst>
              <a:path w="8465820">
                <a:moveTo>
                  <a:pt x="0" y="0"/>
                </a:moveTo>
                <a:lnTo>
                  <a:pt x="8465820" y="0"/>
                </a:lnTo>
              </a:path>
            </a:pathLst>
          </a:custGeom>
          <a:ln w="6096">
            <a:solidFill>
              <a:srgbClr val="808080"/>
            </a:solidFill>
            <a:prstDash val="sysDot"/>
          </a:ln>
        </p:spPr>
        <p:txBody>
          <a:bodyPr wrap="square" lIns="0" tIns="0" rIns="0" bIns="0" rtlCol="0"/>
          <a:lstStyle/>
          <a:p>
            <a:endParaRPr sz="1599">
              <a:latin typeface="+mn-lt"/>
              <a:ea typeface="楷体" panose="02010609060101010101" pitchFamily="49" charset="-122"/>
            </a:endParaRPr>
          </a:p>
        </p:txBody>
      </p:sp>
      <p:sp>
        <p:nvSpPr>
          <p:cNvPr id="9" name="object 9"/>
          <p:cNvSpPr txBox="1"/>
          <p:nvPr/>
        </p:nvSpPr>
        <p:spPr>
          <a:xfrm>
            <a:off x="1616486" y="1060720"/>
            <a:ext cx="6703942" cy="878824"/>
          </a:xfrm>
          <a:prstGeom prst="rect">
            <a:avLst/>
          </a:prstGeom>
        </p:spPr>
        <p:txBody>
          <a:bodyPr vert="horz" wrap="square" lIns="0" tIns="12059" rIns="0" bIns="0" rtlCol="0">
            <a:spAutoFit/>
          </a:bodyPr>
          <a:lstStyle/>
          <a:p>
            <a:pPr marL="12694">
              <a:spcBef>
                <a:spcPts val="95"/>
              </a:spcBef>
            </a:pPr>
            <a:r>
              <a:rPr lang="zh-CN" sz="1599" b="1" i="1" spc="-5" dirty="0">
                <a:solidFill>
                  <a:srgbClr val="F17E00"/>
                </a:solidFill>
                <a:latin typeface="+mn-lt"/>
                <a:ea typeface="楷体" panose="02010609060101010101" pitchFamily="49" charset="-122"/>
                <a:cs typeface="SimSun"/>
              </a:rPr>
              <a:t>是什么？</a:t>
            </a:r>
            <a:endParaRPr lang="zh-CN" sz="1599" dirty="0">
              <a:latin typeface="+mn-lt"/>
              <a:ea typeface="楷体" panose="02010609060101010101" pitchFamily="49" charset="-122"/>
              <a:cs typeface="SimSun"/>
            </a:endParaRPr>
          </a:p>
          <a:p>
            <a:pPr marL="206272" marR="5077" indent="-192309">
              <a:spcBef>
                <a:spcPts val="385"/>
              </a:spcBef>
              <a:buClr>
                <a:srgbClr val="00295F"/>
              </a:buClr>
              <a:buSzPct val="125000"/>
              <a:buChar char="▪"/>
              <a:tabLst>
                <a:tab pos="206906" algn="l"/>
              </a:tabLst>
            </a:pPr>
            <a:r>
              <a:rPr lang="zh-CN" sz="1599" spc="-5" dirty="0">
                <a:latin typeface="+mn-lt"/>
                <a:ea typeface="楷体" panose="02010609060101010101" pitchFamily="49" charset="-122"/>
                <a:cs typeface="SimSun"/>
              </a:rPr>
              <a:t>一种将极为简单的模型组合成更加复杂的模型的二进制分类机器学习算法</a:t>
            </a:r>
            <a:r>
              <a:rPr lang="zh-CN" dirty="0">
                <a:latin typeface="+mn-lt"/>
                <a:ea typeface="楷体" panose="02010609060101010101" pitchFamily="49" charset="-122"/>
                <a:cs typeface="SimSun"/>
              </a:rPr>
              <a:t> </a:t>
            </a:r>
            <a:endParaRPr lang="zh-CN" sz="1599" dirty="0">
              <a:latin typeface="+mn-lt"/>
              <a:ea typeface="楷体" panose="02010609060101010101" pitchFamily="49" charset="-122"/>
              <a:cs typeface="SimSun"/>
            </a:endParaRPr>
          </a:p>
          <a:p>
            <a:pPr marL="206272" marR="158036" indent="-192309">
              <a:spcBef>
                <a:spcPts val="600"/>
              </a:spcBef>
              <a:buClr>
                <a:srgbClr val="00295F"/>
              </a:buClr>
              <a:buSzPct val="125000"/>
              <a:buChar char="▪"/>
              <a:tabLst>
                <a:tab pos="206906" algn="l"/>
              </a:tabLst>
            </a:pPr>
            <a:r>
              <a:rPr lang="zh-CN" sz="1599" spc="-5" dirty="0">
                <a:latin typeface="+mn-lt"/>
                <a:ea typeface="楷体" panose="02010609060101010101" pitchFamily="49" charset="-122"/>
                <a:cs typeface="SimSun"/>
              </a:rPr>
              <a:t>在每一个连续模型中，更多关注之前模型中被错误分类的记录</a:t>
            </a:r>
            <a:endParaRPr lang="zh-CN" sz="1599" dirty="0">
              <a:latin typeface="+mn-lt"/>
              <a:ea typeface="楷体" panose="02010609060101010101" pitchFamily="49" charset="-122"/>
              <a:cs typeface="SimSun"/>
            </a:endParaRPr>
          </a:p>
        </p:txBody>
      </p:sp>
      <p:sp>
        <p:nvSpPr>
          <p:cNvPr id="10" name="object 10"/>
          <p:cNvSpPr/>
          <p:nvPr/>
        </p:nvSpPr>
        <p:spPr>
          <a:xfrm>
            <a:off x="693051" y="1409149"/>
            <a:ext cx="394760" cy="761595"/>
          </a:xfrm>
          <a:custGeom>
            <a:avLst/>
            <a:gdLst/>
            <a:ahLst/>
            <a:cxnLst/>
            <a:rect l="l" t="t" r="r" b="b"/>
            <a:pathLst>
              <a:path w="394969" h="762000">
                <a:moveTo>
                  <a:pt x="0" y="762000"/>
                </a:moveTo>
                <a:lnTo>
                  <a:pt x="394716" y="762000"/>
                </a:lnTo>
                <a:lnTo>
                  <a:pt x="394716" y="0"/>
                </a:lnTo>
                <a:lnTo>
                  <a:pt x="0" y="0"/>
                </a:lnTo>
                <a:lnTo>
                  <a:pt x="0" y="762000"/>
                </a:lnTo>
                <a:close/>
              </a:path>
            </a:pathLst>
          </a:custGeom>
          <a:ln w="64008">
            <a:solidFill>
              <a:srgbClr val="FFFFFF"/>
            </a:solidFill>
            <a:prstDash val="lgDash"/>
          </a:ln>
        </p:spPr>
        <p:txBody>
          <a:bodyPr wrap="square" lIns="0" tIns="0" rIns="0" bIns="0" rtlCol="0"/>
          <a:lstStyle/>
          <a:p>
            <a:endParaRPr sz="1599">
              <a:latin typeface="+mn-lt"/>
              <a:ea typeface="楷体" panose="02010609060101010101" pitchFamily="49" charset="-122"/>
            </a:endParaRPr>
          </a:p>
        </p:txBody>
      </p:sp>
      <p:sp>
        <p:nvSpPr>
          <p:cNvPr id="11" name="object 11"/>
          <p:cNvSpPr txBox="1"/>
          <p:nvPr/>
        </p:nvSpPr>
        <p:spPr>
          <a:xfrm>
            <a:off x="1616486" y="2636334"/>
            <a:ext cx="5443502" cy="891701"/>
          </a:xfrm>
          <a:prstGeom prst="rect">
            <a:avLst/>
          </a:prstGeom>
        </p:spPr>
        <p:txBody>
          <a:bodyPr vert="horz" wrap="square" lIns="0" tIns="12059" rIns="0" bIns="0" rtlCol="0">
            <a:spAutoFit/>
          </a:bodyPr>
          <a:lstStyle/>
          <a:p>
            <a:pPr marL="12694">
              <a:spcBef>
                <a:spcPts val="95"/>
              </a:spcBef>
            </a:pPr>
            <a:r>
              <a:rPr lang="zh-CN" sz="1599" b="1" i="1" spc="-5" dirty="0">
                <a:solidFill>
                  <a:srgbClr val="F17E00"/>
                </a:solidFill>
                <a:latin typeface="+mn-lt"/>
                <a:ea typeface="楷体" panose="02010609060101010101" pitchFamily="49" charset="-122"/>
                <a:cs typeface="SimSun"/>
              </a:rPr>
              <a:t>为什么使用？</a:t>
            </a:r>
            <a:endParaRPr lang="zh-CN" sz="1599" dirty="0">
              <a:latin typeface="+mn-lt"/>
              <a:ea typeface="楷体" panose="02010609060101010101" pitchFamily="49" charset="-122"/>
              <a:cs typeface="SimSun"/>
            </a:endParaRPr>
          </a:p>
          <a:p>
            <a:pPr marL="206272" indent="-192309">
              <a:spcBef>
                <a:spcPts val="385"/>
              </a:spcBef>
              <a:buClr>
                <a:srgbClr val="00295F"/>
              </a:buClr>
              <a:buSzPct val="125000"/>
              <a:buChar char="▪"/>
              <a:tabLst>
                <a:tab pos="206906" algn="l"/>
              </a:tabLst>
            </a:pPr>
            <a:r>
              <a:rPr lang="zh-CN" sz="1599" spc="-5" dirty="0">
                <a:latin typeface="+mn-lt"/>
                <a:ea typeface="楷体" panose="02010609060101010101" pitchFamily="49" charset="-122"/>
                <a:cs typeface="SimSun"/>
              </a:rPr>
              <a:t>不会产生过度拟合</a:t>
            </a:r>
            <a:endParaRPr lang="zh-CN" sz="1599" dirty="0">
              <a:latin typeface="+mn-lt"/>
              <a:ea typeface="楷体" panose="02010609060101010101" pitchFamily="49" charset="-122"/>
              <a:cs typeface="SimSun"/>
            </a:endParaRPr>
          </a:p>
          <a:p>
            <a:pPr marL="206272" indent="-192309">
              <a:spcBef>
                <a:spcPts val="600"/>
              </a:spcBef>
              <a:buClr>
                <a:srgbClr val="00295F"/>
              </a:buClr>
              <a:buSzPct val="125000"/>
              <a:buChar char="▪"/>
              <a:tabLst>
                <a:tab pos="206906" algn="l"/>
              </a:tabLst>
            </a:pPr>
            <a:r>
              <a:rPr lang="zh-CN" altLang="en-US" sz="1599" spc="-5" dirty="0">
                <a:latin typeface="+mn-lt"/>
                <a:ea typeface="楷体" panose="02010609060101010101" pitchFamily="49" charset="-122"/>
                <a:cs typeface="SimSun"/>
              </a:rPr>
              <a:t>能</a:t>
            </a:r>
            <a:r>
              <a:rPr lang="zh-CN" sz="1599" spc="-5" dirty="0">
                <a:latin typeface="+mn-lt"/>
                <a:ea typeface="楷体" panose="02010609060101010101" pitchFamily="49" charset="-122"/>
                <a:cs typeface="SimSun"/>
              </a:rPr>
              <a:t>发现难以预测的数据点模式</a:t>
            </a:r>
            <a:r>
              <a:rPr lang="zh-CN" dirty="0">
                <a:latin typeface="+mn-lt"/>
                <a:ea typeface="楷体" panose="02010609060101010101" pitchFamily="49" charset="-122"/>
                <a:cs typeface="SimSun"/>
              </a:rPr>
              <a:t> </a:t>
            </a:r>
            <a:endParaRPr lang="zh-CN" sz="1599" dirty="0">
              <a:latin typeface="+mn-lt"/>
              <a:ea typeface="楷体" panose="02010609060101010101" pitchFamily="49" charset="-122"/>
              <a:cs typeface="SimSun"/>
            </a:endParaRPr>
          </a:p>
        </p:txBody>
      </p:sp>
      <p:sp>
        <p:nvSpPr>
          <p:cNvPr id="12" name="object 12"/>
          <p:cNvSpPr/>
          <p:nvPr/>
        </p:nvSpPr>
        <p:spPr>
          <a:xfrm>
            <a:off x="271128" y="2863796"/>
            <a:ext cx="1238354" cy="1244447"/>
          </a:xfrm>
          <a:prstGeom prst="rect">
            <a:avLst/>
          </a:prstGeom>
          <a:blipFill>
            <a:blip r:embed="rId3"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13" name="object 13"/>
          <p:cNvSpPr txBox="1"/>
          <p:nvPr/>
        </p:nvSpPr>
        <p:spPr>
          <a:xfrm>
            <a:off x="613034" y="2873646"/>
            <a:ext cx="555330" cy="1168414"/>
          </a:xfrm>
          <a:prstGeom prst="rect">
            <a:avLst/>
          </a:prstGeom>
        </p:spPr>
        <p:txBody>
          <a:bodyPr vert="horz" wrap="square" lIns="0" tIns="12693" rIns="0" bIns="0" rtlCol="0">
            <a:spAutoFit/>
          </a:bodyPr>
          <a:lstStyle/>
          <a:p>
            <a:pPr marL="12694">
              <a:spcBef>
                <a:spcPts val="100"/>
              </a:spcBef>
            </a:pPr>
            <a:r>
              <a:rPr lang="zh-CN" sz="7496" dirty="0">
                <a:solidFill>
                  <a:srgbClr val="FFFFFF"/>
                </a:solidFill>
                <a:latin typeface="+mn-lt"/>
                <a:ea typeface="楷体" panose="02010609060101010101" pitchFamily="49" charset="-122"/>
                <a:cs typeface="SimSun"/>
              </a:rPr>
              <a:t>？</a:t>
            </a:r>
            <a:endParaRPr lang="zh-CN" sz="7496">
              <a:latin typeface="+mn-lt"/>
              <a:ea typeface="楷体" panose="02010609060101010101" pitchFamily="49" charset="-122"/>
              <a:cs typeface="SimSun"/>
            </a:endParaRPr>
          </a:p>
        </p:txBody>
      </p:sp>
      <p:sp>
        <p:nvSpPr>
          <p:cNvPr id="14" name="object 14"/>
          <p:cNvSpPr txBox="1"/>
          <p:nvPr/>
        </p:nvSpPr>
        <p:spPr>
          <a:xfrm>
            <a:off x="1616485" y="4316666"/>
            <a:ext cx="7122185" cy="1525027"/>
          </a:xfrm>
          <a:prstGeom prst="rect">
            <a:avLst/>
          </a:prstGeom>
        </p:spPr>
        <p:txBody>
          <a:bodyPr vert="horz" wrap="square" lIns="0" tIns="12059" rIns="0" bIns="0" rtlCol="0">
            <a:spAutoFit/>
          </a:bodyPr>
          <a:lstStyle/>
          <a:p>
            <a:pPr marL="12694">
              <a:spcBef>
                <a:spcPts val="95"/>
              </a:spcBef>
            </a:pPr>
            <a:r>
              <a:rPr lang="zh-CN" sz="1599" b="1" i="1" spc="-5" dirty="0">
                <a:solidFill>
                  <a:srgbClr val="F17E00"/>
                </a:solidFill>
                <a:latin typeface="+mn-lt"/>
                <a:ea typeface="楷体" panose="02010609060101010101" pitchFamily="49" charset="-122"/>
                <a:cs typeface="SimSun"/>
              </a:rPr>
              <a:t>什么情况下使用？</a:t>
            </a:r>
            <a:endParaRPr lang="zh-CN" sz="1599" dirty="0">
              <a:latin typeface="+mn-lt"/>
              <a:ea typeface="楷体" panose="02010609060101010101" pitchFamily="49" charset="-122"/>
              <a:cs typeface="SimSun"/>
            </a:endParaRPr>
          </a:p>
          <a:p>
            <a:pPr marL="206272" marR="5077" indent="-192309">
              <a:spcBef>
                <a:spcPts val="385"/>
              </a:spcBef>
              <a:buClr>
                <a:srgbClr val="00295F"/>
              </a:buClr>
              <a:buSzPct val="125000"/>
              <a:buChar char="▪"/>
              <a:tabLst>
                <a:tab pos="206906" algn="l"/>
              </a:tabLst>
            </a:pPr>
            <a:r>
              <a:rPr lang="zh-CN" sz="1599" spc="-5" dirty="0">
                <a:latin typeface="+mn-lt"/>
                <a:ea typeface="楷体" panose="02010609060101010101" pitchFamily="49" charset="-122"/>
                <a:cs typeface="SimSun"/>
              </a:rPr>
              <a:t>需要通过</a:t>
            </a:r>
            <a:r>
              <a:rPr lang="zh-CN" altLang="en-US" sz="1599" spc="-5" dirty="0">
                <a:latin typeface="+mn-lt"/>
                <a:ea typeface="楷体" panose="02010609060101010101" pitchFamily="49" charset="-122"/>
                <a:cs typeface="SimSun"/>
              </a:rPr>
              <a:t>有卓越</a:t>
            </a:r>
            <a:r>
              <a:rPr lang="zh-CN" sz="1599" spc="-5" dirty="0">
                <a:latin typeface="+mn-lt"/>
                <a:ea typeface="楷体" panose="02010609060101010101" pitchFamily="49" charset="-122"/>
                <a:cs typeface="SimSun"/>
              </a:rPr>
              <a:t>预测能力的高级算法解决二进制分类问题</a:t>
            </a:r>
            <a:r>
              <a:rPr lang="zh-CN" dirty="0">
                <a:latin typeface="+mn-lt"/>
                <a:ea typeface="楷体" panose="02010609060101010101" pitchFamily="49" charset="-122"/>
                <a:cs typeface="SimSun"/>
              </a:rPr>
              <a:t> </a:t>
            </a:r>
            <a:endParaRPr lang="zh-CN" sz="1599" dirty="0">
              <a:latin typeface="+mn-lt"/>
              <a:ea typeface="楷体" panose="02010609060101010101" pitchFamily="49" charset="-122"/>
              <a:cs typeface="SimSun"/>
            </a:endParaRPr>
          </a:p>
          <a:p>
            <a:pPr marL="206272" marR="135187" indent="-192309">
              <a:spcBef>
                <a:spcPts val="600"/>
              </a:spcBef>
              <a:buClr>
                <a:srgbClr val="00295F"/>
              </a:buClr>
              <a:buSzPct val="125000"/>
              <a:buChar char="▪"/>
              <a:tabLst>
                <a:tab pos="206906" algn="l"/>
              </a:tabLst>
            </a:pPr>
            <a:r>
              <a:rPr lang="zh-CN" sz="1599" spc="-5" dirty="0">
                <a:latin typeface="+mn-lt"/>
                <a:ea typeface="楷体" panose="02010609060101010101" pitchFamily="49" charset="-122"/>
                <a:cs typeface="SimSun"/>
              </a:rPr>
              <a:t>客户不需要理解算法或具备足够的数据科学知识</a:t>
            </a:r>
            <a:r>
              <a:rPr lang="zh-CN" dirty="0">
                <a:latin typeface="+mn-lt"/>
                <a:ea typeface="楷体" panose="02010609060101010101" pitchFamily="49" charset="-122"/>
                <a:cs typeface="SimSun"/>
              </a:rPr>
              <a:t> </a:t>
            </a:r>
            <a:endParaRPr lang="zh-CN" sz="1599" dirty="0">
              <a:latin typeface="+mn-lt"/>
              <a:ea typeface="楷体" panose="02010609060101010101" pitchFamily="49" charset="-122"/>
              <a:cs typeface="SimSun"/>
            </a:endParaRPr>
          </a:p>
          <a:p>
            <a:pPr marL="206272" indent="-192309">
              <a:spcBef>
                <a:spcPts val="605"/>
              </a:spcBef>
              <a:buClr>
                <a:srgbClr val="00295F"/>
              </a:buClr>
              <a:buSzPct val="125000"/>
              <a:buChar char="▪"/>
              <a:tabLst>
                <a:tab pos="206906" algn="l"/>
              </a:tabLst>
            </a:pPr>
            <a:r>
              <a:rPr lang="zh-CN" sz="1599" spc="-5" dirty="0">
                <a:latin typeface="+mn-lt"/>
                <a:ea typeface="楷体" panose="02010609060101010101" pitchFamily="49" charset="-122"/>
                <a:cs typeface="SimSun"/>
              </a:rPr>
              <a:t>变量</a:t>
            </a:r>
            <a:r>
              <a:rPr lang="zh-CN" altLang="en-US" sz="1599" spc="-5" dirty="0">
                <a:latin typeface="+mn-lt"/>
                <a:ea typeface="楷体" panose="02010609060101010101" pitchFamily="49" charset="-122"/>
                <a:cs typeface="SimSun"/>
              </a:rPr>
              <a:t>很多</a:t>
            </a:r>
            <a:r>
              <a:rPr lang="zh-CN" sz="1599" spc="-5" dirty="0">
                <a:latin typeface="+mn-lt"/>
                <a:ea typeface="楷体" panose="02010609060101010101" pitchFamily="49" charset="-122"/>
                <a:cs typeface="SimSun"/>
              </a:rPr>
              <a:t>或者数据稀少</a:t>
            </a:r>
            <a:endParaRPr lang="zh-CN" sz="1599" dirty="0">
              <a:latin typeface="+mn-lt"/>
              <a:ea typeface="楷体" panose="02010609060101010101" pitchFamily="49" charset="-122"/>
              <a:cs typeface="SimSun"/>
            </a:endParaRPr>
          </a:p>
          <a:p>
            <a:pPr marL="206272" indent="-192309">
              <a:spcBef>
                <a:spcPts val="600"/>
              </a:spcBef>
              <a:buClr>
                <a:srgbClr val="00295F"/>
              </a:buClr>
              <a:buSzPct val="125000"/>
              <a:buChar char="▪"/>
              <a:tabLst>
                <a:tab pos="206906" algn="l"/>
              </a:tabLst>
            </a:pPr>
            <a:r>
              <a:rPr lang="zh-CN" sz="1599" spc="-5" dirty="0">
                <a:latin typeface="+mn-lt"/>
                <a:ea typeface="楷体" panose="02010609060101010101" pitchFamily="49" charset="-122"/>
                <a:cs typeface="SimSun"/>
              </a:rPr>
              <a:t>作为随机森林的备选</a:t>
            </a:r>
            <a:r>
              <a:rPr lang="zh-CN" altLang="en-US" sz="1599" spc="-5" dirty="0">
                <a:latin typeface="+mn-lt"/>
                <a:ea typeface="楷体" panose="02010609060101010101" pitchFamily="49" charset="-122"/>
                <a:cs typeface="SimSun"/>
              </a:rPr>
              <a:t>方法</a:t>
            </a:r>
            <a:endParaRPr lang="zh-CN" sz="1599" dirty="0">
              <a:latin typeface="+mn-lt"/>
              <a:ea typeface="楷体" panose="02010609060101010101" pitchFamily="49" charset="-122"/>
              <a:cs typeface="SimSun"/>
            </a:endParaRPr>
          </a:p>
        </p:txBody>
      </p:sp>
      <p:sp>
        <p:nvSpPr>
          <p:cNvPr id="15" name="object 15"/>
          <p:cNvSpPr/>
          <p:nvPr/>
        </p:nvSpPr>
        <p:spPr>
          <a:xfrm>
            <a:off x="271128" y="4607849"/>
            <a:ext cx="1238354" cy="1244447"/>
          </a:xfrm>
          <a:prstGeom prst="rect">
            <a:avLst/>
          </a:prstGeom>
          <a:blipFill>
            <a:blip r:embed="rId4"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16" name="object 16"/>
          <p:cNvSpPr/>
          <p:nvPr/>
        </p:nvSpPr>
        <p:spPr>
          <a:xfrm>
            <a:off x="470667" y="4810434"/>
            <a:ext cx="839659" cy="839659"/>
          </a:xfrm>
          <a:custGeom>
            <a:avLst/>
            <a:gdLst/>
            <a:ahLst/>
            <a:cxnLst/>
            <a:rect l="l" t="t" r="r" b="b"/>
            <a:pathLst>
              <a:path w="840105" h="840104">
                <a:moveTo>
                  <a:pt x="0" y="419862"/>
                </a:moveTo>
                <a:lnTo>
                  <a:pt x="2824" y="370893"/>
                </a:lnTo>
                <a:lnTo>
                  <a:pt x="11088" y="323585"/>
                </a:lnTo>
                <a:lnTo>
                  <a:pt x="24476" y="278252"/>
                </a:lnTo>
                <a:lnTo>
                  <a:pt x="42674" y="235209"/>
                </a:lnTo>
                <a:lnTo>
                  <a:pt x="65366" y="194770"/>
                </a:lnTo>
                <a:lnTo>
                  <a:pt x="92237" y="157251"/>
                </a:lnTo>
                <a:lnTo>
                  <a:pt x="122972" y="122967"/>
                </a:lnTo>
                <a:lnTo>
                  <a:pt x="157257" y="92233"/>
                </a:lnTo>
                <a:lnTo>
                  <a:pt x="194776" y="65362"/>
                </a:lnTo>
                <a:lnTo>
                  <a:pt x="235214" y="42672"/>
                </a:lnTo>
                <a:lnTo>
                  <a:pt x="278257" y="24475"/>
                </a:lnTo>
                <a:lnTo>
                  <a:pt x="323589" y="11087"/>
                </a:lnTo>
                <a:lnTo>
                  <a:pt x="370896" y="2824"/>
                </a:lnTo>
                <a:lnTo>
                  <a:pt x="419862" y="0"/>
                </a:lnTo>
                <a:lnTo>
                  <a:pt x="468827" y="2824"/>
                </a:lnTo>
                <a:lnTo>
                  <a:pt x="516134" y="11087"/>
                </a:lnTo>
                <a:lnTo>
                  <a:pt x="561466" y="24475"/>
                </a:lnTo>
                <a:lnTo>
                  <a:pt x="604509" y="42672"/>
                </a:lnTo>
                <a:lnTo>
                  <a:pt x="644947" y="65362"/>
                </a:lnTo>
                <a:lnTo>
                  <a:pt x="682466" y="92233"/>
                </a:lnTo>
                <a:lnTo>
                  <a:pt x="716751" y="122967"/>
                </a:lnTo>
                <a:lnTo>
                  <a:pt x="747486" y="157251"/>
                </a:lnTo>
                <a:lnTo>
                  <a:pt x="774357" y="194770"/>
                </a:lnTo>
                <a:lnTo>
                  <a:pt x="797049" y="235209"/>
                </a:lnTo>
                <a:lnTo>
                  <a:pt x="815247" y="278252"/>
                </a:lnTo>
                <a:lnTo>
                  <a:pt x="828635" y="323585"/>
                </a:lnTo>
                <a:lnTo>
                  <a:pt x="836899" y="370893"/>
                </a:lnTo>
                <a:lnTo>
                  <a:pt x="839724" y="419862"/>
                </a:lnTo>
                <a:lnTo>
                  <a:pt x="836899" y="468827"/>
                </a:lnTo>
                <a:lnTo>
                  <a:pt x="828635" y="516134"/>
                </a:lnTo>
                <a:lnTo>
                  <a:pt x="815247" y="561466"/>
                </a:lnTo>
                <a:lnTo>
                  <a:pt x="797049" y="604509"/>
                </a:lnTo>
                <a:lnTo>
                  <a:pt x="774357" y="644947"/>
                </a:lnTo>
                <a:lnTo>
                  <a:pt x="747486" y="682466"/>
                </a:lnTo>
                <a:lnTo>
                  <a:pt x="716751" y="716751"/>
                </a:lnTo>
                <a:lnTo>
                  <a:pt x="682466" y="747486"/>
                </a:lnTo>
                <a:lnTo>
                  <a:pt x="644947" y="774357"/>
                </a:lnTo>
                <a:lnTo>
                  <a:pt x="604509" y="797049"/>
                </a:lnTo>
                <a:lnTo>
                  <a:pt x="561466" y="815247"/>
                </a:lnTo>
                <a:lnTo>
                  <a:pt x="516134" y="828635"/>
                </a:lnTo>
                <a:lnTo>
                  <a:pt x="468827" y="836899"/>
                </a:lnTo>
                <a:lnTo>
                  <a:pt x="419862" y="839724"/>
                </a:lnTo>
                <a:lnTo>
                  <a:pt x="370896" y="836899"/>
                </a:lnTo>
                <a:lnTo>
                  <a:pt x="323589" y="828635"/>
                </a:lnTo>
                <a:lnTo>
                  <a:pt x="278257" y="815247"/>
                </a:lnTo>
                <a:lnTo>
                  <a:pt x="235214" y="797049"/>
                </a:lnTo>
                <a:lnTo>
                  <a:pt x="194776" y="774357"/>
                </a:lnTo>
                <a:lnTo>
                  <a:pt x="157257" y="747486"/>
                </a:lnTo>
                <a:lnTo>
                  <a:pt x="122972" y="716751"/>
                </a:lnTo>
                <a:lnTo>
                  <a:pt x="92237" y="682466"/>
                </a:lnTo>
                <a:lnTo>
                  <a:pt x="65366" y="644947"/>
                </a:lnTo>
                <a:lnTo>
                  <a:pt x="42674" y="604509"/>
                </a:lnTo>
                <a:lnTo>
                  <a:pt x="24476" y="561466"/>
                </a:lnTo>
                <a:lnTo>
                  <a:pt x="11088" y="516134"/>
                </a:lnTo>
                <a:lnTo>
                  <a:pt x="2824" y="468827"/>
                </a:lnTo>
                <a:lnTo>
                  <a:pt x="0" y="419862"/>
                </a:lnTo>
                <a:close/>
              </a:path>
            </a:pathLst>
          </a:custGeom>
          <a:ln w="64008">
            <a:solidFill>
              <a:srgbClr val="FFFFFF"/>
            </a:solidFill>
          </a:ln>
        </p:spPr>
        <p:txBody>
          <a:bodyPr wrap="square" lIns="0" tIns="0" rIns="0" bIns="0" rtlCol="0"/>
          <a:lstStyle/>
          <a:p>
            <a:endParaRPr sz="1599">
              <a:latin typeface="+mn-lt"/>
              <a:ea typeface="楷体" panose="02010609060101010101" pitchFamily="49" charset="-122"/>
            </a:endParaRPr>
          </a:p>
        </p:txBody>
      </p:sp>
      <p:sp>
        <p:nvSpPr>
          <p:cNvPr id="17" name="object 17"/>
          <p:cNvSpPr/>
          <p:nvPr/>
        </p:nvSpPr>
        <p:spPr>
          <a:xfrm>
            <a:off x="888019" y="5098317"/>
            <a:ext cx="133279" cy="144703"/>
          </a:xfrm>
          <a:custGeom>
            <a:avLst/>
            <a:gdLst/>
            <a:ahLst/>
            <a:cxnLst/>
            <a:rect l="l" t="t" r="r" b="b"/>
            <a:pathLst>
              <a:path w="133350" h="144779">
                <a:moveTo>
                  <a:pt x="133350" y="0"/>
                </a:moveTo>
                <a:lnTo>
                  <a:pt x="0" y="144399"/>
                </a:lnTo>
              </a:path>
            </a:pathLst>
          </a:custGeom>
          <a:ln w="64008">
            <a:solidFill>
              <a:srgbClr val="FFFFFF"/>
            </a:solidFill>
          </a:ln>
        </p:spPr>
        <p:txBody>
          <a:bodyPr wrap="square" lIns="0" tIns="0" rIns="0" bIns="0" rtlCol="0"/>
          <a:lstStyle/>
          <a:p>
            <a:endParaRPr sz="1599">
              <a:latin typeface="+mn-lt"/>
              <a:ea typeface="楷体" panose="02010609060101010101" pitchFamily="49" charset="-122"/>
            </a:endParaRPr>
          </a:p>
        </p:txBody>
      </p:sp>
      <p:sp>
        <p:nvSpPr>
          <p:cNvPr id="18" name="object 18"/>
          <p:cNvSpPr/>
          <p:nvPr/>
        </p:nvSpPr>
        <p:spPr>
          <a:xfrm>
            <a:off x="778350" y="4909441"/>
            <a:ext cx="120586" cy="342718"/>
          </a:xfrm>
          <a:custGeom>
            <a:avLst/>
            <a:gdLst/>
            <a:ahLst/>
            <a:cxnLst/>
            <a:rect l="l" t="t" r="r" b="b"/>
            <a:pathLst>
              <a:path w="120650" h="342900">
                <a:moveTo>
                  <a:pt x="0" y="0"/>
                </a:moveTo>
                <a:lnTo>
                  <a:pt x="120649" y="342900"/>
                </a:lnTo>
              </a:path>
            </a:pathLst>
          </a:custGeom>
          <a:ln w="64008">
            <a:solidFill>
              <a:srgbClr val="FFFFFF"/>
            </a:solidFill>
          </a:ln>
        </p:spPr>
        <p:txBody>
          <a:bodyPr wrap="square" lIns="0" tIns="0" rIns="0" bIns="0" rtlCol="0"/>
          <a:lstStyle/>
          <a:p>
            <a:endParaRPr sz="1599">
              <a:latin typeface="+mn-lt"/>
              <a:ea typeface="楷体" panose="02010609060101010101" pitchFamily="49" charset="-122"/>
            </a:endParaRPr>
          </a:p>
        </p:txBody>
      </p:sp>
      <p:sp>
        <p:nvSpPr>
          <p:cNvPr id="19" name="object 19"/>
          <p:cNvSpPr txBox="1"/>
          <p:nvPr/>
        </p:nvSpPr>
        <p:spPr>
          <a:xfrm>
            <a:off x="106420" y="6473649"/>
            <a:ext cx="1447031" cy="153678"/>
          </a:xfrm>
          <a:prstGeom prst="rect">
            <a:avLst/>
          </a:prstGeom>
        </p:spPr>
        <p:txBody>
          <a:bodyPr vert="horz" wrap="square" lIns="0" tIns="0" rIns="0" bIns="0" rtlCol="0">
            <a:spAutoFit/>
          </a:bodyPr>
          <a:lstStyle/>
          <a:p>
            <a:pPr marL="12694"/>
            <a:r>
              <a:rPr lang="zh-CN" sz="999" spc="-5" dirty="0">
                <a:solidFill>
                  <a:srgbClr val="808080"/>
                </a:solidFill>
                <a:latin typeface="+mn-lt"/>
                <a:ea typeface="楷体" panose="02010609060101010101" pitchFamily="49" charset="-122"/>
                <a:cs typeface="SimSun"/>
              </a:rPr>
              <a:t>资料来源：小组分析</a:t>
            </a:r>
            <a:endParaRPr lang="zh-CN" sz="999" dirty="0">
              <a:latin typeface="+mn-lt"/>
              <a:ea typeface="楷体" panose="02010609060101010101" pitchFamily="49" charset="-122"/>
              <a:cs typeface="SimSun"/>
            </a:endParaRPr>
          </a:p>
        </p:txBody>
      </p:sp>
      <p:sp>
        <p:nvSpPr>
          <p:cNvPr id="20" name="object 20"/>
          <p:cNvSpPr txBox="1"/>
          <p:nvPr/>
        </p:nvSpPr>
        <p:spPr>
          <a:xfrm>
            <a:off x="7446116" y="6501195"/>
            <a:ext cx="1197609" cy="249425"/>
          </a:xfrm>
          <a:prstGeom prst="rect">
            <a:avLst/>
          </a:prstGeom>
        </p:spPr>
        <p:txBody>
          <a:bodyPr vert="horz" wrap="square" lIns="0" tIns="3173" rIns="0" bIns="0" rtlCol="0">
            <a:spAutoFit/>
          </a:bodyPr>
          <a:lstStyle/>
          <a:p>
            <a:pPr marL="12694">
              <a:spcBef>
                <a:spcPts val="25"/>
              </a:spcBef>
            </a:pPr>
            <a:r>
              <a:rPr lang="zh-CN" sz="800" dirty="0">
                <a:solidFill>
                  <a:srgbClr val="808080"/>
                </a:solidFill>
                <a:latin typeface="+mn-lt"/>
                <a:ea typeface="楷体" panose="02010609060101010101" pitchFamily="49" charset="-122"/>
                <a:cs typeface="SimSun"/>
              </a:rPr>
              <a:t>McKinsey &amp; Company</a:t>
            </a:r>
            <a:r>
              <a:rPr lang="zh-CN" dirty="0">
                <a:latin typeface="+mn-lt"/>
                <a:ea typeface="楷体" panose="02010609060101010101" pitchFamily="49" charset="-122"/>
                <a:cs typeface="SimSun"/>
              </a:rPr>
              <a:t> </a:t>
            </a:r>
            <a:fld id="{81D60167-4931-47E6-BA6A-407CBD079E47}" type="slidenum">
              <a:rPr sz="800" dirty="0">
                <a:solidFill>
                  <a:srgbClr val="808080"/>
                </a:solidFill>
                <a:latin typeface="+mn-lt"/>
                <a:ea typeface="楷体" panose="02010609060101010101" pitchFamily="49" charset="-122"/>
                <a:cs typeface="Arial"/>
              </a:rPr>
              <a:pPr marL="12694">
                <a:spcBef>
                  <a:spcPts val="25"/>
                </a:spcBef>
              </a:pPr>
              <a:t>29</a:t>
            </a:fld>
            <a:endParaRPr lang="zh-CN" sz="800">
              <a:latin typeface="+mn-lt"/>
              <a:ea typeface="楷体" panose="02010609060101010101" pitchFamily="49" charset="-122"/>
              <a:cs typeface="SimSun"/>
            </a:endParaRPr>
          </a:p>
        </p:txBody>
      </p:sp>
      <p:sp>
        <p:nvSpPr>
          <p:cNvPr id="21" name="object 7">
            <a:extLst>
              <a:ext uri="{FF2B5EF4-FFF2-40B4-BE49-F238E27FC236}">
                <a16:creationId xmlns:a16="http://schemas.microsoft.com/office/drawing/2014/main" id="{65ECEBEC-73CB-4797-8BCD-EA27ED9F47E4}"/>
              </a:ext>
            </a:extLst>
          </p:cNvPr>
          <p:cNvSpPr txBox="1">
            <a:spLocks/>
          </p:cNvSpPr>
          <p:nvPr/>
        </p:nvSpPr>
        <p:spPr bwMode="gray">
          <a:xfrm>
            <a:off x="106420" y="210145"/>
            <a:ext cx="8005193" cy="320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3" rIns="0" bIns="0" numCol="1" rtlCol="0"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99" b="0" i="0" baseline="0">
                <a:solidFill>
                  <a:schemeClr val="bg1"/>
                </a:solidFill>
                <a:latin typeface="Arial"/>
                <a:ea typeface="+mj-ea"/>
                <a:cs typeface="Arial"/>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12694">
              <a:spcBef>
                <a:spcPts val="100"/>
              </a:spcBef>
            </a:pPr>
            <a:r>
              <a:rPr lang="zh-CN" kern="0" dirty="0">
                <a:solidFill>
                  <a:schemeClr val="tx2"/>
                </a:solidFill>
                <a:latin typeface="+mn-lt"/>
                <a:ea typeface="楷体" panose="02010609060101010101" pitchFamily="49" charset="-122"/>
                <a:cs typeface="SimSun"/>
              </a:rPr>
              <a:t>自适应提升（梯度提升是另一种提升方法）</a:t>
            </a:r>
            <a:endParaRPr lang="zh-CN" kern="0" dirty="0">
              <a:solidFill>
                <a:schemeClr val="tx2"/>
              </a:solidFill>
              <a:latin typeface="+mn-lt"/>
              <a:ea typeface="楷体" panose="02010609060101010101" pitchFamily="49" charset="-122"/>
            </a:endParaRPr>
          </a:p>
        </p:txBody>
      </p:sp>
    </p:spTree>
    <p:extLst>
      <p:ext uri="{BB962C8B-B14F-4D97-AF65-F5344CB8AC3E}">
        <p14:creationId xmlns:p14="http://schemas.microsoft.com/office/powerpoint/2010/main" val="42919049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2" name="Group 141"/>
          <p:cNvGrpSpPr>
            <a:grpSpLocks/>
          </p:cNvGrpSpPr>
          <p:nvPr/>
        </p:nvGrpSpPr>
        <p:grpSpPr>
          <a:xfrm>
            <a:off x="0" y="-1"/>
            <a:ext cx="8961438" cy="6721475"/>
            <a:chOff x="749301" y="-1"/>
            <a:chExt cx="8961438" cy="6721475"/>
          </a:xfrm>
        </p:grpSpPr>
        <p:grpSp>
          <p:nvGrpSpPr>
            <p:cNvPr id="144" name="Group 143"/>
            <p:cNvGrpSpPr>
              <a:grpSpLocks/>
            </p:cNvGrpSpPr>
            <p:nvPr/>
          </p:nvGrpSpPr>
          <p:grpSpPr>
            <a:xfrm>
              <a:off x="749301" y="-1"/>
              <a:ext cx="8961438" cy="6721475"/>
              <a:chOff x="-12625388" y="-4110038"/>
              <a:chExt cx="11771313" cy="11769726"/>
            </a:xfrm>
          </p:grpSpPr>
          <p:sp>
            <p:nvSpPr>
              <p:cNvPr id="146" name="Freeform 305"/>
              <p:cNvSpPr>
                <a:spLocks noEditPoints="1"/>
              </p:cNvSpPr>
              <p:nvPr/>
            </p:nvSpPr>
            <p:spPr bwMode="auto">
              <a:xfrm>
                <a:off x="-12625388" y="-4110038"/>
                <a:ext cx="11771313" cy="11769725"/>
              </a:xfrm>
              <a:custGeom>
                <a:avLst/>
                <a:gdLst>
                  <a:gd name="T0" fmla="*/ 15360 w 15446"/>
                  <a:gd name="T1" fmla="*/ 14351 h 15446"/>
                  <a:gd name="T2" fmla="*/ 11037 w 15446"/>
                  <a:gd name="T3" fmla="*/ 13656 h 15446"/>
                  <a:gd name="T4" fmla="*/ 5936 w 15446"/>
                  <a:gd name="T5" fmla="*/ 12632 h 15446"/>
                  <a:gd name="T6" fmla="*/ 13164 w 15446"/>
                  <a:gd name="T7" fmla="*/ 15446 h 15446"/>
                  <a:gd name="T8" fmla="*/ 7984 w 15446"/>
                  <a:gd name="T9" fmla="*/ 14465 h 15446"/>
                  <a:gd name="T10" fmla="*/ 4300 w 15446"/>
                  <a:gd name="T11" fmla="*/ 15446 h 15446"/>
                  <a:gd name="T12" fmla="*/ 750 w 15446"/>
                  <a:gd name="T13" fmla="*/ 12746 h 15446"/>
                  <a:gd name="T14" fmla="*/ 750 w 15446"/>
                  <a:gd name="T15" fmla="*/ 12746 h 15446"/>
                  <a:gd name="T16" fmla="*/ 750 w 15446"/>
                  <a:gd name="T17" fmla="*/ 12746 h 15446"/>
                  <a:gd name="T18" fmla="*/ 371 w 15446"/>
                  <a:gd name="T19" fmla="*/ 15010 h 15446"/>
                  <a:gd name="T20" fmla="*/ 14542 w 15446"/>
                  <a:gd name="T21" fmla="*/ 0 h 15446"/>
                  <a:gd name="T22" fmla="*/ 7468 w 15446"/>
                  <a:gd name="T23" fmla="*/ 1574 h 15446"/>
                  <a:gd name="T24" fmla="*/ 7468 w 15446"/>
                  <a:gd name="T25" fmla="*/ 1574 h 15446"/>
                  <a:gd name="T26" fmla="*/ 3502 w 15446"/>
                  <a:gd name="T27" fmla="*/ 2789 h 15446"/>
                  <a:gd name="T28" fmla="*/ 1065 w 15446"/>
                  <a:gd name="T29" fmla="*/ 1273 h 15446"/>
                  <a:gd name="T30" fmla="*/ 120 w 15446"/>
                  <a:gd name="T31" fmla="*/ 3894 h 15446"/>
                  <a:gd name="T32" fmla="*/ 1145 w 15446"/>
                  <a:gd name="T33" fmla="*/ 6872 h 15446"/>
                  <a:gd name="T34" fmla="*/ 0 w 15446"/>
                  <a:gd name="T35" fmla="*/ 7970 h 15446"/>
                  <a:gd name="T36" fmla="*/ 2324 w 15446"/>
                  <a:gd name="T37" fmla="*/ 8914 h 15446"/>
                  <a:gd name="T38" fmla="*/ 3502 w 15446"/>
                  <a:gd name="T39" fmla="*/ 10955 h 15446"/>
                  <a:gd name="T40" fmla="*/ 2324 w 15446"/>
                  <a:gd name="T41" fmla="*/ 8914 h 15446"/>
                  <a:gd name="T42" fmla="*/ 586 w 15446"/>
                  <a:gd name="T43" fmla="*/ 11428 h 15446"/>
                  <a:gd name="T44" fmla="*/ 3502 w 15446"/>
                  <a:gd name="T45" fmla="*/ 10956 h 15446"/>
                  <a:gd name="T46" fmla="*/ 4943 w 15446"/>
                  <a:gd name="T47" fmla="*/ 15446 h 15446"/>
                  <a:gd name="T48" fmla="*/ 901 w 15446"/>
                  <a:gd name="T49" fmla="*/ 1246 h 15446"/>
                  <a:gd name="T50" fmla="*/ 2324 w 15446"/>
                  <a:gd name="T51" fmla="*/ 748 h 15446"/>
                  <a:gd name="T52" fmla="*/ 45 w 15446"/>
                  <a:gd name="T53" fmla="*/ 0 h 15446"/>
                  <a:gd name="T54" fmla="*/ 3737 w 15446"/>
                  <a:gd name="T55" fmla="*/ 15446 h 15446"/>
                  <a:gd name="T56" fmla="*/ 11037 w 15446"/>
                  <a:gd name="T57" fmla="*/ 13656 h 15446"/>
                  <a:gd name="T58" fmla="*/ 8413 w 15446"/>
                  <a:gd name="T59" fmla="*/ 8879 h 15446"/>
                  <a:gd name="T60" fmla="*/ 10777 w 15446"/>
                  <a:gd name="T61" fmla="*/ 9480 h 15446"/>
                  <a:gd name="T62" fmla="*/ 14110 w 15446"/>
                  <a:gd name="T63" fmla="*/ 8914 h 15446"/>
                  <a:gd name="T64" fmla="*/ 12931 w 15446"/>
                  <a:gd name="T65" fmla="*/ 10955 h 15446"/>
                  <a:gd name="T66" fmla="*/ 14110 w 15446"/>
                  <a:gd name="T67" fmla="*/ 12997 h 15446"/>
                  <a:gd name="T68" fmla="*/ 2324 w 15446"/>
                  <a:gd name="T69" fmla="*/ 12997 h 15446"/>
                  <a:gd name="T70" fmla="*/ 5935 w 15446"/>
                  <a:gd name="T71" fmla="*/ 12631 h 15446"/>
                  <a:gd name="T72" fmla="*/ 5936 w 15446"/>
                  <a:gd name="T73" fmla="*/ 12632 h 15446"/>
                  <a:gd name="T74" fmla="*/ 12931 w 15446"/>
                  <a:gd name="T75" fmla="*/ 6872 h 15446"/>
                  <a:gd name="T76" fmla="*/ 12931 w 15446"/>
                  <a:gd name="T77" fmla="*/ 6872 h 15446"/>
                  <a:gd name="T78" fmla="*/ 5860 w 15446"/>
                  <a:gd name="T79" fmla="*/ 6872 h 15446"/>
                  <a:gd name="T80" fmla="*/ 7038 w 15446"/>
                  <a:gd name="T81" fmla="*/ 8914 h 15446"/>
                  <a:gd name="T82" fmla="*/ 15446 w 15446"/>
                  <a:gd name="T83" fmla="*/ 8914 h 15446"/>
                  <a:gd name="T84" fmla="*/ 8217 w 15446"/>
                  <a:gd name="T85" fmla="*/ 6872 h 15446"/>
                  <a:gd name="T86" fmla="*/ 4159 w 15446"/>
                  <a:gd name="T87" fmla="*/ 4109 h 15446"/>
                  <a:gd name="T88" fmla="*/ 4159 w 15446"/>
                  <a:gd name="T89" fmla="*/ 4109 h 15446"/>
                  <a:gd name="T90" fmla="*/ 2557 w 15446"/>
                  <a:gd name="T91" fmla="*/ 7302 h 15446"/>
                  <a:gd name="T92" fmla="*/ 5860 w 15446"/>
                  <a:gd name="T93" fmla="*/ 6872 h 15446"/>
                  <a:gd name="T94" fmla="*/ 15446 w 15446"/>
                  <a:gd name="T95" fmla="*/ 7072 h 15446"/>
                  <a:gd name="T96" fmla="*/ 10574 w 15446"/>
                  <a:gd name="T97" fmla="*/ 6872 h 15446"/>
                  <a:gd name="T98" fmla="*/ 10574 w 15446"/>
                  <a:gd name="T99" fmla="*/ 6872 h 15446"/>
                  <a:gd name="T100" fmla="*/ 9316 w 15446"/>
                  <a:gd name="T101" fmla="*/ 6257 h 15446"/>
                  <a:gd name="T102" fmla="*/ 12655 w 15446"/>
                  <a:gd name="T103" fmla="*/ 5604 h 15446"/>
                  <a:gd name="T104" fmla="*/ 9316 w 15446"/>
                  <a:gd name="T105" fmla="*/ 6257 h 15446"/>
                  <a:gd name="T106" fmla="*/ 12655 w 15446"/>
                  <a:gd name="T107" fmla="*/ 5604 h 15446"/>
                  <a:gd name="T108" fmla="*/ 8410 w 15446"/>
                  <a:gd name="T109" fmla="*/ 2581 h 15446"/>
                  <a:gd name="T110" fmla="*/ 7038 w 15446"/>
                  <a:gd name="T111" fmla="*/ 4831 h 15446"/>
                  <a:gd name="T112" fmla="*/ 14110 w 15446"/>
                  <a:gd name="T113" fmla="*/ 4831 h 15446"/>
                  <a:gd name="T114" fmla="*/ 14110 w 15446"/>
                  <a:gd name="T115" fmla="*/ 4831 h 15446"/>
                  <a:gd name="T116" fmla="*/ 4603 w 15446"/>
                  <a:gd name="T117" fmla="*/ 3765 h 15446"/>
                  <a:gd name="T118" fmla="*/ 9396 w 15446"/>
                  <a:gd name="T119" fmla="*/ 748 h 15446"/>
                  <a:gd name="T120" fmla="*/ 5859 w 15446"/>
                  <a:gd name="T121" fmla="*/ 2790 h 15446"/>
                  <a:gd name="T122" fmla="*/ 15446 w 15446"/>
                  <a:gd name="T123" fmla="*/ 1876 h 15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46" h="15446">
                    <a:moveTo>
                      <a:pt x="14929" y="15446"/>
                    </a:moveTo>
                    <a:lnTo>
                      <a:pt x="14929" y="15446"/>
                    </a:lnTo>
                    <a:lnTo>
                      <a:pt x="15360" y="14351"/>
                    </a:lnTo>
                    <a:lnTo>
                      <a:pt x="13552" y="15446"/>
                    </a:lnTo>
                    <a:lnTo>
                      <a:pt x="15360" y="14351"/>
                    </a:lnTo>
                    <a:lnTo>
                      <a:pt x="14710" y="13647"/>
                    </a:lnTo>
                    <a:lnTo>
                      <a:pt x="15360" y="14351"/>
                    </a:lnTo>
                    <a:lnTo>
                      <a:pt x="15446" y="14344"/>
                    </a:lnTo>
                    <a:lnTo>
                      <a:pt x="15446" y="14344"/>
                    </a:lnTo>
                    <a:lnTo>
                      <a:pt x="15360" y="14351"/>
                    </a:lnTo>
                    <a:lnTo>
                      <a:pt x="14929" y="15446"/>
                    </a:lnTo>
                    <a:moveTo>
                      <a:pt x="13164" y="15446"/>
                    </a:moveTo>
                    <a:lnTo>
                      <a:pt x="13164" y="15446"/>
                    </a:lnTo>
                    <a:lnTo>
                      <a:pt x="11037" y="13656"/>
                    </a:lnTo>
                    <a:lnTo>
                      <a:pt x="11394" y="15446"/>
                    </a:lnTo>
                    <a:lnTo>
                      <a:pt x="11394" y="15446"/>
                    </a:lnTo>
                    <a:lnTo>
                      <a:pt x="11037" y="13656"/>
                    </a:lnTo>
                    <a:lnTo>
                      <a:pt x="9396" y="12997"/>
                    </a:lnTo>
                    <a:lnTo>
                      <a:pt x="9395" y="12997"/>
                    </a:lnTo>
                    <a:lnTo>
                      <a:pt x="9396" y="12997"/>
                    </a:lnTo>
                    <a:lnTo>
                      <a:pt x="5936" y="12632"/>
                    </a:lnTo>
                    <a:lnTo>
                      <a:pt x="9395" y="12997"/>
                    </a:lnTo>
                    <a:lnTo>
                      <a:pt x="9395" y="12997"/>
                    </a:lnTo>
                    <a:lnTo>
                      <a:pt x="11037" y="13656"/>
                    </a:lnTo>
                    <a:lnTo>
                      <a:pt x="11037" y="13656"/>
                    </a:lnTo>
                    <a:lnTo>
                      <a:pt x="11037" y="13656"/>
                    </a:lnTo>
                    <a:lnTo>
                      <a:pt x="11037" y="13656"/>
                    </a:lnTo>
                    <a:lnTo>
                      <a:pt x="13164" y="15446"/>
                    </a:lnTo>
                    <a:moveTo>
                      <a:pt x="8513" y="15446"/>
                    </a:moveTo>
                    <a:lnTo>
                      <a:pt x="6538" y="15446"/>
                    </a:lnTo>
                    <a:lnTo>
                      <a:pt x="7984" y="14465"/>
                    </a:lnTo>
                    <a:lnTo>
                      <a:pt x="6538" y="15446"/>
                    </a:lnTo>
                    <a:lnTo>
                      <a:pt x="7984" y="14465"/>
                    </a:lnTo>
                    <a:lnTo>
                      <a:pt x="7376" y="13922"/>
                    </a:lnTo>
                    <a:lnTo>
                      <a:pt x="7984" y="14465"/>
                    </a:lnTo>
                    <a:lnTo>
                      <a:pt x="8513" y="15446"/>
                    </a:lnTo>
                    <a:moveTo>
                      <a:pt x="4943" y="15446"/>
                    </a:moveTo>
                    <a:lnTo>
                      <a:pt x="4943" y="15446"/>
                    </a:lnTo>
                    <a:lnTo>
                      <a:pt x="3564" y="14028"/>
                    </a:lnTo>
                    <a:lnTo>
                      <a:pt x="3502" y="15039"/>
                    </a:lnTo>
                    <a:lnTo>
                      <a:pt x="4300" y="15446"/>
                    </a:lnTo>
                    <a:lnTo>
                      <a:pt x="4300" y="15446"/>
                    </a:lnTo>
                    <a:lnTo>
                      <a:pt x="3502" y="15039"/>
                    </a:lnTo>
                    <a:lnTo>
                      <a:pt x="3502" y="15039"/>
                    </a:lnTo>
                    <a:lnTo>
                      <a:pt x="3502" y="15039"/>
                    </a:lnTo>
                    <a:lnTo>
                      <a:pt x="3564" y="14028"/>
                    </a:lnTo>
                    <a:lnTo>
                      <a:pt x="2324" y="12997"/>
                    </a:lnTo>
                    <a:lnTo>
                      <a:pt x="2324" y="12997"/>
                    </a:lnTo>
                    <a:lnTo>
                      <a:pt x="750" y="12746"/>
                    </a:lnTo>
                    <a:lnTo>
                      <a:pt x="750" y="12746"/>
                    </a:lnTo>
                    <a:lnTo>
                      <a:pt x="750" y="12746"/>
                    </a:lnTo>
                    <a:lnTo>
                      <a:pt x="750" y="12746"/>
                    </a:lnTo>
                    <a:lnTo>
                      <a:pt x="586" y="11428"/>
                    </a:lnTo>
                    <a:lnTo>
                      <a:pt x="0" y="11274"/>
                    </a:lnTo>
                    <a:lnTo>
                      <a:pt x="0" y="12062"/>
                    </a:lnTo>
                    <a:lnTo>
                      <a:pt x="750" y="12746"/>
                    </a:lnTo>
                    <a:lnTo>
                      <a:pt x="750" y="12746"/>
                    </a:lnTo>
                    <a:lnTo>
                      <a:pt x="0" y="12062"/>
                    </a:lnTo>
                    <a:lnTo>
                      <a:pt x="750" y="12746"/>
                    </a:lnTo>
                    <a:lnTo>
                      <a:pt x="0" y="13667"/>
                    </a:lnTo>
                    <a:lnTo>
                      <a:pt x="0" y="15111"/>
                    </a:lnTo>
                    <a:lnTo>
                      <a:pt x="371" y="15010"/>
                    </a:lnTo>
                    <a:lnTo>
                      <a:pt x="750" y="12746"/>
                    </a:lnTo>
                    <a:lnTo>
                      <a:pt x="750" y="12746"/>
                    </a:lnTo>
                    <a:lnTo>
                      <a:pt x="372" y="15010"/>
                    </a:lnTo>
                    <a:lnTo>
                      <a:pt x="1152" y="14205"/>
                    </a:lnTo>
                    <a:lnTo>
                      <a:pt x="372" y="15010"/>
                    </a:lnTo>
                    <a:lnTo>
                      <a:pt x="482" y="15446"/>
                    </a:lnTo>
                    <a:lnTo>
                      <a:pt x="482" y="15446"/>
                    </a:lnTo>
                    <a:lnTo>
                      <a:pt x="371" y="15010"/>
                    </a:lnTo>
                    <a:lnTo>
                      <a:pt x="0" y="15111"/>
                    </a:lnTo>
                    <a:lnTo>
                      <a:pt x="0" y="15446"/>
                    </a:lnTo>
                    <a:lnTo>
                      <a:pt x="0" y="0"/>
                    </a:lnTo>
                    <a:lnTo>
                      <a:pt x="15446" y="0"/>
                    </a:lnTo>
                    <a:lnTo>
                      <a:pt x="14542" y="0"/>
                    </a:lnTo>
                    <a:lnTo>
                      <a:pt x="14110" y="748"/>
                    </a:lnTo>
                    <a:lnTo>
                      <a:pt x="14542" y="0"/>
                    </a:lnTo>
                    <a:lnTo>
                      <a:pt x="8964" y="0"/>
                    </a:lnTo>
                    <a:lnTo>
                      <a:pt x="9395" y="747"/>
                    </a:lnTo>
                    <a:lnTo>
                      <a:pt x="9395" y="747"/>
                    </a:lnTo>
                    <a:lnTo>
                      <a:pt x="8964" y="0"/>
                    </a:lnTo>
                    <a:lnTo>
                      <a:pt x="7879" y="0"/>
                    </a:lnTo>
                    <a:lnTo>
                      <a:pt x="7468" y="1574"/>
                    </a:lnTo>
                    <a:lnTo>
                      <a:pt x="7468" y="1574"/>
                    </a:lnTo>
                    <a:lnTo>
                      <a:pt x="7879" y="0"/>
                    </a:lnTo>
                    <a:lnTo>
                      <a:pt x="6111" y="0"/>
                    </a:lnTo>
                    <a:lnTo>
                      <a:pt x="7468" y="1574"/>
                    </a:lnTo>
                    <a:lnTo>
                      <a:pt x="6111" y="0"/>
                    </a:lnTo>
                    <a:lnTo>
                      <a:pt x="4249" y="0"/>
                    </a:lnTo>
                    <a:lnTo>
                      <a:pt x="4681" y="748"/>
                    </a:lnTo>
                    <a:lnTo>
                      <a:pt x="7468" y="1574"/>
                    </a:lnTo>
                    <a:lnTo>
                      <a:pt x="7468" y="1574"/>
                    </a:lnTo>
                    <a:lnTo>
                      <a:pt x="4681" y="748"/>
                    </a:lnTo>
                    <a:lnTo>
                      <a:pt x="5860" y="2789"/>
                    </a:lnTo>
                    <a:lnTo>
                      <a:pt x="5859" y="2789"/>
                    </a:lnTo>
                    <a:lnTo>
                      <a:pt x="4681" y="748"/>
                    </a:lnTo>
                    <a:lnTo>
                      <a:pt x="3502" y="2790"/>
                    </a:lnTo>
                    <a:lnTo>
                      <a:pt x="3502" y="2789"/>
                    </a:lnTo>
                    <a:lnTo>
                      <a:pt x="4681" y="748"/>
                    </a:lnTo>
                    <a:lnTo>
                      <a:pt x="2324" y="748"/>
                    </a:lnTo>
                    <a:lnTo>
                      <a:pt x="3502" y="2789"/>
                    </a:lnTo>
                    <a:lnTo>
                      <a:pt x="3502" y="2789"/>
                    </a:lnTo>
                    <a:lnTo>
                      <a:pt x="2324" y="748"/>
                    </a:lnTo>
                    <a:lnTo>
                      <a:pt x="1065" y="1273"/>
                    </a:lnTo>
                    <a:lnTo>
                      <a:pt x="1065" y="1273"/>
                    </a:lnTo>
                    <a:lnTo>
                      <a:pt x="1065" y="1273"/>
                    </a:lnTo>
                    <a:lnTo>
                      <a:pt x="1065" y="1273"/>
                    </a:lnTo>
                    <a:lnTo>
                      <a:pt x="120" y="3894"/>
                    </a:lnTo>
                    <a:lnTo>
                      <a:pt x="2324" y="4831"/>
                    </a:lnTo>
                    <a:lnTo>
                      <a:pt x="2324" y="4831"/>
                    </a:lnTo>
                    <a:lnTo>
                      <a:pt x="120" y="3894"/>
                    </a:lnTo>
                    <a:lnTo>
                      <a:pt x="120" y="3894"/>
                    </a:lnTo>
                    <a:lnTo>
                      <a:pt x="1065" y="1273"/>
                    </a:lnTo>
                    <a:lnTo>
                      <a:pt x="0" y="1982"/>
                    </a:lnTo>
                    <a:lnTo>
                      <a:pt x="0" y="3795"/>
                    </a:lnTo>
                    <a:lnTo>
                      <a:pt x="120" y="3894"/>
                    </a:lnTo>
                    <a:lnTo>
                      <a:pt x="120" y="3894"/>
                    </a:lnTo>
                    <a:lnTo>
                      <a:pt x="270" y="4331"/>
                    </a:lnTo>
                    <a:lnTo>
                      <a:pt x="1145" y="6872"/>
                    </a:lnTo>
                    <a:lnTo>
                      <a:pt x="270" y="4331"/>
                    </a:lnTo>
                    <a:lnTo>
                      <a:pt x="1145" y="6872"/>
                    </a:lnTo>
                    <a:lnTo>
                      <a:pt x="2088" y="5239"/>
                    </a:lnTo>
                    <a:lnTo>
                      <a:pt x="1145" y="6872"/>
                    </a:lnTo>
                    <a:lnTo>
                      <a:pt x="1145" y="6872"/>
                    </a:lnTo>
                    <a:lnTo>
                      <a:pt x="1109" y="6907"/>
                    </a:lnTo>
                    <a:lnTo>
                      <a:pt x="0" y="7970"/>
                    </a:lnTo>
                    <a:lnTo>
                      <a:pt x="1109" y="6907"/>
                    </a:lnTo>
                    <a:lnTo>
                      <a:pt x="0" y="7970"/>
                    </a:lnTo>
                    <a:lnTo>
                      <a:pt x="0" y="8978"/>
                    </a:lnTo>
                    <a:lnTo>
                      <a:pt x="2324" y="8914"/>
                    </a:lnTo>
                    <a:lnTo>
                      <a:pt x="1145" y="6872"/>
                    </a:lnTo>
                    <a:lnTo>
                      <a:pt x="2324" y="8914"/>
                    </a:lnTo>
                    <a:lnTo>
                      <a:pt x="2324" y="8914"/>
                    </a:lnTo>
                    <a:lnTo>
                      <a:pt x="4116" y="9609"/>
                    </a:lnTo>
                    <a:lnTo>
                      <a:pt x="3114" y="8126"/>
                    </a:lnTo>
                    <a:lnTo>
                      <a:pt x="4116" y="9609"/>
                    </a:lnTo>
                    <a:lnTo>
                      <a:pt x="5860" y="10955"/>
                    </a:lnTo>
                    <a:lnTo>
                      <a:pt x="5859" y="10955"/>
                    </a:lnTo>
                    <a:lnTo>
                      <a:pt x="4116" y="9609"/>
                    </a:lnTo>
                    <a:lnTo>
                      <a:pt x="3502" y="10955"/>
                    </a:lnTo>
                    <a:lnTo>
                      <a:pt x="3502" y="10955"/>
                    </a:lnTo>
                    <a:lnTo>
                      <a:pt x="3502" y="10955"/>
                    </a:lnTo>
                    <a:lnTo>
                      <a:pt x="3502" y="10955"/>
                    </a:lnTo>
                    <a:lnTo>
                      <a:pt x="4116" y="9609"/>
                    </a:lnTo>
                    <a:lnTo>
                      <a:pt x="2324" y="8914"/>
                    </a:lnTo>
                    <a:lnTo>
                      <a:pt x="2324" y="8914"/>
                    </a:lnTo>
                    <a:lnTo>
                      <a:pt x="2324" y="8914"/>
                    </a:lnTo>
                    <a:lnTo>
                      <a:pt x="2324" y="8914"/>
                    </a:lnTo>
                    <a:lnTo>
                      <a:pt x="2324" y="8914"/>
                    </a:lnTo>
                    <a:lnTo>
                      <a:pt x="0" y="8978"/>
                    </a:lnTo>
                    <a:lnTo>
                      <a:pt x="0" y="11274"/>
                    </a:lnTo>
                    <a:lnTo>
                      <a:pt x="586" y="11428"/>
                    </a:lnTo>
                    <a:lnTo>
                      <a:pt x="1542" y="10045"/>
                    </a:lnTo>
                    <a:lnTo>
                      <a:pt x="586" y="11428"/>
                    </a:lnTo>
                    <a:lnTo>
                      <a:pt x="3502" y="10955"/>
                    </a:lnTo>
                    <a:lnTo>
                      <a:pt x="586" y="11428"/>
                    </a:lnTo>
                    <a:lnTo>
                      <a:pt x="750" y="12746"/>
                    </a:lnTo>
                    <a:lnTo>
                      <a:pt x="2324" y="12997"/>
                    </a:lnTo>
                    <a:lnTo>
                      <a:pt x="2324" y="12997"/>
                    </a:lnTo>
                    <a:lnTo>
                      <a:pt x="3564" y="14028"/>
                    </a:lnTo>
                    <a:lnTo>
                      <a:pt x="3502" y="10956"/>
                    </a:lnTo>
                    <a:lnTo>
                      <a:pt x="3564" y="14028"/>
                    </a:lnTo>
                    <a:lnTo>
                      <a:pt x="5860" y="10956"/>
                    </a:lnTo>
                    <a:lnTo>
                      <a:pt x="5860" y="10956"/>
                    </a:lnTo>
                    <a:lnTo>
                      <a:pt x="3564" y="14028"/>
                    </a:lnTo>
                    <a:lnTo>
                      <a:pt x="3564" y="14028"/>
                    </a:lnTo>
                    <a:lnTo>
                      <a:pt x="3564" y="14028"/>
                    </a:lnTo>
                    <a:lnTo>
                      <a:pt x="4943" y="15446"/>
                    </a:lnTo>
                    <a:moveTo>
                      <a:pt x="0" y="3795"/>
                    </a:moveTo>
                    <a:lnTo>
                      <a:pt x="120" y="3894"/>
                    </a:lnTo>
                    <a:lnTo>
                      <a:pt x="0" y="3795"/>
                    </a:lnTo>
                    <a:moveTo>
                      <a:pt x="0" y="1099"/>
                    </a:moveTo>
                    <a:lnTo>
                      <a:pt x="0" y="1982"/>
                    </a:lnTo>
                    <a:lnTo>
                      <a:pt x="1065" y="1273"/>
                    </a:lnTo>
                    <a:lnTo>
                      <a:pt x="901" y="1246"/>
                    </a:lnTo>
                    <a:lnTo>
                      <a:pt x="1065" y="1273"/>
                    </a:lnTo>
                    <a:lnTo>
                      <a:pt x="2324" y="748"/>
                    </a:lnTo>
                    <a:lnTo>
                      <a:pt x="0" y="916"/>
                    </a:lnTo>
                    <a:lnTo>
                      <a:pt x="0" y="1099"/>
                    </a:lnTo>
                    <a:moveTo>
                      <a:pt x="0" y="52"/>
                    </a:moveTo>
                    <a:lnTo>
                      <a:pt x="0" y="916"/>
                    </a:lnTo>
                    <a:lnTo>
                      <a:pt x="2324" y="748"/>
                    </a:lnTo>
                    <a:lnTo>
                      <a:pt x="4681" y="748"/>
                    </a:lnTo>
                    <a:lnTo>
                      <a:pt x="4249" y="0"/>
                    </a:lnTo>
                    <a:lnTo>
                      <a:pt x="1892" y="0"/>
                    </a:lnTo>
                    <a:lnTo>
                      <a:pt x="2324" y="748"/>
                    </a:lnTo>
                    <a:lnTo>
                      <a:pt x="2324" y="748"/>
                    </a:lnTo>
                    <a:lnTo>
                      <a:pt x="1892" y="0"/>
                    </a:lnTo>
                    <a:lnTo>
                      <a:pt x="45" y="0"/>
                    </a:lnTo>
                    <a:lnTo>
                      <a:pt x="0" y="52"/>
                    </a:lnTo>
                    <a:moveTo>
                      <a:pt x="0" y="0"/>
                    </a:moveTo>
                    <a:lnTo>
                      <a:pt x="0" y="52"/>
                    </a:lnTo>
                    <a:lnTo>
                      <a:pt x="44" y="0"/>
                    </a:lnTo>
                    <a:lnTo>
                      <a:pt x="0" y="0"/>
                    </a:lnTo>
                    <a:moveTo>
                      <a:pt x="3737" y="15446"/>
                    </a:moveTo>
                    <a:lnTo>
                      <a:pt x="3737" y="15446"/>
                    </a:lnTo>
                    <a:lnTo>
                      <a:pt x="3502" y="15039"/>
                    </a:lnTo>
                    <a:lnTo>
                      <a:pt x="3737" y="15446"/>
                    </a:lnTo>
                    <a:moveTo>
                      <a:pt x="1074" y="15446"/>
                    </a:moveTo>
                    <a:lnTo>
                      <a:pt x="1074" y="15446"/>
                    </a:lnTo>
                    <a:lnTo>
                      <a:pt x="800" y="15275"/>
                    </a:lnTo>
                    <a:lnTo>
                      <a:pt x="1074" y="15446"/>
                    </a:lnTo>
                    <a:moveTo>
                      <a:pt x="11037" y="13656"/>
                    </a:moveTo>
                    <a:lnTo>
                      <a:pt x="12931" y="10955"/>
                    </a:lnTo>
                    <a:lnTo>
                      <a:pt x="10777" y="9480"/>
                    </a:lnTo>
                    <a:lnTo>
                      <a:pt x="10433" y="11715"/>
                    </a:lnTo>
                    <a:lnTo>
                      <a:pt x="10433" y="11715"/>
                    </a:lnTo>
                    <a:lnTo>
                      <a:pt x="10433" y="11715"/>
                    </a:lnTo>
                    <a:lnTo>
                      <a:pt x="10777" y="9480"/>
                    </a:lnTo>
                    <a:lnTo>
                      <a:pt x="8413" y="8879"/>
                    </a:lnTo>
                    <a:lnTo>
                      <a:pt x="8413" y="8879"/>
                    </a:lnTo>
                    <a:lnTo>
                      <a:pt x="8413" y="8879"/>
                    </a:lnTo>
                    <a:lnTo>
                      <a:pt x="8413" y="8879"/>
                    </a:lnTo>
                    <a:lnTo>
                      <a:pt x="7038" y="8914"/>
                    </a:lnTo>
                    <a:lnTo>
                      <a:pt x="7038" y="8914"/>
                    </a:lnTo>
                    <a:lnTo>
                      <a:pt x="8413" y="8879"/>
                    </a:lnTo>
                    <a:lnTo>
                      <a:pt x="10777" y="9480"/>
                    </a:lnTo>
                    <a:lnTo>
                      <a:pt x="10777" y="9480"/>
                    </a:lnTo>
                    <a:lnTo>
                      <a:pt x="10777" y="9480"/>
                    </a:lnTo>
                    <a:lnTo>
                      <a:pt x="10777" y="9480"/>
                    </a:lnTo>
                    <a:lnTo>
                      <a:pt x="12931" y="10955"/>
                    </a:lnTo>
                    <a:lnTo>
                      <a:pt x="13871" y="11844"/>
                    </a:lnTo>
                    <a:lnTo>
                      <a:pt x="14110" y="8914"/>
                    </a:lnTo>
                    <a:lnTo>
                      <a:pt x="14110" y="8914"/>
                    </a:lnTo>
                    <a:lnTo>
                      <a:pt x="13871" y="11844"/>
                    </a:lnTo>
                    <a:lnTo>
                      <a:pt x="15446" y="11473"/>
                    </a:lnTo>
                    <a:lnTo>
                      <a:pt x="15446" y="11473"/>
                    </a:lnTo>
                    <a:lnTo>
                      <a:pt x="13871" y="11844"/>
                    </a:lnTo>
                    <a:lnTo>
                      <a:pt x="14069" y="12799"/>
                    </a:lnTo>
                    <a:lnTo>
                      <a:pt x="13871" y="11844"/>
                    </a:lnTo>
                    <a:lnTo>
                      <a:pt x="12931" y="10955"/>
                    </a:lnTo>
                    <a:lnTo>
                      <a:pt x="14110" y="12997"/>
                    </a:lnTo>
                    <a:lnTo>
                      <a:pt x="14110" y="12997"/>
                    </a:lnTo>
                    <a:lnTo>
                      <a:pt x="14110" y="12997"/>
                    </a:lnTo>
                    <a:lnTo>
                      <a:pt x="12931" y="10955"/>
                    </a:lnTo>
                    <a:lnTo>
                      <a:pt x="11037" y="13656"/>
                    </a:lnTo>
                    <a:moveTo>
                      <a:pt x="15446" y="12997"/>
                    </a:moveTo>
                    <a:lnTo>
                      <a:pt x="14110" y="12997"/>
                    </a:lnTo>
                    <a:lnTo>
                      <a:pt x="14110" y="12997"/>
                    </a:lnTo>
                    <a:lnTo>
                      <a:pt x="15446" y="12997"/>
                    </a:lnTo>
                    <a:lnTo>
                      <a:pt x="15446" y="12997"/>
                    </a:lnTo>
                    <a:moveTo>
                      <a:pt x="2324" y="12997"/>
                    </a:moveTo>
                    <a:lnTo>
                      <a:pt x="586" y="11428"/>
                    </a:lnTo>
                    <a:lnTo>
                      <a:pt x="2324" y="12997"/>
                    </a:lnTo>
                    <a:lnTo>
                      <a:pt x="2324" y="12997"/>
                    </a:lnTo>
                    <a:moveTo>
                      <a:pt x="750" y="12746"/>
                    </a:moveTo>
                    <a:lnTo>
                      <a:pt x="750" y="12746"/>
                    </a:lnTo>
                    <a:lnTo>
                      <a:pt x="750" y="12746"/>
                    </a:lnTo>
                    <a:lnTo>
                      <a:pt x="750" y="12746"/>
                    </a:lnTo>
                    <a:lnTo>
                      <a:pt x="750" y="12746"/>
                    </a:lnTo>
                    <a:moveTo>
                      <a:pt x="5936" y="12632"/>
                    </a:moveTo>
                    <a:lnTo>
                      <a:pt x="5935" y="12631"/>
                    </a:lnTo>
                    <a:lnTo>
                      <a:pt x="7357" y="11428"/>
                    </a:lnTo>
                    <a:lnTo>
                      <a:pt x="5860" y="10955"/>
                    </a:lnTo>
                    <a:lnTo>
                      <a:pt x="5860" y="10955"/>
                    </a:lnTo>
                    <a:lnTo>
                      <a:pt x="7357" y="11428"/>
                    </a:lnTo>
                    <a:lnTo>
                      <a:pt x="7093" y="9346"/>
                    </a:lnTo>
                    <a:lnTo>
                      <a:pt x="7357" y="11428"/>
                    </a:lnTo>
                    <a:lnTo>
                      <a:pt x="5936" y="12632"/>
                    </a:lnTo>
                    <a:moveTo>
                      <a:pt x="5935" y="12632"/>
                    </a:moveTo>
                    <a:lnTo>
                      <a:pt x="5927" y="12440"/>
                    </a:lnTo>
                    <a:lnTo>
                      <a:pt x="5935" y="12631"/>
                    </a:lnTo>
                    <a:moveTo>
                      <a:pt x="10777" y="9480"/>
                    </a:moveTo>
                    <a:lnTo>
                      <a:pt x="12931" y="6872"/>
                    </a:lnTo>
                    <a:lnTo>
                      <a:pt x="10574" y="6872"/>
                    </a:lnTo>
                    <a:lnTo>
                      <a:pt x="12931" y="6872"/>
                    </a:lnTo>
                    <a:lnTo>
                      <a:pt x="12818" y="6352"/>
                    </a:lnTo>
                    <a:lnTo>
                      <a:pt x="12931" y="6872"/>
                    </a:lnTo>
                    <a:lnTo>
                      <a:pt x="15446" y="7725"/>
                    </a:lnTo>
                    <a:lnTo>
                      <a:pt x="15446" y="7725"/>
                    </a:lnTo>
                    <a:lnTo>
                      <a:pt x="12931" y="6872"/>
                    </a:lnTo>
                    <a:lnTo>
                      <a:pt x="14110" y="8914"/>
                    </a:lnTo>
                    <a:lnTo>
                      <a:pt x="12931" y="6872"/>
                    </a:lnTo>
                    <a:lnTo>
                      <a:pt x="10777" y="9480"/>
                    </a:lnTo>
                    <a:lnTo>
                      <a:pt x="10777" y="9480"/>
                    </a:lnTo>
                    <a:moveTo>
                      <a:pt x="7038" y="8914"/>
                    </a:moveTo>
                    <a:lnTo>
                      <a:pt x="7038" y="8914"/>
                    </a:lnTo>
                    <a:lnTo>
                      <a:pt x="8217" y="6872"/>
                    </a:lnTo>
                    <a:lnTo>
                      <a:pt x="5860" y="6872"/>
                    </a:lnTo>
                    <a:lnTo>
                      <a:pt x="5860" y="6872"/>
                    </a:lnTo>
                    <a:lnTo>
                      <a:pt x="8217" y="6872"/>
                    </a:lnTo>
                    <a:lnTo>
                      <a:pt x="7366" y="5398"/>
                    </a:lnTo>
                    <a:lnTo>
                      <a:pt x="8217" y="6872"/>
                    </a:lnTo>
                    <a:lnTo>
                      <a:pt x="9050" y="6406"/>
                    </a:lnTo>
                    <a:lnTo>
                      <a:pt x="8217" y="6872"/>
                    </a:lnTo>
                    <a:lnTo>
                      <a:pt x="8217" y="6872"/>
                    </a:lnTo>
                    <a:lnTo>
                      <a:pt x="7038" y="8914"/>
                    </a:lnTo>
                    <a:moveTo>
                      <a:pt x="7038" y="8914"/>
                    </a:moveTo>
                    <a:lnTo>
                      <a:pt x="5868" y="6886"/>
                    </a:lnTo>
                    <a:lnTo>
                      <a:pt x="7038" y="8914"/>
                    </a:lnTo>
                    <a:lnTo>
                      <a:pt x="7038" y="8914"/>
                    </a:lnTo>
                    <a:moveTo>
                      <a:pt x="15446" y="8914"/>
                    </a:moveTo>
                    <a:lnTo>
                      <a:pt x="14110" y="8914"/>
                    </a:lnTo>
                    <a:lnTo>
                      <a:pt x="15446" y="8914"/>
                    </a:lnTo>
                    <a:lnTo>
                      <a:pt x="15446" y="8914"/>
                    </a:lnTo>
                    <a:moveTo>
                      <a:pt x="14110" y="8914"/>
                    </a:moveTo>
                    <a:lnTo>
                      <a:pt x="14110" y="8914"/>
                    </a:lnTo>
                    <a:lnTo>
                      <a:pt x="14874" y="8485"/>
                    </a:lnTo>
                    <a:lnTo>
                      <a:pt x="14110" y="8914"/>
                    </a:lnTo>
                    <a:moveTo>
                      <a:pt x="8413" y="8878"/>
                    </a:moveTo>
                    <a:lnTo>
                      <a:pt x="8217" y="6872"/>
                    </a:lnTo>
                    <a:lnTo>
                      <a:pt x="8217" y="6872"/>
                    </a:lnTo>
                    <a:lnTo>
                      <a:pt x="8413" y="8878"/>
                    </a:lnTo>
                    <a:lnTo>
                      <a:pt x="8413" y="8878"/>
                    </a:lnTo>
                    <a:moveTo>
                      <a:pt x="2557" y="7302"/>
                    </a:moveTo>
                    <a:lnTo>
                      <a:pt x="2557" y="7302"/>
                    </a:lnTo>
                    <a:lnTo>
                      <a:pt x="2557" y="7302"/>
                    </a:lnTo>
                    <a:lnTo>
                      <a:pt x="4159" y="4109"/>
                    </a:lnTo>
                    <a:lnTo>
                      <a:pt x="2324" y="4831"/>
                    </a:lnTo>
                    <a:lnTo>
                      <a:pt x="2324" y="4831"/>
                    </a:lnTo>
                    <a:lnTo>
                      <a:pt x="2324" y="4831"/>
                    </a:lnTo>
                    <a:lnTo>
                      <a:pt x="2324" y="4831"/>
                    </a:lnTo>
                    <a:lnTo>
                      <a:pt x="2324" y="4831"/>
                    </a:lnTo>
                    <a:lnTo>
                      <a:pt x="4159" y="4109"/>
                    </a:lnTo>
                    <a:lnTo>
                      <a:pt x="4159" y="4109"/>
                    </a:lnTo>
                    <a:lnTo>
                      <a:pt x="4159" y="4109"/>
                    </a:lnTo>
                    <a:lnTo>
                      <a:pt x="4159" y="4109"/>
                    </a:lnTo>
                    <a:lnTo>
                      <a:pt x="4159" y="4109"/>
                    </a:lnTo>
                    <a:lnTo>
                      <a:pt x="5860" y="6872"/>
                    </a:lnTo>
                    <a:lnTo>
                      <a:pt x="5859" y="6872"/>
                    </a:lnTo>
                    <a:lnTo>
                      <a:pt x="4159" y="4109"/>
                    </a:lnTo>
                    <a:lnTo>
                      <a:pt x="2557" y="7302"/>
                    </a:lnTo>
                    <a:lnTo>
                      <a:pt x="2557" y="7302"/>
                    </a:lnTo>
                    <a:moveTo>
                      <a:pt x="2557" y="7302"/>
                    </a:moveTo>
                    <a:lnTo>
                      <a:pt x="2324" y="4831"/>
                    </a:lnTo>
                    <a:lnTo>
                      <a:pt x="2324" y="4831"/>
                    </a:lnTo>
                    <a:lnTo>
                      <a:pt x="2557" y="7302"/>
                    </a:lnTo>
                    <a:moveTo>
                      <a:pt x="2909" y="7256"/>
                    </a:moveTo>
                    <a:lnTo>
                      <a:pt x="5860" y="6872"/>
                    </a:lnTo>
                    <a:lnTo>
                      <a:pt x="5860" y="6872"/>
                    </a:lnTo>
                    <a:lnTo>
                      <a:pt x="5860" y="6872"/>
                    </a:lnTo>
                    <a:lnTo>
                      <a:pt x="2909" y="7256"/>
                    </a:lnTo>
                    <a:moveTo>
                      <a:pt x="15446" y="7072"/>
                    </a:moveTo>
                    <a:lnTo>
                      <a:pt x="15229" y="6708"/>
                    </a:lnTo>
                    <a:lnTo>
                      <a:pt x="15446" y="7072"/>
                    </a:lnTo>
                    <a:lnTo>
                      <a:pt x="15446" y="7072"/>
                    </a:lnTo>
                    <a:moveTo>
                      <a:pt x="1145" y="6872"/>
                    </a:moveTo>
                    <a:lnTo>
                      <a:pt x="1145" y="6872"/>
                    </a:lnTo>
                    <a:moveTo>
                      <a:pt x="10574" y="6872"/>
                    </a:moveTo>
                    <a:lnTo>
                      <a:pt x="10574" y="6872"/>
                    </a:lnTo>
                    <a:lnTo>
                      <a:pt x="10574" y="6872"/>
                    </a:lnTo>
                    <a:lnTo>
                      <a:pt x="12458" y="5724"/>
                    </a:lnTo>
                    <a:lnTo>
                      <a:pt x="10574" y="6872"/>
                    </a:lnTo>
                    <a:moveTo>
                      <a:pt x="8217" y="6872"/>
                    </a:moveTo>
                    <a:lnTo>
                      <a:pt x="8217" y="6872"/>
                    </a:lnTo>
                    <a:lnTo>
                      <a:pt x="8217" y="6872"/>
                    </a:lnTo>
                    <a:lnTo>
                      <a:pt x="8217" y="6872"/>
                    </a:lnTo>
                    <a:moveTo>
                      <a:pt x="10574" y="6872"/>
                    </a:moveTo>
                    <a:lnTo>
                      <a:pt x="9445" y="6321"/>
                    </a:lnTo>
                    <a:lnTo>
                      <a:pt x="10574" y="6872"/>
                    </a:lnTo>
                    <a:lnTo>
                      <a:pt x="10574" y="6872"/>
                    </a:lnTo>
                    <a:moveTo>
                      <a:pt x="9316" y="6257"/>
                    </a:moveTo>
                    <a:lnTo>
                      <a:pt x="9316" y="6257"/>
                    </a:lnTo>
                    <a:lnTo>
                      <a:pt x="9316" y="6257"/>
                    </a:lnTo>
                    <a:lnTo>
                      <a:pt x="9316" y="6257"/>
                    </a:lnTo>
                    <a:lnTo>
                      <a:pt x="9316" y="6257"/>
                    </a:lnTo>
                    <a:lnTo>
                      <a:pt x="9316" y="6257"/>
                    </a:lnTo>
                    <a:lnTo>
                      <a:pt x="12655" y="5604"/>
                    </a:lnTo>
                    <a:lnTo>
                      <a:pt x="12655" y="5604"/>
                    </a:lnTo>
                    <a:lnTo>
                      <a:pt x="12655" y="5604"/>
                    </a:lnTo>
                    <a:lnTo>
                      <a:pt x="12655" y="5604"/>
                    </a:lnTo>
                    <a:lnTo>
                      <a:pt x="14110" y="4831"/>
                    </a:lnTo>
                    <a:lnTo>
                      <a:pt x="12655" y="5604"/>
                    </a:lnTo>
                    <a:lnTo>
                      <a:pt x="12655" y="5604"/>
                    </a:lnTo>
                    <a:lnTo>
                      <a:pt x="12655" y="5604"/>
                    </a:lnTo>
                    <a:lnTo>
                      <a:pt x="9316" y="6257"/>
                    </a:lnTo>
                    <a:moveTo>
                      <a:pt x="9316" y="6257"/>
                    </a:moveTo>
                    <a:lnTo>
                      <a:pt x="7038" y="4831"/>
                    </a:lnTo>
                    <a:lnTo>
                      <a:pt x="7038" y="4831"/>
                    </a:lnTo>
                    <a:lnTo>
                      <a:pt x="9316" y="6257"/>
                    </a:lnTo>
                    <a:lnTo>
                      <a:pt x="9316" y="6257"/>
                    </a:lnTo>
                    <a:moveTo>
                      <a:pt x="9316" y="6257"/>
                    </a:moveTo>
                    <a:lnTo>
                      <a:pt x="9316" y="3550"/>
                    </a:lnTo>
                    <a:lnTo>
                      <a:pt x="9316" y="6257"/>
                    </a:lnTo>
                    <a:moveTo>
                      <a:pt x="12655" y="5604"/>
                    </a:moveTo>
                    <a:lnTo>
                      <a:pt x="12655" y="5604"/>
                    </a:lnTo>
                    <a:lnTo>
                      <a:pt x="12201" y="3434"/>
                    </a:lnTo>
                    <a:lnTo>
                      <a:pt x="12655" y="5604"/>
                    </a:lnTo>
                    <a:moveTo>
                      <a:pt x="7038" y="4831"/>
                    </a:moveTo>
                    <a:lnTo>
                      <a:pt x="7038" y="4831"/>
                    </a:lnTo>
                    <a:lnTo>
                      <a:pt x="9316" y="3550"/>
                    </a:lnTo>
                    <a:lnTo>
                      <a:pt x="5859" y="2789"/>
                    </a:lnTo>
                    <a:lnTo>
                      <a:pt x="5860" y="2789"/>
                    </a:lnTo>
                    <a:lnTo>
                      <a:pt x="9316" y="3550"/>
                    </a:lnTo>
                    <a:lnTo>
                      <a:pt x="8410" y="2581"/>
                    </a:lnTo>
                    <a:lnTo>
                      <a:pt x="9316" y="3550"/>
                    </a:lnTo>
                    <a:lnTo>
                      <a:pt x="9319" y="3444"/>
                    </a:lnTo>
                    <a:lnTo>
                      <a:pt x="9316" y="3550"/>
                    </a:lnTo>
                    <a:lnTo>
                      <a:pt x="10574" y="2789"/>
                    </a:lnTo>
                    <a:lnTo>
                      <a:pt x="9316" y="3550"/>
                    </a:lnTo>
                    <a:lnTo>
                      <a:pt x="7038" y="4831"/>
                    </a:lnTo>
                    <a:moveTo>
                      <a:pt x="7038" y="4831"/>
                    </a:moveTo>
                    <a:lnTo>
                      <a:pt x="6499" y="3898"/>
                    </a:lnTo>
                    <a:lnTo>
                      <a:pt x="7038" y="4831"/>
                    </a:lnTo>
                    <a:moveTo>
                      <a:pt x="2324" y="4831"/>
                    </a:moveTo>
                    <a:lnTo>
                      <a:pt x="1405" y="2233"/>
                    </a:lnTo>
                    <a:lnTo>
                      <a:pt x="2324" y="4831"/>
                    </a:lnTo>
                    <a:lnTo>
                      <a:pt x="2324" y="4831"/>
                    </a:lnTo>
                    <a:moveTo>
                      <a:pt x="14110" y="4831"/>
                    </a:moveTo>
                    <a:lnTo>
                      <a:pt x="12201" y="3434"/>
                    </a:lnTo>
                    <a:lnTo>
                      <a:pt x="12066" y="2627"/>
                    </a:lnTo>
                    <a:lnTo>
                      <a:pt x="12201" y="3434"/>
                    </a:lnTo>
                    <a:lnTo>
                      <a:pt x="15446" y="2602"/>
                    </a:lnTo>
                    <a:lnTo>
                      <a:pt x="15446" y="2602"/>
                    </a:lnTo>
                    <a:lnTo>
                      <a:pt x="12201" y="3434"/>
                    </a:lnTo>
                    <a:lnTo>
                      <a:pt x="14110" y="4831"/>
                    </a:lnTo>
                    <a:moveTo>
                      <a:pt x="14110" y="4831"/>
                    </a:moveTo>
                    <a:lnTo>
                      <a:pt x="14110" y="4831"/>
                    </a:lnTo>
                    <a:lnTo>
                      <a:pt x="15358" y="3331"/>
                    </a:lnTo>
                    <a:lnTo>
                      <a:pt x="14110" y="4831"/>
                    </a:lnTo>
                    <a:moveTo>
                      <a:pt x="4159" y="4109"/>
                    </a:moveTo>
                    <a:lnTo>
                      <a:pt x="4159" y="4109"/>
                    </a:lnTo>
                    <a:lnTo>
                      <a:pt x="4603" y="3765"/>
                    </a:lnTo>
                    <a:lnTo>
                      <a:pt x="4159" y="4109"/>
                    </a:lnTo>
                    <a:moveTo>
                      <a:pt x="12201" y="3434"/>
                    </a:moveTo>
                    <a:lnTo>
                      <a:pt x="10574" y="2789"/>
                    </a:lnTo>
                    <a:lnTo>
                      <a:pt x="10574" y="2789"/>
                    </a:lnTo>
                    <a:lnTo>
                      <a:pt x="10574" y="2789"/>
                    </a:lnTo>
                    <a:lnTo>
                      <a:pt x="11753" y="748"/>
                    </a:lnTo>
                    <a:lnTo>
                      <a:pt x="9396" y="748"/>
                    </a:lnTo>
                    <a:lnTo>
                      <a:pt x="9396" y="748"/>
                    </a:lnTo>
                    <a:lnTo>
                      <a:pt x="11753" y="748"/>
                    </a:lnTo>
                    <a:lnTo>
                      <a:pt x="11753" y="748"/>
                    </a:lnTo>
                    <a:lnTo>
                      <a:pt x="11753" y="748"/>
                    </a:lnTo>
                    <a:lnTo>
                      <a:pt x="10574" y="2789"/>
                    </a:lnTo>
                    <a:lnTo>
                      <a:pt x="12201" y="3434"/>
                    </a:lnTo>
                    <a:moveTo>
                      <a:pt x="5859" y="2790"/>
                    </a:moveTo>
                    <a:lnTo>
                      <a:pt x="3502" y="2790"/>
                    </a:lnTo>
                    <a:lnTo>
                      <a:pt x="5860" y="2789"/>
                    </a:lnTo>
                    <a:lnTo>
                      <a:pt x="5859" y="2789"/>
                    </a:lnTo>
                    <a:lnTo>
                      <a:pt x="5859" y="2790"/>
                    </a:lnTo>
                    <a:moveTo>
                      <a:pt x="15446" y="1876"/>
                    </a:moveTo>
                    <a:lnTo>
                      <a:pt x="14110" y="748"/>
                    </a:lnTo>
                    <a:lnTo>
                      <a:pt x="15446" y="1876"/>
                    </a:lnTo>
                    <a:lnTo>
                      <a:pt x="15446" y="1876"/>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7" name="Freeform 306"/>
              <p:cNvSpPr>
                <a:spLocks/>
              </p:cNvSpPr>
              <p:nvPr/>
            </p:nvSpPr>
            <p:spPr bwMode="auto">
              <a:xfrm>
                <a:off x="-12625388" y="-3271838"/>
                <a:ext cx="811213" cy="671513"/>
              </a:xfrm>
              <a:custGeom>
                <a:avLst/>
                <a:gdLst>
                  <a:gd name="T0" fmla="*/ 0 w 511"/>
                  <a:gd name="T1" fmla="*/ 423 h 423"/>
                  <a:gd name="T2" fmla="*/ 0 w 511"/>
                  <a:gd name="T3" fmla="*/ 0 h 423"/>
                  <a:gd name="T4" fmla="*/ 433 w 511"/>
                  <a:gd name="T5" fmla="*/ 70 h 423"/>
                  <a:gd name="T6" fmla="*/ 511 w 511"/>
                  <a:gd name="T7" fmla="*/ 83 h 423"/>
                  <a:gd name="T8" fmla="*/ 0 w 511"/>
                  <a:gd name="T9" fmla="*/ 423 h 423"/>
                </a:gdLst>
                <a:ahLst/>
                <a:cxnLst>
                  <a:cxn ang="0">
                    <a:pos x="T0" y="T1"/>
                  </a:cxn>
                  <a:cxn ang="0">
                    <a:pos x="T2" y="T3"/>
                  </a:cxn>
                  <a:cxn ang="0">
                    <a:pos x="T4" y="T5"/>
                  </a:cxn>
                  <a:cxn ang="0">
                    <a:pos x="T6" y="T7"/>
                  </a:cxn>
                  <a:cxn ang="0">
                    <a:pos x="T8" y="T9"/>
                  </a:cxn>
                </a:cxnLst>
                <a:rect l="0" t="0" r="r" b="b"/>
                <a:pathLst>
                  <a:path w="511" h="423">
                    <a:moveTo>
                      <a:pt x="0" y="423"/>
                    </a:moveTo>
                    <a:lnTo>
                      <a:pt x="0" y="0"/>
                    </a:lnTo>
                    <a:lnTo>
                      <a:pt x="433" y="70"/>
                    </a:lnTo>
                    <a:lnTo>
                      <a:pt x="511" y="83"/>
                    </a:lnTo>
                    <a:lnTo>
                      <a:pt x="0" y="42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8" name="Freeform 307"/>
              <p:cNvSpPr>
                <a:spLocks/>
              </p:cNvSpPr>
              <p:nvPr/>
            </p:nvSpPr>
            <p:spPr bwMode="auto">
              <a:xfrm>
                <a:off x="-12625388" y="-4110038"/>
                <a:ext cx="33338" cy="39688"/>
              </a:xfrm>
              <a:custGeom>
                <a:avLst/>
                <a:gdLst>
                  <a:gd name="T0" fmla="*/ 0 w 21"/>
                  <a:gd name="T1" fmla="*/ 25 h 25"/>
                  <a:gd name="T2" fmla="*/ 0 w 21"/>
                  <a:gd name="T3" fmla="*/ 0 h 25"/>
                  <a:gd name="T4" fmla="*/ 21 w 21"/>
                  <a:gd name="T5" fmla="*/ 0 h 25"/>
                  <a:gd name="T6" fmla="*/ 0 w 21"/>
                  <a:gd name="T7" fmla="*/ 25 h 25"/>
                </a:gdLst>
                <a:ahLst/>
                <a:cxnLst>
                  <a:cxn ang="0">
                    <a:pos x="T0" y="T1"/>
                  </a:cxn>
                  <a:cxn ang="0">
                    <a:pos x="T2" y="T3"/>
                  </a:cxn>
                  <a:cxn ang="0">
                    <a:pos x="T4" y="T5"/>
                  </a:cxn>
                  <a:cxn ang="0">
                    <a:pos x="T6" y="T7"/>
                  </a:cxn>
                </a:cxnLst>
                <a:rect l="0" t="0" r="r" b="b"/>
                <a:pathLst>
                  <a:path w="21" h="25">
                    <a:moveTo>
                      <a:pt x="0" y="25"/>
                    </a:moveTo>
                    <a:lnTo>
                      <a:pt x="0" y="0"/>
                    </a:lnTo>
                    <a:lnTo>
                      <a:pt x="21" y="0"/>
                    </a:lnTo>
                    <a:lnTo>
                      <a:pt x="0" y="25"/>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9" name="Freeform 308"/>
              <p:cNvSpPr>
                <a:spLocks/>
              </p:cNvSpPr>
              <p:nvPr/>
            </p:nvSpPr>
            <p:spPr bwMode="auto">
              <a:xfrm>
                <a:off x="-12625388" y="-3540126"/>
                <a:ext cx="1771650" cy="400050"/>
              </a:xfrm>
              <a:custGeom>
                <a:avLst/>
                <a:gdLst>
                  <a:gd name="T0" fmla="*/ 511 w 1116"/>
                  <a:gd name="T1" fmla="*/ 252 h 252"/>
                  <a:gd name="T2" fmla="*/ 433 w 1116"/>
                  <a:gd name="T3" fmla="*/ 239 h 252"/>
                  <a:gd name="T4" fmla="*/ 0 w 1116"/>
                  <a:gd name="T5" fmla="*/ 169 h 252"/>
                  <a:gd name="T6" fmla="*/ 0 w 1116"/>
                  <a:gd name="T7" fmla="*/ 81 h 252"/>
                  <a:gd name="T8" fmla="*/ 1116 w 1116"/>
                  <a:gd name="T9" fmla="*/ 0 h 252"/>
                  <a:gd name="T10" fmla="*/ 511 w 1116"/>
                  <a:gd name="T11" fmla="*/ 252 h 252"/>
                </a:gdLst>
                <a:ahLst/>
                <a:cxnLst>
                  <a:cxn ang="0">
                    <a:pos x="T0" y="T1"/>
                  </a:cxn>
                  <a:cxn ang="0">
                    <a:pos x="T2" y="T3"/>
                  </a:cxn>
                  <a:cxn ang="0">
                    <a:pos x="T4" y="T5"/>
                  </a:cxn>
                  <a:cxn ang="0">
                    <a:pos x="T6" y="T7"/>
                  </a:cxn>
                  <a:cxn ang="0">
                    <a:pos x="T8" y="T9"/>
                  </a:cxn>
                  <a:cxn ang="0">
                    <a:pos x="T10" y="T11"/>
                  </a:cxn>
                </a:cxnLst>
                <a:rect l="0" t="0" r="r" b="b"/>
                <a:pathLst>
                  <a:path w="1116" h="252">
                    <a:moveTo>
                      <a:pt x="511" y="252"/>
                    </a:moveTo>
                    <a:lnTo>
                      <a:pt x="433" y="239"/>
                    </a:lnTo>
                    <a:lnTo>
                      <a:pt x="0" y="169"/>
                    </a:lnTo>
                    <a:lnTo>
                      <a:pt x="0" y="81"/>
                    </a:lnTo>
                    <a:lnTo>
                      <a:pt x="1116" y="0"/>
                    </a:lnTo>
                    <a:lnTo>
                      <a:pt x="511" y="25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0" name="Freeform 309"/>
              <p:cNvSpPr>
                <a:spLocks/>
              </p:cNvSpPr>
              <p:nvPr/>
            </p:nvSpPr>
            <p:spPr bwMode="auto">
              <a:xfrm>
                <a:off x="-12625388" y="-4110038"/>
                <a:ext cx="1771650" cy="698500"/>
              </a:xfrm>
              <a:custGeom>
                <a:avLst/>
                <a:gdLst>
                  <a:gd name="T0" fmla="*/ 0 w 1116"/>
                  <a:gd name="T1" fmla="*/ 440 h 440"/>
                  <a:gd name="T2" fmla="*/ 0 w 1116"/>
                  <a:gd name="T3" fmla="*/ 25 h 440"/>
                  <a:gd name="T4" fmla="*/ 22 w 1116"/>
                  <a:gd name="T5" fmla="*/ 0 h 440"/>
                  <a:gd name="T6" fmla="*/ 908 w 1116"/>
                  <a:gd name="T7" fmla="*/ 0 h 440"/>
                  <a:gd name="T8" fmla="*/ 1116 w 1116"/>
                  <a:gd name="T9" fmla="*/ 359 h 440"/>
                  <a:gd name="T10" fmla="*/ 1116 w 1116"/>
                  <a:gd name="T11" fmla="*/ 359 h 440"/>
                  <a:gd name="T12" fmla="*/ 1116 w 1116"/>
                  <a:gd name="T13" fmla="*/ 359 h 440"/>
                  <a:gd name="T14" fmla="*/ 0 w 1116"/>
                  <a:gd name="T15" fmla="*/ 440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6" h="440">
                    <a:moveTo>
                      <a:pt x="0" y="440"/>
                    </a:moveTo>
                    <a:lnTo>
                      <a:pt x="0" y="25"/>
                    </a:lnTo>
                    <a:lnTo>
                      <a:pt x="22" y="0"/>
                    </a:lnTo>
                    <a:lnTo>
                      <a:pt x="908" y="0"/>
                    </a:lnTo>
                    <a:lnTo>
                      <a:pt x="1116" y="359"/>
                    </a:lnTo>
                    <a:lnTo>
                      <a:pt x="1116" y="359"/>
                    </a:lnTo>
                    <a:lnTo>
                      <a:pt x="1116" y="359"/>
                    </a:lnTo>
                    <a:lnTo>
                      <a:pt x="0" y="440"/>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1" name="Freeform 310"/>
              <p:cNvSpPr>
                <a:spLocks noEditPoints="1"/>
              </p:cNvSpPr>
              <p:nvPr/>
            </p:nvSpPr>
            <p:spPr bwMode="auto">
              <a:xfrm>
                <a:off x="-10853738" y="-4110038"/>
                <a:ext cx="1795463" cy="569913"/>
              </a:xfrm>
              <a:custGeom>
                <a:avLst/>
                <a:gdLst>
                  <a:gd name="T0" fmla="*/ 2357 w 2357"/>
                  <a:gd name="T1" fmla="*/ 748 h 748"/>
                  <a:gd name="T2" fmla="*/ 0 w 2357"/>
                  <a:gd name="T3" fmla="*/ 748 h 748"/>
                  <a:gd name="T4" fmla="*/ 432 w 2357"/>
                  <a:gd name="T5" fmla="*/ 0 h 748"/>
                  <a:gd name="T6" fmla="*/ 1925 w 2357"/>
                  <a:gd name="T7" fmla="*/ 0 h 748"/>
                  <a:gd name="T8" fmla="*/ 2357 w 2357"/>
                  <a:gd name="T9" fmla="*/ 748 h 748"/>
                  <a:gd name="T10" fmla="*/ 0 w 2357"/>
                  <a:gd name="T11" fmla="*/ 748 h 748"/>
                  <a:gd name="T12" fmla="*/ 0 w 2357"/>
                  <a:gd name="T13" fmla="*/ 748 h 748"/>
                  <a:gd name="T14" fmla="*/ 0 w 2357"/>
                  <a:gd name="T15" fmla="*/ 748 h 748"/>
                  <a:gd name="T16" fmla="*/ 0 w 2357"/>
                  <a:gd name="T17" fmla="*/ 748 h 748"/>
                  <a:gd name="T18" fmla="*/ 0 w 2357"/>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7" h="748">
                    <a:moveTo>
                      <a:pt x="2357" y="748"/>
                    </a:moveTo>
                    <a:lnTo>
                      <a:pt x="0" y="748"/>
                    </a:lnTo>
                    <a:lnTo>
                      <a:pt x="432" y="0"/>
                    </a:lnTo>
                    <a:lnTo>
                      <a:pt x="1925" y="0"/>
                    </a:lnTo>
                    <a:lnTo>
                      <a:pt x="2357" y="748"/>
                    </a:lnTo>
                    <a:moveTo>
                      <a:pt x="0" y="748"/>
                    </a:moveTo>
                    <a:lnTo>
                      <a:pt x="0" y="748"/>
                    </a:lnTo>
                    <a:lnTo>
                      <a:pt x="0" y="748"/>
                    </a:lnTo>
                    <a:lnTo>
                      <a:pt x="0" y="748"/>
                    </a:lnTo>
                    <a:lnTo>
                      <a:pt x="0"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2" name="Freeform 311"/>
              <p:cNvSpPr>
                <a:spLocks/>
              </p:cNvSpPr>
              <p:nvPr/>
            </p:nvSpPr>
            <p:spPr bwMode="auto">
              <a:xfrm>
                <a:off x="-9386888" y="-4110038"/>
                <a:ext cx="865188" cy="569913"/>
              </a:xfrm>
              <a:custGeom>
                <a:avLst/>
                <a:gdLst>
                  <a:gd name="T0" fmla="*/ 207 w 545"/>
                  <a:gd name="T1" fmla="*/ 359 h 359"/>
                  <a:gd name="T2" fmla="*/ 0 w 545"/>
                  <a:gd name="T3" fmla="*/ 0 h 359"/>
                  <a:gd name="T4" fmla="*/ 545 w 545"/>
                  <a:gd name="T5" fmla="*/ 0 h 359"/>
                  <a:gd name="T6" fmla="*/ 207 w 545"/>
                  <a:gd name="T7" fmla="*/ 359 h 359"/>
                </a:gdLst>
                <a:ahLst/>
                <a:cxnLst>
                  <a:cxn ang="0">
                    <a:pos x="T0" y="T1"/>
                  </a:cxn>
                  <a:cxn ang="0">
                    <a:pos x="T2" y="T3"/>
                  </a:cxn>
                  <a:cxn ang="0">
                    <a:pos x="T4" y="T5"/>
                  </a:cxn>
                  <a:cxn ang="0">
                    <a:pos x="T6" y="T7"/>
                  </a:cxn>
                </a:cxnLst>
                <a:rect l="0" t="0" r="r" b="b"/>
                <a:pathLst>
                  <a:path w="545" h="359">
                    <a:moveTo>
                      <a:pt x="207" y="359"/>
                    </a:moveTo>
                    <a:lnTo>
                      <a:pt x="0" y="0"/>
                    </a:lnTo>
                    <a:lnTo>
                      <a:pt x="545" y="0"/>
                    </a:lnTo>
                    <a:lnTo>
                      <a:pt x="207"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3" name="Freeform 312"/>
              <p:cNvSpPr>
                <a:spLocks/>
              </p:cNvSpPr>
              <p:nvPr/>
            </p:nvSpPr>
            <p:spPr bwMode="auto">
              <a:xfrm>
                <a:off x="-11183938" y="-4110038"/>
                <a:ext cx="658813" cy="569913"/>
              </a:xfrm>
              <a:custGeom>
                <a:avLst/>
                <a:gdLst>
                  <a:gd name="T0" fmla="*/ 208 w 415"/>
                  <a:gd name="T1" fmla="*/ 359 h 359"/>
                  <a:gd name="T2" fmla="*/ 0 w 415"/>
                  <a:gd name="T3" fmla="*/ 0 h 359"/>
                  <a:gd name="T4" fmla="*/ 415 w 415"/>
                  <a:gd name="T5" fmla="*/ 0 h 359"/>
                  <a:gd name="T6" fmla="*/ 208 w 415"/>
                  <a:gd name="T7" fmla="*/ 359 h 359"/>
                </a:gdLst>
                <a:ahLst/>
                <a:cxnLst>
                  <a:cxn ang="0">
                    <a:pos x="T0" y="T1"/>
                  </a:cxn>
                  <a:cxn ang="0">
                    <a:pos x="T2" y="T3"/>
                  </a:cxn>
                  <a:cxn ang="0">
                    <a:pos x="T4" y="T5"/>
                  </a:cxn>
                  <a:cxn ang="0">
                    <a:pos x="T6" y="T7"/>
                  </a:cxn>
                </a:cxnLst>
                <a:rect l="0" t="0" r="r" b="b"/>
                <a:pathLst>
                  <a:path w="415" h="359">
                    <a:moveTo>
                      <a:pt x="208" y="359"/>
                    </a:moveTo>
                    <a:lnTo>
                      <a:pt x="0" y="0"/>
                    </a:lnTo>
                    <a:lnTo>
                      <a:pt x="415" y="0"/>
                    </a:lnTo>
                    <a:lnTo>
                      <a:pt x="208"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4" name="Freeform 313"/>
              <p:cNvSpPr>
                <a:spLocks/>
              </p:cNvSpPr>
              <p:nvPr/>
            </p:nvSpPr>
            <p:spPr bwMode="auto">
              <a:xfrm>
                <a:off x="-10853738" y="-4110038"/>
                <a:ext cx="328613" cy="569913"/>
              </a:xfrm>
              <a:custGeom>
                <a:avLst/>
                <a:gdLst>
                  <a:gd name="T0" fmla="*/ 0 w 207"/>
                  <a:gd name="T1" fmla="*/ 359 h 359"/>
                  <a:gd name="T2" fmla="*/ 0 w 207"/>
                  <a:gd name="T3" fmla="*/ 359 h 359"/>
                  <a:gd name="T4" fmla="*/ 0 w 207"/>
                  <a:gd name="T5" fmla="*/ 359 h 359"/>
                  <a:gd name="T6" fmla="*/ 207 w 207"/>
                  <a:gd name="T7" fmla="*/ 0 h 359"/>
                  <a:gd name="T8" fmla="*/ 207 w 207"/>
                  <a:gd name="T9" fmla="*/ 0 h 359"/>
                  <a:gd name="T10" fmla="*/ 0 w 207"/>
                  <a:gd name="T11" fmla="*/ 359 h 359"/>
                </a:gdLst>
                <a:ahLst/>
                <a:cxnLst>
                  <a:cxn ang="0">
                    <a:pos x="T0" y="T1"/>
                  </a:cxn>
                  <a:cxn ang="0">
                    <a:pos x="T2" y="T3"/>
                  </a:cxn>
                  <a:cxn ang="0">
                    <a:pos x="T4" y="T5"/>
                  </a:cxn>
                  <a:cxn ang="0">
                    <a:pos x="T6" y="T7"/>
                  </a:cxn>
                  <a:cxn ang="0">
                    <a:pos x="T8" y="T9"/>
                  </a:cxn>
                  <a:cxn ang="0">
                    <a:pos x="T10" y="T11"/>
                  </a:cxn>
                </a:cxnLst>
                <a:rect l="0" t="0" r="r" b="b"/>
                <a:pathLst>
                  <a:path w="207" h="359">
                    <a:moveTo>
                      <a:pt x="0" y="359"/>
                    </a:moveTo>
                    <a:lnTo>
                      <a:pt x="0" y="359"/>
                    </a:lnTo>
                    <a:lnTo>
                      <a:pt x="0" y="359"/>
                    </a:lnTo>
                    <a:lnTo>
                      <a:pt x="207" y="0"/>
                    </a:lnTo>
                    <a:lnTo>
                      <a:pt x="207"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5" name="Freeform 314"/>
              <p:cNvSpPr>
                <a:spLocks noEditPoints="1"/>
              </p:cNvSpPr>
              <p:nvPr/>
            </p:nvSpPr>
            <p:spPr bwMode="auto">
              <a:xfrm>
                <a:off x="-12533313" y="-1143001"/>
                <a:ext cx="781050" cy="2268538"/>
              </a:xfrm>
              <a:custGeom>
                <a:avLst/>
                <a:gdLst>
                  <a:gd name="T0" fmla="*/ 1025 w 1025"/>
                  <a:gd name="T1" fmla="*/ 2978 h 2978"/>
                  <a:gd name="T2" fmla="*/ 150 w 1025"/>
                  <a:gd name="T3" fmla="*/ 437 h 2978"/>
                  <a:gd name="T4" fmla="*/ 1025 w 1025"/>
                  <a:gd name="T5" fmla="*/ 2978 h 2978"/>
                  <a:gd name="T6" fmla="*/ 0 w 1025"/>
                  <a:gd name="T7" fmla="*/ 0 h 2978"/>
                  <a:gd name="T8" fmla="*/ 0 w 1025"/>
                  <a:gd name="T9" fmla="*/ 0 h 2978"/>
                </a:gdLst>
                <a:ahLst/>
                <a:cxnLst>
                  <a:cxn ang="0">
                    <a:pos x="T0" y="T1"/>
                  </a:cxn>
                  <a:cxn ang="0">
                    <a:pos x="T2" y="T3"/>
                  </a:cxn>
                  <a:cxn ang="0">
                    <a:pos x="T4" y="T5"/>
                  </a:cxn>
                  <a:cxn ang="0">
                    <a:pos x="T6" y="T7"/>
                  </a:cxn>
                  <a:cxn ang="0">
                    <a:pos x="T8" y="T9"/>
                  </a:cxn>
                </a:cxnLst>
                <a:rect l="0" t="0" r="r" b="b"/>
                <a:pathLst>
                  <a:path w="1025" h="2978">
                    <a:moveTo>
                      <a:pt x="1025" y="2978"/>
                    </a:moveTo>
                    <a:lnTo>
                      <a:pt x="150" y="437"/>
                    </a:lnTo>
                    <a:lnTo>
                      <a:pt x="1025" y="2978"/>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6" name="Freeform 315"/>
              <p:cNvSpPr>
                <a:spLocks/>
              </p:cNvSpPr>
              <p:nvPr/>
            </p:nvSpPr>
            <p:spPr bwMode="auto">
              <a:xfrm>
                <a:off x="-12625388" y="-3140076"/>
                <a:ext cx="811213" cy="1997075"/>
              </a:xfrm>
              <a:custGeom>
                <a:avLst/>
                <a:gdLst>
                  <a:gd name="T0" fmla="*/ 58 w 511"/>
                  <a:gd name="T1" fmla="*/ 1258 h 1258"/>
                  <a:gd name="T2" fmla="*/ 0 w 511"/>
                  <a:gd name="T3" fmla="*/ 1211 h 1258"/>
                  <a:gd name="T4" fmla="*/ 0 w 511"/>
                  <a:gd name="T5" fmla="*/ 340 h 1258"/>
                  <a:gd name="T6" fmla="*/ 511 w 511"/>
                  <a:gd name="T7" fmla="*/ 0 h 1258"/>
                  <a:gd name="T8" fmla="*/ 58 w 511"/>
                  <a:gd name="T9" fmla="*/ 1258 h 1258"/>
                </a:gdLst>
                <a:ahLst/>
                <a:cxnLst>
                  <a:cxn ang="0">
                    <a:pos x="T0" y="T1"/>
                  </a:cxn>
                  <a:cxn ang="0">
                    <a:pos x="T2" y="T3"/>
                  </a:cxn>
                  <a:cxn ang="0">
                    <a:pos x="T4" y="T5"/>
                  </a:cxn>
                  <a:cxn ang="0">
                    <a:pos x="T6" y="T7"/>
                  </a:cxn>
                  <a:cxn ang="0">
                    <a:pos x="T8" y="T9"/>
                  </a:cxn>
                </a:cxnLst>
                <a:rect l="0" t="0" r="r" b="b"/>
                <a:pathLst>
                  <a:path w="511" h="1258">
                    <a:moveTo>
                      <a:pt x="58" y="1258"/>
                    </a:moveTo>
                    <a:lnTo>
                      <a:pt x="0" y="1211"/>
                    </a:lnTo>
                    <a:lnTo>
                      <a:pt x="0" y="340"/>
                    </a:lnTo>
                    <a:lnTo>
                      <a:pt x="511" y="0"/>
                    </a:lnTo>
                    <a:lnTo>
                      <a:pt x="58" y="1258"/>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7" name="Line 316"/>
              <p:cNvSpPr>
                <a:spLocks noChangeShapeType="1"/>
              </p:cNvSpPr>
              <p:nvPr/>
            </p:nvSpPr>
            <p:spPr bwMode="auto">
              <a:xfrm>
                <a:off x="-12533313" y="-1143001"/>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8" name="Freeform 317"/>
              <p:cNvSpPr>
                <a:spLocks noEditPoints="1"/>
              </p:cNvSpPr>
              <p:nvPr/>
            </p:nvSpPr>
            <p:spPr bwMode="auto">
              <a:xfrm>
                <a:off x="-12533313" y="-1143001"/>
                <a:ext cx="1679575" cy="2268538"/>
              </a:xfrm>
              <a:custGeom>
                <a:avLst/>
                <a:gdLst>
                  <a:gd name="T0" fmla="*/ 1025 w 2204"/>
                  <a:gd name="T1" fmla="*/ 2978 h 2978"/>
                  <a:gd name="T2" fmla="*/ 150 w 2204"/>
                  <a:gd name="T3" fmla="*/ 437 h 2978"/>
                  <a:gd name="T4" fmla="*/ 0 w 2204"/>
                  <a:gd name="T5" fmla="*/ 0 h 2978"/>
                  <a:gd name="T6" fmla="*/ 2204 w 2204"/>
                  <a:gd name="T7" fmla="*/ 937 h 2978"/>
                  <a:gd name="T8" fmla="*/ 2204 w 2204"/>
                  <a:gd name="T9" fmla="*/ 937 h 2978"/>
                  <a:gd name="T10" fmla="*/ 2204 w 2204"/>
                  <a:gd name="T11" fmla="*/ 937 h 2978"/>
                  <a:gd name="T12" fmla="*/ 2204 w 2204"/>
                  <a:gd name="T13" fmla="*/ 937 h 2978"/>
                  <a:gd name="T14" fmla="*/ 2204 w 2204"/>
                  <a:gd name="T15" fmla="*/ 937 h 2978"/>
                  <a:gd name="T16" fmla="*/ 1968 w 2204"/>
                  <a:gd name="T17" fmla="*/ 1345 h 2978"/>
                  <a:gd name="T18" fmla="*/ 1025 w 2204"/>
                  <a:gd name="T19" fmla="*/ 2978 h 2978"/>
                  <a:gd name="T20" fmla="*/ 150 w 2204"/>
                  <a:gd name="T21" fmla="*/ 437 h 2978"/>
                  <a:gd name="T22" fmla="*/ 0 w 2204"/>
                  <a:gd name="T23" fmla="*/ 0 h 2978"/>
                  <a:gd name="T24" fmla="*/ 150 w 2204"/>
                  <a:gd name="T25" fmla="*/ 437 h 2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4" h="2978">
                    <a:moveTo>
                      <a:pt x="1025" y="2978"/>
                    </a:moveTo>
                    <a:lnTo>
                      <a:pt x="150" y="437"/>
                    </a:lnTo>
                    <a:lnTo>
                      <a:pt x="0" y="0"/>
                    </a:lnTo>
                    <a:lnTo>
                      <a:pt x="2204" y="937"/>
                    </a:lnTo>
                    <a:lnTo>
                      <a:pt x="2204" y="937"/>
                    </a:lnTo>
                    <a:lnTo>
                      <a:pt x="2204" y="937"/>
                    </a:lnTo>
                    <a:lnTo>
                      <a:pt x="2204" y="937"/>
                    </a:lnTo>
                    <a:lnTo>
                      <a:pt x="2204" y="937"/>
                    </a:lnTo>
                    <a:lnTo>
                      <a:pt x="1968" y="1345"/>
                    </a:lnTo>
                    <a:lnTo>
                      <a:pt x="1025" y="2978"/>
                    </a:lnTo>
                    <a:moveTo>
                      <a:pt x="150" y="437"/>
                    </a:moveTo>
                    <a:lnTo>
                      <a:pt x="0" y="0"/>
                    </a:lnTo>
                    <a:lnTo>
                      <a:pt x="150" y="437"/>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9" name="Freeform 318"/>
              <p:cNvSpPr>
                <a:spLocks/>
              </p:cNvSpPr>
              <p:nvPr/>
            </p:nvSpPr>
            <p:spPr bwMode="auto">
              <a:xfrm>
                <a:off x="-12533313" y="-1143001"/>
                <a:ext cx="114300" cy="333375"/>
              </a:xfrm>
              <a:custGeom>
                <a:avLst/>
                <a:gdLst>
                  <a:gd name="T0" fmla="*/ 72 w 72"/>
                  <a:gd name="T1" fmla="*/ 210 h 210"/>
                  <a:gd name="T2" fmla="*/ 72 w 72"/>
                  <a:gd name="T3" fmla="*/ 210 h 210"/>
                  <a:gd name="T4" fmla="*/ 0 w 72"/>
                  <a:gd name="T5" fmla="*/ 0 h 210"/>
                  <a:gd name="T6" fmla="*/ 0 w 72"/>
                  <a:gd name="T7" fmla="*/ 0 h 210"/>
                  <a:gd name="T8" fmla="*/ 72 w 72"/>
                  <a:gd name="T9" fmla="*/ 210 h 210"/>
                </a:gdLst>
                <a:ahLst/>
                <a:cxnLst>
                  <a:cxn ang="0">
                    <a:pos x="T0" y="T1"/>
                  </a:cxn>
                  <a:cxn ang="0">
                    <a:pos x="T2" y="T3"/>
                  </a:cxn>
                  <a:cxn ang="0">
                    <a:pos x="T4" y="T5"/>
                  </a:cxn>
                  <a:cxn ang="0">
                    <a:pos x="T6" y="T7"/>
                  </a:cxn>
                  <a:cxn ang="0">
                    <a:pos x="T8" y="T9"/>
                  </a:cxn>
                </a:cxnLst>
                <a:rect l="0" t="0" r="r" b="b"/>
                <a:pathLst>
                  <a:path w="72" h="210">
                    <a:moveTo>
                      <a:pt x="72" y="210"/>
                    </a:moveTo>
                    <a:lnTo>
                      <a:pt x="72" y="210"/>
                    </a:lnTo>
                    <a:lnTo>
                      <a:pt x="0" y="0"/>
                    </a:lnTo>
                    <a:lnTo>
                      <a:pt x="0" y="0"/>
                    </a:lnTo>
                    <a:lnTo>
                      <a:pt x="72" y="210"/>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0" name="Freeform 319"/>
              <p:cNvSpPr>
                <a:spLocks/>
              </p:cNvSpPr>
              <p:nvPr/>
            </p:nvSpPr>
            <p:spPr bwMode="auto">
              <a:xfrm>
                <a:off x="-12625388" y="-1217613"/>
                <a:ext cx="92075" cy="74613"/>
              </a:xfrm>
              <a:custGeom>
                <a:avLst/>
                <a:gdLst>
                  <a:gd name="T0" fmla="*/ 58 w 58"/>
                  <a:gd name="T1" fmla="*/ 47 h 47"/>
                  <a:gd name="T2" fmla="*/ 0 w 58"/>
                  <a:gd name="T3" fmla="*/ 0 h 47"/>
                  <a:gd name="T4" fmla="*/ 58 w 58"/>
                  <a:gd name="T5" fmla="*/ 47 h 47"/>
                </a:gdLst>
                <a:ahLst/>
                <a:cxnLst>
                  <a:cxn ang="0">
                    <a:pos x="T0" y="T1"/>
                  </a:cxn>
                  <a:cxn ang="0">
                    <a:pos x="T2" y="T3"/>
                  </a:cxn>
                  <a:cxn ang="0">
                    <a:pos x="T4" y="T5"/>
                  </a:cxn>
                </a:cxnLst>
                <a:rect l="0" t="0" r="r" b="b"/>
                <a:pathLst>
                  <a:path w="58" h="47">
                    <a:moveTo>
                      <a:pt x="58" y="47"/>
                    </a:moveTo>
                    <a:lnTo>
                      <a:pt x="0" y="0"/>
                    </a:lnTo>
                    <a:lnTo>
                      <a:pt x="58" y="4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1" name="Freeform 320"/>
              <p:cNvSpPr>
                <a:spLocks noEditPoints="1"/>
              </p:cNvSpPr>
              <p:nvPr/>
            </p:nvSpPr>
            <p:spPr bwMode="auto">
              <a:xfrm>
                <a:off x="-12533313" y="-3140076"/>
                <a:ext cx="1679575" cy="2711450"/>
              </a:xfrm>
              <a:custGeom>
                <a:avLst/>
                <a:gdLst>
                  <a:gd name="T0" fmla="*/ 2204 w 2204"/>
                  <a:gd name="T1" fmla="*/ 3558 h 3558"/>
                  <a:gd name="T2" fmla="*/ 0 w 2204"/>
                  <a:gd name="T3" fmla="*/ 2621 h 3558"/>
                  <a:gd name="T4" fmla="*/ 945 w 2204"/>
                  <a:gd name="T5" fmla="*/ 0 h 3558"/>
                  <a:gd name="T6" fmla="*/ 945 w 2204"/>
                  <a:gd name="T7" fmla="*/ 0 h 3558"/>
                  <a:gd name="T8" fmla="*/ 945 w 2204"/>
                  <a:gd name="T9" fmla="*/ 0 h 3558"/>
                  <a:gd name="T10" fmla="*/ 1285 w 2204"/>
                  <a:gd name="T11" fmla="*/ 960 h 3558"/>
                  <a:gd name="T12" fmla="*/ 2204 w 2204"/>
                  <a:gd name="T13" fmla="*/ 3558 h 3558"/>
                  <a:gd name="T14" fmla="*/ 2204 w 2204"/>
                  <a:gd name="T15" fmla="*/ 3558 h 3558"/>
                  <a:gd name="T16" fmla="*/ 2204 w 2204"/>
                  <a:gd name="T17" fmla="*/ 3558 h 3558"/>
                  <a:gd name="T18" fmla="*/ 2204 w 2204"/>
                  <a:gd name="T19" fmla="*/ 3558 h 3558"/>
                  <a:gd name="T20" fmla="*/ 945 w 2204"/>
                  <a:gd name="T21" fmla="*/ 0 h 3558"/>
                  <a:gd name="T22" fmla="*/ 945 w 2204"/>
                  <a:gd name="T23" fmla="*/ 0 h 3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4" h="3558">
                    <a:moveTo>
                      <a:pt x="2204" y="3558"/>
                    </a:moveTo>
                    <a:lnTo>
                      <a:pt x="0" y="2621"/>
                    </a:lnTo>
                    <a:lnTo>
                      <a:pt x="945" y="0"/>
                    </a:lnTo>
                    <a:lnTo>
                      <a:pt x="945" y="0"/>
                    </a:lnTo>
                    <a:lnTo>
                      <a:pt x="945" y="0"/>
                    </a:lnTo>
                    <a:lnTo>
                      <a:pt x="1285" y="960"/>
                    </a:lnTo>
                    <a:lnTo>
                      <a:pt x="2204" y="3558"/>
                    </a:lnTo>
                    <a:lnTo>
                      <a:pt x="2204" y="3558"/>
                    </a:lnTo>
                    <a:lnTo>
                      <a:pt x="2204" y="3558"/>
                    </a:lnTo>
                    <a:lnTo>
                      <a:pt x="2204" y="3558"/>
                    </a:lnTo>
                    <a:moveTo>
                      <a:pt x="945" y="0"/>
                    </a:moveTo>
                    <a:lnTo>
                      <a:pt x="945" y="0"/>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2" name="Rectangle 321"/>
              <p:cNvSpPr>
                <a:spLocks noChangeArrowheads="1"/>
              </p:cNvSpPr>
              <p:nvPr/>
            </p:nvSpPr>
            <p:spPr bwMode="auto">
              <a:xfrm>
                <a:off x="-10853738" y="-428626"/>
                <a:ext cx="1588" cy="1588"/>
              </a:xfrm>
              <a:prstGeom prst="rect">
                <a:avLst/>
              </a:prstGeom>
              <a:solidFill>
                <a:srgbClr val="518DB3"/>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3" name="Freeform 322"/>
              <p:cNvSpPr>
                <a:spLocks/>
              </p:cNvSpPr>
              <p:nvPr/>
            </p:nvSpPr>
            <p:spPr bwMode="auto">
              <a:xfrm>
                <a:off x="-10853738" y="-1984376"/>
                <a:ext cx="1397000" cy="1555750"/>
              </a:xfrm>
              <a:custGeom>
                <a:avLst/>
                <a:gdLst>
                  <a:gd name="T0" fmla="*/ 0 w 880"/>
                  <a:gd name="T1" fmla="*/ 980 h 980"/>
                  <a:gd name="T2" fmla="*/ 565 w 880"/>
                  <a:gd name="T3" fmla="*/ 0 h 980"/>
                  <a:gd name="T4" fmla="*/ 880 w 880"/>
                  <a:gd name="T5" fmla="*/ 633 h 980"/>
                  <a:gd name="T6" fmla="*/ 0 w 880"/>
                  <a:gd name="T7" fmla="*/ 980 h 980"/>
                </a:gdLst>
                <a:ahLst/>
                <a:cxnLst>
                  <a:cxn ang="0">
                    <a:pos x="T0" y="T1"/>
                  </a:cxn>
                  <a:cxn ang="0">
                    <a:pos x="T2" y="T3"/>
                  </a:cxn>
                  <a:cxn ang="0">
                    <a:pos x="T4" y="T5"/>
                  </a:cxn>
                  <a:cxn ang="0">
                    <a:pos x="T6" y="T7"/>
                  </a:cxn>
                </a:cxnLst>
                <a:rect l="0" t="0" r="r" b="b"/>
                <a:pathLst>
                  <a:path w="880" h="980">
                    <a:moveTo>
                      <a:pt x="0" y="980"/>
                    </a:moveTo>
                    <a:lnTo>
                      <a:pt x="565" y="0"/>
                    </a:lnTo>
                    <a:lnTo>
                      <a:pt x="880" y="633"/>
                    </a:lnTo>
                    <a:lnTo>
                      <a:pt x="0"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4" name="Freeform 323"/>
              <p:cNvSpPr>
                <a:spLocks/>
              </p:cNvSpPr>
              <p:nvPr/>
            </p:nvSpPr>
            <p:spPr bwMode="auto">
              <a:xfrm>
                <a:off x="-10853738" y="-3540126"/>
                <a:ext cx="1795463" cy="1555750"/>
              </a:xfrm>
              <a:custGeom>
                <a:avLst/>
                <a:gdLst>
                  <a:gd name="T0" fmla="*/ 565 w 1131"/>
                  <a:gd name="T1" fmla="*/ 980 h 980"/>
                  <a:gd name="T2" fmla="*/ 565 w 1131"/>
                  <a:gd name="T3" fmla="*/ 980 h 980"/>
                  <a:gd name="T4" fmla="*/ 0 w 1131"/>
                  <a:gd name="T5" fmla="*/ 0 h 980"/>
                  <a:gd name="T6" fmla="*/ 1131 w 1131"/>
                  <a:gd name="T7" fmla="*/ 0 h 980"/>
                  <a:gd name="T8" fmla="*/ 565 w 1131"/>
                  <a:gd name="T9" fmla="*/ 980 h 980"/>
                </a:gdLst>
                <a:ahLst/>
                <a:cxnLst>
                  <a:cxn ang="0">
                    <a:pos x="T0" y="T1"/>
                  </a:cxn>
                  <a:cxn ang="0">
                    <a:pos x="T2" y="T3"/>
                  </a:cxn>
                  <a:cxn ang="0">
                    <a:pos x="T4" y="T5"/>
                  </a:cxn>
                  <a:cxn ang="0">
                    <a:pos x="T6" y="T7"/>
                  </a:cxn>
                  <a:cxn ang="0">
                    <a:pos x="T8" y="T9"/>
                  </a:cxn>
                </a:cxnLst>
                <a:rect l="0" t="0" r="r" b="b"/>
                <a:pathLst>
                  <a:path w="1131" h="980">
                    <a:moveTo>
                      <a:pt x="565" y="980"/>
                    </a:moveTo>
                    <a:lnTo>
                      <a:pt x="565" y="980"/>
                    </a:lnTo>
                    <a:lnTo>
                      <a:pt x="0" y="0"/>
                    </a:lnTo>
                    <a:lnTo>
                      <a:pt x="1131" y="0"/>
                    </a:lnTo>
                    <a:lnTo>
                      <a:pt x="565"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5" name="Freeform 324"/>
              <p:cNvSpPr>
                <a:spLocks/>
              </p:cNvSpPr>
              <p:nvPr/>
            </p:nvSpPr>
            <p:spPr bwMode="auto">
              <a:xfrm>
                <a:off x="-9956800" y="-1984376"/>
                <a:ext cx="1797050" cy="1004888"/>
              </a:xfrm>
              <a:custGeom>
                <a:avLst/>
                <a:gdLst>
                  <a:gd name="T0" fmla="*/ 315 w 1132"/>
                  <a:gd name="T1" fmla="*/ 633 h 633"/>
                  <a:gd name="T2" fmla="*/ 315 w 1132"/>
                  <a:gd name="T3" fmla="*/ 633 h 633"/>
                  <a:gd name="T4" fmla="*/ 0 w 1132"/>
                  <a:gd name="T5" fmla="*/ 0 h 633"/>
                  <a:gd name="T6" fmla="*/ 0 w 1132"/>
                  <a:gd name="T7" fmla="*/ 0 h 633"/>
                  <a:gd name="T8" fmla="*/ 1132 w 1132"/>
                  <a:gd name="T9" fmla="*/ 0 h 633"/>
                  <a:gd name="T10" fmla="*/ 529 w 1132"/>
                  <a:gd name="T11" fmla="*/ 468 h 633"/>
                  <a:gd name="T12" fmla="*/ 315 w 1132"/>
                  <a:gd name="T13" fmla="*/ 633 h 633"/>
                  <a:gd name="T14" fmla="*/ 315 w 1132"/>
                  <a:gd name="T15" fmla="*/ 633 h 633"/>
                  <a:gd name="T16" fmla="*/ 315 w 1132"/>
                  <a:gd name="T17" fmla="*/ 633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2" h="633">
                    <a:moveTo>
                      <a:pt x="315" y="633"/>
                    </a:moveTo>
                    <a:lnTo>
                      <a:pt x="315" y="633"/>
                    </a:lnTo>
                    <a:lnTo>
                      <a:pt x="0" y="0"/>
                    </a:lnTo>
                    <a:lnTo>
                      <a:pt x="0" y="0"/>
                    </a:lnTo>
                    <a:lnTo>
                      <a:pt x="1132" y="0"/>
                    </a:lnTo>
                    <a:lnTo>
                      <a:pt x="529" y="468"/>
                    </a:lnTo>
                    <a:lnTo>
                      <a:pt x="315" y="633"/>
                    </a:lnTo>
                    <a:lnTo>
                      <a:pt x="315" y="633"/>
                    </a:lnTo>
                    <a:lnTo>
                      <a:pt x="315" y="633"/>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6" name="Freeform 325"/>
              <p:cNvSpPr>
                <a:spLocks/>
              </p:cNvSpPr>
              <p:nvPr/>
            </p:nvSpPr>
            <p:spPr bwMode="auto">
              <a:xfrm>
                <a:off x="-9956800" y="-1984376"/>
                <a:ext cx="500063" cy="1004888"/>
              </a:xfrm>
              <a:custGeom>
                <a:avLst/>
                <a:gdLst>
                  <a:gd name="T0" fmla="*/ 315 w 315"/>
                  <a:gd name="T1" fmla="*/ 633 h 633"/>
                  <a:gd name="T2" fmla="*/ 0 w 315"/>
                  <a:gd name="T3" fmla="*/ 0 h 633"/>
                  <a:gd name="T4" fmla="*/ 0 w 315"/>
                  <a:gd name="T5" fmla="*/ 0 h 633"/>
                  <a:gd name="T6" fmla="*/ 315 w 315"/>
                  <a:gd name="T7" fmla="*/ 633 h 633"/>
                </a:gdLst>
                <a:ahLst/>
                <a:cxnLst>
                  <a:cxn ang="0">
                    <a:pos x="T0" y="T1"/>
                  </a:cxn>
                  <a:cxn ang="0">
                    <a:pos x="T2" y="T3"/>
                  </a:cxn>
                  <a:cxn ang="0">
                    <a:pos x="T4" y="T5"/>
                  </a:cxn>
                  <a:cxn ang="0">
                    <a:pos x="T6" y="T7"/>
                  </a:cxn>
                </a:cxnLst>
                <a:rect l="0" t="0" r="r" b="b"/>
                <a:pathLst>
                  <a:path w="315" h="633">
                    <a:moveTo>
                      <a:pt x="315" y="633"/>
                    </a:moveTo>
                    <a:lnTo>
                      <a:pt x="0" y="0"/>
                    </a:lnTo>
                    <a:lnTo>
                      <a:pt x="0" y="0"/>
                    </a:lnTo>
                    <a:lnTo>
                      <a:pt x="315" y="63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7" name="Freeform 326"/>
              <p:cNvSpPr>
                <a:spLocks/>
              </p:cNvSpPr>
              <p:nvPr/>
            </p:nvSpPr>
            <p:spPr bwMode="auto">
              <a:xfrm>
                <a:off x="-11814175" y="-3540126"/>
                <a:ext cx="1857375" cy="1555750"/>
              </a:xfrm>
              <a:custGeom>
                <a:avLst/>
                <a:gdLst>
                  <a:gd name="T0" fmla="*/ 1170 w 1170"/>
                  <a:gd name="T1" fmla="*/ 980 h 980"/>
                  <a:gd name="T2" fmla="*/ 0 w 1170"/>
                  <a:gd name="T3" fmla="*/ 252 h 980"/>
                  <a:gd name="T4" fmla="*/ 605 w 1170"/>
                  <a:gd name="T5" fmla="*/ 0 h 980"/>
                  <a:gd name="T6" fmla="*/ 1170 w 1170"/>
                  <a:gd name="T7" fmla="*/ 980 h 980"/>
                </a:gdLst>
                <a:ahLst/>
                <a:cxnLst>
                  <a:cxn ang="0">
                    <a:pos x="T0" y="T1"/>
                  </a:cxn>
                  <a:cxn ang="0">
                    <a:pos x="T2" y="T3"/>
                  </a:cxn>
                  <a:cxn ang="0">
                    <a:pos x="T4" y="T5"/>
                  </a:cxn>
                  <a:cxn ang="0">
                    <a:pos x="T6" y="T7"/>
                  </a:cxn>
                </a:cxnLst>
                <a:rect l="0" t="0" r="r" b="b"/>
                <a:pathLst>
                  <a:path w="1170" h="980">
                    <a:moveTo>
                      <a:pt x="1170" y="980"/>
                    </a:moveTo>
                    <a:lnTo>
                      <a:pt x="0" y="252"/>
                    </a:lnTo>
                    <a:lnTo>
                      <a:pt x="605" y="0"/>
                    </a:lnTo>
                    <a:lnTo>
                      <a:pt x="1170"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8" name="Freeform 327"/>
              <p:cNvSpPr>
                <a:spLocks/>
              </p:cNvSpPr>
              <p:nvPr/>
            </p:nvSpPr>
            <p:spPr bwMode="auto">
              <a:xfrm>
                <a:off x="-9956800" y="-3540126"/>
                <a:ext cx="1797050" cy="1555750"/>
              </a:xfrm>
              <a:custGeom>
                <a:avLst/>
                <a:gdLst>
                  <a:gd name="T0" fmla="*/ 0 w 1132"/>
                  <a:gd name="T1" fmla="*/ 980 h 980"/>
                  <a:gd name="T2" fmla="*/ 0 w 1132"/>
                  <a:gd name="T3" fmla="*/ 980 h 980"/>
                  <a:gd name="T4" fmla="*/ 566 w 1132"/>
                  <a:gd name="T5" fmla="*/ 0 h 980"/>
                  <a:gd name="T6" fmla="*/ 1132 w 1132"/>
                  <a:gd name="T7" fmla="*/ 980 h 980"/>
                  <a:gd name="T8" fmla="*/ 1132 w 1132"/>
                  <a:gd name="T9" fmla="*/ 980 h 980"/>
                  <a:gd name="T10" fmla="*/ 1132 w 1132"/>
                  <a:gd name="T11" fmla="*/ 980 h 980"/>
                  <a:gd name="T12" fmla="*/ 1132 w 1132"/>
                  <a:gd name="T13" fmla="*/ 980 h 980"/>
                  <a:gd name="T14" fmla="*/ 0 w 1132"/>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980">
                    <a:moveTo>
                      <a:pt x="0" y="980"/>
                    </a:moveTo>
                    <a:lnTo>
                      <a:pt x="0" y="980"/>
                    </a:lnTo>
                    <a:lnTo>
                      <a:pt x="566" y="0"/>
                    </a:lnTo>
                    <a:lnTo>
                      <a:pt x="1132" y="980"/>
                    </a:lnTo>
                    <a:lnTo>
                      <a:pt x="1132" y="980"/>
                    </a:lnTo>
                    <a:lnTo>
                      <a:pt x="1132" y="980"/>
                    </a:lnTo>
                    <a:lnTo>
                      <a:pt x="1132" y="980"/>
                    </a:lnTo>
                    <a:lnTo>
                      <a:pt x="0" y="98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9" name="Freeform 328"/>
              <p:cNvSpPr>
                <a:spLocks/>
              </p:cNvSpPr>
              <p:nvPr/>
            </p:nvSpPr>
            <p:spPr bwMode="auto">
              <a:xfrm>
                <a:off x="-11814175" y="-3140076"/>
                <a:ext cx="1857375" cy="2711450"/>
              </a:xfrm>
              <a:custGeom>
                <a:avLst/>
                <a:gdLst>
                  <a:gd name="T0" fmla="*/ 605 w 1170"/>
                  <a:gd name="T1" fmla="*/ 1708 h 1708"/>
                  <a:gd name="T2" fmla="*/ 605 w 1170"/>
                  <a:gd name="T3" fmla="*/ 1708 h 1708"/>
                  <a:gd name="T4" fmla="*/ 605 w 1170"/>
                  <a:gd name="T5" fmla="*/ 1708 h 1708"/>
                  <a:gd name="T6" fmla="*/ 163 w 1170"/>
                  <a:gd name="T7" fmla="*/ 461 h 1708"/>
                  <a:gd name="T8" fmla="*/ 0 w 1170"/>
                  <a:gd name="T9" fmla="*/ 0 h 1708"/>
                  <a:gd name="T10" fmla="*/ 0 w 1170"/>
                  <a:gd name="T11" fmla="*/ 0 h 1708"/>
                  <a:gd name="T12" fmla="*/ 1170 w 1170"/>
                  <a:gd name="T13" fmla="*/ 728 h 1708"/>
                  <a:gd name="T14" fmla="*/ 1170 w 1170"/>
                  <a:gd name="T15" fmla="*/ 728 h 1708"/>
                  <a:gd name="T16" fmla="*/ 1170 w 1170"/>
                  <a:gd name="T17" fmla="*/ 728 h 1708"/>
                  <a:gd name="T18" fmla="*/ 1170 w 1170"/>
                  <a:gd name="T19" fmla="*/ 728 h 1708"/>
                  <a:gd name="T20" fmla="*/ 1170 w 1170"/>
                  <a:gd name="T21" fmla="*/ 728 h 1708"/>
                  <a:gd name="T22" fmla="*/ 1170 w 1170"/>
                  <a:gd name="T23" fmla="*/ 728 h 1708"/>
                  <a:gd name="T24" fmla="*/ 605 w 1170"/>
                  <a:gd name="T25" fmla="*/ 1708 h 1708"/>
                  <a:gd name="T26" fmla="*/ 605 w 1170"/>
                  <a:gd name="T27" fmla="*/ 1708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0" h="1708">
                    <a:moveTo>
                      <a:pt x="605" y="1708"/>
                    </a:moveTo>
                    <a:lnTo>
                      <a:pt x="605" y="1708"/>
                    </a:lnTo>
                    <a:lnTo>
                      <a:pt x="605" y="1708"/>
                    </a:lnTo>
                    <a:lnTo>
                      <a:pt x="163" y="461"/>
                    </a:lnTo>
                    <a:lnTo>
                      <a:pt x="0" y="0"/>
                    </a:lnTo>
                    <a:lnTo>
                      <a:pt x="0" y="0"/>
                    </a:lnTo>
                    <a:lnTo>
                      <a:pt x="1170" y="728"/>
                    </a:lnTo>
                    <a:lnTo>
                      <a:pt x="1170" y="728"/>
                    </a:lnTo>
                    <a:lnTo>
                      <a:pt x="1170" y="728"/>
                    </a:lnTo>
                    <a:lnTo>
                      <a:pt x="1170" y="728"/>
                    </a:lnTo>
                    <a:lnTo>
                      <a:pt x="1170" y="728"/>
                    </a:lnTo>
                    <a:lnTo>
                      <a:pt x="1170" y="728"/>
                    </a:lnTo>
                    <a:lnTo>
                      <a:pt x="605" y="1708"/>
                    </a:lnTo>
                    <a:lnTo>
                      <a:pt x="605" y="1708"/>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0" name="Freeform 329"/>
              <p:cNvSpPr>
                <a:spLocks/>
              </p:cNvSpPr>
              <p:nvPr/>
            </p:nvSpPr>
            <p:spPr bwMode="auto">
              <a:xfrm>
                <a:off x="-12625388" y="3949700"/>
                <a:ext cx="446088" cy="647700"/>
              </a:xfrm>
              <a:custGeom>
                <a:avLst/>
                <a:gdLst>
                  <a:gd name="T0" fmla="*/ 281 w 281"/>
                  <a:gd name="T1" fmla="*/ 408 h 408"/>
                  <a:gd name="T2" fmla="*/ 0 w 281"/>
                  <a:gd name="T3" fmla="*/ 334 h 408"/>
                  <a:gd name="T4" fmla="*/ 0 w 281"/>
                  <a:gd name="T5" fmla="*/ 0 h 408"/>
                  <a:gd name="T6" fmla="*/ 281 w 281"/>
                  <a:gd name="T7" fmla="*/ 408 h 408"/>
                </a:gdLst>
                <a:ahLst/>
                <a:cxnLst>
                  <a:cxn ang="0">
                    <a:pos x="T0" y="T1"/>
                  </a:cxn>
                  <a:cxn ang="0">
                    <a:pos x="T2" y="T3"/>
                  </a:cxn>
                  <a:cxn ang="0">
                    <a:pos x="T4" y="T5"/>
                  </a:cxn>
                  <a:cxn ang="0">
                    <a:pos x="T6" y="T7"/>
                  </a:cxn>
                </a:cxnLst>
                <a:rect l="0" t="0" r="r" b="b"/>
                <a:pathLst>
                  <a:path w="281" h="408">
                    <a:moveTo>
                      <a:pt x="281" y="408"/>
                    </a:moveTo>
                    <a:lnTo>
                      <a:pt x="0" y="334"/>
                    </a:lnTo>
                    <a:lnTo>
                      <a:pt x="0" y="0"/>
                    </a:lnTo>
                    <a:lnTo>
                      <a:pt x="281" y="408"/>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1" name="Freeform 330"/>
              <p:cNvSpPr>
                <a:spLocks/>
              </p:cNvSpPr>
              <p:nvPr/>
            </p:nvSpPr>
            <p:spPr bwMode="auto">
              <a:xfrm>
                <a:off x="-12625388" y="1152525"/>
                <a:ext cx="844550" cy="811213"/>
              </a:xfrm>
              <a:custGeom>
                <a:avLst/>
                <a:gdLst>
                  <a:gd name="T0" fmla="*/ 0 w 532"/>
                  <a:gd name="T1" fmla="*/ 511 h 511"/>
                  <a:gd name="T2" fmla="*/ 0 w 532"/>
                  <a:gd name="T3" fmla="*/ 511 h 511"/>
                  <a:gd name="T4" fmla="*/ 532 w 532"/>
                  <a:gd name="T5" fmla="*/ 0 h 511"/>
                  <a:gd name="T6" fmla="*/ 0 w 532"/>
                  <a:gd name="T7" fmla="*/ 511 h 511"/>
                </a:gdLst>
                <a:ahLst/>
                <a:cxnLst>
                  <a:cxn ang="0">
                    <a:pos x="T0" y="T1"/>
                  </a:cxn>
                  <a:cxn ang="0">
                    <a:pos x="T2" y="T3"/>
                  </a:cxn>
                  <a:cxn ang="0">
                    <a:pos x="T4" y="T5"/>
                  </a:cxn>
                  <a:cxn ang="0">
                    <a:pos x="T6" y="T7"/>
                  </a:cxn>
                </a:cxnLst>
                <a:rect l="0" t="0" r="r" b="b"/>
                <a:pathLst>
                  <a:path w="532" h="511">
                    <a:moveTo>
                      <a:pt x="0" y="511"/>
                    </a:moveTo>
                    <a:lnTo>
                      <a:pt x="0" y="511"/>
                    </a:lnTo>
                    <a:lnTo>
                      <a:pt x="532" y="0"/>
                    </a:lnTo>
                    <a:lnTo>
                      <a:pt x="0" y="51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2" name="Freeform 331"/>
              <p:cNvSpPr>
                <a:spLocks noEditPoints="1"/>
              </p:cNvSpPr>
              <p:nvPr/>
            </p:nvSpPr>
            <p:spPr bwMode="auto">
              <a:xfrm>
                <a:off x="-12625388" y="2682875"/>
                <a:ext cx="1771650" cy="1914525"/>
              </a:xfrm>
              <a:custGeom>
                <a:avLst/>
                <a:gdLst>
                  <a:gd name="T0" fmla="*/ 586 w 2324"/>
                  <a:gd name="T1" fmla="*/ 2514 h 2514"/>
                  <a:gd name="T2" fmla="*/ 586 w 2324"/>
                  <a:gd name="T3" fmla="*/ 2514 h 2514"/>
                  <a:gd name="T4" fmla="*/ 0 w 2324"/>
                  <a:gd name="T5" fmla="*/ 1664 h 2514"/>
                  <a:gd name="T6" fmla="*/ 0 w 2324"/>
                  <a:gd name="T7" fmla="*/ 64 h 2514"/>
                  <a:gd name="T8" fmla="*/ 2324 w 2324"/>
                  <a:gd name="T9" fmla="*/ 0 h 2514"/>
                  <a:gd name="T10" fmla="*/ 1542 w 2324"/>
                  <a:gd name="T11" fmla="*/ 1131 h 2514"/>
                  <a:gd name="T12" fmla="*/ 586 w 2324"/>
                  <a:gd name="T13" fmla="*/ 2514 h 2514"/>
                  <a:gd name="T14" fmla="*/ 2324 w 2324"/>
                  <a:gd name="T15" fmla="*/ 0 h 2514"/>
                  <a:gd name="T16" fmla="*/ 2324 w 2324"/>
                  <a:gd name="T17" fmla="*/ 0 h 2514"/>
                  <a:gd name="T18" fmla="*/ 2324 w 2324"/>
                  <a:gd name="T19"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4" h="2514">
                    <a:moveTo>
                      <a:pt x="586" y="2514"/>
                    </a:moveTo>
                    <a:lnTo>
                      <a:pt x="586" y="2514"/>
                    </a:lnTo>
                    <a:lnTo>
                      <a:pt x="0" y="1664"/>
                    </a:lnTo>
                    <a:lnTo>
                      <a:pt x="0" y="64"/>
                    </a:lnTo>
                    <a:lnTo>
                      <a:pt x="2324" y="0"/>
                    </a:lnTo>
                    <a:lnTo>
                      <a:pt x="1542" y="1131"/>
                    </a:lnTo>
                    <a:lnTo>
                      <a:pt x="586" y="2514"/>
                    </a:lnTo>
                    <a:moveTo>
                      <a:pt x="2324" y="0"/>
                    </a:moveTo>
                    <a:lnTo>
                      <a:pt x="2324" y="0"/>
                    </a:lnTo>
                    <a:lnTo>
                      <a:pt x="2324"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3" name="Freeform 332"/>
              <p:cNvSpPr>
                <a:spLocks/>
              </p:cNvSpPr>
              <p:nvPr/>
            </p:nvSpPr>
            <p:spPr bwMode="auto">
              <a:xfrm>
                <a:off x="-12625388" y="1125537"/>
                <a:ext cx="1771650" cy="1604963"/>
              </a:xfrm>
              <a:custGeom>
                <a:avLst/>
                <a:gdLst>
                  <a:gd name="T0" fmla="*/ 0 w 1116"/>
                  <a:gd name="T1" fmla="*/ 1011 h 1011"/>
                  <a:gd name="T2" fmla="*/ 0 w 1116"/>
                  <a:gd name="T3" fmla="*/ 528 h 1011"/>
                  <a:gd name="T4" fmla="*/ 532 w 1116"/>
                  <a:gd name="T5" fmla="*/ 17 h 1011"/>
                  <a:gd name="T6" fmla="*/ 550 w 1116"/>
                  <a:gd name="T7" fmla="*/ 0 h 1011"/>
                  <a:gd name="T8" fmla="*/ 532 w 1116"/>
                  <a:gd name="T9" fmla="*/ 17 h 1011"/>
                  <a:gd name="T10" fmla="*/ 550 w 1116"/>
                  <a:gd name="T11" fmla="*/ 0 h 1011"/>
                  <a:gd name="T12" fmla="*/ 550 w 1116"/>
                  <a:gd name="T13" fmla="*/ 0 h 1011"/>
                  <a:gd name="T14" fmla="*/ 550 w 1116"/>
                  <a:gd name="T15" fmla="*/ 0 h 1011"/>
                  <a:gd name="T16" fmla="*/ 1116 w 1116"/>
                  <a:gd name="T17" fmla="*/ 981 h 1011"/>
                  <a:gd name="T18" fmla="*/ 0 w 1116"/>
                  <a:gd name="T19" fmla="*/ 1011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6" h="1011">
                    <a:moveTo>
                      <a:pt x="0" y="1011"/>
                    </a:moveTo>
                    <a:lnTo>
                      <a:pt x="0" y="528"/>
                    </a:lnTo>
                    <a:lnTo>
                      <a:pt x="532" y="17"/>
                    </a:lnTo>
                    <a:lnTo>
                      <a:pt x="550" y="0"/>
                    </a:lnTo>
                    <a:lnTo>
                      <a:pt x="532" y="17"/>
                    </a:lnTo>
                    <a:lnTo>
                      <a:pt x="550" y="0"/>
                    </a:lnTo>
                    <a:lnTo>
                      <a:pt x="550" y="0"/>
                    </a:lnTo>
                    <a:lnTo>
                      <a:pt x="550" y="0"/>
                    </a:lnTo>
                    <a:lnTo>
                      <a:pt x="1116" y="981"/>
                    </a:lnTo>
                    <a:lnTo>
                      <a:pt x="0" y="101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4" name="Freeform 333"/>
              <p:cNvSpPr>
                <a:spLocks/>
              </p:cNvSpPr>
              <p:nvPr/>
            </p:nvSpPr>
            <p:spPr bwMode="auto">
              <a:xfrm>
                <a:off x="-11780838" y="1125537"/>
                <a:ext cx="28575" cy="26988"/>
              </a:xfrm>
              <a:custGeom>
                <a:avLst/>
                <a:gdLst>
                  <a:gd name="T0" fmla="*/ 0 w 18"/>
                  <a:gd name="T1" fmla="*/ 17 h 17"/>
                  <a:gd name="T2" fmla="*/ 0 w 18"/>
                  <a:gd name="T3" fmla="*/ 17 h 17"/>
                  <a:gd name="T4" fmla="*/ 18 w 18"/>
                  <a:gd name="T5" fmla="*/ 0 h 17"/>
                  <a:gd name="T6" fmla="*/ 0 w 18"/>
                  <a:gd name="T7" fmla="*/ 17 h 17"/>
                </a:gdLst>
                <a:ahLst/>
                <a:cxnLst>
                  <a:cxn ang="0">
                    <a:pos x="T0" y="T1"/>
                  </a:cxn>
                  <a:cxn ang="0">
                    <a:pos x="T2" y="T3"/>
                  </a:cxn>
                  <a:cxn ang="0">
                    <a:pos x="T4" y="T5"/>
                  </a:cxn>
                  <a:cxn ang="0">
                    <a:pos x="T6" y="T7"/>
                  </a:cxn>
                </a:cxnLst>
                <a:rect l="0" t="0" r="r" b="b"/>
                <a:pathLst>
                  <a:path w="18" h="17">
                    <a:moveTo>
                      <a:pt x="0" y="17"/>
                    </a:moveTo>
                    <a:lnTo>
                      <a:pt x="0" y="17"/>
                    </a:lnTo>
                    <a:lnTo>
                      <a:pt x="18" y="0"/>
                    </a:lnTo>
                    <a:lnTo>
                      <a:pt x="0" y="1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5" name="Freeform 334"/>
              <p:cNvSpPr>
                <a:spLocks noEditPoints="1"/>
              </p:cNvSpPr>
              <p:nvPr/>
            </p:nvSpPr>
            <p:spPr bwMode="auto">
              <a:xfrm>
                <a:off x="-10853738" y="1454150"/>
                <a:ext cx="1365250" cy="1757363"/>
              </a:xfrm>
              <a:custGeom>
                <a:avLst/>
                <a:gdLst>
                  <a:gd name="T0" fmla="*/ 1792 w 1792"/>
                  <a:gd name="T1" fmla="*/ 2307 h 2307"/>
                  <a:gd name="T2" fmla="*/ 0 w 1792"/>
                  <a:gd name="T3" fmla="*/ 1612 h 2307"/>
                  <a:gd name="T4" fmla="*/ 0 w 1792"/>
                  <a:gd name="T5" fmla="*/ 1612 h 2307"/>
                  <a:gd name="T6" fmla="*/ 0 w 1792"/>
                  <a:gd name="T7" fmla="*/ 1612 h 2307"/>
                  <a:gd name="T8" fmla="*/ 233 w 1792"/>
                  <a:gd name="T9" fmla="*/ 0 h 2307"/>
                  <a:gd name="T10" fmla="*/ 790 w 1792"/>
                  <a:gd name="T11" fmla="*/ 824 h 2307"/>
                  <a:gd name="T12" fmla="*/ 1792 w 1792"/>
                  <a:gd name="T13" fmla="*/ 2307 h 2307"/>
                  <a:gd name="T14" fmla="*/ 233 w 1792"/>
                  <a:gd name="T15" fmla="*/ 0 h 2307"/>
                  <a:gd name="T16" fmla="*/ 233 w 1792"/>
                  <a:gd name="T17" fmla="*/ 0 h 2307"/>
                  <a:gd name="T18" fmla="*/ 233 w 1792"/>
                  <a:gd name="T19" fmla="*/ 0 h 2307"/>
                  <a:gd name="T20" fmla="*/ 233 w 1792"/>
                  <a:gd name="T21" fmla="*/ 0 h 2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2" h="2307">
                    <a:moveTo>
                      <a:pt x="1792" y="2307"/>
                    </a:moveTo>
                    <a:lnTo>
                      <a:pt x="0" y="1612"/>
                    </a:lnTo>
                    <a:lnTo>
                      <a:pt x="0" y="1612"/>
                    </a:lnTo>
                    <a:lnTo>
                      <a:pt x="0" y="1612"/>
                    </a:lnTo>
                    <a:lnTo>
                      <a:pt x="233" y="0"/>
                    </a:lnTo>
                    <a:lnTo>
                      <a:pt x="790" y="824"/>
                    </a:lnTo>
                    <a:lnTo>
                      <a:pt x="1792" y="2307"/>
                    </a:lnTo>
                    <a:moveTo>
                      <a:pt x="233" y="0"/>
                    </a:moveTo>
                    <a:lnTo>
                      <a:pt x="233" y="0"/>
                    </a:lnTo>
                    <a:lnTo>
                      <a:pt x="233" y="0"/>
                    </a:lnTo>
                    <a:lnTo>
                      <a:pt x="233"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6" name="Freeform 335"/>
              <p:cNvSpPr>
                <a:spLocks/>
              </p:cNvSpPr>
              <p:nvPr/>
            </p:nvSpPr>
            <p:spPr bwMode="auto">
              <a:xfrm>
                <a:off x="-10853738" y="-979488"/>
                <a:ext cx="1397000" cy="2433638"/>
              </a:xfrm>
              <a:custGeom>
                <a:avLst/>
                <a:gdLst>
                  <a:gd name="T0" fmla="*/ 111 w 880"/>
                  <a:gd name="T1" fmla="*/ 1533 h 1533"/>
                  <a:gd name="T2" fmla="*/ 111 w 880"/>
                  <a:gd name="T3" fmla="*/ 1533 h 1533"/>
                  <a:gd name="T4" fmla="*/ 0 w 880"/>
                  <a:gd name="T5" fmla="*/ 347 h 1533"/>
                  <a:gd name="T6" fmla="*/ 0 w 880"/>
                  <a:gd name="T7" fmla="*/ 347 h 1533"/>
                  <a:gd name="T8" fmla="*/ 0 w 880"/>
                  <a:gd name="T9" fmla="*/ 347 h 1533"/>
                  <a:gd name="T10" fmla="*/ 880 w 880"/>
                  <a:gd name="T11" fmla="*/ 0 h 1533"/>
                  <a:gd name="T12" fmla="*/ 111 w 880"/>
                  <a:gd name="T13" fmla="*/ 1533 h 1533"/>
                </a:gdLst>
                <a:ahLst/>
                <a:cxnLst>
                  <a:cxn ang="0">
                    <a:pos x="T0" y="T1"/>
                  </a:cxn>
                  <a:cxn ang="0">
                    <a:pos x="T2" y="T3"/>
                  </a:cxn>
                  <a:cxn ang="0">
                    <a:pos x="T4" y="T5"/>
                  </a:cxn>
                  <a:cxn ang="0">
                    <a:pos x="T6" y="T7"/>
                  </a:cxn>
                  <a:cxn ang="0">
                    <a:pos x="T8" y="T9"/>
                  </a:cxn>
                  <a:cxn ang="0">
                    <a:pos x="T10" y="T11"/>
                  </a:cxn>
                  <a:cxn ang="0">
                    <a:pos x="T12" y="T13"/>
                  </a:cxn>
                </a:cxnLst>
                <a:rect l="0" t="0" r="r" b="b"/>
                <a:pathLst>
                  <a:path w="880" h="1533">
                    <a:moveTo>
                      <a:pt x="111" y="1533"/>
                    </a:moveTo>
                    <a:lnTo>
                      <a:pt x="111" y="1533"/>
                    </a:lnTo>
                    <a:lnTo>
                      <a:pt x="0" y="347"/>
                    </a:lnTo>
                    <a:lnTo>
                      <a:pt x="0" y="347"/>
                    </a:lnTo>
                    <a:lnTo>
                      <a:pt x="0" y="347"/>
                    </a:lnTo>
                    <a:lnTo>
                      <a:pt x="880" y="0"/>
                    </a:lnTo>
                    <a:lnTo>
                      <a:pt x="111" y="15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7" name="Freeform 336"/>
              <p:cNvSpPr>
                <a:spLocks/>
              </p:cNvSpPr>
              <p:nvPr/>
            </p:nvSpPr>
            <p:spPr bwMode="auto">
              <a:xfrm>
                <a:off x="-10677525" y="1125537"/>
                <a:ext cx="2517775" cy="2085975"/>
              </a:xfrm>
              <a:custGeom>
                <a:avLst/>
                <a:gdLst>
                  <a:gd name="T0" fmla="*/ 749 w 1586"/>
                  <a:gd name="T1" fmla="*/ 1314 h 1314"/>
                  <a:gd name="T2" fmla="*/ 268 w 1586"/>
                  <a:gd name="T3" fmla="*/ 602 h 1314"/>
                  <a:gd name="T4" fmla="*/ 0 w 1586"/>
                  <a:gd name="T5" fmla="*/ 207 h 1314"/>
                  <a:gd name="T6" fmla="*/ 0 w 1586"/>
                  <a:gd name="T7" fmla="*/ 207 h 1314"/>
                  <a:gd name="T8" fmla="*/ 0 w 1586"/>
                  <a:gd name="T9" fmla="*/ 207 h 1314"/>
                  <a:gd name="T10" fmla="*/ 0 w 1586"/>
                  <a:gd name="T11" fmla="*/ 207 h 1314"/>
                  <a:gd name="T12" fmla="*/ 169 w 1586"/>
                  <a:gd name="T13" fmla="*/ 185 h 1314"/>
                  <a:gd name="T14" fmla="*/ 1586 w 1586"/>
                  <a:gd name="T15" fmla="*/ 0 h 1314"/>
                  <a:gd name="T16" fmla="*/ 749 w 1586"/>
                  <a:gd name="T17" fmla="*/ 1314 h 1314"/>
                  <a:gd name="T18" fmla="*/ 749 w 1586"/>
                  <a:gd name="T19" fmla="*/ 1314 h 1314"/>
                  <a:gd name="T20" fmla="*/ 749 w 1586"/>
                  <a:gd name="T21" fmla="*/ 1314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6" h="1314">
                    <a:moveTo>
                      <a:pt x="749" y="1314"/>
                    </a:moveTo>
                    <a:lnTo>
                      <a:pt x="268" y="602"/>
                    </a:lnTo>
                    <a:lnTo>
                      <a:pt x="0" y="207"/>
                    </a:lnTo>
                    <a:lnTo>
                      <a:pt x="0" y="207"/>
                    </a:lnTo>
                    <a:lnTo>
                      <a:pt x="0" y="207"/>
                    </a:lnTo>
                    <a:lnTo>
                      <a:pt x="0" y="207"/>
                    </a:lnTo>
                    <a:lnTo>
                      <a:pt x="169" y="185"/>
                    </a:lnTo>
                    <a:lnTo>
                      <a:pt x="1586" y="0"/>
                    </a:lnTo>
                    <a:lnTo>
                      <a:pt x="749" y="1314"/>
                    </a:lnTo>
                    <a:lnTo>
                      <a:pt x="749" y="1314"/>
                    </a:lnTo>
                    <a:lnTo>
                      <a:pt x="749" y="1314"/>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8" name="Freeform 337"/>
              <p:cNvSpPr>
                <a:spLocks/>
              </p:cNvSpPr>
              <p:nvPr/>
            </p:nvSpPr>
            <p:spPr bwMode="auto">
              <a:xfrm>
                <a:off x="-10677525" y="1454150"/>
                <a:ext cx="425450" cy="627063"/>
              </a:xfrm>
              <a:custGeom>
                <a:avLst/>
                <a:gdLst>
                  <a:gd name="T0" fmla="*/ 268 w 268"/>
                  <a:gd name="T1" fmla="*/ 395 h 395"/>
                  <a:gd name="T2" fmla="*/ 0 w 268"/>
                  <a:gd name="T3" fmla="*/ 0 h 395"/>
                  <a:gd name="T4" fmla="*/ 0 w 268"/>
                  <a:gd name="T5" fmla="*/ 0 h 395"/>
                  <a:gd name="T6" fmla="*/ 268 w 268"/>
                  <a:gd name="T7" fmla="*/ 395 h 395"/>
                </a:gdLst>
                <a:ahLst/>
                <a:cxnLst>
                  <a:cxn ang="0">
                    <a:pos x="T0" y="T1"/>
                  </a:cxn>
                  <a:cxn ang="0">
                    <a:pos x="T2" y="T3"/>
                  </a:cxn>
                  <a:cxn ang="0">
                    <a:pos x="T4" y="T5"/>
                  </a:cxn>
                  <a:cxn ang="0">
                    <a:pos x="T6" y="T7"/>
                  </a:cxn>
                </a:cxnLst>
                <a:rect l="0" t="0" r="r" b="b"/>
                <a:pathLst>
                  <a:path w="268" h="395">
                    <a:moveTo>
                      <a:pt x="268" y="395"/>
                    </a:moveTo>
                    <a:lnTo>
                      <a:pt x="0" y="0"/>
                    </a:lnTo>
                    <a:lnTo>
                      <a:pt x="0" y="0"/>
                    </a:lnTo>
                    <a:lnTo>
                      <a:pt x="268" y="39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9" name="Freeform 338"/>
              <p:cNvSpPr>
                <a:spLocks/>
              </p:cNvSpPr>
              <p:nvPr/>
            </p:nvSpPr>
            <p:spPr bwMode="auto">
              <a:xfrm>
                <a:off x="-11752263" y="-428626"/>
                <a:ext cx="1074738" cy="1882775"/>
              </a:xfrm>
              <a:custGeom>
                <a:avLst/>
                <a:gdLst>
                  <a:gd name="T0" fmla="*/ 677 w 677"/>
                  <a:gd name="T1" fmla="*/ 1186 h 1186"/>
                  <a:gd name="T2" fmla="*/ 0 w 677"/>
                  <a:gd name="T3" fmla="*/ 979 h 1186"/>
                  <a:gd name="T4" fmla="*/ 452 w 677"/>
                  <a:gd name="T5" fmla="*/ 196 h 1186"/>
                  <a:gd name="T6" fmla="*/ 566 w 677"/>
                  <a:gd name="T7" fmla="*/ 0 h 1186"/>
                  <a:gd name="T8" fmla="*/ 677 w 677"/>
                  <a:gd name="T9" fmla="*/ 1186 h 1186"/>
                  <a:gd name="T10" fmla="*/ 677 w 677"/>
                  <a:gd name="T11" fmla="*/ 1186 h 1186"/>
                </a:gdLst>
                <a:ahLst/>
                <a:cxnLst>
                  <a:cxn ang="0">
                    <a:pos x="T0" y="T1"/>
                  </a:cxn>
                  <a:cxn ang="0">
                    <a:pos x="T2" y="T3"/>
                  </a:cxn>
                  <a:cxn ang="0">
                    <a:pos x="T4" y="T5"/>
                  </a:cxn>
                  <a:cxn ang="0">
                    <a:pos x="T6" y="T7"/>
                  </a:cxn>
                  <a:cxn ang="0">
                    <a:pos x="T8" y="T9"/>
                  </a:cxn>
                  <a:cxn ang="0">
                    <a:pos x="T10" y="T11"/>
                  </a:cxn>
                </a:cxnLst>
                <a:rect l="0" t="0" r="r" b="b"/>
                <a:pathLst>
                  <a:path w="677" h="1186">
                    <a:moveTo>
                      <a:pt x="677" y="1186"/>
                    </a:moveTo>
                    <a:lnTo>
                      <a:pt x="0" y="979"/>
                    </a:lnTo>
                    <a:lnTo>
                      <a:pt x="452" y="196"/>
                    </a:lnTo>
                    <a:lnTo>
                      <a:pt x="566" y="0"/>
                    </a:lnTo>
                    <a:lnTo>
                      <a:pt x="677" y="1186"/>
                    </a:lnTo>
                    <a:lnTo>
                      <a:pt x="677" y="118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0" name="Rectangle 339"/>
              <p:cNvSpPr>
                <a:spLocks noChangeArrowheads="1"/>
              </p:cNvSpPr>
              <p:nvPr/>
            </p:nvSpPr>
            <p:spPr bwMode="auto">
              <a:xfrm>
                <a:off x="-10677525" y="1454150"/>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1" name="Rectangle 340"/>
              <p:cNvSpPr>
                <a:spLocks noChangeArrowheads="1"/>
              </p:cNvSpPr>
              <p:nvPr/>
            </p:nvSpPr>
            <p:spPr bwMode="auto">
              <a:xfrm>
                <a:off x="-11752263" y="1125537"/>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2" name="Freeform 341"/>
              <p:cNvSpPr>
                <a:spLocks/>
              </p:cNvSpPr>
              <p:nvPr/>
            </p:nvSpPr>
            <p:spPr bwMode="auto">
              <a:xfrm>
                <a:off x="-10677525" y="-979488"/>
                <a:ext cx="2517775" cy="2433638"/>
              </a:xfrm>
              <a:custGeom>
                <a:avLst/>
                <a:gdLst>
                  <a:gd name="T0" fmla="*/ 0 w 1586"/>
                  <a:gd name="T1" fmla="*/ 1533 h 1533"/>
                  <a:gd name="T2" fmla="*/ 769 w 1586"/>
                  <a:gd name="T3" fmla="*/ 0 h 1533"/>
                  <a:gd name="T4" fmla="*/ 1586 w 1586"/>
                  <a:gd name="T5" fmla="*/ 1326 h 1533"/>
                  <a:gd name="T6" fmla="*/ 1586 w 1586"/>
                  <a:gd name="T7" fmla="*/ 1326 h 1533"/>
                  <a:gd name="T8" fmla="*/ 1586 w 1586"/>
                  <a:gd name="T9" fmla="*/ 1326 h 1533"/>
                  <a:gd name="T10" fmla="*/ 1586 w 1586"/>
                  <a:gd name="T11" fmla="*/ 1326 h 1533"/>
                  <a:gd name="T12" fmla="*/ 169 w 1586"/>
                  <a:gd name="T13" fmla="*/ 1511 h 1533"/>
                  <a:gd name="T14" fmla="*/ 0 w 1586"/>
                  <a:gd name="T15" fmla="*/ 1533 h 15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6" h="1533">
                    <a:moveTo>
                      <a:pt x="0" y="1533"/>
                    </a:moveTo>
                    <a:lnTo>
                      <a:pt x="769" y="0"/>
                    </a:lnTo>
                    <a:lnTo>
                      <a:pt x="1586" y="1326"/>
                    </a:lnTo>
                    <a:lnTo>
                      <a:pt x="1586" y="1326"/>
                    </a:lnTo>
                    <a:lnTo>
                      <a:pt x="1586" y="1326"/>
                    </a:lnTo>
                    <a:lnTo>
                      <a:pt x="1586" y="1326"/>
                    </a:lnTo>
                    <a:lnTo>
                      <a:pt x="169" y="1511"/>
                    </a:lnTo>
                    <a:lnTo>
                      <a:pt x="0" y="1533"/>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3" name="Freeform 342"/>
              <p:cNvSpPr>
                <a:spLocks noEditPoints="1"/>
              </p:cNvSpPr>
              <p:nvPr/>
            </p:nvSpPr>
            <p:spPr bwMode="auto">
              <a:xfrm>
                <a:off x="-11752263" y="1125537"/>
                <a:ext cx="1074738" cy="1557338"/>
              </a:xfrm>
              <a:custGeom>
                <a:avLst/>
                <a:gdLst>
                  <a:gd name="T0" fmla="*/ 1179 w 1412"/>
                  <a:gd name="T1" fmla="*/ 2042 h 2042"/>
                  <a:gd name="T2" fmla="*/ 0 w 1412"/>
                  <a:gd name="T3" fmla="*/ 0 h 2042"/>
                  <a:gd name="T4" fmla="*/ 1412 w 1412"/>
                  <a:gd name="T5" fmla="*/ 430 h 2042"/>
                  <a:gd name="T6" fmla="*/ 1179 w 1412"/>
                  <a:gd name="T7" fmla="*/ 2042 h 2042"/>
                  <a:gd name="T8" fmla="*/ 1412 w 1412"/>
                  <a:gd name="T9" fmla="*/ 430 h 2042"/>
                  <a:gd name="T10" fmla="*/ 1412 w 1412"/>
                  <a:gd name="T11" fmla="*/ 430 h 2042"/>
                  <a:gd name="T12" fmla="*/ 1412 w 1412"/>
                  <a:gd name="T13" fmla="*/ 430 h 2042"/>
                  <a:gd name="T14" fmla="*/ 1412 w 1412"/>
                  <a:gd name="T15" fmla="*/ 430 h 20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2042">
                    <a:moveTo>
                      <a:pt x="1179" y="2042"/>
                    </a:moveTo>
                    <a:lnTo>
                      <a:pt x="0" y="0"/>
                    </a:lnTo>
                    <a:lnTo>
                      <a:pt x="1412" y="430"/>
                    </a:lnTo>
                    <a:lnTo>
                      <a:pt x="1179" y="2042"/>
                    </a:lnTo>
                    <a:moveTo>
                      <a:pt x="1412" y="430"/>
                    </a:moveTo>
                    <a:lnTo>
                      <a:pt x="1412" y="430"/>
                    </a:lnTo>
                    <a:lnTo>
                      <a:pt x="1412" y="430"/>
                    </a:lnTo>
                    <a:lnTo>
                      <a:pt x="1412" y="430"/>
                    </a:lnTo>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4" name="Freeform 343"/>
              <p:cNvSpPr>
                <a:spLocks/>
              </p:cNvSpPr>
              <p:nvPr/>
            </p:nvSpPr>
            <p:spPr bwMode="auto">
              <a:xfrm>
                <a:off x="-10853738" y="1454150"/>
                <a:ext cx="176213" cy="1228725"/>
              </a:xfrm>
              <a:custGeom>
                <a:avLst/>
                <a:gdLst>
                  <a:gd name="T0" fmla="*/ 0 w 111"/>
                  <a:gd name="T1" fmla="*/ 774 h 774"/>
                  <a:gd name="T2" fmla="*/ 0 w 111"/>
                  <a:gd name="T3" fmla="*/ 774 h 774"/>
                  <a:gd name="T4" fmla="*/ 111 w 111"/>
                  <a:gd name="T5" fmla="*/ 0 h 774"/>
                  <a:gd name="T6" fmla="*/ 111 w 111"/>
                  <a:gd name="T7" fmla="*/ 0 h 774"/>
                  <a:gd name="T8" fmla="*/ 111 w 111"/>
                  <a:gd name="T9" fmla="*/ 0 h 774"/>
                  <a:gd name="T10" fmla="*/ 111 w 111"/>
                  <a:gd name="T11" fmla="*/ 0 h 774"/>
                  <a:gd name="T12" fmla="*/ 111 w 111"/>
                  <a:gd name="T13" fmla="*/ 0 h 774"/>
                  <a:gd name="T14" fmla="*/ 111 w 111"/>
                  <a:gd name="T15" fmla="*/ 0 h 774"/>
                  <a:gd name="T16" fmla="*/ 0 w 111"/>
                  <a:gd name="T17" fmla="*/ 77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74">
                    <a:moveTo>
                      <a:pt x="0" y="774"/>
                    </a:moveTo>
                    <a:lnTo>
                      <a:pt x="0" y="774"/>
                    </a:lnTo>
                    <a:lnTo>
                      <a:pt x="111" y="0"/>
                    </a:lnTo>
                    <a:lnTo>
                      <a:pt x="111" y="0"/>
                    </a:lnTo>
                    <a:lnTo>
                      <a:pt x="111" y="0"/>
                    </a:lnTo>
                    <a:lnTo>
                      <a:pt x="111" y="0"/>
                    </a:lnTo>
                    <a:lnTo>
                      <a:pt x="111" y="0"/>
                    </a:lnTo>
                    <a:lnTo>
                      <a:pt x="111" y="0"/>
                    </a:lnTo>
                    <a:lnTo>
                      <a:pt x="0" y="774"/>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5" name="Rectangle 344"/>
              <p:cNvSpPr>
                <a:spLocks noChangeArrowheads="1"/>
              </p:cNvSpPr>
              <p:nvPr/>
            </p:nvSpPr>
            <p:spPr bwMode="auto">
              <a:xfrm>
                <a:off x="-11752263" y="1125537"/>
                <a:ext cx="1588" cy="1588"/>
              </a:xfrm>
              <a:prstGeom prst="rect">
                <a:avLst/>
              </a:prstGeom>
              <a:solidFill>
                <a:srgbClr val="579ABA"/>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6" name="Rectangle 345"/>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7" name="Rectangle 346"/>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8" name="Freeform 347"/>
              <p:cNvSpPr>
                <a:spLocks/>
              </p:cNvSpPr>
              <p:nvPr/>
            </p:nvSpPr>
            <p:spPr bwMode="auto">
              <a:xfrm>
                <a:off x="-11752263" y="1125537"/>
                <a:ext cx="1074738" cy="328613"/>
              </a:xfrm>
              <a:custGeom>
                <a:avLst/>
                <a:gdLst>
                  <a:gd name="T0" fmla="*/ 677 w 677"/>
                  <a:gd name="T1" fmla="*/ 207 h 207"/>
                  <a:gd name="T2" fmla="*/ 0 w 677"/>
                  <a:gd name="T3" fmla="*/ 0 h 207"/>
                  <a:gd name="T4" fmla="*/ 0 w 677"/>
                  <a:gd name="T5" fmla="*/ 0 h 207"/>
                  <a:gd name="T6" fmla="*/ 0 w 677"/>
                  <a:gd name="T7" fmla="*/ 0 h 207"/>
                  <a:gd name="T8" fmla="*/ 677 w 677"/>
                  <a:gd name="T9" fmla="*/ 207 h 207"/>
                  <a:gd name="T10" fmla="*/ 677 w 677"/>
                  <a:gd name="T11" fmla="*/ 207 h 207"/>
                </a:gdLst>
                <a:ahLst/>
                <a:cxnLst>
                  <a:cxn ang="0">
                    <a:pos x="T0" y="T1"/>
                  </a:cxn>
                  <a:cxn ang="0">
                    <a:pos x="T2" y="T3"/>
                  </a:cxn>
                  <a:cxn ang="0">
                    <a:pos x="T4" y="T5"/>
                  </a:cxn>
                  <a:cxn ang="0">
                    <a:pos x="T6" y="T7"/>
                  </a:cxn>
                  <a:cxn ang="0">
                    <a:pos x="T8" y="T9"/>
                  </a:cxn>
                  <a:cxn ang="0">
                    <a:pos x="T10" y="T11"/>
                  </a:cxn>
                </a:cxnLst>
                <a:rect l="0" t="0" r="r" b="b"/>
                <a:pathLst>
                  <a:path w="677" h="207">
                    <a:moveTo>
                      <a:pt x="677" y="207"/>
                    </a:moveTo>
                    <a:lnTo>
                      <a:pt x="0" y="0"/>
                    </a:lnTo>
                    <a:lnTo>
                      <a:pt x="0" y="0"/>
                    </a:lnTo>
                    <a:lnTo>
                      <a:pt x="0" y="0"/>
                    </a:lnTo>
                    <a:lnTo>
                      <a:pt x="677" y="207"/>
                    </a:lnTo>
                    <a:lnTo>
                      <a:pt x="677" y="20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9" name="Rectangle 348"/>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0" name="Freeform 349"/>
              <p:cNvSpPr>
                <a:spLocks noEditPoints="1"/>
              </p:cNvSpPr>
              <p:nvPr/>
            </p:nvSpPr>
            <p:spPr bwMode="auto">
              <a:xfrm>
                <a:off x="-12625388" y="5602287"/>
                <a:ext cx="571500" cy="1801813"/>
              </a:xfrm>
              <a:custGeom>
                <a:avLst/>
                <a:gdLst>
                  <a:gd name="T0" fmla="*/ 0 w 750"/>
                  <a:gd name="T1" fmla="*/ 2365 h 2365"/>
                  <a:gd name="T2" fmla="*/ 0 w 750"/>
                  <a:gd name="T3" fmla="*/ 921 h 2365"/>
                  <a:gd name="T4" fmla="*/ 750 w 750"/>
                  <a:gd name="T5" fmla="*/ 0 h 2365"/>
                  <a:gd name="T6" fmla="*/ 371 w 750"/>
                  <a:gd name="T7" fmla="*/ 2264 h 2365"/>
                  <a:gd name="T8" fmla="*/ 0 w 750"/>
                  <a:gd name="T9" fmla="*/ 2365 h 2365"/>
                  <a:gd name="T10" fmla="*/ 0 w 750"/>
                  <a:gd name="T11" fmla="*/ 921 h 2365"/>
                  <a:gd name="T12" fmla="*/ 0 w 750"/>
                  <a:gd name="T13" fmla="*/ 921 h 2365"/>
                  <a:gd name="T14" fmla="*/ 750 w 750"/>
                  <a:gd name="T15" fmla="*/ 0 h 2365"/>
                  <a:gd name="T16" fmla="*/ 750 w 750"/>
                  <a:gd name="T17" fmla="*/ 0 h 2365"/>
                  <a:gd name="T18" fmla="*/ 750 w 750"/>
                  <a:gd name="T19" fmla="*/ 0 h 2365"/>
                  <a:gd name="T20" fmla="*/ 0 w 750"/>
                  <a:gd name="T21" fmla="*/ 921 h 2365"/>
                  <a:gd name="T22" fmla="*/ 750 w 750"/>
                  <a:gd name="T23" fmla="*/ 0 h 2365"/>
                  <a:gd name="T24" fmla="*/ 750 w 750"/>
                  <a:gd name="T25" fmla="*/ 0 h 2365"/>
                  <a:gd name="T26" fmla="*/ 750 w 750"/>
                  <a:gd name="T27" fmla="*/ 0 h 2365"/>
                  <a:gd name="T28" fmla="*/ 750 w 750"/>
                  <a:gd name="T29" fmla="*/ 0 h 2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0" h="2365">
                    <a:moveTo>
                      <a:pt x="0" y="2365"/>
                    </a:moveTo>
                    <a:lnTo>
                      <a:pt x="0" y="921"/>
                    </a:lnTo>
                    <a:lnTo>
                      <a:pt x="750" y="0"/>
                    </a:lnTo>
                    <a:lnTo>
                      <a:pt x="371" y="2264"/>
                    </a:lnTo>
                    <a:lnTo>
                      <a:pt x="0" y="2365"/>
                    </a:lnTo>
                    <a:moveTo>
                      <a:pt x="0" y="921"/>
                    </a:moveTo>
                    <a:lnTo>
                      <a:pt x="0" y="921"/>
                    </a:lnTo>
                    <a:lnTo>
                      <a:pt x="750" y="0"/>
                    </a:lnTo>
                    <a:lnTo>
                      <a:pt x="750" y="0"/>
                    </a:lnTo>
                    <a:lnTo>
                      <a:pt x="750" y="0"/>
                    </a:lnTo>
                    <a:lnTo>
                      <a:pt x="0" y="921"/>
                    </a:lnTo>
                    <a:moveTo>
                      <a:pt x="750" y="0"/>
                    </a:moveTo>
                    <a:lnTo>
                      <a:pt x="750" y="0"/>
                    </a:lnTo>
                    <a:lnTo>
                      <a:pt x="750" y="0"/>
                    </a:lnTo>
                    <a:lnTo>
                      <a:pt x="750" y="0"/>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1" name="Freeform 350"/>
              <p:cNvSpPr>
                <a:spLocks/>
              </p:cNvSpPr>
              <p:nvPr/>
            </p:nvSpPr>
            <p:spPr bwMode="auto">
              <a:xfrm>
                <a:off x="-12625388" y="4479925"/>
                <a:ext cx="571500" cy="1122363"/>
              </a:xfrm>
              <a:custGeom>
                <a:avLst/>
                <a:gdLst>
                  <a:gd name="T0" fmla="*/ 360 w 360"/>
                  <a:gd name="T1" fmla="*/ 707 h 707"/>
                  <a:gd name="T2" fmla="*/ 0 w 360"/>
                  <a:gd name="T3" fmla="*/ 379 h 707"/>
                  <a:gd name="T4" fmla="*/ 0 w 360"/>
                  <a:gd name="T5" fmla="*/ 0 h 707"/>
                  <a:gd name="T6" fmla="*/ 281 w 360"/>
                  <a:gd name="T7" fmla="*/ 74 h 707"/>
                  <a:gd name="T8" fmla="*/ 360 w 360"/>
                  <a:gd name="T9" fmla="*/ 707 h 707"/>
                </a:gdLst>
                <a:ahLst/>
                <a:cxnLst>
                  <a:cxn ang="0">
                    <a:pos x="T0" y="T1"/>
                  </a:cxn>
                  <a:cxn ang="0">
                    <a:pos x="T2" y="T3"/>
                  </a:cxn>
                  <a:cxn ang="0">
                    <a:pos x="T4" y="T5"/>
                  </a:cxn>
                  <a:cxn ang="0">
                    <a:pos x="T6" y="T7"/>
                  </a:cxn>
                  <a:cxn ang="0">
                    <a:pos x="T8" y="T9"/>
                  </a:cxn>
                </a:cxnLst>
                <a:rect l="0" t="0" r="r" b="b"/>
                <a:pathLst>
                  <a:path w="360" h="707">
                    <a:moveTo>
                      <a:pt x="360" y="707"/>
                    </a:moveTo>
                    <a:lnTo>
                      <a:pt x="0" y="379"/>
                    </a:lnTo>
                    <a:lnTo>
                      <a:pt x="0" y="0"/>
                    </a:lnTo>
                    <a:lnTo>
                      <a:pt x="281" y="74"/>
                    </a:lnTo>
                    <a:lnTo>
                      <a:pt x="360" y="707"/>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2" name="Freeform 351"/>
              <p:cNvSpPr>
                <a:spLocks noEditPoints="1"/>
              </p:cNvSpPr>
              <p:nvPr/>
            </p:nvSpPr>
            <p:spPr bwMode="auto">
              <a:xfrm>
                <a:off x="-12341225" y="5602287"/>
                <a:ext cx="1487488" cy="1725613"/>
              </a:xfrm>
              <a:custGeom>
                <a:avLst/>
                <a:gdLst>
                  <a:gd name="T0" fmla="*/ 0 w 1952"/>
                  <a:gd name="T1" fmla="*/ 2264 h 2264"/>
                  <a:gd name="T2" fmla="*/ 378 w 1952"/>
                  <a:gd name="T3" fmla="*/ 0 h 2264"/>
                  <a:gd name="T4" fmla="*/ 378 w 1952"/>
                  <a:gd name="T5" fmla="*/ 0 h 2264"/>
                  <a:gd name="T6" fmla="*/ 1952 w 1952"/>
                  <a:gd name="T7" fmla="*/ 251 h 2264"/>
                  <a:gd name="T8" fmla="*/ 1952 w 1952"/>
                  <a:gd name="T9" fmla="*/ 251 h 2264"/>
                  <a:gd name="T10" fmla="*/ 1952 w 1952"/>
                  <a:gd name="T11" fmla="*/ 251 h 2264"/>
                  <a:gd name="T12" fmla="*/ 1952 w 1952"/>
                  <a:gd name="T13" fmla="*/ 251 h 2264"/>
                  <a:gd name="T14" fmla="*/ 780 w 1952"/>
                  <a:gd name="T15" fmla="*/ 1459 h 2264"/>
                  <a:gd name="T16" fmla="*/ 0 w 1952"/>
                  <a:gd name="T17" fmla="*/ 2264 h 2264"/>
                  <a:gd name="T18" fmla="*/ 378 w 1952"/>
                  <a:gd name="T19" fmla="*/ 0 h 2264"/>
                  <a:gd name="T20" fmla="*/ 378 w 1952"/>
                  <a:gd name="T21" fmla="*/ 0 h 2264"/>
                  <a:gd name="T22" fmla="*/ 378 w 1952"/>
                  <a:gd name="T23" fmla="*/ 0 h 2264"/>
                  <a:gd name="T24" fmla="*/ 378 w 1952"/>
                  <a:gd name="T25" fmla="*/ 0 h 2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52" h="2264">
                    <a:moveTo>
                      <a:pt x="0" y="2264"/>
                    </a:moveTo>
                    <a:lnTo>
                      <a:pt x="378" y="0"/>
                    </a:lnTo>
                    <a:lnTo>
                      <a:pt x="378" y="0"/>
                    </a:lnTo>
                    <a:lnTo>
                      <a:pt x="1952" y="251"/>
                    </a:lnTo>
                    <a:lnTo>
                      <a:pt x="1952" y="251"/>
                    </a:lnTo>
                    <a:lnTo>
                      <a:pt x="1952" y="251"/>
                    </a:lnTo>
                    <a:lnTo>
                      <a:pt x="1952" y="251"/>
                    </a:lnTo>
                    <a:lnTo>
                      <a:pt x="780" y="1459"/>
                    </a:lnTo>
                    <a:lnTo>
                      <a:pt x="0" y="2264"/>
                    </a:lnTo>
                    <a:moveTo>
                      <a:pt x="378" y="0"/>
                    </a:moveTo>
                    <a:lnTo>
                      <a:pt x="378" y="0"/>
                    </a:lnTo>
                    <a:lnTo>
                      <a:pt x="378" y="0"/>
                    </a:lnTo>
                    <a:lnTo>
                      <a:pt x="378"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3" name="Freeform 352"/>
              <p:cNvSpPr>
                <a:spLocks noEditPoints="1"/>
              </p:cNvSpPr>
              <p:nvPr/>
            </p:nvSpPr>
            <p:spPr bwMode="auto">
              <a:xfrm>
                <a:off x="-12625388" y="5081587"/>
                <a:ext cx="571500" cy="520700"/>
              </a:xfrm>
              <a:custGeom>
                <a:avLst/>
                <a:gdLst>
                  <a:gd name="T0" fmla="*/ 750 w 750"/>
                  <a:gd name="T1" fmla="*/ 684 h 684"/>
                  <a:gd name="T2" fmla="*/ 750 w 750"/>
                  <a:gd name="T3" fmla="*/ 684 h 684"/>
                  <a:gd name="T4" fmla="*/ 750 w 750"/>
                  <a:gd name="T5" fmla="*/ 684 h 684"/>
                  <a:gd name="T6" fmla="*/ 750 w 750"/>
                  <a:gd name="T7" fmla="*/ 684 h 684"/>
                  <a:gd name="T8" fmla="*/ 750 w 750"/>
                  <a:gd name="T9" fmla="*/ 684 h 684"/>
                  <a:gd name="T10" fmla="*/ 0 w 750"/>
                  <a:gd name="T11" fmla="*/ 0 h 684"/>
                  <a:gd name="T12" fmla="*/ 750 w 750"/>
                  <a:gd name="T13" fmla="*/ 684 h 684"/>
                </a:gdLst>
                <a:ahLst/>
                <a:cxnLst>
                  <a:cxn ang="0">
                    <a:pos x="T0" y="T1"/>
                  </a:cxn>
                  <a:cxn ang="0">
                    <a:pos x="T2" y="T3"/>
                  </a:cxn>
                  <a:cxn ang="0">
                    <a:pos x="T4" y="T5"/>
                  </a:cxn>
                  <a:cxn ang="0">
                    <a:pos x="T6" y="T7"/>
                  </a:cxn>
                  <a:cxn ang="0">
                    <a:pos x="T8" y="T9"/>
                  </a:cxn>
                  <a:cxn ang="0">
                    <a:pos x="T10" y="T11"/>
                  </a:cxn>
                  <a:cxn ang="0">
                    <a:pos x="T12" y="T13"/>
                  </a:cxn>
                </a:cxnLst>
                <a:rect l="0" t="0" r="r" b="b"/>
                <a:pathLst>
                  <a:path w="750" h="684">
                    <a:moveTo>
                      <a:pt x="750" y="684"/>
                    </a:moveTo>
                    <a:lnTo>
                      <a:pt x="750" y="684"/>
                    </a:lnTo>
                    <a:lnTo>
                      <a:pt x="750" y="684"/>
                    </a:lnTo>
                    <a:lnTo>
                      <a:pt x="750" y="684"/>
                    </a:lnTo>
                    <a:moveTo>
                      <a:pt x="750" y="684"/>
                    </a:moveTo>
                    <a:lnTo>
                      <a:pt x="0" y="0"/>
                    </a:lnTo>
                    <a:lnTo>
                      <a:pt x="750" y="684"/>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4" name="Rectangle 353"/>
              <p:cNvSpPr>
                <a:spLocks noChangeArrowheads="1"/>
              </p:cNvSpPr>
              <p:nvPr/>
            </p:nvSpPr>
            <p:spPr bwMode="auto">
              <a:xfrm>
                <a:off x="-12053888" y="5602287"/>
                <a:ext cx="1588" cy="1588"/>
              </a:xfrm>
              <a:prstGeom prst="rect">
                <a:avLst/>
              </a:prstGeom>
              <a:solidFill>
                <a:srgbClr val="599DBC"/>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5" name="Line 354"/>
              <p:cNvSpPr>
                <a:spLocks noChangeShapeType="1"/>
              </p:cNvSpPr>
              <p:nvPr/>
            </p:nvSpPr>
            <p:spPr bwMode="auto">
              <a:xfrm>
                <a:off x="-12053888" y="56022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6" name="Freeform 355"/>
              <p:cNvSpPr>
                <a:spLocks/>
              </p:cNvSpPr>
              <p:nvPr/>
            </p:nvSpPr>
            <p:spPr bwMode="auto">
              <a:xfrm>
                <a:off x="-12179300" y="4597400"/>
                <a:ext cx="1325563" cy="1195388"/>
              </a:xfrm>
              <a:custGeom>
                <a:avLst/>
                <a:gdLst>
                  <a:gd name="T0" fmla="*/ 835 w 835"/>
                  <a:gd name="T1" fmla="*/ 753 h 753"/>
                  <a:gd name="T2" fmla="*/ 79 w 835"/>
                  <a:gd name="T3" fmla="*/ 633 h 753"/>
                  <a:gd name="T4" fmla="*/ 0 w 835"/>
                  <a:gd name="T5" fmla="*/ 0 h 753"/>
                  <a:gd name="T6" fmla="*/ 835 w 835"/>
                  <a:gd name="T7" fmla="*/ 753 h 753"/>
                  <a:gd name="T8" fmla="*/ 835 w 835"/>
                  <a:gd name="T9" fmla="*/ 753 h 753"/>
                </a:gdLst>
                <a:ahLst/>
                <a:cxnLst>
                  <a:cxn ang="0">
                    <a:pos x="T0" y="T1"/>
                  </a:cxn>
                  <a:cxn ang="0">
                    <a:pos x="T2" y="T3"/>
                  </a:cxn>
                  <a:cxn ang="0">
                    <a:pos x="T4" y="T5"/>
                  </a:cxn>
                  <a:cxn ang="0">
                    <a:pos x="T6" y="T7"/>
                  </a:cxn>
                  <a:cxn ang="0">
                    <a:pos x="T8" y="T9"/>
                  </a:cxn>
                </a:cxnLst>
                <a:rect l="0" t="0" r="r" b="b"/>
                <a:pathLst>
                  <a:path w="835" h="753">
                    <a:moveTo>
                      <a:pt x="835" y="753"/>
                    </a:moveTo>
                    <a:lnTo>
                      <a:pt x="79" y="633"/>
                    </a:lnTo>
                    <a:lnTo>
                      <a:pt x="0" y="0"/>
                    </a:lnTo>
                    <a:lnTo>
                      <a:pt x="835" y="753"/>
                    </a:lnTo>
                    <a:lnTo>
                      <a:pt x="835" y="753"/>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7" name="Freeform 356"/>
              <p:cNvSpPr>
                <a:spLocks/>
              </p:cNvSpPr>
              <p:nvPr/>
            </p:nvSpPr>
            <p:spPr bwMode="auto">
              <a:xfrm>
                <a:off x="-12625388" y="5602287"/>
                <a:ext cx="571500" cy="701675"/>
              </a:xfrm>
              <a:custGeom>
                <a:avLst/>
                <a:gdLst>
                  <a:gd name="T0" fmla="*/ 0 w 360"/>
                  <a:gd name="T1" fmla="*/ 442 h 442"/>
                  <a:gd name="T2" fmla="*/ 0 w 360"/>
                  <a:gd name="T3" fmla="*/ 442 h 442"/>
                  <a:gd name="T4" fmla="*/ 360 w 360"/>
                  <a:gd name="T5" fmla="*/ 0 h 442"/>
                  <a:gd name="T6" fmla="*/ 360 w 360"/>
                  <a:gd name="T7" fmla="*/ 0 h 442"/>
                  <a:gd name="T8" fmla="*/ 360 w 360"/>
                  <a:gd name="T9" fmla="*/ 0 h 442"/>
                  <a:gd name="T10" fmla="*/ 360 w 360"/>
                  <a:gd name="T11" fmla="*/ 0 h 442"/>
                  <a:gd name="T12" fmla="*/ 360 w 360"/>
                  <a:gd name="T13" fmla="*/ 0 h 442"/>
                  <a:gd name="T14" fmla="*/ 0 w 36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442">
                    <a:moveTo>
                      <a:pt x="0" y="442"/>
                    </a:moveTo>
                    <a:lnTo>
                      <a:pt x="0" y="442"/>
                    </a:lnTo>
                    <a:lnTo>
                      <a:pt x="360" y="0"/>
                    </a:lnTo>
                    <a:lnTo>
                      <a:pt x="360" y="0"/>
                    </a:lnTo>
                    <a:lnTo>
                      <a:pt x="360" y="0"/>
                    </a:lnTo>
                    <a:lnTo>
                      <a:pt x="360" y="0"/>
                    </a:lnTo>
                    <a:lnTo>
                      <a:pt x="360" y="0"/>
                    </a:lnTo>
                    <a:lnTo>
                      <a:pt x="0" y="4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8" name="Freeform 357"/>
              <p:cNvSpPr>
                <a:spLocks noEditPoints="1"/>
              </p:cNvSpPr>
              <p:nvPr/>
            </p:nvSpPr>
            <p:spPr bwMode="auto">
              <a:xfrm>
                <a:off x="-10853738" y="4237037"/>
                <a:ext cx="944563" cy="2341563"/>
              </a:xfrm>
              <a:custGeom>
                <a:avLst/>
                <a:gdLst>
                  <a:gd name="T0" fmla="*/ 1240 w 1240"/>
                  <a:gd name="T1" fmla="*/ 3073 h 3073"/>
                  <a:gd name="T2" fmla="*/ 0 w 1240"/>
                  <a:gd name="T3" fmla="*/ 2042 h 3073"/>
                  <a:gd name="T4" fmla="*/ 0 w 1240"/>
                  <a:gd name="T5" fmla="*/ 2042 h 3073"/>
                  <a:gd name="T6" fmla="*/ 0 w 1240"/>
                  <a:gd name="T7" fmla="*/ 2042 h 3073"/>
                  <a:gd name="T8" fmla="*/ 0 w 1240"/>
                  <a:gd name="T9" fmla="*/ 2042 h 3073"/>
                  <a:gd name="T10" fmla="*/ 1178 w 1240"/>
                  <a:gd name="T11" fmla="*/ 1 h 3073"/>
                  <a:gd name="T12" fmla="*/ 1240 w 1240"/>
                  <a:gd name="T13" fmla="*/ 3073 h 3073"/>
                  <a:gd name="T14" fmla="*/ 1178 w 1240"/>
                  <a:gd name="T15" fmla="*/ 0 h 3073"/>
                  <a:gd name="T16" fmla="*/ 1178 w 1240"/>
                  <a:gd name="T17" fmla="*/ 0 h 3073"/>
                  <a:gd name="T18" fmla="*/ 1178 w 1240"/>
                  <a:gd name="T19" fmla="*/ 0 h 3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0" h="3073">
                    <a:moveTo>
                      <a:pt x="1240" y="3073"/>
                    </a:moveTo>
                    <a:lnTo>
                      <a:pt x="0" y="2042"/>
                    </a:lnTo>
                    <a:lnTo>
                      <a:pt x="0" y="2042"/>
                    </a:lnTo>
                    <a:lnTo>
                      <a:pt x="0" y="2042"/>
                    </a:lnTo>
                    <a:lnTo>
                      <a:pt x="0" y="2042"/>
                    </a:lnTo>
                    <a:lnTo>
                      <a:pt x="1178" y="1"/>
                    </a:lnTo>
                    <a:lnTo>
                      <a:pt x="1240" y="3073"/>
                    </a:lnTo>
                    <a:moveTo>
                      <a:pt x="1178" y="0"/>
                    </a:moveTo>
                    <a:lnTo>
                      <a:pt x="1178" y="0"/>
                    </a:lnTo>
                    <a:lnTo>
                      <a:pt x="1178" y="0"/>
                    </a:lnTo>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9" name="Rectangle 358"/>
              <p:cNvSpPr>
                <a:spLocks noChangeArrowheads="1"/>
              </p:cNvSpPr>
              <p:nvPr/>
            </p:nvSpPr>
            <p:spPr bwMode="auto">
              <a:xfrm>
                <a:off x="-10853738" y="5792787"/>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0" name="Freeform 359"/>
              <p:cNvSpPr>
                <a:spLocks/>
              </p:cNvSpPr>
              <p:nvPr/>
            </p:nvSpPr>
            <p:spPr bwMode="auto">
              <a:xfrm>
                <a:off x="-10853738" y="2682875"/>
                <a:ext cx="1365250" cy="1554163"/>
              </a:xfrm>
              <a:custGeom>
                <a:avLst/>
                <a:gdLst>
                  <a:gd name="T0" fmla="*/ 565 w 860"/>
                  <a:gd name="T1" fmla="*/ 979 h 979"/>
                  <a:gd name="T2" fmla="*/ 565 w 860"/>
                  <a:gd name="T3" fmla="*/ 979 h 979"/>
                  <a:gd name="T4" fmla="*/ 0 w 860"/>
                  <a:gd name="T5" fmla="*/ 0 h 979"/>
                  <a:gd name="T6" fmla="*/ 0 w 860"/>
                  <a:gd name="T7" fmla="*/ 0 h 979"/>
                  <a:gd name="T8" fmla="*/ 860 w 860"/>
                  <a:gd name="T9" fmla="*/ 333 h 979"/>
                  <a:gd name="T10" fmla="*/ 565 w 860"/>
                  <a:gd name="T11" fmla="*/ 979 h 979"/>
                </a:gdLst>
                <a:ahLst/>
                <a:cxnLst>
                  <a:cxn ang="0">
                    <a:pos x="T0" y="T1"/>
                  </a:cxn>
                  <a:cxn ang="0">
                    <a:pos x="T2" y="T3"/>
                  </a:cxn>
                  <a:cxn ang="0">
                    <a:pos x="T4" y="T5"/>
                  </a:cxn>
                  <a:cxn ang="0">
                    <a:pos x="T6" y="T7"/>
                  </a:cxn>
                  <a:cxn ang="0">
                    <a:pos x="T8" y="T9"/>
                  </a:cxn>
                  <a:cxn ang="0">
                    <a:pos x="T10" y="T11"/>
                  </a:cxn>
                </a:cxnLst>
                <a:rect l="0" t="0" r="r" b="b"/>
                <a:pathLst>
                  <a:path w="860" h="979">
                    <a:moveTo>
                      <a:pt x="565" y="979"/>
                    </a:moveTo>
                    <a:lnTo>
                      <a:pt x="565" y="979"/>
                    </a:lnTo>
                    <a:lnTo>
                      <a:pt x="0" y="0"/>
                    </a:lnTo>
                    <a:lnTo>
                      <a:pt x="0" y="0"/>
                    </a:lnTo>
                    <a:lnTo>
                      <a:pt x="860" y="333"/>
                    </a:lnTo>
                    <a:lnTo>
                      <a:pt x="565"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1" name="Freeform 360"/>
              <p:cNvSpPr>
                <a:spLocks/>
              </p:cNvSpPr>
              <p:nvPr/>
            </p:nvSpPr>
            <p:spPr bwMode="auto">
              <a:xfrm>
                <a:off x="-9956800" y="4237037"/>
                <a:ext cx="1797050" cy="2341563"/>
              </a:xfrm>
              <a:custGeom>
                <a:avLst/>
                <a:gdLst>
                  <a:gd name="T0" fmla="*/ 30 w 1132"/>
                  <a:gd name="T1" fmla="*/ 1475 h 1475"/>
                  <a:gd name="T2" fmla="*/ 0 w 1132"/>
                  <a:gd name="T3" fmla="*/ 1 h 1475"/>
                  <a:gd name="T4" fmla="*/ 0 w 1132"/>
                  <a:gd name="T5" fmla="*/ 0 h 1475"/>
                  <a:gd name="T6" fmla="*/ 0 w 1132"/>
                  <a:gd name="T7" fmla="*/ 0 h 1475"/>
                  <a:gd name="T8" fmla="*/ 0 w 1132"/>
                  <a:gd name="T9" fmla="*/ 0 h 1475"/>
                  <a:gd name="T10" fmla="*/ 1132 w 1132"/>
                  <a:gd name="T11" fmla="*/ 0 h 1475"/>
                  <a:gd name="T12" fmla="*/ 1132 w 1132"/>
                  <a:gd name="T13" fmla="*/ 1 h 1475"/>
                  <a:gd name="T14" fmla="*/ 30 w 1132"/>
                  <a:gd name="T15" fmla="*/ 1475 h 14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1475">
                    <a:moveTo>
                      <a:pt x="30" y="1475"/>
                    </a:moveTo>
                    <a:lnTo>
                      <a:pt x="0" y="1"/>
                    </a:lnTo>
                    <a:lnTo>
                      <a:pt x="0" y="0"/>
                    </a:lnTo>
                    <a:lnTo>
                      <a:pt x="0" y="0"/>
                    </a:lnTo>
                    <a:lnTo>
                      <a:pt x="0" y="0"/>
                    </a:lnTo>
                    <a:lnTo>
                      <a:pt x="1132" y="0"/>
                    </a:lnTo>
                    <a:lnTo>
                      <a:pt x="1132" y="1"/>
                    </a:lnTo>
                    <a:lnTo>
                      <a:pt x="30" y="147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2" name="Freeform 361"/>
              <p:cNvSpPr>
                <a:spLocks noEditPoints="1"/>
              </p:cNvSpPr>
              <p:nvPr/>
            </p:nvSpPr>
            <p:spPr bwMode="auto">
              <a:xfrm>
                <a:off x="-12179300" y="2682875"/>
                <a:ext cx="2222500" cy="1914525"/>
              </a:xfrm>
              <a:custGeom>
                <a:avLst/>
                <a:gdLst>
                  <a:gd name="T0" fmla="*/ 0 w 2916"/>
                  <a:gd name="T1" fmla="*/ 2514 h 2514"/>
                  <a:gd name="T2" fmla="*/ 956 w 2916"/>
                  <a:gd name="T3" fmla="*/ 1131 h 2514"/>
                  <a:gd name="T4" fmla="*/ 1738 w 2916"/>
                  <a:gd name="T5" fmla="*/ 0 h 2514"/>
                  <a:gd name="T6" fmla="*/ 2916 w 2916"/>
                  <a:gd name="T7" fmla="*/ 2041 h 2514"/>
                  <a:gd name="T8" fmla="*/ 0 w 2916"/>
                  <a:gd name="T9" fmla="*/ 2514 h 2514"/>
                  <a:gd name="T10" fmla="*/ 1738 w 2916"/>
                  <a:gd name="T11" fmla="*/ 0 h 2514"/>
                  <a:gd name="T12" fmla="*/ 1738 w 2916"/>
                  <a:gd name="T13" fmla="*/ 0 h 2514"/>
                </a:gdLst>
                <a:ahLst/>
                <a:cxnLst>
                  <a:cxn ang="0">
                    <a:pos x="T0" y="T1"/>
                  </a:cxn>
                  <a:cxn ang="0">
                    <a:pos x="T2" y="T3"/>
                  </a:cxn>
                  <a:cxn ang="0">
                    <a:pos x="T4" y="T5"/>
                  </a:cxn>
                  <a:cxn ang="0">
                    <a:pos x="T6" y="T7"/>
                  </a:cxn>
                  <a:cxn ang="0">
                    <a:pos x="T8" y="T9"/>
                  </a:cxn>
                  <a:cxn ang="0">
                    <a:pos x="T10" y="T11"/>
                  </a:cxn>
                  <a:cxn ang="0">
                    <a:pos x="T12" y="T13"/>
                  </a:cxn>
                </a:cxnLst>
                <a:rect l="0" t="0" r="r" b="b"/>
                <a:pathLst>
                  <a:path w="2916" h="2514">
                    <a:moveTo>
                      <a:pt x="0" y="2514"/>
                    </a:moveTo>
                    <a:lnTo>
                      <a:pt x="956" y="1131"/>
                    </a:lnTo>
                    <a:lnTo>
                      <a:pt x="1738" y="0"/>
                    </a:lnTo>
                    <a:lnTo>
                      <a:pt x="2916" y="2041"/>
                    </a:lnTo>
                    <a:lnTo>
                      <a:pt x="0" y="2514"/>
                    </a:lnTo>
                    <a:moveTo>
                      <a:pt x="1738" y="0"/>
                    </a:moveTo>
                    <a:lnTo>
                      <a:pt x="1738"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3" name="Freeform 362"/>
              <p:cNvSpPr>
                <a:spLocks/>
              </p:cNvSpPr>
              <p:nvPr/>
            </p:nvSpPr>
            <p:spPr bwMode="auto">
              <a:xfrm>
                <a:off x="-9956800" y="3211512"/>
                <a:ext cx="1797050" cy="1025525"/>
              </a:xfrm>
              <a:custGeom>
                <a:avLst/>
                <a:gdLst>
                  <a:gd name="T0" fmla="*/ 2358 w 2358"/>
                  <a:gd name="T1" fmla="*/ 1346 h 1346"/>
                  <a:gd name="T2" fmla="*/ 0 w 2358"/>
                  <a:gd name="T3" fmla="*/ 1346 h 1346"/>
                  <a:gd name="T4" fmla="*/ 614 w 2358"/>
                  <a:gd name="T5" fmla="*/ 0 h 1346"/>
                  <a:gd name="T6" fmla="*/ 2358 w 2358"/>
                  <a:gd name="T7" fmla="*/ 1346 h 1346"/>
                  <a:gd name="T8" fmla="*/ 2357 w 2358"/>
                  <a:gd name="T9" fmla="*/ 1346 h 1346"/>
                  <a:gd name="T10" fmla="*/ 2358 w 2358"/>
                  <a:gd name="T11" fmla="*/ 1346 h 1346"/>
                  <a:gd name="T12" fmla="*/ 2358 w 2358"/>
                  <a:gd name="T13" fmla="*/ 1346 h 1346"/>
                  <a:gd name="T14" fmla="*/ 2357 w 2358"/>
                  <a:gd name="T15" fmla="*/ 1346 h 13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8" h="1346">
                    <a:moveTo>
                      <a:pt x="2358" y="1346"/>
                    </a:moveTo>
                    <a:lnTo>
                      <a:pt x="0" y="1346"/>
                    </a:lnTo>
                    <a:lnTo>
                      <a:pt x="614" y="0"/>
                    </a:lnTo>
                    <a:lnTo>
                      <a:pt x="2358" y="1346"/>
                    </a:lnTo>
                    <a:lnTo>
                      <a:pt x="2357" y="1346"/>
                    </a:lnTo>
                    <a:lnTo>
                      <a:pt x="2358" y="1346"/>
                    </a:lnTo>
                    <a:lnTo>
                      <a:pt x="2358" y="1346"/>
                    </a:lnTo>
                    <a:lnTo>
                      <a:pt x="2357" y="1346"/>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4" name="Freeform 363"/>
              <p:cNvSpPr>
                <a:spLocks noEditPoints="1"/>
              </p:cNvSpPr>
              <p:nvPr/>
            </p:nvSpPr>
            <p:spPr bwMode="auto">
              <a:xfrm>
                <a:off x="-12179300" y="4237037"/>
                <a:ext cx="2222500" cy="1555750"/>
              </a:xfrm>
              <a:custGeom>
                <a:avLst/>
                <a:gdLst>
                  <a:gd name="T0" fmla="*/ 1738 w 2916"/>
                  <a:gd name="T1" fmla="*/ 2042 h 2042"/>
                  <a:gd name="T2" fmla="*/ 0 w 2916"/>
                  <a:gd name="T3" fmla="*/ 473 h 2042"/>
                  <a:gd name="T4" fmla="*/ 2916 w 2916"/>
                  <a:gd name="T5" fmla="*/ 0 h 2042"/>
                  <a:gd name="T6" fmla="*/ 1738 w 2916"/>
                  <a:gd name="T7" fmla="*/ 2042 h 2042"/>
                  <a:gd name="T8" fmla="*/ 2916 w 2916"/>
                  <a:gd name="T9" fmla="*/ 1 h 2042"/>
                  <a:gd name="T10" fmla="*/ 2916 w 2916"/>
                  <a:gd name="T11" fmla="*/ 0 h 2042"/>
                  <a:gd name="T12" fmla="*/ 2916 w 2916"/>
                  <a:gd name="T13" fmla="*/ 1 h 2042"/>
                </a:gdLst>
                <a:ahLst/>
                <a:cxnLst>
                  <a:cxn ang="0">
                    <a:pos x="T0" y="T1"/>
                  </a:cxn>
                  <a:cxn ang="0">
                    <a:pos x="T2" y="T3"/>
                  </a:cxn>
                  <a:cxn ang="0">
                    <a:pos x="T4" y="T5"/>
                  </a:cxn>
                  <a:cxn ang="0">
                    <a:pos x="T6" y="T7"/>
                  </a:cxn>
                  <a:cxn ang="0">
                    <a:pos x="T8" y="T9"/>
                  </a:cxn>
                  <a:cxn ang="0">
                    <a:pos x="T10" y="T11"/>
                  </a:cxn>
                  <a:cxn ang="0">
                    <a:pos x="T12" y="T13"/>
                  </a:cxn>
                </a:cxnLst>
                <a:rect l="0" t="0" r="r" b="b"/>
                <a:pathLst>
                  <a:path w="2916" h="2042">
                    <a:moveTo>
                      <a:pt x="1738" y="2042"/>
                    </a:moveTo>
                    <a:lnTo>
                      <a:pt x="0" y="473"/>
                    </a:lnTo>
                    <a:lnTo>
                      <a:pt x="2916" y="0"/>
                    </a:lnTo>
                    <a:lnTo>
                      <a:pt x="1738" y="2042"/>
                    </a:lnTo>
                    <a:moveTo>
                      <a:pt x="2916" y="1"/>
                    </a:moveTo>
                    <a:lnTo>
                      <a:pt x="2916" y="0"/>
                    </a:lnTo>
                    <a:lnTo>
                      <a:pt x="2916" y="1"/>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5" name="Freeform 364"/>
              <p:cNvSpPr>
                <a:spLocks/>
              </p:cNvSpPr>
              <p:nvPr/>
            </p:nvSpPr>
            <p:spPr bwMode="auto">
              <a:xfrm>
                <a:off x="-10853738" y="4237037"/>
                <a:ext cx="896938" cy="1555750"/>
              </a:xfrm>
              <a:custGeom>
                <a:avLst/>
                <a:gdLst>
                  <a:gd name="T0" fmla="*/ 0 w 565"/>
                  <a:gd name="T1" fmla="*/ 980 h 980"/>
                  <a:gd name="T2" fmla="*/ 0 w 565"/>
                  <a:gd name="T3" fmla="*/ 980 h 980"/>
                  <a:gd name="T4" fmla="*/ 565 w 565"/>
                  <a:gd name="T5" fmla="*/ 0 h 980"/>
                  <a:gd name="T6" fmla="*/ 565 w 565"/>
                  <a:gd name="T7" fmla="*/ 1 h 980"/>
                  <a:gd name="T8" fmla="*/ 0 w 565"/>
                  <a:gd name="T9" fmla="*/ 980 h 980"/>
                </a:gdLst>
                <a:ahLst/>
                <a:cxnLst>
                  <a:cxn ang="0">
                    <a:pos x="T0" y="T1"/>
                  </a:cxn>
                  <a:cxn ang="0">
                    <a:pos x="T2" y="T3"/>
                  </a:cxn>
                  <a:cxn ang="0">
                    <a:pos x="T4" y="T5"/>
                  </a:cxn>
                  <a:cxn ang="0">
                    <a:pos x="T6" y="T7"/>
                  </a:cxn>
                  <a:cxn ang="0">
                    <a:pos x="T8" y="T9"/>
                  </a:cxn>
                </a:cxnLst>
                <a:rect l="0" t="0" r="r" b="b"/>
                <a:pathLst>
                  <a:path w="565" h="980">
                    <a:moveTo>
                      <a:pt x="0" y="980"/>
                    </a:moveTo>
                    <a:lnTo>
                      <a:pt x="0" y="980"/>
                    </a:lnTo>
                    <a:lnTo>
                      <a:pt x="565" y="0"/>
                    </a:lnTo>
                    <a:lnTo>
                      <a:pt x="565" y="1"/>
                    </a:lnTo>
                    <a:lnTo>
                      <a:pt x="0" y="980"/>
                    </a:lnTo>
                    <a:close/>
                  </a:path>
                </a:pathLst>
              </a:custGeom>
              <a:solidFill>
                <a:srgbClr val="599FB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6" name="Rectangle 365"/>
              <p:cNvSpPr>
                <a:spLocks noChangeArrowheads="1"/>
              </p:cNvSpPr>
              <p:nvPr/>
            </p:nvSpPr>
            <p:spPr bwMode="auto">
              <a:xfrm>
                <a:off x="-9956800" y="4237037"/>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7" name="Freeform 366"/>
              <p:cNvSpPr>
                <a:spLocks/>
              </p:cNvSpPr>
              <p:nvPr/>
            </p:nvSpPr>
            <p:spPr bwMode="auto">
              <a:xfrm>
                <a:off x="-12625388" y="7327900"/>
                <a:ext cx="366713" cy="331788"/>
              </a:xfrm>
              <a:custGeom>
                <a:avLst/>
                <a:gdLst>
                  <a:gd name="T0" fmla="*/ 231 w 231"/>
                  <a:gd name="T1" fmla="*/ 209 h 209"/>
                  <a:gd name="T2" fmla="*/ 0 w 231"/>
                  <a:gd name="T3" fmla="*/ 209 h 209"/>
                  <a:gd name="T4" fmla="*/ 0 w 231"/>
                  <a:gd name="T5" fmla="*/ 48 h 209"/>
                  <a:gd name="T6" fmla="*/ 178 w 231"/>
                  <a:gd name="T7" fmla="*/ 0 h 209"/>
                  <a:gd name="T8" fmla="*/ 231 w 231"/>
                  <a:gd name="T9" fmla="*/ 209 h 209"/>
                </a:gdLst>
                <a:ahLst/>
                <a:cxnLst>
                  <a:cxn ang="0">
                    <a:pos x="T0" y="T1"/>
                  </a:cxn>
                  <a:cxn ang="0">
                    <a:pos x="T2" y="T3"/>
                  </a:cxn>
                  <a:cxn ang="0">
                    <a:pos x="T4" y="T5"/>
                  </a:cxn>
                  <a:cxn ang="0">
                    <a:pos x="T6" y="T7"/>
                  </a:cxn>
                  <a:cxn ang="0">
                    <a:pos x="T8" y="T9"/>
                  </a:cxn>
                </a:cxnLst>
                <a:rect l="0" t="0" r="r" b="b"/>
                <a:pathLst>
                  <a:path w="231" h="209">
                    <a:moveTo>
                      <a:pt x="231" y="209"/>
                    </a:moveTo>
                    <a:lnTo>
                      <a:pt x="0" y="209"/>
                    </a:lnTo>
                    <a:lnTo>
                      <a:pt x="0" y="48"/>
                    </a:lnTo>
                    <a:lnTo>
                      <a:pt x="178" y="0"/>
                    </a:lnTo>
                    <a:lnTo>
                      <a:pt x="231" y="20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8" name="Freeform 367"/>
              <p:cNvSpPr>
                <a:spLocks/>
              </p:cNvSpPr>
              <p:nvPr/>
            </p:nvSpPr>
            <p:spPr bwMode="auto">
              <a:xfrm>
                <a:off x="-12341225" y="7327900"/>
                <a:ext cx="534988" cy="331788"/>
              </a:xfrm>
              <a:custGeom>
                <a:avLst/>
                <a:gdLst>
                  <a:gd name="T0" fmla="*/ 337 w 337"/>
                  <a:gd name="T1" fmla="*/ 209 h 209"/>
                  <a:gd name="T2" fmla="*/ 52 w 337"/>
                  <a:gd name="T3" fmla="*/ 209 h 209"/>
                  <a:gd name="T4" fmla="*/ 0 w 337"/>
                  <a:gd name="T5" fmla="*/ 0 h 209"/>
                  <a:gd name="T6" fmla="*/ 205 w 337"/>
                  <a:gd name="T7" fmla="*/ 127 h 209"/>
                  <a:gd name="T8" fmla="*/ 337 w 337"/>
                  <a:gd name="T9" fmla="*/ 209 h 209"/>
                </a:gdLst>
                <a:ahLst/>
                <a:cxnLst>
                  <a:cxn ang="0">
                    <a:pos x="T0" y="T1"/>
                  </a:cxn>
                  <a:cxn ang="0">
                    <a:pos x="T2" y="T3"/>
                  </a:cxn>
                  <a:cxn ang="0">
                    <a:pos x="T4" y="T5"/>
                  </a:cxn>
                  <a:cxn ang="0">
                    <a:pos x="T6" y="T7"/>
                  </a:cxn>
                  <a:cxn ang="0">
                    <a:pos x="T8" y="T9"/>
                  </a:cxn>
                </a:cxnLst>
                <a:rect l="0" t="0" r="r" b="b"/>
                <a:pathLst>
                  <a:path w="337" h="209">
                    <a:moveTo>
                      <a:pt x="337" y="209"/>
                    </a:moveTo>
                    <a:lnTo>
                      <a:pt x="52" y="209"/>
                    </a:lnTo>
                    <a:lnTo>
                      <a:pt x="0" y="0"/>
                    </a:lnTo>
                    <a:lnTo>
                      <a:pt x="205" y="127"/>
                    </a:lnTo>
                    <a:lnTo>
                      <a:pt x="337" y="20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9" name="Freeform 368"/>
              <p:cNvSpPr>
                <a:spLocks/>
              </p:cNvSpPr>
              <p:nvPr/>
            </p:nvSpPr>
            <p:spPr bwMode="auto">
              <a:xfrm>
                <a:off x="-10125075" y="7350125"/>
                <a:ext cx="347663" cy="309563"/>
              </a:xfrm>
              <a:custGeom>
                <a:avLst/>
                <a:gdLst>
                  <a:gd name="T0" fmla="*/ 219 w 219"/>
                  <a:gd name="T1" fmla="*/ 195 h 195"/>
                  <a:gd name="T2" fmla="*/ 0 w 219"/>
                  <a:gd name="T3" fmla="*/ 195 h 195"/>
                  <a:gd name="T4" fmla="*/ 106 w 219"/>
                  <a:gd name="T5" fmla="*/ 0 h 195"/>
                  <a:gd name="T6" fmla="*/ 219 w 219"/>
                  <a:gd name="T7" fmla="*/ 195 h 195"/>
                </a:gdLst>
                <a:ahLst/>
                <a:cxnLst>
                  <a:cxn ang="0">
                    <a:pos x="T0" y="T1"/>
                  </a:cxn>
                  <a:cxn ang="0">
                    <a:pos x="T2" y="T3"/>
                  </a:cxn>
                  <a:cxn ang="0">
                    <a:pos x="T4" y="T5"/>
                  </a:cxn>
                  <a:cxn ang="0">
                    <a:pos x="T6" y="T7"/>
                  </a:cxn>
                </a:cxnLst>
                <a:rect l="0" t="0" r="r" b="b"/>
                <a:pathLst>
                  <a:path w="219" h="195">
                    <a:moveTo>
                      <a:pt x="219" y="195"/>
                    </a:moveTo>
                    <a:lnTo>
                      <a:pt x="0" y="195"/>
                    </a:lnTo>
                    <a:lnTo>
                      <a:pt x="106" y="0"/>
                    </a:lnTo>
                    <a:lnTo>
                      <a:pt x="219"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0" name="Freeform 369"/>
              <p:cNvSpPr>
                <a:spLocks/>
              </p:cNvSpPr>
              <p:nvPr/>
            </p:nvSpPr>
            <p:spPr bwMode="auto">
              <a:xfrm>
                <a:off x="-10853738" y="5792787"/>
                <a:ext cx="944563" cy="1557338"/>
              </a:xfrm>
              <a:custGeom>
                <a:avLst/>
                <a:gdLst>
                  <a:gd name="T0" fmla="*/ 565 w 595"/>
                  <a:gd name="T1" fmla="*/ 981 h 981"/>
                  <a:gd name="T2" fmla="*/ 565 w 595"/>
                  <a:gd name="T3" fmla="*/ 981 h 981"/>
                  <a:gd name="T4" fmla="*/ 0 w 595"/>
                  <a:gd name="T5" fmla="*/ 0 h 981"/>
                  <a:gd name="T6" fmla="*/ 0 w 595"/>
                  <a:gd name="T7" fmla="*/ 0 h 981"/>
                  <a:gd name="T8" fmla="*/ 595 w 595"/>
                  <a:gd name="T9" fmla="*/ 495 h 981"/>
                  <a:gd name="T10" fmla="*/ 565 w 595"/>
                  <a:gd name="T11" fmla="*/ 981 h 981"/>
                </a:gdLst>
                <a:ahLst/>
                <a:cxnLst>
                  <a:cxn ang="0">
                    <a:pos x="T0" y="T1"/>
                  </a:cxn>
                  <a:cxn ang="0">
                    <a:pos x="T2" y="T3"/>
                  </a:cxn>
                  <a:cxn ang="0">
                    <a:pos x="T4" y="T5"/>
                  </a:cxn>
                  <a:cxn ang="0">
                    <a:pos x="T6" y="T7"/>
                  </a:cxn>
                  <a:cxn ang="0">
                    <a:pos x="T8" y="T9"/>
                  </a:cxn>
                  <a:cxn ang="0">
                    <a:pos x="T10" y="T11"/>
                  </a:cxn>
                </a:cxnLst>
                <a:rect l="0" t="0" r="r" b="b"/>
                <a:pathLst>
                  <a:path w="595" h="981">
                    <a:moveTo>
                      <a:pt x="565" y="981"/>
                    </a:moveTo>
                    <a:lnTo>
                      <a:pt x="565" y="981"/>
                    </a:lnTo>
                    <a:lnTo>
                      <a:pt x="0" y="0"/>
                    </a:lnTo>
                    <a:lnTo>
                      <a:pt x="0" y="0"/>
                    </a:lnTo>
                    <a:lnTo>
                      <a:pt x="595" y="495"/>
                    </a:lnTo>
                    <a:lnTo>
                      <a:pt x="565"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1" name="Freeform 370"/>
              <p:cNvSpPr>
                <a:spLocks/>
              </p:cNvSpPr>
              <p:nvPr/>
            </p:nvSpPr>
            <p:spPr bwMode="auto">
              <a:xfrm>
                <a:off x="-9956800" y="7350125"/>
                <a:ext cx="608013" cy="309563"/>
              </a:xfrm>
              <a:custGeom>
                <a:avLst/>
                <a:gdLst>
                  <a:gd name="T0" fmla="*/ 383 w 383"/>
                  <a:gd name="T1" fmla="*/ 195 h 195"/>
                  <a:gd name="T2" fmla="*/ 113 w 383"/>
                  <a:gd name="T3" fmla="*/ 195 h 195"/>
                  <a:gd name="T4" fmla="*/ 0 w 383"/>
                  <a:gd name="T5" fmla="*/ 0 h 195"/>
                  <a:gd name="T6" fmla="*/ 0 w 383"/>
                  <a:gd name="T7" fmla="*/ 0 h 195"/>
                  <a:gd name="T8" fmla="*/ 383 w 383"/>
                  <a:gd name="T9" fmla="*/ 195 h 195"/>
                </a:gdLst>
                <a:ahLst/>
                <a:cxnLst>
                  <a:cxn ang="0">
                    <a:pos x="T0" y="T1"/>
                  </a:cxn>
                  <a:cxn ang="0">
                    <a:pos x="T2" y="T3"/>
                  </a:cxn>
                  <a:cxn ang="0">
                    <a:pos x="T4" y="T5"/>
                  </a:cxn>
                  <a:cxn ang="0">
                    <a:pos x="T6" y="T7"/>
                  </a:cxn>
                  <a:cxn ang="0">
                    <a:pos x="T8" y="T9"/>
                  </a:cxn>
                </a:cxnLst>
                <a:rect l="0" t="0" r="r" b="b"/>
                <a:pathLst>
                  <a:path w="383" h="195">
                    <a:moveTo>
                      <a:pt x="383" y="195"/>
                    </a:moveTo>
                    <a:lnTo>
                      <a:pt x="113" y="195"/>
                    </a:lnTo>
                    <a:lnTo>
                      <a:pt x="0" y="0"/>
                    </a:lnTo>
                    <a:lnTo>
                      <a:pt x="0" y="0"/>
                    </a:lnTo>
                    <a:lnTo>
                      <a:pt x="383"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2" name="Freeform 371"/>
              <p:cNvSpPr>
                <a:spLocks/>
              </p:cNvSpPr>
              <p:nvPr/>
            </p:nvSpPr>
            <p:spPr bwMode="auto">
              <a:xfrm>
                <a:off x="-12341225" y="5792787"/>
                <a:ext cx="2384425" cy="1557338"/>
              </a:xfrm>
              <a:custGeom>
                <a:avLst/>
                <a:gdLst>
                  <a:gd name="T0" fmla="*/ 1502 w 1502"/>
                  <a:gd name="T1" fmla="*/ 981 h 981"/>
                  <a:gd name="T2" fmla="*/ 0 w 1502"/>
                  <a:gd name="T3" fmla="*/ 967 h 981"/>
                  <a:gd name="T4" fmla="*/ 0 w 1502"/>
                  <a:gd name="T5" fmla="*/ 967 h 981"/>
                  <a:gd name="T6" fmla="*/ 0 w 1502"/>
                  <a:gd name="T7" fmla="*/ 967 h 981"/>
                  <a:gd name="T8" fmla="*/ 374 w 1502"/>
                  <a:gd name="T9" fmla="*/ 580 h 981"/>
                  <a:gd name="T10" fmla="*/ 937 w 1502"/>
                  <a:gd name="T11" fmla="*/ 0 h 981"/>
                  <a:gd name="T12" fmla="*/ 1502 w 1502"/>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502" h="981">
                    <a:moveTo>
                      <a:pt x="1502" y="981"/>
                    </a:moveTo>
                    <a:lnTo>
                      <a:pt x="0" y="967"/>
                    </a:lnTo>
                    <a:lnTo>
                      <a:pt x="0" y="967"/>
                    </a:lnTo>
                    <a:lnTo>
                      <a:pt x="0" y="967"/>
                    </a:lnTo>
                    <a:lnTo>
                      <a:pt x="374" y="580"/>
                    </a:lnTo>
                    <a:lnTo>
                      <a:pt x="937" y="0"/>
                    </a:lnTo>
                    <a:lnTo>
                      <a:pt x="1502" y="981"/>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3" name="Freeform 372"/>
              <p:cNvSpPr>
                <a:spLocks/>
              </p:cNvSpPr>
              <p:nvPr/>
            </p:nvSpPr>
            <p:spPr bwMode="auto">
              <a:xfrm>
                <a:off x="-9956800" y="6578600"/>
                <a:ext cx="1098550" cy="1081088"/>
              </a:xfrm>
              <a:custGeom>
                <a:avLst/>
                <a:gdLst>
                  <a:gd name="T0" fmla="*/ 692 w 692"/>
                  <a:gd name="T1" fmla="*/ 681 h 681"/>
                  <a:gd name="T2" fmla="*/ 383 w 692"/>
                  <a:gd name="T3" fmla="*/ 681 h 681"/>
                  <a:gd name="T4" fmla="*/ 0 w 692"/>
                  <a:gd name="T5" fmla="*/ 486 h 681"/>
                  <a:gd name="T6" fmla="*/ 30 w 692"/>
                  <a:gd name="T7" fmla="*/ 0 h 681"/>
                  <a:gd name="T8" fmla="*/ 692 w 692"/>
                  <a:gd name="T9" fmla="*/ 681 h 681"/>
                </a:gdLst>
                <a:ahLst/>
                <a:cxnLst>
                  <a:cxn ang="0">
                    <a:pos x="T0" y="T1"/>
                  </a:cxn>
                  <a:cxn ang="0">
                    <a:pos x="T2" y="T3"/>
                  </a:cxn>
                  <a:cxn ang="0">
                    <a:pos x="T4" y="T5"/>
                  </a:cxn>
                  <a:cxn ang="0">
                    <a:pos x="T6" y="T7"/>
                  </a:cxn>
                  <a:cxn ang="0">
                    <a:pos x="T8" y="T9"/>
                  </a:cxn>
                </a:cxnLst>
                <a:rect l="0" t="0" r="r" b="b"/>
                <a:pathLst>
                  <a:path w="692" h="681">
                    <a:moveTo>
                      <a:pt x="692" y="681"/>
                    </a:moveTo>
                    <a:lnTo>
                      <a:pt x="383" y="681"/>
                    </a:lnTo>
                    <a:lnTo>
                      <a:pt x="0" y="486"/>
                    </a:lnTo>
                    <a:lnTo>
                      <a:pt x="30" y="0"/>
                    </a:lnTo>
                    <a:lnTo>
                      <a:pt x="692" y="68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4" name="Freeform 373"/>
              <p:cNvSpPr>
                <a:spLocks noEditPoints="1"/>
              </p:cNvSpPr>
              <p:nvPr/>
            </p:nvSpPr>
            <p:spPr bwMode="auto">
              <a:xfrm>
                <a:off x="-12341225" y="7327900"/>
                <a:ext cx="2384425" cy="331788"/>
              </a:xfrm>
              <a:custGeom>
                <a:avLst/>
                <a:gdLst>
                  <a:gd name="T0" fmla="*/ 2910 w 3130"/>
                  <a:gd name="T1" fmla="*/ 436 h 436"/>
                  <a:gd name="T2" fmla="*/ 702 w 3130"/>
                  <a:gd name="T3" fmla="*/ 436 h 436"/>
                  <a:gd name="T4" fmla="*/ 428 w 3130"/>
                  <a:gd name="T5" fmla="*/ 265 h 436"/>
                  <a:gd name="T6" fmla="*/ 0 w 3130"/>
                  <a:gd name="T7" fmla="*/ 0 h 436"/>
                  <a:gd name="T8" fmla="*/ 3130 w 3130"/>
                  <a:gd name="T9" fmla="*/ 29 h 436"/>
                  <a:gd name="T10" fmla="*/ 2910 w 3130"/>
                  <a:gd name="T11" fmla="*/ 436 h 436"/>
                  <a:gd name="T12" fmla="*/ 3130 w 3130"/>
                  <a:gd name="T13" fmla="*/ 29 h 436"/>
                  <a:gd name="T14" fmla="*/ 3130 w 3130"/>
                  <a:gd name="T15" fmla="*/ 29 h 436"/>
                  <a:gd name="T16" fmla="*/ 3130 w 3130"/>
                  <a:gd name="T17" fmla="*/ 29 h 436"/>
                  <a:gd name="T18" fmla="*/ 3130 w 3130"/>
                  <a:gd name="T19" fmla="*/ 29 h 436"/>
                  <a:gd name="T20" fmla="*/ 3130 w 3130"/>
                  <a:gd name="T21" fmla="*/ 29 h 436"/>
                  <a:gd name="T22" fmla="*/ 3130 w 3130"/>
                  <a:gd name="T23" fmla="*/ 29 h 436"/>
                  <a:gd name="T24" fmla="*/ 0 w 3130"/>
                  <a:gd name="T25" fmla="*/ 0 h 436"/>
                  <a:gd name="T26" fmla="*/ 0 w 3130"/>
                  <a:gd name="T27" fmla="*/ 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30" h="436">
                    <a:moveTo>
                      <a:pt x="2910" y="436"/>
                    </a:moveTo>
                    <a:lnTo>
                      <a:pt x="702" y="436"/>
                    </a:lnTo>
                    <a:lnTo>
                      <a:pt x="428" y="265"/>
                    </a:lnTo>
                    <a:lnTo>
                      <a:pt x="0" y="0"/>
                    </a:lnTo>
                    <a:lnTo>
                      <a:pt x="3130" y="29"/>
                    </a:lnTo>
                    <a:lnTo>
                      <a:pt x="2910" y="436"/>
                    </a:lnTo>
                    <a:moveTo>
                      <a:pt x="3130" y="29"/>
                    </a:moveTo>
                    <a:lnTo>
                      <a:pt x="3130" y="29"/>
                    </a:lnTo>
                    <a:lnTo>
                      <a:pt x="3130" y="29"/>
                    </a:lnTo>
                    <a:lnTo>
                      <a:pt x="3130" y="29"/>
                    </a:lnTo>
                    <a:lnTo>
                      <a:pt x="3130" y="29"/>
                    </a:lnTo>
                    <a:lnTo>
                      <a:pt x="3130" y="29"/>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5" name="Freeform 374"/>
              <p:cNvSpPr>
                <a:spLocks/>
              </p:cNvSpPr>
              <p:nvPr/>
            </p:nvSpPr>
            <p:spPr bwMode="auto">
              <a:xfrm>
                <a:off x="-10125075" y="7350125"/>
                <a:ext cx="168275" cy="309563"/>
              </a:xfrm>
              <a:custGeom>
                <a:avLst/>
                <a:gdLst>
                  <a:gd name="T0" fmla="*/ 0 w 106"/>
                  <a:gd name="T1" fmla="*/ 195 h 195"/>
                  <a:gd name="T2" fmla="*/ 0 w 106"/>
                  <a:gd name="T3" fmla="*/ 195 h 195"/>
                  <a:gd name="T4" fmla="*/ 106 w 106"/>
                  <a:gd name="T5" fmla="*/ 0 h 195"/>
                  <a:gd name="T6" fmla="*/ 106 w 106"/>
                  <a:gd name="T7" fmla="*/ 0 h 195"/>
                  <a:gd name="T8" fmla="*/ 0 w 106"/>
                  <a:gd name="T9" fmla="*/ 195 h 195"/>
                </a:gdLst>
                <a:ahLst/>
                <a:cxnLst>
                  <a:cxn ang="0">
                    <a:pos x="T0" y="T1"/>
                  </a:cxn>
                  <a:cxn ang="0">
                    <a:pos x="T2" y="T3"/>
                  </a:cxn>
                  <a:cxn ang="0">
                    <a:pos x="T4" y="T5"/>
                  </a:cxn>
                  <a:cxn ang="0">
                    <a:pos x="T6" y="T7"/>
                  </a:cxn>
                  <a:cxn ang="0">
                    <a:pos x="T8" y="T9"/>
                  </a:cxn>
                </a:cxnLst>
                <a:rect l="0" t="0" r="r" b="b"/>
                <a:pathLst>
                  <a:path w="106" h="195">
                    <a:moveTo>
                      <a:pt x="0" y="195"/>
                    </a:moveTo>
                    <a:lnTo>
                      <a:pt x="0" y="195"/>
                    </a:lnTo>
                    <a:lnTo>
                      <a:pt x="106" y="0"/>
                    </a:lnTo>
                    <a:lnTo>
                      <a:pt x="106" y="0"/>
                    </a:lnTo>
                    <a:lnTo>
                      <a:pt x="0"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6" name="Rectangle 375"/>
              <p:cNvSpPr>
                <a:spLocks noChangeArrowheads="1"/>
              </p:cNvSpPr>
              <p:nvPr/>
            </p:nvSpPr>
            <p:spPr bwMode="auto">
              <a:xfrm>
                <a:off x="-9956800" y="7350125"/>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7" name="Freeform 376"/>
              <p:cNvSpPr>
                <a:spLocks noEditPoints="1"/>
              </p:cNvSpPr>
              <p:nvPr/>
            </p:nvSpPr>
            <p:spPr bwMode="auto">
              <a:xfrm>
                <a:off x="-12341225" y="7327900"/>
                <a:ext cx="2384425" cy="22225"/>
              </a:xfrm>
              <a:custGeom>
                <a:avLst/>
                <a:gdLst>
                  <a:gd name="T0" fmla="*/ 3130 w 3130"/>
                  <a:gd name="T1" fmla="*/ 29 h 29"/>
                  <a:gd name="T2" fmla="*/ 0 w 3130"/>
                  <a:gd name="T3" fmla="*/ 0 h 29"/>
                  <a:gd name="T4" fmla="*/ 0 w 3130"/>
                  <a:gd name="T5" fmla="*/ 0 h 29"/>
                  <a:gd name="T6" fmla="*/ 3130 w 3130"/>
                  <a:gd name="T7" fmla="*/ 29 h 29"/>
                  <a:gd name="T8" fmla="*/ 3130 w 3130"/>
                  <a:gd name="T9" fmla="*/ 29 h 29"/>
                  <a:gd name="T10" fmla="*/ 0 w 3130"/>
                  <a:gd name="T11" fmla="*/ 0 h 29"/>
                  <a:gd name="T12" fmla="*/ 0 w 3130"/>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130" h="29">
                    <a:moveTo>
                      <a:pt x="3130" y="29"/>
                    </a:moveTo>
                    <a:lnTo>
                      <a:pt x="0" y="0"/>
                    </a:lnTo>
                    <a:lnTo>
                      <a:pt x="0" y="0"/>
                    </a:lnTo>
                    <a:lnTo>
                      <a:pt x="3130" y="29"/>
                    </a:lnTo>
                    <a:lnTo>
                      <a:pt x="3130" y="29"/>
                    </a:lnTo>
                    <a:moveTo>
                      <a:pt x="0" y="0"/>
                    </a:moveTo>
                    <a:lnTo>
                      <a:pt x="0" y="0"/>
                    </a:lnTo>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8" name="Freeform 377"/>
              <p:cNvSpPr>
                <a:spLocks/>
              </p:cNvSpPr>
              <p:nvPr/>
            </p:nvSpPr>
            <p:spPr bwMode="auto">
              <a:xfrm>
                <a:off x="-8159750" y="-2909888"/>
                <a:ext cx="2633663" cy="1504950"/>
              </a:xfrm>
              <a:custGeom>
                <a:avLst/>
                <a:gdLst>
                  <a:gd name="T0" fmla="*/ 1659 w 1659"/>
                  <a:gd name="T1" fmla="*/ 948 h 948"/>
                  <a:gd name="T2" fmla="*/ 0 w 1659"/>
                  <a:gd name="T3" fmla="*/ 583 h 948"/>
                  <a:gd name="T4" fmla="*/ 0 w 1659"/>
                  <a:gd name="T5" fmla="*/ 583 h 948"/>
                  <a:gd name="T6" fmla="*/ 0 w 1659"/>
                  <a:gd name="T7" fmla="*/ 583 h 948"/>
                  <a:gd name="T8" fmla="*/ 0 w 1659"/>
                  <a:gd name="T9" fmla="*/ 583 h 948"/>
                  <a:gd name="T10" fmla="*/ 772 w 1659"/>
                  <a:gd name="T11" fmla="*/ 0 h 948"/>
                  <a:gd name="T12" fmla="*/ 772 w 1659"/>
                  <a:gd name="T13" fmla="*/ 0 h 948"/>
                  <a:gd name="T14" fmla="*/ 772 w 1659"/>
                  <a:gd name="T15" fmla="*/ 0 h 948"/>
                  <a:gd name="T16" fmla="*/ 772 w 1659"/>
                  <a:gd name="T17" fmla="*/ 0 h 948"/>
                  <a:gd name="T18" fmla="*/ 772 w 1659"/>
                  <a:gd name="T19" fmla="*/ 0 h 948"/>
                  <a:gd name="T20" fmla="*/ 1224 w 1659"/>
                  <a:gd name="T21" fmla="*/ 483 h 948"/>
                  <a:gd name="T22" fmla="*/ 1659 w 1659"/>
                  <a:gd name="T23" fmla="*/ 948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9" h="948">
                    <a:moveTo>
                      <a:pt x="1659" y="948"/>
                    </a:moveTo>
                    <a:lnTo>
                      <a:pt x="0" y="583"/>
                    </a:lnTo>
                    <a:lnTo>
                      <a:pt x="0" y="583"/>
                    </a:lnTo>
                    <a:lnTo>
                      <a:pt x="0" y="583"/>
                    </a:lnTo>
                    <a:lnTo>
                      <a:pt x="0" y="583"/>
                    </a:lnTo>
                    <a:lnTo>
                      <a:pt x="772" y="0"/>
                    </a:lnTo>
                    <a:lnTo>
                      <a:pt x="772" y="0"/>
                    </a:lnTo>
                    <a:lnTo>
                      <a:pt x="772" y="0"/>
                    </a:lnTo>
                    <a:lnTo>
                      <a:pt x="772" y="0"/>
                    </a:lnTo>
                    <a:lnTo>
                      <a:pt x="772" y="0"/>
                    </a:lnTo>
                    <a:lnTo>
                      <a:pt x="1224" y="483"/>
                    </a:lnTo>
                    <a:lnTo>
                      <a:pt x="1659" y="948"/>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9" name="Freeform 378"/>
              <p:cNvSpPr>
                <a:spLocks/>
              </p:cNvSpPr>
              <p:nvPr/>
            </p:nvSpPr>
            <p:spPr bwMode="auto">
              <a:xfrm>
                <a:off x="-7967663" y="-4110038"/>
                <a:ext cx="1346200" cy="1200150"/>
              </a:xfrm>
              <a:custGeom>
                <a:avLst/>
                <a:gdLst>
                  <a:gd name="T0" fmla="*/ 651 w 848"/>
                  <a:gd name="T1" fmla="*/ 756 h 756"/>
                  <a:gd name="T2" fmla="*/ 0 w 848"/>
                  <a:gd name="T3" fmla="*/ 0 h 756"/>
                  <a:gd name="T4" fmla="*/ 848 w 848"/>
                  <a:gd name="T5" fmla="*/ 0 h 756"/>
                  <a:gd name="T6" fmla="*/ 651 w 848"/>
                  <a:gd name="T7" fmla="*/ 756 h 756"/>
                </a:gdLst>
                <a:ahLst/>
                <a:cxnLst>
                  <a:cxn ang="0">
                    <a:pos x="T0" y="T1"/>
                  </a:cxn>
                  <a:cxn ang="0">
                    <a:pos x="T2" y="T3"/>
                  </a:cxn>
                  <a:cxn ang="0">
                    <a:pos x="T4" y="T5"/>
                  </a:cxn>
                  <a:cxn ang="0">
                    <a:pos x="T6" y="T7"/>
                  </a:cxn>
                </a:cxnLst>
                <a:rect l="0" t="0" r="r" b="b"/>
                <a:pathLst>
                  <a:path w="848" h="756">
                    <a:moveTo>
                      <a:pt x="651" y="756"/>
                    </a:moveTo>
                    <a:lnTo>
                      <a:pt x="0" y="0"/>
                    </a:lnTo>
                    <a:lnTo>
                      <a:pt x="848" y="0"/>
                    </a:lnTo>
                    <a:lnTo>
                      <a:pt x="651" y="756"/>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0" name="Freeform 379"/>
              <p:cNvSpPr>
                <a:spLocks/>
              </p:cNvSpPr>
              <p:nvPr/>
            </p:nvSpPr>
            <p:spPr bwMode="auto">
              <a:xfrm>
                <a:off x="-6934200" y="-3540126"/>
                <a:ext cx="1468438" cy="2135188"/>
              </a:xfrm>
              <a:custGeom>
                <a:avLst/>
                <a:gdLst>
                  <a:gd name="T0" fmla="*/ 887 w 925"/>
                  <a:gd name="T1" fmla="*/ 1345 h 1345"/>
                  <a:gd name="T2" fmla="*/ 452 w 925"/>
                  <a:gd name="T3" fmla="*/ 880 h 1345"/>
                  <a:gd name="T4" fmla="*/ 0 w 925"/>
                  <a:gd name="T5" fmla="*/ 397 h 1345"/>
                  <a:gd name="T6" fmla="*/ 925 w 925"/>
                  <a:gd name="T7" fmla="*/ 0 h 1345"/>
                  <a:gd name="T8" fmla="*/ 925 w 925"/>
                  <a:gd name="T9" fmla="*/ 0 h 1345"/>
                  <a:gd name="T10" fmla="*/ 888 w 925"/>
                  <a:gd name="T11" fmla="*/ 1294 h 1345"/>
                  <a:gd name="T12" fmla="*/ 887 w 925"/>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925" h="1345">
                    <a:moveTo>
                      <a:pt x="887" y="1345"/>
                    </a:moveTo>
                    <a:lnTo>
                      <a:pt x="452" y="880"/>
                    </a:lnTo>
                    <a:lnTo>
                      <a:pt x="0" y="397"/>
                    </a:lnTo>
                    <a:lnTo>
                      <a:pt x="925" y="0"/>
                    </a:lnTo>
                    <a:lnTo>
                      <a:pt x="925" y="0"/>
                    </a:lnTo>
                    <a:lnTo>
                      <a:pt x="888" y="1294"/>
                    </a:lnTo>
                    <a:lnTo>
                      <a:pt x="887" y="1345"/>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1" name="Freeform 380"/>
              <p:cNvSpPr>
                <a:spLocks/>
              </p:cNvSpPr>
              <p:nvPr/>
            </p:nvSpPr>
            <p:spPr bwMode="auto">
              <a:xfrm>
                <a:off x="-9058275" y="-4110038"/>
                <a:ext cx="2124075" cy="1200150"/>
              </a:xfrm>
              <a:custGeom>
                <a:avLst/>
                <a:gdLst>
                  <a:gd name="T0" fmla="*/ 1338 w 1338"/>
                  <a:gd name="T1" fmla="*/ 756 h 756"/>
                  <a:gd name="T2" fmla="*/ 1338 w 1338"/>
                  <a:gd name="T3" fmla="*/ 756 h 756"/>
                  <a:gd name="T4" fmla="*/ 0 w 1338"/>
                  <a:gd name="T5" fmla="*/ 359 h 756"/>
                  <a:gd name="T6" fmla="*/ 338 w 1338"/>
                  <a:gd name="T7" fmla="*/ 0 h 756"/>
                  <a:gd name="T8" fmla="*/ 687 w 1338"/>
                  <a:gd name="T9" fmla="*/ 0 h 756"/>
                  <a:gd name="T10" fmla="*/ 1338 w 1338"/>
                  <a:gd name="T11" fmla="*/ 756 h 756"/>
                </a:gdLst>
                <a:ahLst/>
                <a:cxnLst>
                  <a:cxn ang="0">
                    <a:pos x="T0" y="T1"/>
                  </a:cxn>
                  <a:cxn ang="0">
                    <a:pos x="T2" y="T3"/>
                  </a:cxn>
                  <a:cxn ang="0">
                    <a:pos x="T4" y="T5"/>
                  </a:cxn>
                  <a:cxn ang="0">
                    <a:pos x="T6" y="T7"/>
                  </a:cxn>
                  <a:cxn ang="0">
                    <a:pos x="T8" y="T9"/>
                  </a:cxn>
                  <a:cxn ang="0">
                    <a:pos x="T10" y="T11"/>
                  </a:cxn>
                </a:cxnLst>
                <a:rect l="0" t="0" r="r" b="b"/>
                <a:pathLst>
                  <a:path w="1338" h="756">
                    <a:moveTo>
                      <a:pt x="1338" y="756"/>
                    </a:moveTo>
                    <a:lnTo>
                      <a:pt x="1338" y="756"/>
                    </a:lnTo>
                    <a:lnTo>
                      <a:pt x="0" y="359"/>
                    </a:lnTo>
                    <a:lnTo>
                      <a:pt x="338" y="0"/>
                    </a:lnTo>
                    <a:lnTo>
                      <a:pt x="687" y="0"/>
                    </a:lnTo>
                    <a:lnTo>
                      <a:pt x="1338"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2" name="Freeform 381"/>
              <p:cNvSpPr>
                <a:spLocks/>
              </p:cNvSpPr>
              <p:nvPr/>
            </p:nvSpPr>
            <p:spPr bwMode="auto">
              <a:xfrm>
                <a:off x="-6934200" y="-4110038"/>
                <a:ext cx="1468438" cy="1200150"/>
              </a:xfrm>
              <a:custGeom>
                <a:avLst/>
                <a:gdLst>
                  <a:gd name="T0" fmla="*/ 0 w 925"/>
                  <a:gd name="T1" fmla="*/ 756 h 756"/>
                  <a:gd name="T2" fmla="*/ 0 w 925"/>
                  <a:gd name="T3" fmla="*/ 756 h 756"/>
                  <a:gd name="T4" fmla="*/ 197 w 925"/>
                  <a:gd name="T5" fmla="*/ 0 h 756"/>
                  <a:gd name="T6" fmla="*/ 718 w 925"/>
                  <a:gd name="T7" fmla="*/ 0 h 756"/>
                  <a:gd name="T8" fmla="*/ 925 w 925"/>
                  <a:gd name="T9" fmla="*/ 359 h 756"/>
                  <a:gd name="T10" fmla="*/ 925 w 925"/>
                  <a:gd name="T11" fmla="*/ 359 h 756"/>
                  <a:gd name="T12" fmla="*/ 925 w 925"/>
                  <a:gd name="T13" fmla="*/ 359 h 756"/>
                  <a:gd name="T14" fmla="*/ 925 w 925"/>
                  <a:gd name="T15" fmla="*/ 359 h 756"/>
                  <a:gd name="T16" fmla="*/ 925 w 925"/>
                  <a:gd name="T17" fmla="*/ 359 h 756"/>
                  <a:gd name="T18" fmla="*/ 925 w 925"/>
                  <a:gd name="T19" fmla="*/ 359 h 756"/>
                  <a:gd name="T20" fmla="*/ 0 w 925"/>
                  <a:gd name="T21" fmla="*/ 756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5" h="756">
                    <a:moveTo>
                      <a:pt x="0" y="756"/>
                    </a:moveTo>
                    <a:lnTo>
                      <a:pt x="0" y="756"/>
                    </a:lnTo>
                    <a:lnTo>
                      <a:pt x="197" y="0"/>
                    </a:lnTo>
                    <a:lnTo>
                      <a:pt x="718" y="0"/>
                    </a:lnTo>
                    <a:lnTo>
                      <a:pt x="925" y="359"/>
                    </a:lnTo>
                    <a:lnTo>
                      <a:pt x="925" y="359"/>
                    </a:lnTo>
                    <a:lnTo>
                      <a:pt x="925" y="359"/>
                    </a:lnTo>
                    <a:lnTo>
                      <a:pt x="925" y="359"/>
                    </a:lnTo>
                    <a:lnTo>
                      <a:pt x="925" y="359"/>
                    </a:lnTo>
                    <a:lnTo>
                      <a:pt x="925" y="359"/>
                    </a:lnTo>
                    <a:lnTo>
                      <a:pt x="0"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3" name="Freeform 382"/>
              <p:cNvSpPr>
                <a:spLocks/>
              </p:cNvSpPr>
              <p:nvPr/>
            </p:nvSpPr>
            <p:spPr bwMode="auto">
              <a:xfrm>
                <a:off x="-9058275" y="-3540126"/>
                <a:ext cx="2124075" cy="1555750"/>
              </a:xfrm>
              <a:custGeom>
                <a:avLst/>
                <a:gdLst>
                  <a:gd name="T0" fmla="*/ 566 w 1338"/>
                  <a:gd name="T1" fmla="*/ 980 h 980"/>
                  <a:gd name="T2" fmla="*/ 0 w 1338"/>
                  <a:gd name="T3" fmla="*/ 0 h 980"/>
                  <a:gd name="T4" fmla="*/ 1338 w 1338"/>
                  <a:gd name="T5" fmla="*/ 397 h 980"/>
                  <a:gd name="T6" fmla="*/ 566 w 1338"/>
                  <a:gd name="T7" fmla="*/ 980 h 980"/>
                </a:gdLst>
                <a:ahLst/>
                <a:cxnLst>
                  <a:cxn ang="0">
                    <a:pos x="T0" y="T1"/>
                  </a:cxn>
                  <a:cxn ang="0">
                    <a:pos x="T2" y="T3"/>
                  </a:cxn>
                  <a:cxn ang="0">
                    <a:pos x="T4" y="T5"/>
                  </a:cxn>
                  <a:cxn ang="0">
                    <a:pos x="T6" y="T7"/>
                  </a:cxn>
                </a:cxnLst>
                <a:rect l="0" t="0" r="r" b="b"/>
                <a:pathLst>
                  <a:path w="1338" h="980">
                    <a:moveTo>
                      <a:pt x="566" y="980"/>
                    </a:moveTo>
                    <a:lnTo>
                      <a:pt x="0" y="0"/>
                    </a:lnTo>
                    <a:lnTo>
                      <a:pt x="1338" y="397"/>
                    </a:lnTo>
                    <a:lnTo>
                      <a:pt x="566"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4" name="Freeform 383"/>
              <p:cNvSpPr>
                <a:spLocks/>
              </p:cNvSpPr>
              <p:nvPr/>
            </p:nvSpPr>
            <p:spPr bwMode="auto">
              <a:xfrm>
                <a:off x="-8159750" y="-2909888"/>
                <a:ext cx="1225550" cy="925513"/>
              </a:xfrm>
              <a:custGeom>
                <a:avLst/>
                <a:gdLst>
                  <a:gd name="T0" fmla="*/ 0 w 772"/>
                  <a:gd name="T1" fmla="*/ 583 h 583"/>
                  <a:gd name="T2" fmla="*/ 0 w 772"/>
                  <a:gd name="T3" fmla="*/ 583 h 583"/>
                  <a:gd name="T4" fmla="*/ 772 w 772"/>
                  <a:gd name="T5" fmla="*/ 0 h 583"/>
                  <a:gd name="T6" fmla="*/ 772 w 772"/>
                  <a:gd name="T7" fmla="*/ 0 h 583"/>
                  <a:gd name="T8" fmla="*/ 0 w 772"/>
                  <a:gd name="T9" fmla="*/ 583 h 583"/>
                </a:gdLst>
                <a:ahLst/>
                <a:cxnLst>
                  <a:cxn ang="0">
                    <a:pos x="T0" y="T1"/>
                  </a:cxn>
                  <a:cxn ang="0">
                    <a:pos x="T2" y="T3"/>
                  </a:cxn>
                  <a:cxn ang="0">
                    <a:pos x="T4" y="T5"/>
                  </a:cxn>
                  <a:cxn ang="0">
                    <a:pos x="T6" y="T7"/>
                  </a:cxn>
                  <a:cxn ang="0">
                    <a:pos x="T8" y="T9"/>
                  </a:cxn>
                </a:cxnLst>
                <a:rect l="0" t="0" r="r" b="b"/>
                <a:pathLst>
                  <a:path w="772" h="583">
                    <a:moveTo>
                      <a:pt x="0" y="583"/>
                    </a:moveTo>
                    <a:lnTo>
                      <a:pt x="0" y="583"/>
                    </a:lnTo>
                    <a:lnTo>
                      <a:pt x="772" y="0"/>
                    </a:lnTo>
                    <a:lnTo>
                      <a:pt x="772" y="0"/>
                    </a:lnTo>
                    <a:lnTo>
                      <a:pt x="0" y="58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5" name="Freeform 384"/>
              <p:cNvSpPr>
                <a:spLocks noEditPoints="1"/>
              </p:cNvSpPr>
              <p:nvPr/>
            </p:nvSpPr>
            <p:spPr bwMode="auto">
              <a:xfrm>
                <a:off x="-5465763" y="-4110038"/>
                <a:ext cx="1797050" cy="569913"/>
              </a:xfrm>
              <a:custGeom>
                <a:avLst/>
                <a:gdLst>
                  <a:gd name="T0" fmla="*/ 2358 w 2358"/>
                  <a:gd name="T1" fmla="*/ 748 h 748"/>
                  <a:gd name="T2" fmla="*/ 1 w 2358"/>
                  <a:gd name="T3" fmla="*/ 748 h 748"/>
                  <a:gd name="T4" fmla="*/ 247 w 2358"/>
                  <a:gd name="T5" fmla="*/ 0 h 748"/>
                  <a:gd name="T6" fmla="*/ 1489 w 2358"/>
                  <a:gd name="T7" fmla="*/ 0 h 748"/>
                  <a:gd name="T8" fmla="*/ 2358 w 2358"/>
                  <a:gd name="T9" fmla="*/ 748 h 748"/>
                  <a:gd name="T10" fmla="*/ 1 w 2358"/>
                  <a:gd name="T11" fmla="*/ 748 h 748"/>
                  <a:gd name="T12" fmla="*/ 0 w 2358"/>
                  <a:gd name="T13" fmla="*/ 748 h 748"/>
                  <a:gd name="T14" fmla="*/ 0 w 2358"/>
                  <a:gd name="T15" fmla="*/ 747 h 748"/>
                  <a:gd name="T16" fmla="*/ 0 w 2358"/>
                  <a:gd name="T17" fmla="*/ 747 h 748"/>
                  <a:gd name="T18" fmla="*/ 1 w 2358"/>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8" h="748">
                    <a:moveTo>
                      <a:pt x="2358" y="748"/>
                    </a:moveTo>
                    <a:lnTo>
                      <a:pt x="1" y="748"/>
                    </a:lnTo>
                    <a:lnTo>
                      <a:pt x="247" y="0"/>
                    </a:lnTo>
                    <a:lnTo>
                      <a:pt x="1489" y="0"/>
                    </a:lnTo>
                    <a:lnTo>
                      <a:pt x="2358" y="748"/>
                    </a:lnTo>
                    <a:moveTo>
                      <a:pt x="1" y="748"/>
                    </a:moveTo>
                    <a:lnTo>
                      <a:pt x="0" y="748"/>
                    </a:lnTo>
                    <a:lnTo>
                      <a:pt x="0" y="747"/>
                    </a:lnTo>
                    <a:lnTo>
                      <a:pt x="0" y="747"/>
                    </a:lnTo>
                    <a:lnTo>
                      <a:pt x="1"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6" name="Freeform 385"/>
              <p:cNvSpPr>
                <a:spLocks/>
              </p:cNvSpPr>
              <p:nvPr/>
            </p:nvSpPr>
            <p:spPr bwMode="auto">
              <a:xfrm>
                <a:off x="-4330700" y="-4110038"/>
                <a:ext cx="1114425" cy="569913"/>
              </a:xfrm>
              <a:custGeom>
                <a:avLst/>
                <a:gdLst>
                  <a:gd name="T0" fmla="*/ 417 w 702"/>
                  <a:gd name="T1" fmla="*/ 359 h 359"/>
                  <a:gd name="T2" fmla="*/ 417 w 702"/>
                  <a:gd name="T3" fmla="*/ 359 h 359"/>
                  <a:gd name="T4" fmla="*/ 417 w 702"/>
                  <a:gd name="T5" fmla="*/ 359 h 359"/>
                  <a:gd name="T6" fmla="*/ 0 w 702"/>
                  <a:gd name="T7" fmla="*/ 0 h 359"/>
                  <a:gd name="T8" fmla="*/ 702 w 702"/>
                  <a:gd name="T9" fmla="*/ 0 h 359"/>
                  <a:gd name="T10" fmla="*/ 417 w 702"/>
                  <a:gd name="T11" fmla="*/ 359 h 359"/>
                  <a:gd name="T12" fmla="*/ 417 w 702"/>
                  <a:gd name="T13" fmla="*/ 359 h 359"/>
                  <a:gd name="T14" fmla="*/ 417 w 702"/>
                  <a:gd name="T15" fmla="*/ 359 h 359"/>
                  <a:gd name="T16" fmla="*/ 417 w 702"/>
                  <a:gd name="T17"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2" h="359">
                    <a:moveTo>
                      <a:pt x="417" y="359"/>
                    </a:moveTo>
                    <a:lnTo>
                      <a:pt x="417" y="359"/>
                    </a:lnTo>
                    <a:lnTo>
                      <a:pt x="417" y="359"/>
                    </a:lnTo>
                    <a:lnTo>
                      <a:pt x="0" y="0"/>
                    </a:lnTo>
                    <a:lnTo>
                      <a:pt x="702" y="0"/>
                    </a:lnTo>
                    <a:lnTo>
                      <a:pt x="417" y="359"/>
                    </a:lnTo>
                    <a:lnTo>
                      <a:pt x="417" y="359"/>
                    </a:lnTo>
                    <a:lnTo>
                      <a:pt x="417" y="359"/>
                    </a:lnTo>
                    <a:lnTo>
                      <a:pt x="417"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7" name="Freeform 386"/>
              <p:cNvSpPr>
                <a:spLocks/>
              </p:cNvSpPr>
              <p:nvPr/>
            </p:nvSpPr>
            <p:spPr bwMode="auto">
              <a:xfrm>
                <a:off x="-4330700" y="-4110038"/>
                <a:ext cx="661988" cy="569913"/>
              </a:xfrm>
              <a:custGeom>
                <a:avLst/>
                <a:gdLst>
                  <a:gd name="T0" fmla="*/ 417 w 417"/>
                  <a:gd name="T1" fmla="*/ 359 h 359"/>
                  <a:gd name="T2" fmla="*/ 417 w 417"/>
                  <a:gd name="T3" fmla="*/ 359 h 359"/>
                  <a:gd name="T4" fmla="*/ 0 w 417"/>
                  <a:gd name="T5" fmla="*/ 0 h 359"/>
                  <a:gd name="T6" fmla="*/ 0 w 417"/>
                  <a:gd name="T7" fmla="*/ 0 h 359"/>
                  <a:gd name="T8" fmla="*/ 417 w 417"/>
                  <a:gd name="T9" fmla="*/ 359 h 359"/>
                </a:gdLst>
                <a:ahLst/>
                <a:cxnLst>
                  <a:cxn ang="0">
                    <a:pos x="T0" y="T1"/>
                  </a:cxn>
                  <a:cxn ang="0">
                    <a:pos x="T2" y="T3"/>
                  </a:cxn>
                  <a:cxn ang="0">
                    <a:pos x="T4" y="T5"/>
                  </a:cxn>
                  <a:cxn ang="0">
                    <a:pos x="T6" y="T7"/>
                  </a:cxn>
                  <a:cxn ang="0">
                    <a:pos x="T8" y="T9"/>
                  </a:cxn>
                </a:cxnLst>
                <a:rect l="0" t="0" r="r" b="b"/>
                <a:pathLst>
                  <a:path w="417" h="359">
                    <a:moveTo>
                      <a:pt x="417" y="359"/>
                    </a:moveTo>
                    <a:lnTo>
                      <a:pt x="417" y="359"/>
                    </a:lnTo>
                    <a:lnTo>
                      <a:pt x="0" y="0"/>
                    </a:lnTo>
                    <a:lnTo>
                      <a:pt x="0" y="0"/>
                    </a:lnTo>
                    <a:lnTo>
                      <a:pt x="417"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8" name="Freeform 387"/>
              <p:cNvSpPr>
                <a:spLocks/>
              </p:cNvSpPr>
              <p:nvPr/>
            </p:nvSpPr>
            <p:spPr bwMode="auto">
              <a:xfrm>
                <a:off x="-5794375" y="-4110038"/>
                <a:ext cx="517525" cy="569913"/>
              </a:xfrm>
              <a:custGeom>
                <a:avLst/>
                <a:gdLst>
                  <a:gd name="T0" fmla="*/ 207 w 326"/>
                  <a:gd name="T1" fmla="*/ 359 h 359"/>
                  <a:gd name="T2" fmla="*/ 0 w 326"/>
                  <a:gd name="T3" fmla="*/ 0 h 359"/>
                  <a:gd name="T4" fmla="*/ 326 w 326"/>
                  <a:gd name="T5" fmla="*/ 0 h 359"/>
                  <a:gd name="T6" fmla="*/ 207 w 326"/>
                  <a:gd name="T7" fmla="*/ 359 h 359"/>
                </a:gdLst>
                <a:ahLst/>
                <a:cxnLst>
                  <a:cxn ang="0">
                    <a:pos x="T0" y="T1"/>
                  </a:cxn>
                  <a:cxn ang="0">
                    <a:pos x="T2" y="T3"/>
                  </a:cxn>
                  <a:cxn ang="0">
                    <a:pos x="T4" y="T5"/>
                  </a:cxn>
                  <a:cxn ang="0">
                    <a:pos x="T6" y="T7"/>
                  </a:cxn>
                </a:cxnLst>
                <a:rect l="0" t="0" r="r" b="b"/>
                <a:pathLst>
                  <a:path w="326" h="359">
                    <a:moveTo>
                      <a:pt x="207" y="359"/>
                    </a:moveTo>
                    <a:lnTo>
                      <a:pt x="0" y="0"/>
                    </a:lnTo>
                    <a:lnTo>
                      <a:pt x="326" y="0"/>
                    </a:lnTo>
                    <a:lnTo>
                      <a:pt x="207" y="35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9" name="Freeform 388"/>
              <p:cNvSpPr>
                <a:spLocks/>
              </p:cNvSpPr>
              <p:nvPr/>
            </p:nvSpPr>
            <p:spPr bwMode="auto">
              <a:xfrm>
                <a:off x="-5465763" y="-4110038"/>
                <a:ext cx="188913" cy="569913"/>
              </a:xfrm>
              <a:custGeom>
                <a:avLst/>
                <a:gdLst>
                  <a:gd name="T0" fmla="*/ 0 w 119"/>
                  <a:gd name="T1" fmla="*/ 359 h 359"/>
                  <a:gd name="T2" fmla="*/ 0 w 119"/>
                  <a:gd name="T3" fmla="*/ 359 h 359"/>
                  <a:gd name="T4" fmla="*/ 0 w 119"/>
                  <a:gd name="T5" fmla="*/ 359 h 359"/>
                  <a:gd name="T6" fmla="*/ 119 w 119"/>
                  <a:gd name="T7" fmla="*/ 0 h 359"/>
                  <a:gd name="T8" fmla="*/ 119 w 119"/>
                  <a:gd name="T9" fmla="*/ 0 h 359"/>
                  <a:gd name="T10" fmla="*/ 0 w 119"/>
                  <a:gd name="T11" fmla="*/ 359 h 359"/>
                </a:gdLst>
                <a:ahLst/>
                <a:cxnLst>
                  <a:cxn ang="0">
                    <a:pos x="T0" y="T1"/>
                  </a:cxn>
                  <a:cxn ang="0">
                    <a:pos x="T2" y="T3"/>
                  </a:cxn>
                  <a:cxn ang="0">
                    <a:pos x="T4" y="T5"/>
                  </a:cxn>
                  <a:cxn ang="0">
                    <a:pos x="T6" y="T7"/>
                  </a:cxn>
                  <a:cxn ang="0">
                    <a:pos x="T8" y="T9"/>
                  </a:cxn>
                  <a:cxn ang="0">
                    <a:pos x="T10" y="T11"/>
                  </a:cxn>
                </a:cxnLst>
                <a:rect l="0" t="0" r="r" b="b"/>
                <a:pathLst>
                  <a:path w="119" h="359">
                    <a:moveTo>
                      <a:pt x="0" y="359"/>
                    </a:moveTo>
                    <a:lnTo>
                      <a:pt x="0" y="359"/>
                    </a:lnTo>
                    <a:lnTo>
                      <a:pt x="0" y="359"/>
                    </a:lnTo>
                    <a:lnTo>
                      <a:pt x="119" y="0"/>
                    </a:lnTo>
                    <a:lnTo>
                      <a:pt x="119"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0" name="Freeform 389"/>
              <p:cNvSpPr>
                <a:spLocks noEditPoints="1"/>
              </p:cNvSpPr>
              <p:nvPr/>
            </p:nvSpPr>
            <p:spPr bwMode="auto">
              <a:xfrm>
                <a:off x="-8159750" y="-428626"/>
                <a:ext cx="1795463" cy="1554163"/>
              </a:xfrm>
              <a:custGeom>
                <a:avLst/>
                <a:gdLst>
                  <a:gd name="T0" fmla="*/ 2358 w 2358"/>
                  <a:gd name="T1" fmla="*/ 2041 h 2041"/>
                  <a:gd name="T2" fmla="*/ 1 w 2358"/>
                  <a:gd name="T3" fmla="*/ 2041 h 2041"/>
                  <a:gd name="T4" fmla="*/ 1179 w 2358"/>
                  <a:gd name="T5" fmla="*/ 0 h 2041"/>
                  <a:gd name="T6" fmla="*/ 1179 w 2358"/>
                  <a:gd name="T7" fmla="*/ 0 h 2041"/>
                  <a:gd name="T8" fmla="*/ 1179 w 2358"/>
                  <a:gd name="T9" fmla="*/ 0 h 2041"/>
                  <a:gd name="T10" fmla="*/ 1507 w 2358"/>
                  <a:gd name="T11" fmla="*/ 567 h 2041"/>
                  <a:gd name="T12" fmla="*/ 2358 w 2358"/>
                  <a:gd name="T13" fmla="*/ 2041 h 2041"/>
                  <a:gd name="T14" fmla="*/ 1 w 2358"/>
                  <a:gd name="T15" fmla="*/ 2041 h 2041"/>
                  <a:gd name="T16" fmla="*/ 0 w 2358"/>
                  <a:gd name="T17" fmla="*/ 2041 h 2041"/>
                  <a:gd name="T18" fmla="*/ 1 w 2358"/>
                  <a:gd name="T19" fmla="*/ 2041 h 2041"/>
                  <a:gd name="T20" fmla="*/ 1 w 2358"/>
                  <a:gd name="T21" fmla="*/ 2041 h 2041"/>
                  <a:gd name="T22" fmla="*/ 1179 w 2358"/>
                  <a:gd name="T23" fmla="*/ 0 h 2041"/>
                  <a:gd name="T24" fmla="*/ 1179 w 2358"/>
                  <a:gd name="T25" fmla="*/ 0 h 2041"/>
                  <a:gd name="T26" fmla="*/ 1179 w 2358"/>
                  <a:gd name="T27" fmla="*/ 0 h 2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8" h="2041">
                    <a:moveTo>
                      <a:pt x="2358" y="2041"/>
                    </a:moveTo>
                    <a:lnTo>
                      <a:pt x="1" y="2041"/>
                    </a:lnTo>
                    <a:lnTo>
                      <a:pt x="1179" y="0"/>
                    </a:lnTo>
                    <a:lnTo>
                      <a:pt x="1179" y="0"/>
                    </a:lnTo>
                    <a:lnTo>
                      <a:pt x="1179" y="0"/>
                    </a:lnTo>
                    <a:lnTo>
                      <a:pt x="1507" y="567"/>
                    </a:lnTo>
                    <a:lnTo>
                      <a:pt x="2358" y="2041"/>
                    </a:lnTo>
                    <a:moveTo>
                      <a:pt x="1" y="2041"/>
                    </a:moveTo>
                    <a:lnTo>
                      <a:pt x="0" y="2041"/>
                    </a:lnTo>
                    <a:lnTo>
                      <a:pt x="1" y="2041"/>
                    </a:lnTo>
                    <a:lnTo>
                      <a:pt x="1" y="2041"/>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1" name="Freeform 390"/>
              <p:cNvSpPr>
                <a:spLocks/>
              </p:cNvSpPr>
              <p:nvPr/>
            </p:nvSpPr>
            <p:spPr bwMode="auto">
              <a:xfrm>
                <a:off x="-8159750" y="-1984376"/>
                <a:ext cx="2633663" cy="1555750"/>
              </a:xfrm>
              <a:custGeom>
                <a:avLst/>
                <a:gdLst>
                  <a:gd name="T0" fmla="*/ 566 w 1659"/>
                  <a:gd name="T1" fmla="*/ 980 h 980"/>
                  <a:gd name="T2" fmla="*/ 566 w 1659"/>
                  <a:gd name="T3" fmla="*/ 980 h 980"/>
                  <a:gd name="T4" fmla="*/ 307 w 1659"/>
                  <a:gd name="T5" fmla="*/ 532 h 980"/>
                  <a:gd name="T6" fmla="*/ 0 w 1659"/>
                  <a:gd name="T7" fmla="*/ 0 h 980"/>
                  <a:gd name="T8" fmla="*/ 0 w 1659"/>
                  <a:gd name="T9" fmla="*/ 0 h 980"/>
                  <a:gd name="T10" fmla="*/ 1659 w 1659"/>
                  <a:gd name="T11" fmla="*/ 365 h 980"/>
                  <a:gd name="T12" fmla="*/ 566 w 1659"/>
                  <a:gd name="T13" fmla="*/ 980 h 980"/>
                </a:gdLst>
                <a:ahLst/>
                <a:cxnLst>
                  <a:cxn ang="0">
                    <a:pos x="T0" y="T1"/>
                  </a:cxn>
                  <a:cxn ang="0">
                    <a:pos x="T2" y="T3"/>
                  </a:cxn>
                  <a:cxn ang="0">
                    <a:pos x="T4" y="T5"/>
                  </a:cxn>
                  <a:cxn ang="0">
                    <a:pos x="T6" y="T7"/>
                  </a:cxn>
                  <a:cxn ang="0">
                    <a:pos x="T8" y="T9"/>
                  </a:cxn>
                  <a:cxn ang="0">
                    <a:pos x="T10" y="T11"/>
                  </a:cxn>
                  <a:cxn ang="0">
                    <a:pos x="T12" y="T13"/>
                  </a:cxn>
                </a:cxnLst>
                <a:rect l="0" t="0" r="r" b="b"/>
                <a:pathLst>
                  <a:path w="1659" h="980">
                    <a:moveTo>
                      <a:pt x="566" y="980"/>
                    </a:moveTo>
                    <a:lnTo>
                      <a:pt x="566" y="980"/>
                    </a:lnTo>
                    <a:lnTo>
                      <a:pt x="307" y="532"/>
                    </a:lnTo>
                    <a:lnTo>
                      <a:pt x="0" y="0"/>
                    </a:lnTo>
                    <a:lnTo>
                      <a:pt x="0" y="0"/>
                    </a:lnTo>
                    <a:lnTo>
                      <a:pt x="1659" y="36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2" name="Freeform 391"/>
              <p:cNvSpPr>
                <a:spLocks/>
              </p:cNvSpPr>
              <p:nvPr/>
            </p:nvSpPr>
            <p:spPr bwMode="auto">
              <a:xfrm>
                <a:off x="-7261225" y="-428626"/>
                <a:ext cx="1735138" cy="1554163"/>
              </a:xfrm>
              <a:custGeom>
                <a:avLst/>
                <a:gdLst>
                  <a:gd name="T0" fmla="*/ 565 w 1093"/>
                  <a:gd name="T1" fmla="*/ 979 h 979"/>
                  <a:gd name="T2" fmla="*/ 157 w 1093"/>
                  <a:gd name="T3" fmla="*/ 272 h 979"/>
                  <a:gd name="T4" fmla="*/ 0 w 1093"/>
                  <a:gd name="T5" fmla="*/ 0 h 979"/>
                  <a:gd name="T6" fmla="*/ 1093 w 1093"/>
                  <a:gd name="T7" fmla="*/ 684 h 979"/>
                  <a:gd name="T8" fmla="*/ 1093 w 1093"/>
                  <a:gd name="T9" fmla="*/ 684 h 979"/>
                  <a:gd name="T10" fmla="*/ 1093 w 1093"/>
                  <a:gd name="T11" fmla="*/ 684 h 979"/>
                  <a:gd name="T12" fmla="*/ 1093 w 1093"/>
                  <a:gd name="T13" fmla="*/ 684 h 979"/>
                  <a:gd name="T14" fmla="*/ 1093 w 1093"/>
                  <a:gd name="T15" fmla="*/ 684 h 979"/>
                  <a:gd name="T16" fmla="*/ 965 w 1093"/>
                  <a:gd name="T17" fmla="*/ 756 h 979"/>
                  <a:gd name="T18" fmla="*/ 565 w 1093"/>
                  <a:gd name="T19" fmla="*/ 979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3" h="979">
                    <a:moveTo>
                      <a:pt x="565" y="979"/>
                    </a:moveTo>
                    <a:lnTo>
                      <a:pt x="157" y="272"/>
                    </a:lnTo>
                    <a:lnTo>
                      <a:pt x="0" y="0"/>
                    </a:lnTo>
                    <a:lnTo>
                      <a:pt x="1093" y="684"/>
                    </a:lnTo>
                    <a:lnTo>
                      <a:pt x="1093" y="684"/>
                    </a:lnTo>
                    <a:lnTo>
                      <a:pt x="1093" y="684"/>
                    </a:lnTo>
                    <a:lnTo>
                      <a:pt x="1093" y="684"/>
                    </a:lnTo>
                    <a:lnTo>
                      <a:pt x="1093" y="684"/>
                    </a:lnTo>
                    <a:lnTo>
                      <a:pt x="965" y="756"/>
                    </a:lnTo>
                    <a:lnTo>
                      <a:pt x="565" y="97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3" name="Freeform 392"/>
              <p:cNvSpPr>
                <a:spLocks noEditPoints="1"/>
              </p:cNvSpPr>
              <p:nvPr/>
            </p:nvSpPr>
            <p:spPr bwMode="auto">
              <a:xfrm>
                <a:off x="-9456738" y="-1984376"/>
                <a:ext cx="2195513" cy="1555750"/>
              </a:xfrm>
              <a:custGeom>
                <a:avLst/>
                <a:gdLst>
                  <a:gd name="T0" fmla="*/ 2879 w 2879"/>
                  <a:gd name="T1" fmla="*/ 2042 h 2042"/>
                  <a:gd name="T2" fmla="*/ 0 w 2879"/>
                  <a:gd name="T3" fmla="*/ 1320 h 2042"/>
                  <a:gd name="T4" fmla="*/ 444 w 2879"/>
                  <a:gd name="T5" fmla="*/ 976 h 2042"/>
                  <a:gd name="T6" fmla="*/ 1701 w 2879"/>
                  <a:gd name="T7" fmla="*/ 1 h 2042"/>
                  <a:gd name="T8" fmla="*/ 2340 w 2879"/>
                  <a:gd name="T9" fmla="*/ 1109 h 2042"/>
                  <a:gd name="T10" fmla="*/ 2879 w 2879"/>
                  <a:gd name="T11" fmla="*/ 2042 h 2042"/>
                  <a:gd name="T12" fmla="*/ 2879 w 2879"/>
                  <a:gd name="T13" fmla="*/ 2042 h 2042"/>
                  <a:gd name="T14" fmla="*/ 1701 w 2879"/>
                  <a:gd name="T15" fmla="*/ 1 h 2042"/>
                  <a:gd name="T16" fmla="*/ 1700 w 2879"/>
                  <a:gd name="T17" fmla="*/ 1 h 2042"/>
                  <a:gd name="T18" fmla="*/ 1701 w 2879"/>
                  <a:gd name="T19" fmla="*/ 0 h 2042"/>
                  <a:gd name="T20" fmla="*/ 1701 w 2879"/>
                  <a:gd name="T21" fmla="*/ 1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9" h="2042">
                    <a:moveTo>
                      <a:pt x="2879" y="2042"/>
                    </a:moveTo>
                    <a:lnTo>
                      <a:pt x="0" y="1320"/>
                    </a:lnTo>
                    <a:lnTo>
                      <a:pt x="444" y="976"/>
                    </a:lnTo>
                    <a:lnTo>
                      <a:pt x="1701" y="1"/>
                    </a:lnTo>
                    <a:lnTo>
                      <a:pt x="2340" y="1109"/>
                    </a:lnTo>
                    <a:lnTo>
                      <a:pt x="2879" y="2042"/>
                    </a:lnTo>
                    <a:lnTo>
                      <a:pt x="2879" y="2042"/>
                    </a:lnTo>
                    <a:moveTo>
                      <a:pt x="1701" y="1"/>
                    </a:moveTo>
                    <a:lnTo>
                      <a:pt x="1700" y="1"/>
                    </a:lnTo>
                    <a:lnTo>
                      <a:pt x="1701" y="0"/>
                    </a:lnTo>
                    <a:lnTo>
                      <a:pt x="170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4" name="Freeform 393"/>
              <p:cNvSpPr>
                <a:spLocks/>
              </p:cNvSpPr>
              <p:nvPr/>
            </p:nvSpPr>
            <p:spPr bwMode="auto">
              <a:xfrm>
                <a:off x="-9117013" y="-1984376"/>
                <a:ext cx="957263" cy="742950"/>
              </a:xfrm>
              <a:custGeom>
                <a:avLst/>
                <a:gdLst>
                  <a:gd name="T0" fmla="*/ 0 w 603"/>
                  <a:gd name="T1" fmla="*/ 468 h 468"/>
                  <a:gd name="T2" fmla="*/ 603 w 603"/>
                  <a:gd name="T3" fmla="*/ 0 h 468"/>
                  <a:gd name="T4" fmla="*/ 603 w 603"/>
                  <a:gd name="T5" fmla="*/ 0 h 468"/>
                  <a:gd name="T6" fmla="*/ 603 w 603"/>
                  <a:gd name="T7" fmla="*/ 0 h 468"/>
                  <a:gd name="T8" fmla="*/ 0 w 603"/>
                  <a:gd name="T9" fmla="*/ 468 h 468"/>
                </a:gdLst>
                <a:ahLst/>
                <a:cxnLst>
                  <a:cxn ang="0">
                    <a:pos x="T0" y="T1"/>
                  </a:cxn>
                  <a:cxn ang="0">
                    <a:pos x="T2" y="T3"/>
                  </a:cxn>
                  <a:cxn ang="0">
                    <a:pos x="T4" y="T5"/>
                  </a:cxn>
                  <a:cxn ang="0">
                    <a:pos x="T6" y="T7"/>
                  </a:cxn>
                  <a:cxn ang="0">
                    <a:pos x="T8" y="T9"/>
                  </a:cxn>
                </a:cxnLst>
                <a:rect l="0" t="0" r="r" b="b"/>
                <a:pathLst>
                  <a:path w="603" h="468">
                    <a:moveTo>
                      <a:pt x="0" y="468"/>
                    </a:moveTo>
                    <a:lnTo>
                      <a:pt x="603" y="0"/>
                    </a:lnTo>
                    <a:lnTo>
                      <a:pt x="603" y="0"/>
                    </a:lnTo>
                    <a:lnTo>
                      <a:pt x="603" y="0"/>
                    </a:lnTo>
                    <a:lnTo>
                      <a:pt x="0" y="468"/>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5" name="Freeform 394"/>
              <p:cNvSpPr>
                <a:spLocks/>
              </p:cNvSpPr>
              <p:nvPr/>
            </p:nvSpPr>
            <p:spPr bwMode="auto">
              <a:xfrm>
                <a:off x="-8159750" y="-1984376"/>
                <a:ext cx="487363" cy="844550"/>
              </a:xfrm>
              <a:custGeom>
                <a:avLst/>
                <a:gdLst>
                  <a:gd name="T0" fmla="*/ 307 w 307"/>
                  <a:gd name="T1" fmla="*/ 532 h 532"/>
                  <a:gd name="T2" fmla="*/ 0 w 307"/>
                  <a:gd name="T3" fmla="*/ 0 h 532"/>
                  <a:gd name="T4" fmla="*/ 0 w 307"/>
                  <a:gd name="T5" fmla="*/ 0 h 532"/>
                  <a:gd name="T6" fmla="*/ 0 w 307"/>
                  <a:gd name="T7" fmla="*/ 0 h 532"/>
                  <a:gd name="T8" fmla="*/ 0 w 307"/>
                  <a:gd name="T9" fmla="*/ 0 h 532"/>
                  <a:gd name="T10" fmla="*/ 307 w 307"/>
                  <a:gd name="T11" fmla="*/ 532 h 532"/>
                </a:gdLst>
                <a:ahLst/>
                <a:cxnLst>
                  <a:cxn ang="0">
                    <a:pos x="T0" y="T1"/>
                  </a:cxn>
                  <a:cxn ang="0">
                    <a:pos x="T2" y="T3"/>
                  </a:cxn>
                  <a:cxn ang="0">
                    <a:pos x="T4" y="T5"/>
                  </a:cxn>
                  <a:cxn ang="0">
                    <a:pos x="T6" y="T7"/>
                  </a:cxn>
                  <a:cxn ang="0">
                    <a:pos x="T8" y="T9"/>
                  </a:cxn>
                  <a:cxn ang="0">
                    <a:pos x="T10" y="T11"/>
                  </a:cxn>
                </a:cxnLst>
                <a:rect l="0" t="0" r="r" b="b"/>
                <a:pathLst>
                  <a:path w="307" h="532">
                    <a:moveTo>
                      <a:pt x="307" y="532"/>
                    </a:moveTo>
                    <a:lnTo>
                      <a:pt x="0" y="0"/>
                    </a:lnTo>
                    <a:lnTo>
                      <a:pt x="0" y="0"/>
                    </a:lnTo>
                    <a:lnTo>
                      <a:pt x="0" y="0"/>
                    </a:lnTo>
                    <a:lnTo>
                      <a:pt x="0" y="0"/>
                    </a:lnTo>
                    <a:lnTo>
                      <a:pt x="307" y="5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6" name="Freeform 395"/>
              <p:cNvSpPr>
                <a:spLocks noEditPoints="1"/>
              </p:cNvSpPr>
              <p:nvPr/>
            </p:nvSpPr>
            <p:spPr bwMode="auto">
              <a:xfrm>
                <a:off x="-7261225" y="-1404938"/>
                <a:ext cx="1735138" cy="2062163"/>
              </a:xfrm>
              <a:custGeom>
                <a:avLst/>
                <a:gdLst>
                  <a:gd name="T0" fmla="*/ 2278 w 2278"/>
                  <a:gd name="T1" fmla="*/ 2707 h 2707"/>
                  <a:gd name="T2" fmla="*/ 2278 w 2278"/>
                  <a:gd name="T3" fmla="*/ 2707 h 2707"/>
                  <a:gd name="T4" fmla="*/ 2278 w 2278"/>
                  <a:gd name="T5" fmla="*/ 2707 h 2707"/>
                  <a:gd name="T6" fmla="*/ 2278 w 2278"/>
                  <a:gd name="T7" fmla="*/ 2707 h 2707"/>
                  <a:gd name="T8" fmla="*/ 2278 w 2278"/>
                  <a:gd name="T9" fmla="*/ 2707 h 2707"/>
                  <a:gd name="T10" fmla="*/ 0 w 2278"/>
                  <a:gd name="T11" fmla="*/ 1281 h 2707"/>
                  <a:gd name="T12" fmla="*/ 0 w 2278"/>
                  <a:gd name="T13" fmla="*/ 1281 h 2707"/>
                  <a:gd name="T14" fmla="*/ 2278 w 2278"/>
                  <a:gd name="T15" fmla="*/ 0 h 2707"/>
                  <a:gd name="T16" fmla="*/ 2278 w 2278"/>
                  <a:gd name="T17" fmla="*/ 2707 h 2707"/>
                  <a:gd name="T18" fmla="*/ 2278 w 2278"/>
                  <a:gd name="T19" fmla="*/ 2707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8" h="2707">
                    <a:moveTo>
                      <a:pt x="2278" y="2707"/>
                    </a:moveTo>
                    <a:lnTo>
                      <a:pt x="2278" y="2707"/>
                    </a:lnTo>
                    <a:lnTo>
                      <a:pt x="2278" y="2707"/>
                    </a:lnTo>
                    <a:lnTo>
                      <a:pt x="2278" y="2707"/>
                    </a:lnTo>
                    <a:moveTo>
                      <a:pt x="2278" y="2707"/>
                    </a:moveTo>
                    <a:lnTo>
                      <a:pt x="0" y="1281"/>
                    </a:lnTo>
                    <a:lnTo>
                      <a:pt x="0" y="1281"/>
                    </a:lnTo>
                    <a:lnTo>
                      <a:pt x="2278" y="0"/>
                    </a:lnTo>
                    <a:lnTo>
                      <a:pt x="2278" y="2707"/>
                    </a:lnTo>
                    <a:lnTo>
                      <a:pt x="2278" y="2707"/>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7" name="Freeform 396"/>
              <p:cNvSpPr>
                <a:spLocks/>
              </p:cNvSpPr>
              <p:nvPr/>
            </p:nvSpPr>
            <p:spPr bwMode="auto">
              <a:xfrm>
                <a:off x="-9456738" y="-979488"/>
                <a:ext cx="2195513" cy="2105025"/>
              </a:xfrm>
              <a:custGeom>
                <a:avLst/>
                <a:gdLst>
                  <a:gd name="T0" fmla="*/ 817 w 1383"/>
                  <a:gd name="T1" fmla="*/ 1326 h 1326"/>
                  <a:gd name="T2" fmla="*/ 0 w 1383"/>
                  <a:gd name="T3" fmla="*/ 0 h 1326"/>
                  <a:gd name="T4" fmla="*/ 1383 w 1383"/>
                  <a:gd name="T5" fmla="*/ 347 h 1326"/>
                  <a:gd name="T6" fmla="*/ 817 w 1383"/>
                  <a:gd name="T7" fmla="*/ 1326 h 1326"/>
                </a:gdLst>
                <a:ahLst/>
                <a:cxnLst>
                  <a:cxn ang="0">
                    <a:pos x="T0" y="T1"/>
                  </a:cxn>
                  <a:cxn ang="0">
                    <a:pos x="T2" y="T3"/>
                  </a:cxn>
                  <a:cxn ang="0">
                    <a:pos x="T4" y="T5"/>
                  </a:cxn>
                  <a:cxn ang="0">
                    <a:pos x="T6" y="T7"/>
                  </a:cxn>
                </a:cxnLst>
                <a:rect l="0" t="0" r="r" b="b"/>
                <a:pathLst>
                  <a:path w="1383" h="1326">
                    <a:moveTo>
                      <a:pt x="817" y="1326"/>
                    </a:moveTo>
                    <a:lnTo>
                      <a:pt x="0" y="0"/>
                    </a:lnTo>
                    <a:lnTo>
                      <a:pt x="1383" y="347"/>
                    </a:lnTo>
                    <a:lnTo>
                      <a:pt x="817" y="132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8" name="Freeform 397"/>
              <p:cNvSpPr>
                <a:spLocks/>
              </p:cNvSpPr>
              <p:nvPr/>
            </p:nvSpPr>
            <p:spPr bwMode="auto">
              <a:xfrm>
                <a:off x="-8159750" y="-428626"/>
                <a:ext cx="898525" cy="1554163"/>
              </a:xfrm>
              <a:custGeom>
                <a:avLst/>
                <a:gdLst>
                  <a:gd name="T0" fmla="*/ 0 w 566"/>
                  <a:gd name="T1" fmla="*/ 979 h 979"/>
                  <a:gd name="T2" fmla="*/ 0 w 566"/>
                  <a:gd name="T3" fmla="*/ 979 h 979"/>
                  <a:gd name="T4" fmla="*/ 0 w 566"/>
                  <a:gd name="T5" fmla="*/ 979 h 979"/>
                  <a:gd name="T6" fmla="*/ 566 w 566"/>
                  <a:gd name="T7" fmla="*/ 0 h 979"/>
                  <a:gd name="T8" fmla="*/ 566 w 566"/>
                  <a:gd name="T9" fmla="*/ 0 h 979"/>
                  <a:gd name="T10" fmla="*/ 0 w 566"/>
                  <a:gd name="T11" fmla="*/ 979 h 979"/>
                </a:gdLst>
                <a:ahLst/>
                <a:cxnLst>
                  <a:cxn ang="0">
                    <a:pos x="T0" y="T1"/>
                  </a:cxn>
                  <a:cxn ang="0">
                    <a:pos x="T2" y="T3"/>
                  </a:cxn>
                  <a:cxn ang="0">
                    <a:pos x="T4" y="T5"/>
                  </a:cxn>
                  <a:cxn ang="0">
                    <a:pos x="T6" y="T7"/>
                  </a:cxn>
                  <a:cxn ang="0">
                    <a:pos x="T8" y="T9"/>
                  </a:cxn>
                  <a:cxn ang="0">
                    <a:pos x="T10" y="T11"/>
                  </a:cxn>
                </a:cxnLst>
                <a:rect l="0" t="0" r="r" b="b"/>
                <a:pathLst>
                  <a:path w="566" h="979">
                    <a:moveTo>
                      <a:pt x="0" y="979"/>
                    </a:moveTo>
                    <a:lnTo>
                      <a:pt x="0" y="979"/>
                    </a:ln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9" name="Freeform 398"/>
              <p:cNvSpPr>
                <a:spLocks noEditPoints="1"/>
              </p:cNvSpPr>
              <p:nvPr/>
            </p:nvSpPr>
            <p:spPr bwMode="auto">
              <a:xfrm>
                <a:off x="-5526088" y="-1984376"/>
                <a:ext cx="2544763" cy="2641600"/>
              </a:xfrm>
              <a:custGeom>
                <a:avLst/>
                <a:gdLst>
                  <a:gd name="T0" fmla="*/ 0 w 3339"/>
                  <a:gd name="T1" fmla="*/ 3468 h 3468"/>
                  <a:gd name="T2" fmla="*/ 0 w 3339"/>
                  <a:gd name="T3" fmla="*/ 3468 h 3468"/>
                  <a:gd name="T4" fmla="*/ 0 w 3339"/>
                  <a:gd name="T5" fmla="*/ 3468 h 3468"/>
                  <a:gd name="T6" fmla="*/ 0 w 3339"/>
                  <a:gd name="T7" fmla="*/ 3468 h 3468"/>
                  <a:gd name="T8" fmla="*/ 0 w 3339"/>
                  <a:gd name="T9" fmla="*/ 3468 h 3468"/>
                  <a:gd name="T10" fmla="*/ 0 w 3339"/>
                  <a:gd name="T11" fmla="*/ 3468 h 3468"/>
                  <a:gd name="T12" fmla="*/ 0 w 3339"/>
                  <a:gd name="T13" fmla="*/ 3468 h 3468"/>
                  <a:gd name="T14" fmla="*/ 0 w 3339"/>
                  <a:gd name="T15" fmla="*/ 3468 h 3468"/>
                  <a:gd name="T16" fmla="*/ 1258 w 3339"/>
                  <a:gd name="T17" fmla="*/ 0 h 3468"/>
                  <a:gd name="T18" fmla="*/ 3339 w 3339"/>
                  <a:gd name="T19" fmla="*/ 2815 h 3468"/>
                  <a:gd name="T20" fmla="*/ 0 w 3339"/>
                  <a:gd name="T21" fmla="*/ 3468 h 3468"/>
                  <a:gd name="T22" fmla="*/ 3339 w 3339"/>
                  <a:gd name="T23" fmla="*/ 2815 h 3468"/>
                  <a:gd name="T24" fmla="*/ 3339 w 3339"/>
                  <a:gd name="T25" fmla="*/ 2815 h 3468"/>
                  <a:gd name="T26" fmla="*/ 3339 w 3339"/>
                  <a:gd name="T27" fmla="*/ 2815 h 3468"/>
                  <a:gd name="T28" fmla="*/ 1258 w 3339"/>
                  <a:gd name="T29" fmla="*/ 0 h 3468"/>
                  <a:gd name="T30" fmla="*/ 1258 w 3339"/>
                  <a:gd name="T31" fmla="*/ 0 h 3468"/>
                  <a:gd name="T32" fmla="*/ 1258 w 3339"/>
                  <a:gd name="T33" fmla="*/ 1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39" h="3468">
                    <a:moveTo>
                      <a:pt x="0" y="3468"/>
                    </a:moveTo>
                    <a:lnTo>
                      <a:pt x="0" y="3468"/>
                    </a:lnTo>
                    <a:lnTo>
                      <a:pt x="0" y="3468"/>
                    </a:lnTo>
                    <a:lnTo>
                      <a:pt x="0" y="3468"/>
                    </a:lnTo>
                    <a:lnTo>
                      <a:pt x="0" y="3468"/>
                    </a:lnTo>
                    <a:lnTo>
                      <a:pt x="0" y="3468"/>
                    </a:lnTo>
                    <a:lnTo>
                      <a:pt x="0" y="3468"/>
                    </a:lnTo>
                    <a:moveTo>
                      <a:pt x="0" y="3468"/>
                    </a:moveTo>
                    <a:lnTo>
                      <a:pt x="1258" y="0"/>
                    </a:lnTo>
                    <a:lnTo>
                      <a:pt x="3339" y="2815"/>
                    </a:lnTo>
                    <a:lnTo>
                      <a:pt x="0" y="3468"/>
                    </a:lnTo>
                    <a:moveTo>
                      <a:pt x="3339" y="2815"/>
                    </a:moveTo>
                    <a:lnTo>
                      <a:pt x="3339" y="2815"/>
                    </a:lnTo>
                    <a:lnTo>
                      <a:pt x="3339" y="2815"/>
                    </a:lnTo>
                    <a:moveTo>
                      <a:pt x="1258" y="0"/>
                    </a:moveTo>
                    <a:lnTo>
                      <a:pt x="1258" y="0"/>
                    </a:lnTo>
                    <a:lnTo>
                      <a:pt x="1258" y="1"/>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0" name="Freeform 399"/>
              <p:cNvSpPr>
                <a:spLocks/>
              </p:cNvSpPr>
              <p:nvPr/>
            </p:nvSpPr>
            <p:spPr bwMode="auto">
              <a:xfrm>
                <a:off x="-5465763" y="-3540126"/>
                <a:ext cx="1797050" cy="1555750"/>
              </a:xfrm>
              <a:custGeom>
                <a:avLst/>
                <a:gdLst>
                  <a:gd name="T0" fmla="*/ 566 w 1132"/>
                  <a:gd name="T1" fmla="*/ 980 h 980"/>
                  <a:gd name="T2" fmla="*/ 566 w 1132"/>
                  <a:gd name="T3" fmla="*/ 980 h 980"/>
                  <a:gd name="T4" fmla="*/ 0 w 1132"/>
                  <a:gd name="T5" fmla="*/ 0 h 980"/>
                  <a:gd name="T6" fmla="*/ 0 w 1132"/>
                  <a:gd name="T7" fmla="*/ 0 h 980"/>
                  <a:gd name="T8" fmla="*/ 1132 w 1132"/>
                  <a:gd name="T9" fmla="*/ 0 h 980"/>
                  <a:gd name="T10" fmla="*/ 566 w 1132"/>
                  <a:gd name="T11" fmla="*/ 980 h 980"/>
                </a:gdLst>
                <a:ahLst/>
                <a:cxnLst>
                  <a:cxn ang="0">
                    <a:pos x="T0" y="T1"/>
                  </a:cxn>
                  <a:cxn ang="0">
                    <a:pos x="T2" y="T3"/>
                  </a:cxn>
                  <a:cxn ang="0">
                    <a:pos x="T4" y="T5"/>
                  </a:cxn>
                  <a:cxn ang="0">
                    <a:pos x="T6" y="T7"/>
                  </a:cxn>
                  <a:cxn ang="0">
                    <a:pos x="T8" y="T9"/>
                  </a:cxn>
                  <a:cxn ang="0">
                    <a:pos x="T10" y="T11"/>
                  </a:cxn>
                </a:cxnLst>
                <a:rect l="0" t="0" r="r" b="b"/>
                <a:pathLst>
                  <a:path w="1132" h="980">
                    <a:moveTo>
                      <a:pt x="566" y="980"/>
                    </a:moveTo>
                    <a:lnTo>
                      <a:pt x="566" y="980"/>
                    </a:lnTo>
                    <a:lnTo>
                      <a:pt x="0" y="0"/>
                    </a:lnTo>
                    <a:lnTo>
                      <a:pt x="0" y="0"/>
                    </a:lnTo>
                    <a:lnTo>
                      <a:pt x="1132" y="0"/>
                    </a:lnTo>
                    <a:lnTo>
                      <a:pt x="566"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1" name="Freeform 400"/>
              <p:cNvSpPr>
                <a:spLocks/>
              </p:cNvSpPr>
              <p:nvPr/>
            </p:nvSpPr>
            <p:spPr bwMode="auto">
              <a:xfrm>
                <a:off x="-5465763" y="-354012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99D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2" name="Rectangle 401"/>
              <p:cNvSpPr>
                <a:spLocks noChangeArrowheads="1"/>
              </p:cNvSpPr>
              <p:nvPr/>
            </p:nvSpPr>
            <p:spPr bwMode="auto">
              <a:xfrm>
                <a:off x="-5465763" y="-3540126"/>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3" name="Freeform 402"/>
              <p:cNvSpPr>
                <a:spLocks noEditPoints="1"/>
              </p:cNvSpPr>
              <p:nvPr/>
            </p:nvSpPr>
            <p:spPr bwMode="auto">
              <a:xfrm>
                <a:off x="-4567238" y="-1984376"/>
                <a:ext cx="1585913" cy="2144713"/>
              </a:xfrm>
              <a:custGeom>
                <a:avLst/>
                <a:gdLst>
                  <a:gd name="T0" fmla="*/ 2081 w 2081"/>
                  <a:gd name="T1" fmla="*/ 2815 h 2815"/>
                  <a:gd name="T2" fmla="*/ 2081 w 2081"/>
                  <a:gd name="T3" fmla="*/ 2815 h 2815"/>
                  <a:gd name="T4" fmla="*/ 2081 w 2081"/>
                  <a:gd name="T5" fmla="*/ 2815 h 2815"/>
                  <a:gd name="T6" fmla="*/ 2081 w 2081"/>
                  <a:gd name="T7" fmla="*/ 2815 h 2815"/>
                  <a:gd name="T8" fmla="*/ 0 w 2081"/>
                  <a:gd name="T9" fmla="*/ 0 h 2815"/>
                  <a:gd name="T10" fmla="*/ 0 w 2081"/>
                  <a:gd name="T11" fmla="*/ 0 h 2815"/>
                  <a:gd name="T12" fmla="*/ 1627 w 2081"/>
                  <a:gd name="T13" fmla="*/ 645 h 2815"/>
                  <a:gd name="T14" fmla="*/ 2081 w 2081"/>
                  <a:gd name="T15" fmla="*/ 2815 h 28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1" h="2815">
                    <a:moveTo>
                      <a:pt x="2081" y="2815"/>
                    </a:moveTo>
                    <a:lnTo>
                      <a:pt x="2081" y="2815"/>
                    </a:lnTo>
                    <a:lnTo>
                      <a:pt x="2081" y="2815"/>
                    </a:lnTo>
                    <a:moveTo>
                      <a:pt x="2081" y="2815"/>
                    </a:moveTo>
                    <a:lnTo>
                      <a:pt x="0" y="0"/>
                    </a:lnTo>
                    <a:lnTo>
                      <a:pt x="0" y="0"/>
                    </a:lnTo>
                    <a:lnTo>
                      <a:pt x="1627" y="645"/>
                    </a:lnTo>
                    <a:lnTo>
                      <a:pt x="2081" y="2815"/>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4" name="Freeform 403"/>
              <p:cNvSpPr>
                <a:spLocks/>
              </p:cNvSpPr>
              <p:nvPr/>
            </p:nvSpPr>
            <p:spPr bwMode="auto">
              <a:xfrm>
                <a:off x="-4567238" y="-1984376"/>
                <a:ext cx="1585913" cy="2144713"/>
              </a:xfrm>
              <a:custGeom>
                <a:avLst/>
                <a:gdLst>
                  <a:gd name="T0" fmla="*/ 999 w 999"/>
                  <a:gd name="T1" fmla="*/ 1351 h 1351"/>
                  <a:gd name="T2" fmla="*/ 0 w 999"/>
                  <a:gd name="T3" fmla="*/ 0 h 1351"/>
                  <a:gd name="T4" fmla="*/ 0 w 999"/>
                  <a:gd name="T5" fmla="*/ 0 h 1351"/>
                  <a:gd name="T6" fmla="*/ 999 w 999"/>
                  <a:gd name="T7" fmla="*/ 1351 h 1351"/>
                  <a:gd name="T8" fmla="*/ 999 w 999"/>
                  <a:gd name="T9" fmla="*/ 1351 h 1351"/>
                  <a:gd name="T10" fmla="*/ 999 w 999"/>
                  <a:gd name="T11" fmla="*/ 1351 h 1351"/>
                </a:gdLst>
                <a:ahLst/>
                <a:cxnLst>
                  <a:cxn ang="0">
                    <a:pos x="T0" y="T1"/>
                  </a:cxn>
                  <a:cxn ang="0">
                    <a:pos x="T2" y="T3"/>
                  </a:cxn>
                  <a:cxn ang="0">
                    <a:pos x="T4" y="T5"/>
                  </a:cxn>
                  <a:cxn ang="0">
                    <a:pos x="T6" y="T7"/>
                  </a:cxn>
                  <a:cxn ang="0">
                    <a:pos x="T8" y="T9"/>
                  </a:cxn>
                  <a:cxn ang="0">
                    <a:pos x="T10" y="T11"/>
                  </a:cxn>
                </a:cxnLst>
                <a:rect l="0" t="0" r="r" b="b"/>
                <a:pathLst>
                  <a:path w="999" h="1351">
                    <a:moveTo>
                      <a:pt x="999" y="1351"/>
                    </a:moveTo>
                    <a:lnTo>
                      <a:pt x="0" y="0"/>
                    </a:lnTo>
                    <a:lnTo>
                      <a:pt x="0" y="0"/>
                    </a:lnTo>
                    <a:lnTo>
                      <a:pt x="999" y="1351"/>
                    </a:lnTo>
                    <a:lnTo>
                      <a:pt x="999" y="1351"/>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5" name="Rectangle 404"/>
              <p:cNvSpPr>
                <a:spLocks noChangeArrowheads="1"/>
              </p:cNvSpPr>
              <p:nvPr/>
            </p:nvSpPr>
            <p:spPr bwMode="auto">
              <a:xfrm>
                <a:off x="-4567238" y="-1984376"/>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6" name="Freeform 405"/>
              <p:cNvSpPr>
                <a:spLocks/>
              </p:cNvSpPr>
              <p:nvPr/>
            </p:nvSpPr>
            <p:spPr bwMode="auto">
              <a:xfrm>
                <a:off x="-5526088" y="-3540126"/>
                <a:ext cx="958850" cy="2135188"/>
              </a:xfrm>
              <a:custGeom>
                <a:avLst/>
                <a:gdLst>
                  <a:gd name="T0" fmla="*/ 0 w 604"/>
                  <a:gd name="T1" fmla="*/ 1345 h 1345"/>
                  <a:gd name="T2" fmla="*/ 1 w 604"/>
                  <a:gd name="T3" fmla="*/ 1294 h 1345"/>
                  <a:gd name="T4" fmla="*/ 38 w 604"/>
                  <a:gd name="T5" fmla="*/ 0 h 1345"/>
                  <a:gd name="T6" fmla="*/ 38 w 604"/>
                  <a:gd name="T7" fmla="*/ 0 h 1345"/>
                  <a:gd name="T8" fmla="*/ 38 w 604"/>
                  <a:gd name="T9" fmla="*/ 0 h 1345"/>
                  <a:gd name="T10" fmla="*/ 604 w 604"/>
                  <a:gd name="T11" fmla="*/ 980 h 1345"/>
                  <a:gd name="T12" fmla="*/ 0 w 604"/>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604" h="1345">
                    <a:moveTo>
                      <a:pt x="0" y="1345"/>
                    </a:moveTo>
                    <a:lnTo>
                      <a:pt x="1" y="1294"/>
                    </a:lnTo>
                    <a:lnTo>
                      <a:pt x="38" y="0"/>
                    </a:lnTo>
                    <a:lnTo>
                      <a:pt x="38" y="0"/>
                    </a:lnTo>
                    <a:lnTo>
                      <a:pt x="38" y="0"/>
                    </a:lnTo>
                    <a:lnTo>
                      <a:pt x="604" y="980"/>
                    </a:lnTo>
                    <a:lnTo>
                      <a:pt x="0" y="134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7" name="Freeform 406"/>
              <p:cNvSpPr>
                <a:spLocks/>
              </p:cNvSpPr>
              <p:nvPr/>
            </p:nvSpPr>
            <p:spPr bwMode="auto">
              <a:xfrm>
                <a:off x="-4567238" y="-3540126"/>
                <a:ext cx="1239838" cy="2046288"/>
              </a:xfrm>
              <a:custGeom>
                <a:avLst/>
                <a:gdLst>
                  <a:gd name="T0" fmla="*/ 781 w 781"/>
                  <a:gd name="T1" fmla="*/ 1289 h 1289"/>
                  <a:gd name="T2" fmla="*/ 0 w 781"/>
                  <a:gd name="T3" fmla="*/ 980 h 1289"/>
                  <a:gd name="T4" fmla="*/ 566 w 781"/>
                  <a:gd name="T5" fmla="*/ 0 h 1289"/>
                  <a:gd name="T6" fmla="*/ 716 w 781"/>
                  <a:gd name="T7" fmla="*/ 902 h 1289"/>
                  <a:gd name="T8" fmla="*/ 781 w 781"/>
                  <a:gd name="T9" fmla="*/ 1289 h 1289"/>
                </a:gdLst>
                <a:ahLst/>
                <a:cxnLst>
                  <a:cxn ang="0">
                    <a:pos x="T0" y="T1"/>
                  </a:cxn>
                  <a:cxn ang="0">
                    <a:pos x="T2" y="T3"/>
                  </a:cxn>
                  <a:cxn ang="0">
                    <a:pos x="T4" y="T5"/>
                  </a:cxn>
                  <a:cxn ang="0">
                    <a:pos x="T6" y="T7"/>
                  </a:cxn>
                  <a:cxn ang="0">
                    <a:pos x="T8" y="T9"/>
                  </a:cxn>
                </a:cxnLst>
                <a:rect l="0" t="0" r="r" b="b"/>
                <a:pathLst>
                  <a:path w="781" h="1289">
                    <a:moveTo>
                      <a:pt x="781" y="1289"/>
                    </a:moveTo>
                    <a:lnTo>
                      <a:pt x="0" y="980"/>
                    </a:lnTo>
                    <a:lnTo>
                      <a:pt x="566" y="0"/>
                    </a:lnTo>
                    <a:lnTo>
                      <a:pt x="716" y="902"/>
                    </a:lnTo>
                    <a:lnTo>
                      <a:pt x="781" y="128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8" name="Freeform 407"/>
              <p:cNvSpPr>
                <a:spLocks noEditPoints="1"/>
              </p:cNvSpPr>
              <p:nvPr/>
            </p:nvSpPr>
            <p:spPr bwMode="auto">
              <a:xfrm>
                <a:off x="-5526088" y="-1984376"/>
                <a:ext cx="958850" cy="2641600"/>
              </a:xfrm>
              <a:custGeom>
                <a:avLst/>
                <a:gdLst>
                  <a:gd name="T0" fmla="*/ 0 w 1258"/>
                  <a:gd name="T1" fmla="*/ 3467 h 3467"/>
                  <a:gd name="T2" fmla="*/ 0 w 1258"/>
                  <a:gd name="T3" fmla="*/ 3467 h 3467"/>
                  <a:gd name="T4" fmla="*/ 0 w 1258"/>
                  <a:gd name="T5" fmla="*/ 3467 h 3467"/>
                  <a:gd name="T6" fmla="*/ 0 w 1258"/>
                  <a:gd name="T7" fmla="*/ 3467 h 3467"/>
                  <a:gd name="T8" fmla="*/ 0 w 1258"/>
                  <a:gd name="T9" fmla="*/ 3467 h 3467"/>
                  <a:gd name="T10" fmla="*/ 0 w 1258"/>
                  <a:gd name="T11" fmla="*/ 760 h 3467"/>
                  <a:gd name="T12" fmla="*/ 1258 w 1258"/>
                  <a:gd name="T13" fmla="*/ 0 h 3467"/>
                  <a:gd name="T14" fmla="*/ 0 w 1258"/>
                  <a:gd name="T15" fmla="*/ 3467 h 3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8" h="3467">
                    <a:moveTo>
                      <a:pt x="0" y="3467"/>
                    </a:moveTo>
                    <a:lnTo>
                      <a:pt x="0" y="3467"/>
                    </a:lnTo>
                    <a:lnTo>
                      <a:pt x="0" y="3467"/>
                    </a:lnTo>
                    <a:lnTo>
                      <a:pt x="0" y="3467"/>
                    </a:lnTo>
                    <a:moveTo>
                      <a:pt x="0" y="3467"/>
                    </a:moveTo>
                    <a:lnTo>
                      <a:pt x="0" y="760"/>
                    </a:lnTo>
                    <a:lnTo>
                      <a:pt x="1258" y="0"/>
                    </a:lnTo>
                    <a:lnTo>
                      <a:pt x="0" y="3467"/>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9" name="Freeform 408"/>
              <p:cNvSpPr>
                <a:spLocks/>
              </p:cNvSpPr>
              <p:nvPr/>
            </p:nvSpPr>
            <p:spPr bwMode="auto">
              <a:xfrm>
                <a:off x="-5526088" y="-1984376"/>
                <a:ext cx="958850" cy="2641600"/>
              </a:xfrm>
              <a:custGeom>
                <a:avLst/>
                <a:gdLst>
                  <a:gd name="T0" fmla="*/ 0 w 604"/>
                  <a:gd name="T1" fmla="*/ 1664 h 1664"/>
                  <a:gd name="T2" fmla="*/ 0 w 604"/>
                  <a:gd name="T3" fmla="*/ 1664 h 1664"/>
                  <a:gd name="T4" fmla="*/ 604 w 604"/>
                  <a:gd name="T5" fmla="*/ 0 h 1664"/>
                  <a:gd name="T6" fmla="*/ 604 w 604"/>
                  <a:gd name="T7" fmla="*/ 0 h 1664"/>
                  <a:gd name="T8" fmla="*/ 604 w 604"/>
                  <a:gd name="T9" fmla="*/ 0 h 1664"/>
                  <a:gd name="T10" fmla="*/ 0 w 604"/>
                  <a:gd name="T11" fmla="*/ 1664 h 1664"/>
                  <a:gd name="T12" fmla="*/ 0 w 604"/>
                  <a:gd name="T13" fmla="*/ 1664 h 1664"/>
                </a:gdLst>
                <a:ahLst/>
                <a:cxnLst>
                  <a:cxn ang="0">
                    <a:pos x="T0" y="T1"/>
                  </a:cxn>
                  <a:cxn ang="0">
                    <a:pos x="T2" y="T3"/>
                  </a:cxn>
                  <a:cxn ang="0">
                    <a:pos x="T4" y="T5"/>
                  </a:cxn>
                  <a:cxn ang="0">
                    <a:pos x="T6" y="T7"/>
                  </a:cxn>
                  <a:cxn ang="0">
                    <a:pos x="T8" y="T9"/>
                  </a:cxn>
                  <a:cxn ang="0">
                    <a:pos x="T10" y="T11"/>
                  </a:cxn>
                  <a:cxn ang="0">
                    <a:pos x="T12" y="T13"/>
                  </a:cxn>
                </a:cxnLst>
                <a:rect l="0" t="0" r="r" b="b"/>
                <a:pathLst>
                  <a:path w="604" h="1664">
                    <a:moveTo>
                      <a:pt x="0" y="1664"/>
                    </a:moveTo>
                    <a:lnTo>
                      <a:pt x="0" y="1664"/>
                    </a:lnTo>
                    <a:lnTo>
                      <a:pt x="604" y="0"/>
                    </a:lnTo>
                    <a:lnTo>
                      <a:pt x="604" y="0"/>
                    </a:lnTo>
                    <a:lnTo>
                      <a:pt x="604" y="0"/>
                    </a:lnTo>
                    <a:lnTo>
                      <a:pt x="0" y="1664"/>
                    </a:lnTo>
                    <a:lnTo>
                      <a:pt x="0" y="166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0" name="Freeform 409"/>
              <p:cNvSpPr>
                <a:spLocks/>
              </p:cNvSpPr>
              <p:nvPr/>
            </p:nvSpPr>
            <p:spPr bwMode="auto">
              <a:xfrm>
                <a:off x="-4567238" y="-19843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1" name="Freeform 410"/>
              <p:cNvSpPr>
                <a:spLocks noEditPoints="1"/>
              </p:cNvSpPr>
              <p:nvPr/>
            </p:nvSpPr>
            <p:spPr bwMode="auto">
              <a:xfrm>
                <a:off x="-8159750" y="2682875"/>
                <a:ext cx="1141413" cy="1914525"/>
              </a:xfrm>
              <a:custGeom>
                <a:avLst/>
                <a:gdLst>
                  <a:gd name="T0" fmla="*/ 1498 w 1498"/>
                  <a:gd name="T1" fmla="*/ 2514 h 2514"/>
                  <a:gd name="T2" fmla="*/ 1 w 1498"/>
                  <a:gd name="T3" fmla="*/ 2041 h 2514"/>
                  <a:gd name="T4" fmla="*/ 0 w 1498"/>
                  <a:gd name="T5" fmla="*/ 2041 h 2514"/>
                  <a:gd name="T6" fmla="*/ 1 w 1498"/>
                  <a:gd name="T7" fmla="*/ 2041 h 2514"/>
                  <a:gd name="T8" fmla="*/ 1179 w 1498"/>
                  <a:gd name="T9" fmla="*/ 0 h 2514"/>
                  <a:gd name="T10" fmla="*/ 1179 w 1498"/>
                  <a:gd name="T11" fmla="*/ 0 h 2514"/>
                  <a:gd name="T12" fmla="*/ 1179 w 1498"/>
                  <a:gd name="T13" fmla="*/ 0 h 2514"/>
                  <a:gd name="T14" fmla="*/ 1179 w 1498"/>
                  <a:gd name="T15" fmla="*/ 0 h 2514"/>
                  <a:gd name="T16" fmla="*/ 1179 w 1498"/>
                  <a:gd name="T17" fmla="*/ 0 h 2514"/>
                  <a:gd name="T18" fmla="*/ 1234 w 1498"/>
                  <a:gd name="T19" fmla="*/ 432 h 2514"/>
                  <a:gd name="T20" fmla="*/ 1498 w 1498"/>
                  <a:gd name="T21" fmla="*/ 2514 h 2514"/>
                  <a:gd name="T22" fmla="*/ 1179 w 1498"/>
                  <a:gd name="T23" fmla="*/ 0 h 2514"/>
                  <a:gd name="T24" fmla="*/ 1179 w 1498"/>
                  <a:gd name="T25" fmla="*/ 0 h 2514"/>
                  <a:gd name="T26" fmla="*/ 1179 w 1498"/>
                  <a:gd name="T27"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8" h="2514">
                    <a:moveTo>
                      <a:pt x="1498" y="2514"/>
                    </a:moveTo>
                    <a:lnTo>
                      <a:pt x="1" y="2041"/>
                    </a:lnTo>
                    <a:lnTo>
                      <a:pt x="0" y="2041"/>
                    </a:lnTo>
                    <a:lnTo>
                      <a:pt x="1" y="2041"/>
                    </a:lnTo>
                    <a:lnTo>
                      <a:pt x="1179" y="0"/>
                    </a:lnTo>
                    <a:lnTo>
                      <a:pt x="1179" y="0"/>
                    </a:lnTo>
                    <a:lnTo>
                      <a:pt x="1179" y="0"/>
                    </a:lnTo>
                    <a:lnTo>
                      <a:pt x="1179" y="0"/>
                    </a:lnTo>
                    <a:lnTo>
                      <a:pt x="1179" y="0"/>
                    </a:lnTo>
                    <a:lnTo>
                      <a:pt x="1234" y="432"/>
                    </a:lnTo>
                    <a:lnTo>
                      <a:pt x="1498" y="2514"/>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2" name="Freeform 411"/>
              <p:cNvSpPr>
                <a:spLocks/>
              </p:cNvSpPr>
              <p:nvPr/>
            </p:nvSpPr>
            <p:spPr bwMode="auto">
              <a:xfrm>
                <a:off x="-8159750" y="1125537"/>
                <a:ext cx="1795463" cy="1557338"/>
              </a:xfrm>
              <a:custGeom>
                <a:avLst/>
                <a:gdLst>
                  <a:gd name="T0" fmla="*/ 566 w 1131"/>
                  <a:gd name="T1" fmla="*/ 981 h 981"/>
                  <a:gd name="T2" fmla="*/ 4 w 1131"/>
                  <a:gd name="T3" fmla="*/ 7 h 981"/>
                  <a:gd name="T4" fmla="*/ 0 w 1131"/>
                  <a:gd name="T5" fmla="*/ 0 h 981"/>
                  <a:gd name="T6" fmla="*/ 0 w 1131"/>
                  <a:gd name="T7" fmla="*/ 0 h 981"/>
                  <a:gd name="T8" fmla="*/ 0 w 1131"/>
                  <a:gd name="T9" fmla="*/ 0 h 981"/>
                  <a:gd name="T10" fmla="*/ 0 w 1131"/>
                  <a:gd name="T11" fmla="*/ 0 h 981"/>
                  <a:gd name="T12" fmla="*/ 1131 w 1131"/>
                  <a:gd name="T13" fmla="*/ 0 h 981"/>
                  <a:gd name="T14" fmla="*/ 566 w 1131"/>
                  <a:gd name="T15" fmla="*/ 981 h 9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981">
                    <a:moveTo>
                      <a:pt x="566" y="981"/>
                    </a:moveTo>
                    <a:lnTo>
                      <a:pt x="4" y="7"/>
                    </a:lnTo>
                    <a:lnTo>
                      <a:pt x="0" y="0"/>
                    </a:lnTo>
                    <a:lnTo>
                      <a:pt x="0" y="0"/>
                    </a:lnTo>
                    <a:lnTo>
                      <a:pt x="0" y="0"/>
                    </a:lnTo>
                    <a:lnTo>
                      <a:pt x="0" y="0"/>
                    </a:lnTo>
                    <a:lnTo>
                      <a:pt x="1131" y="0"/>
                    </a:lnTo>
                    <a:lnTo>
                      <a:pt x="566" y="98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3" name="Freeform 412"/>
              <p:cNvSpPr>
                <a:spLocks noEditPoints="1"/>
              </p:cNvSpPr>
              <p:nvPr/>
            </p:nvSpPr>
            <p:spPr bwMode="auto">
              <a:xfrm>
                <a:off x="-7261225" y="2655887"/>
                <a:ext cx="1047750" cy="1941513"/>
              </a:xfrm>
              <a:custGeom>
                <a:avLst/>
                <a:gdLst>
                  <a:gd name="T0" fmla="*/ 319 w 1375"/>
                  <a:gd name="T1" fmla="*/ 2549 h 2549"/>
                  <a:gd name="T2" fmla="*/ 55 w 1375"/>
                  <a:gd name="T3" fmla="*/ 467 h 2549"/>
                  <a:gd name="T4" fmla="*/ 0 w 1375"/>
                  <a:gd name="T5" fmla="*/ 35 h 2549"/>
                  <a:gd name="T6" fmla="*/ 1375 w 1375"/>
                  <a:gd name="T7" fmla="*/ 0 h 2549"/>
                  <a:gd name="T8" fmla="*/ 1375 w 1375"/>
                  <a:gd name="T9" fmla="*/ 0 h 2549"/>
                  <a:gd name="T10" fmla="*/ 319 w 1375"/>
                  <a:gd name="T11" fmla="*/ 2549 h 2549"/>
                  <a:gd name="T12" fmla="*/ 1375 w 1375"/>
                  <a:gd name="T13" fmla="*/ 0 h 2549"/>
                  <a:gd name="T14" fmla="*/ 1375 w 1375"/>
                  <a:gd name="T15" fmla="*/ 0 h 2549"/>
                  <a:gd name="T16" fmla="*/ 1375 w 1375"/>
                  <a:gd name="T17" fmla="*/ 0 h 2549"/>
                  <a:gd name="T18" fmla="*/ 1375 w 1375"/>
                  <a:gd name="T19" fmla="*/ 0 h 2549"/>
                  <a:gd name="T20" fmla="*/ 1375 w 1375"/>
                  <a:gd name="T21" fmla="*/ 0 h 2549"/>
                  <a:gd name="T22" fmla="*/ 1375 w 1375"/>
                  <a:gd name="T23" fmla="*/ 0 h 2549"/>
                  <a:gd name="T24" fmla="*/ 1375 w 1375"/>
                  <a:gd name="T25" fmla="*/ 0 h 2549"/>
                  <a:gd name="T26" fmla="*/ 1375 w 1375"/>
                  <a:gd name="T27" fmla="*/ 0 h 2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5" h="2549">
                    <a:moveTo>
                      <a:pt x="319" y="2549"/>
                    </a:moveTo>
                    <a:lnTo>
                      <a:pt x="55" y="467"/>
                    </a:lnTo>
                    <a:lnTo>
                      <a:pt x="0" y="35"/>
                    </a:lnTo>
                    <a:lnTo>
                      <a:pt x="1375" y="0"/>
                    </a:lnTo>
                    <a:lnTo>
                      <a:pt x="1375" y="0"/>
                    </a:lnTo>
                    <a:lnTo>
                      <a:pt x="319" y="2549"/>
                    </a:lnTo>
                    <a:moveTo>
                      <a:pt x="1375" y="0"/>
                    </a:moveTo>
                    <a:lnTo>
                      <a:pt x="1375" y="0"/>
                    </a:lnTo>
                    <a:lnTo>
                      <a:pt x="1375" y="0"/>
                    </a:lnTo>
                    <a:lnTo>
                      <a:pt x="1375" y="0"/>
                    </a:lnTo>
                    <a:moveTo>
                      <a:pt x="1375" y="0"/>
                    </a:moveTo>
                    <a:lnTo>
                      <a:pt x="1375" y="0"/>
                    </a:lnTo>
                    <a:lnTo>
                      <a:pt x="1375" y="0"/>
                    </a:lnTo>
                    <a:lnTo>
                      <a:pt x="1375"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4" name="Freeform 413"/>
              <p:cNvSpPr>
                <a:spLocks noEditPoints="1"/>
              </p:cNvSpPr>
              <p:nvPr/>
            </p:nvSpPr>
            <p:spPr bwMode="auto">
              <a:xfrm>
                <a:off x="-9488488" y="1125537"/>
                <a:ext cx="2227263" cy="2085975"/>
              </a:xfrm>
              <a:custGeom>
                <a:avLst/>
                <a:gdLst>
                  <a:gd name="T0" fmla="*/ 0 w 2922"/>
                  <a:gd name="T1" fmla="*/ 2737 h 2737"/>
                  <a:gd name="T2" fmla="*/ 0 w 2922"/>
                  <a:gd name="T3" fmla="*/ 2737 h 2737"/>
                  <a:gd name="T4" fmla="*/ 0 w 2922"/>
                  <a:gd name="T5" fmla="*/ 2737 h 2737"/>
                  <a:gd name="T6" fmla="*/ 0 w 2922"/>
                  <a:gd name="T7" fmla="*/ 2737 h 2737"/>
                  <a:gd name="T8" fmla="*/ 1744 w 2922"/>
                  <a:gd name="T9" fmla="*/ 0 h 2737"/>
                  <a:gd name="T10" fmla="*/ 1752 w 2922"/>
                  <a:gd name="T11" fmla="*/ 14 h 2737"/>
                  <a:gd name="T12" fmla="*/ 2922 w 2922"/>
                  <a:gd name="T13" fmla="*/ 2042 h 2737"/>
                  <a:gd name="T14" fmla="*/ 2922 w 2922"/>
                  <a:gd name="T15" fmla="*/ 2042 h 2737"/>
                  <a:gd name="T16" fmla="*/ 0 w 2922"/>
                  <a:gd name="T17" fmla="*/ 2737 h 2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22" h="2737">
                    <a:moveTo>
                      <a:pt x="0" y="2737"/>
                    </a:moveTo>
                    <a:lnTo>
                      <a:pt x="0" y="2737"/>
                    </a:lnTo>
                    <a:lnTo>
                      <a:pt x="0" y="2737"/>
                    </a:lnTo>
                    <a:moveTo>
                      <a:pt x="0" y="2737"/>
                    </a:moveTo>
                    <a:lnTo>
                      <a:pt x="1744" y="0"/>
                    </a:lnTo>
                    <a:lnTo>
                      <a:pt x="1752" y="14"/>
                    </a:lnTo>
                    <a:lnTo>
                      <a:pt x="2922" y="2042"/>
                    </a:lnTo>
                    <a:lnTo>
                      <a:pt x="2922" y="2042"/>
                    </a:lnTo>
                    <a:lnTo>
                      <a:pt x="0" y="2737"/>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5" name="Freeform 414"/>
              <p:cNvSpPr>
                <a:spLocks/>
              </p:cNvSpPr>
              <p:nvPr/>
            </p:nvSpPr>
            <p:spPr bwMode="auto">
              <a:xfrm>
                <a:off x="-7261225" y="1125537"/>
                <a:ext cx="1047750" cy="1557338"/>
              </a:xfrm>
              <a:custGeom>
                <a:avLst/>
                <a:gdLst>
                  <a:gd name="T0" fmla="*/ 0 w 660"/>
                  <a:gd name="T1" fmla="*/ 981 h 981"/>
                  <a:gd name="T2" fmla="*/ 0 w 660"/>
                  <a:gd name="T3" fmla="*/ 981 h 981"/>
                  <a:gd name="T4" fmla="*/ 565 w 660"/>
                  <a:gd name="T5" fmla="*/ 0 h 981"/>
                  <a:gd name="T6" fmla="*/ 565 w 660"/>
                  <a:gd name="T7" fmla="*/ 0 h 981"/>
                  <a:gd name="T8" fmla="*/ 565 w 660"/>
                  <a:gd name="T9" fmla="*/ 0 h 981"/>
                  <a:gd name="T10" fmla="*/ 660 w 660"/>
                  <a:gd name="T11" fmla="*/ 963 h 981"/>
                  <a:gd name="T12" fmla="*/ 660 w 660"/>
                  <a:gd name="T13" fmla="*/ 963 h 981"/>
                  <a:gd name="T14" fmla="*/ 660 w 660"/>
                  <a:gd name="T15" fmla="*/ 964 h 981"/>
                  <a:gd name="T16" fmla="*/ 660 w 660"/>
                  <a:gd name="T17" fmla="*/ 964 h 981"/>
                  <a:gd name="T18" fmla="*/ 0 w 660"/>
                  <a:gd name="T19" fmla="*/ 981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0" h="981">
                    <a:moveTo>
                      <a:pt x="0" y="981"/>
                    </a:moveTo>
                    <a:lnTo>
                      <a:pt x="0" y="981"/>
                    </a:lnTo>
                    <a:lnTo>
                      <a:pt x="565" y="0"/>
                    </a:lnTo>
                    <a:lnTo>
                      <a:pt x="565" y="0"/>
                    </a:lnTo>
                    <a:lnTo>
                      <a:pt x="565" y="0"/>
                    </a:lnTo>
                    <a:lnTo>
                      <a:pt x="660" y="963"/>
                    </a:lnTo>
                    <a:lnTo>
                      <a:pt x="660" y="963"/>
                    </a:lnTo>
                    <a:lnTo>
                      <a:pt x="660" y="964"/>
                    </a:lnTo>
                    <a:lnTo>
                      <a:pt x="660" y="964"/>
                    </a:lnTo>
                    <a:lnTo>
                      <a:pt x="0"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6" name="Freeform 415"/>
              <p:cNvSpPr>
                <a:spLocks/>
              </p:cNvSpPr>
              <p:nvPr/>
            </p:nvSpPr>
            <p:spPr bwMode="auto">
              <a:xfrm>
                <a:off x="-9488488" y="2682875"/>
                <a:ext cx="2227263" cy="1554163"/>
              </a:xfrm>
              <a:custGeom>
                <a:avLst/>
                <a:gdLst>
                  <a:gd name="T0" fmla="*/ 1744 w 2922"/>
                  <a:gd name="T1" fmla="*/ 2041 h 2041"/>
                  <a:gd name="T2" fmla="*/ 0 w 2922"/>
                  <a:gd name="T3" fmla="*/ 695 h 2041"/>
                  <a:gd name="T4" fmla="*/ 2922 w 2922"/>
                  <a:gd name="T5" fmla="*/ 0 h 2041"/>
                  <a:gd name="T6" fmla="*/ 1743 w 2922"/>
                  <a:gd name="T7" fmla="*/ 2041 h 2041"/>
                </a:gdLst>
                <a:ahLst/>
                <a:cxnLst>
                  <a:cxn ang="0">
                    <a:pos x="T0" y="T1"/>
                  </a:cxn>
                  <a:cxn ang="0">
                    <a:pos x="T2" y="T3"/>
                  </a:cxn>
                  <a:cxn ang="0">
                    <a:pos x="T4" y="T5"/>
                  </a:cxn>
                  <a:cxn ang="0">
                    <a:pos x="T6" y="T7"/>
                  </a:cxn>
                </a:cxnLst>
                <a:rect l="0" t="0" r="r" b="b"/>
                <a:pathLst>
                  <a:path w="2922" h="2041">
                    <a:moveTo>
                      <a:pt x="1744" y="2041"/>
                    </a:moveTo>
                    <a:lnTo>
                      <a:pt x="0" y="695"/>
                    </a:lnTo>
                    <a:lnTo>
                      <a:pt x="2922" y="0"/>
                    </a:lnTo>
                    <a:lnTo>
                      <a:pt x="1743" y="204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7" name="Freeform 416"/>
              <p:cNvSpPr>
                <a:spLocks/>
              </p:cNvSpPr>
              <p:nvPr/>
            </p:nvSpPr>
            <p:spPr bwMode="auto">
              <a:xfrm>
                <a:off x="-8159750" y="2682875"/>
                <a:ext cx="898525" cy="1554163"/>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8" name="Freeform 417"/>
              <p:cNvSpPr>
                <a:spLocks/>
              </p:cNvSpPr>
              <p:nvPr/>
            </p:nvSpPr>
            <p:spPr bwMode="auto">
              <a:xfrm>
                <a:off x="-9488488" y="2682875"/>
                <a:ext cx="2227263" cy="528638"/>
              </a:xfrm>
              <a:custGeom>
                <a:avLst/>
                <a:gdLst>
                  <a:gd name="T0" fmla="*/ 0 w 1403"/>
                  <a:gd name="T1" fmla="*/ 333 h 333"/>
                  <a:gd name="T2" fmla="*/ 0 w 1403"/>
                  <a:gd name="T3" fmla="*/ 333 h 333"/>
                  <a:gd name="T4" fmla="*/ 1403 w 1403"/>
                  <a:gd name="T5" fmla="*/ 0 h 333"/>
                  <a:gd name="T6" fmla="*/ 1403 w 1403"/>
                  <a:gd name="T7" fmla="*/ 0 h 333"/>
                  <a:gd name="T8" fmla="*/ 0 w 1403"/>
                  <a:gd name="T9" fmla="*/ 333 h 333"/>
                </a:gdLst>
                <a:ahLst/>
                <a:cxnLst>
                  <a:cxn ang="0">
                    <a:pos x="T0" y="T1"/>
                  </a:cxn>
                  <a:cxn ang="0">
                    <a:pos x="T2" y="T3"/>
                  </a:cxn>
                  <a:cxn ang="0">
                    <a:pos x="T4" y="T5"/>
                  </a:cxn>
                  <a:cxn ang="0">
                    <a:pos x="T6" y="T7"/>
                  </a:cxn>
                  <a:cxn ang="0">
                    <a:pos x="T8" y="T9"/>
                  </a:cxn>
                </a:cxnLst>
                <a:rect l="0" t="0" r="r" b="b"/>
                <a:pathLst>
                  <a:path w="1403" h="333">
                    <a:moveTo>
                      <a:pt x="0" y="333"/>
                    </a:moveTo>
                    <a:lnTo>
                      <a:pt x="0" y="333"/>
                    </a:lnTo>
                    <a:lnTo>
                      <a:pt x="1403" y="0"/>
                    </a:lnTo>
                    <a:lnTo>
                      <a:pt x="1403" y="0"/>
                    </a:lnTo>
                    <a:lnTo>
                      <a:pt x="0" y="3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9" name="Freeform 418"/>
              <p:cNvSpPr>
                <a:spLocks noEditPoints="1"/>
              </p:cNvSpPr>
              <p:nvPr/>
            </p:nvSpPr>
            <p:spPr bwMode="auto">
              <a:xfrm>
                <a:off x="-6213475" y="1125537"/>
                <a:ext cx="1800225" cy="1987550"/>
              </a:xfrm>
              <a:custGeom>
                <a:avLst/>
                <a:gdLst>
                  <a:gd name="T0" fmla="*/ 2364 w 2364"/>
                  <a:gd name="T1" fmla="*/ 2608 h 2608"/>
                  <a:gd name="T2" fmla="*/ 0 w 2364"/>
                  <a:gd name="T3" fmla="*/ 2007 h 2608"/>
                  <a:gd name="T4" fmla="*/ 0 w 2364"/>
                  <a:gd name="T5" fmla="*/ 2006 h 2608"/>
                  <a:gd name="T6" fmla="*/ 0 w 2364"/>
                  <a:gd name="T7" fmla="*/ 2006 h 2608"/>
                  <a:gd name="T8" fmla="*/ 0 w 2364"/>
                  <a:gd name="T9" fmla="*/ 2006 h 2608"/>
                  <a:gd name="T10" fmla="*/ 2161 w 2364"/>
                  <a:gd name="T11" fmla="*/ 0 h 2608"/>
                  <a:gd name="T12" fmla="*/ 2364 w 2364"/>
                  <a:gd name="T13" fmla="*/ 2608 h 2608"/>
                  <a:gd name="T14" fmla="*/ 2161 w 2364"/>
                  <a:gd name="T15" fmla="*/ 0 h 2608"/>
                  <a:gd name="T16" fmla="*/ 2161 w 2364"/>
                  <a:gd name="T17" fmla="*/ 0 h 2608"/>
                  <a:gd name="T18" fmla="*/ 2161 w 2364"/>
                  <a:gd name="T19" fmla="*/ 0 h 2608"/>
                  <a:gd name="T20" fmla="*/ 2161 w 2364"/>
                  <a:gd name="T21" fmla="*/ 0 h 2608"/>
                  <a:gd name="T22" fmla="*/ 2161 w 2364"/>
                  <a:gd name="T23" fmla="*/ 0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64" h="2608">
                    <a:moveTo>
                      <a:pt x="2364" y="2608"/>
                    </a:moveTo>
                    <a:lnTo>
                      <a:pt x="0" y="2007"/>
                    </a:lnTo>
                    <a:lnTo>
                      <a:pt x="0" y="2006"/>
                    </a:lnTo>
                    <a:lnTo>
                      <a:pt x="0" y="2006"/>
                    </a:lnTo>
                    <a:lnTo>
                      <a:pt x="0" y="2006"/>
                    </a:lnTo>
                    <a:lnTo>
                      <a:pt x="2161" y="0"/>
                    </a:lnTo>
                    <a:lnTo>
                      <a:pt x="2364" y="2608"/>
                    </a:lnTo>
                    <a:moveTo>
                      <a:pt x="2161" y="0"/>
                    </a:moveTo>
                    <a:lnTo>
                      <a:pt x="2161" y="0"/>
                    </a:lnTo>
                    <a:lnTo>
                      <a:pt x="2161" y="0"/>
                    </a:lnTo>
                    <a:lnTo>
                      <a:pt x="2161" y="0"/>
                    </a:lnTo>
                    <a:lnTo>
                      <a:pt x="2161" y="0"/>
                    </a:lnTo>
                  </a:path>
                </a:pathLst>
              </a:custGeom>
              <a:solidFill>
                <a:srgbClr val="59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0" name="Rectangle 419"/>
              <p:cNvSpPr>
                <a:spLocks noChangeArrowheads="1"/>
              </p:cNvSpPr>
              <p:nvPr/>
            </p:nvSpPr>
            <p:spPr bwMode="auto">
              <a:xfrm>
                <a:off x="-6213475" y="2654300"/>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1" name="Freeform 420"/>
              <p:cNvSpPr>
                <a:spLocks/>
              </p:cNvSpPr>
              <p:nvPr/>
            </p:nvSpPr>
            <p:spPr bwMode="auto">
              <a:xfrm>
                <a:off x="-5526088" y="160337"/>
                <a:ext cx="2544763" cy="965200"/>
              </a:xfrm>
              <a:custGeom>
                <a:avLst/>
                <a:gdLst>
                  <a:gd name="T0" fmla="*/ 604 w 1603"/>
                  <a:gd name="T1" fmla="*/ 608 h 608"/>
                  <a:gd name="T2" fmla="*/ 62 w 1603"/>
                  <a:gd name="T3" fmla="*/ 344 h 608"/>
                  <a:gd name="T4" fmla="*/ 0 w 1603"/>
                  <a:gd name="T5" fmla="*/ 313 h 608"/>
                  <a:gd name="T6" fmla="*/ 0 w 1603"/>
                  <a:gd name="T7" fmla="*/ 313 h 608"/>
                  <a:gd name="T8" fmla="*/ 1603 w 1603"/>
                  <a:gd name="T9" fmla="*/ 0 h 608"/>
                  <a:gd name="T10" fmla="*/ 1508 w 1603"/>
                  <a:gd name="T11" fmla="*/ 57 h 608"/>
                  <a:gd name="T12" fmla="*/ 604 w 1603"/>
                  <a:gd name="T13" fmla="*/ 608 h 608"/>
                </a:gdLst>
                <a:ahLst/>
                <a:cxnLst>
                  <a:cxn ang="0">
                    <a:pos x="T0" y="T1"/>
                  </a:cxn>
                  <a:cxn ang="0">
                    <a:pos x="T2" y="T3"/>
                  </a:cxn>
                  <a:cxn ang="0">
                    <a:pos x="T4" y="T5"/>
                  </a:cxn>
                  <a:cxn ang="0">
                    <a:pos x="T6" y="T7"/>
                  </a:cxn>
                  <a:cxn ang="0">
                    <a:pos x="T8" y="T9"/>
                  </a:cxn>
                  <a:cxn ang="0">
                    <a:pos x="T10" y="T11"/>
                  </a:cxn>
                  <a:cxn ang="0">
                    <a:pos x="T12" y="T13"/>
                  </a:cxn>
                </a:cxnLst>
                <a:rect l="0" t="0" r="r" b="b"/>
                <a:pathLst>
                  <a:path w="1603" h="608">
                    <a:moveTo>
                      <a:pt x="604" y="608"/>
                    </a:moveTo>
                    <a:lnTo>
                      <a:pt x="62" y="344"/>
                    </a:lnTo>
                    <a:lnTo>
                      <a:pt x="0" y="313"/>
                    </a:lnTo>
                    <a:lnTo>
                      <a:pt x="0" y="313"/>
                    </a:lnTo>
                    <a:lnTo>
                      <a:pt x="1603" y="0"/>
                    </a:lnTo>
                    <a:lnTo>
                      <a:pt x="1508" y="57"/>
                    </a:lnTo>
                    <a:lnTo>
                      <a:pt x="604" y="608"/>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2" name="Freeform 421"/>
              <p:cNvSpPr>
                <a:spLocks/>
              </p:cNvSpPr>
              <p:nvPr/>
            </p:nvSpPr>
            <p:spPr bwMode="auto">
              <a:xfrm>
                <a:off x="-5526088" y="65722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89C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3" name="Freeform 422"/>
              <p:cNvSpPr>
                <a:spLocks/>
              </p:cNvSpPr>
              <p:nvPr/>
            </p:nvSpPr>
            <p:spPr bwMode="auto">
              <a:xfrm>
                <a:off x="-4567238" y="1125537"/>
                <a:ext cx="1795463" cy="1987550"/>
              </a:xfrm>
              <a:custGeom>
                <a:avLst/>
                <a:gdLst>
                  <a:gd name="T0" fmla="*/ 97 w 1131"/>
                  <a:gd name="T1" fmla="*/ 1252 h 1252"/>
                  <a:gd name="T2" fmla="*/ 97 w 1131"/>
                  <a:gd name="T3" fmla="*/ 1252 h 1252"/>
                  <a:gd name="T4" fmla="*/ 0 w 1131"/>
                  <a:gd name="T5" fmla="*/ 0 h 1252"/>
                  <a:gd name="T6" fmla="*/ 0 w 1131"/>
                  <a:gd name="T7" fmla="*/ 0 h 1252"/>
                  <a:gd name="T8" fmla="*/ 1131 w 1131"/>
                  <a:gd name="T9" fmla="*/ 0 h 1252"/>
                  <a:gd name="T10" fmla="*/ 97 w 1131"/>
                  <a:gd name="T11" fmla="*/ 1252 h 1252"/>
                  <a:gd name="T12" fmla="*/ 97 w 1131"/>
                  <a:gd name="T13" fmla="*/ 1252 h 1252"/>
                  <a:gd name="T14" fmla="*/ 97 w 1131"/>
                  <a:gd name="T15" fmla="*/ 1252 h 1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1252">
                    <a:moveTo>
                      <a:pt x="97" y="1252"/>
                    </a:moveTo>
                    <a:lnTo>
                      <a:pt x="97" y="1252"/>
                    </a:lnTo>
                    <a:lnTo>
                      <a:pt x="0" y="0"/>
                    </a:lnTo>
                    <a:lnTo>
                      <a:pt x="0" y="0"/>
                    </a:lnTo>
                    <a:lnTo>
                      <a:pt x="1131" y="0"/>
                    </a:lnTo>
                    <a:lnTo>
                      <a:pt x="97" y="1252"/>
                    </a:lnTo>
                    <a:lnTo>
                      <a:pt x="97" y="1252"/>
                    </a:lnTo>
                    <a:lnTo>
                      <a:pt x="97" y="1252"/>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4" name="Freeform 423"/>
              <p:cNvSpPr>
                <a:spLocks/>
              </p:cNvSpPr>
              <p:nvPr/>
            </p:nvSpPr>
            <p:spPr bwMode="auto">
              <a:xfrm>
                <a:off x="-4567238" y="1125537"/>
                <a:ext cx="153988" cy="1987550"/>
              </a:xfrm>
              <a:custGeom>
                <a:avLst/>
                <a:gdLst>
                  <a:gd name="T0" fmla="*/ 97 w 97"/>
                  <a:gd name="T1" fmla="*/ 1252 h 1252"/>
                  <a:gd name="T2" fmla="*/ 97 w 97"/>
                  <a:gd name="T3" fmla="*/ 1252 h 1252"/>
                  <a:gd name="T4" fmla="*/ 0 w 97"/>
                  <a:gd name="T5" fmla="*/ 0 h 1252"/>
                  <a:gd name="T6" fmla="*/ 0 w 97"/>
                  <a:gd name="T7" fmla="*/ 0 h 1252"/>
                  <a:gd name="T8" fmla="*/ 97 w 97"/>
                  <a:gd name="T9" fmla="*/ 1252 h 1252"/>
                </a:gdLst>
                <a:ahLst/>
                <a:cxnLst>
                  <a:cxn ang="0">
                    <a:pos x="T0" y="T1"/>
                  </a:cxn>
                  <a:cxn ang="0">
                    <a:pos x="T2" y="T3"/>
                  </a:cxn>
                  <a:cxn ang="0">
                    <a:pos x="T4" y="T5"/>
                  </a:cxn>
                  <a:cxn ang="0">
                    <a:pos x="T6" y="T7"/>
                  </a:cxn>
                  <a:cxn ang="0">
                    <a:pos x="T8" y="T9"/>
                  </a:cxn>
                </a:cxnLst>
                <a:rect l="0" t="0" r="r" b="b"/>
                <a:pathLst>
                  <a:path w="97" h="1252">
                    <a:moveTo>
                      <a:pt x="97" y="1252"/>
                    </a:moveTo>
                    <a:lnTo>
                      <a:pt x="97" y="1252"/>
                    </a:lnTo>
                    <a:lnTo>
                      <a:pt x="0" y="0"/>
                    </a:lnTo>
                    <a:lnTo>
                      <a:pt x="0" y="0"/>
                    </a:lnTo>
                    <a:lnTo>
                      <a:pt x="97" y="1252"/>
                    </a:lnTo>
                    <a:close/>
                  </a:path>
                </a:pathLst>
              </a:custGeom>
              <a:solidFill>
                <a:srgbClr val="5BA2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5" name="Freeform 424"/>
              <p:cNvSpPr>
                <a:spLocks noEditPoints="1"/>
              </p:cNvSpPr>
              <p:nvPr/>
            </p:nvSpPr>
            <p:spPr bwMode="auto">
              <a:xfrm>
                <a:off x="-6364288" y="657225"/>
                <a:ext cx="1797050" cy="468313"/>
              </a:xfrm>
              <a:custGeom>
                <a:avLst/>
                <a:gdLst>
                  <a:gd name="T0" fmla="*/ 0 w 2357"/>
                  <a:gd name="T1" fmla="*/ 615 h 615"/>
                  <a:gd name="T2" fmla="*/ 0 w 2357"/>
                  <a:gd name="T3" fmla="*/ 615 h 615"/>
                  <a:gd name="T4" fmla="*/ 0 w 2357"/>
                  <a:gd name="T5" fmla="*/ 615 h 615"/>
                  <a:gd name="T6" fmla="*/ 0 w 2357"/>
                  <a:gd name="T7" fmla="*/ 615 h 615"/>
                  <a:gd name="T8" fmla="*/ 0 w 2357"/>
                  <a:gd name="T9" fmla="*/ 615 h 615"/>
                  <a:gd name="T10" fmla="*/ 2357 w 2357"/>
                  <a:gd name="T11" fmla="*/ 615 h 615"/>
                  <a:gd name="T12" fmla="*/ 0 w 2357"/>
                  <a:gd name="T13" fmla="*/ 615 h 615"/>
                  <a:gd name="T14" fmla="*/ 833 w 2357"/>
                  <a:gd name="T15" fmla="*/ 149 h 615"/>
                  <a:gd name="T16" fmla="*/ 1099 w 2357"/>
                  <a:gd name="T17" fmla="*/ 0 h 615"/>
                  <a:gd name="T18" fmla="*/ 1228 w 2357"/>
                  <a:gd name="T19" fmla="*/ 64 h 615"/>
                  <a:gd name="T20" fmla="*/ 2357 w 2357"/>
                  <a:gd name="T21" fmla="*/ 615 h 615"/>
                  <a:gd name="T22" fmla="*/ 2357 w 2357"/>
                  <a:gd name="T23"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7" h="615">
                    <a:moveTo>
                      <a:pt x="0" y="615"/>
                    </a:moveTo>
                    <a:lnTo>
                      <a:pt x="0" y="615"/>
                    </a:lnTo>
                    <a:lnTo>
                      <a:pt x="0" y="615"/>
                    </a:lnTo>
                    <a:lnTo>
                      <a:pt x="0" y="615"/>
                    </a:lnTo>
                    <a:lnTo>
                      <a:pt x="0" y="615"/>
                    </a:lnTo>
                    <a:moveTo>
                      <a:pt x="2357" y="615"/>
                    </a:moveTo>
                    <a:lnTo>
                      <a:pt x="0" y="615"/>
                    </a:lnTo>
                    <a:lnTo>
                      <a:pt x="833" y="149"/>
                    </a:lnTo>
                    <a:lnTo>
                      <a:pt x="1099" y="0"/>
                    </a:lnTo>
                    <a:lnTo>
                      <a:pt x="1228" y="64"/>
                    </a:lnTo>
                    <a:lnTo>
                      <a:pt x="2357" y="615"/>
                    </a:lnTo>
                    <a:lnTo>
                      <a:pt x="2357" y="615"/>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6" name="Freeform 425"/>
              <p:cNvSpPr>
                <a:spLocks/>
              </p:cNvSpPr>
              <p:nvPr/>
            </p:nvSpPr>
            <p:spPr bwMode="auto">
              <a:xfrm>
                <a:off x="-5729288" y="657225"/>
                <a:ext cx="203200" cy="114300"/>
              </a:xfrm>
              <a:custGeom>
                <a:avLst/>
                <a:gdLst>
                  <a:gd name="T0" fmla="*/ 0 w 128"/>
                  <a:gd name="T1" fmla="*/ 72 h 72"/>
                  <a:gd name="T2" fmla="*/ 128 w 128"/>
                  <a:gd name="T3" fmla="*/ 0 h 72"/>
                  <a:gd name="T4" fmla="*/ 128 w 128"/>
                  <a:gd name="T5" fmla="*/ 0 h 72"/>
                  <a:gd name="T6" fmla="*/ 0 w 128"/>
                  <a:gd name="T7" fmla="*/ 72 h 72"/>
                </a:gdLst>
                <a:ahLst/>
                <a:cxnLst>
                  <a:cxn ang="0">
                    <a:pos x="T0" y="T1"/>
                  </a:cxn>
                  <a:cxn ang="0">
                    <a:pos x="T2" y="T3"/>
                  </a:cxn>
                  <a:cxn ang="0">
                    <a:pos x="T4" y="T5"/>
                  </a:cxn>
                  <a:cxn ang="0">
                    <a:pos x="T6" y="T7"/>
                  </a:cxn>
                </a:cxnLst>
                <a:rect l="0" t="0" r="r" b="b"/>
                <a:pathLst>
                  <a:path w="128" h="72">
                    <a:moveTo>
                      <a:pt x="0" y="72"/>
                    </a:moveTo>
                    <a:lnTo>
                      <a:pt x="128" y="0"/>
                    </a:lnTo>
                    <a:lnTo>
                      <a:pt x="128" y="0"/>
                    </a:lnTo>
                    <a:lnTo>
                      <a:pt x="0" y="72"/>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7" name="Freeform 426"/>
              <p:cNvSpPr>
                <a:spLocks/>
              </p:cNvSpPr>
              <p:nvPr/>
            </p:nvSpPr>
            <p:spPr bwMode="auto">
              <a:xfrm>
                <a:off x="-5526088" y="657225"/>
                <a:ext cx="98425" cy="49213"/>
              </a:xfrm>
              <a:custGeom>
                <a:avLst/>
                <a:gdLst>
                  <a:gd name="T0" fmla="*/ 62 w 62"/>
                  <a:gd name="T1" fmla="*/ 31 h 31"/>
                  <a:gd name="T2" fmla="*/ 0 w 62"/>
                  <a:gd name="T3" fmla="*/ 0 h 31"/>
                  <a:gd name="T4" fmla="*/ 0 w 62"/>
                  <a:gd name="T5" fmla="*/ 0 h 31"/>
                  <a:gd name="T6" fmla="*/ 62 w 62"/>
                  <a:gd name="T7" fmla="*/ 31 h 31"/>
                </a:gdLst>
                <a:ahLst/>
                <a:cxnLst>
                  <a:cxn ang="0">
                    <a:pos x="T0" y="T1"/>
                  </a:cxn>
                  <a:cxn ang="0">
                    <a:pos x="T2" y="T3"/>
                  </a:cxn>
                  <a:cxn ang="0">
                    <a:pos x="T4" y="T5"/>
                  </a:cxn>
                  <a:cxn ang="0">
                    <a:pos x="T6" y="T7"/>
                  </a:cxn>
                </a:cxnLst>
                <a:rect l="0" t="0" r="r" b="b"/>
                <a:pathLst>
                  <a:path w="62" h="31">
                    <a:moveTo>
                      <a:pt x="62" y="31"/>
                    </a:moveTo>
                    <a:lnTo>
                      <a:pt x="0" y="0"/>
                    </a:lnTo>
                    <a:lnTo>
                      <a:pt x="0" y="0"/>
                    </a:lnTo>
                    <a:lnTo>
                      <a:pt x="62" y="31"/>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8" name="Rectangle 427"/>
              <p:cNvSpPr>
                <a:spLocks noChangeArrowheads="1"/>
              </p:cNvSpPr>
              <p:nvPr/>
            </p:nvSpPr>
            <p:spPr bwMode="auto">
              <a:xfrm>
                <a:off x="-5526088" y="657225"/>
                <a:ext cx="1588" cy="1588"/>
              </a:xfrm>
              <a:prstGeom prst="rect">
                <a:avLst/>
              </a:prstGeom>
              <a:solidFill>
                <a:srgbClr val="589CBB"/>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9" name="Freeform 428"/>
              <p:cNvSpPr>
                <a:spLocks/>
              </p:cNvSpPr>
              <p:nvPr/>
            </p:nvSpPr>
            <p:spPr bwMode="auto">
              <a:xfrm>
                <a:off x="-4567238" y="160337"/>
                <a:ext cx="1795463" cy="965200"/>
              </a:xfrm>
              <a:custGeom>
                <a:avLst/>
                <a:gdLst>
                  <a:gd name="T0" fmla="*/ 0 w 1131"/>
                  <a:gd name="T1" fmla="*/ 608 h 608"/>
                  <a:gd name="T2" fmla="*/ 0 w 1131"/>
                  <a:gd name="T3" fmla="*/ 608 h 608"/>
                  <a:gd name="T4" fmla="*/ 904 w 1131"/>
                  <a:gd name="T5" fmla="*/ 57 h 608"/>
                  <a:gd name="T6" fmla="*/ 999 w 1131"/>
                  <a:gd name="T7" fmla="*/ 0 h 608"/>
                  <a:gd name="T8" fmla="*/ 999 w 1131"/>
                  <a:gd name="T9" fmla="*/ 0 h 608"/>
                  <a:gd name="T10" fmla="*/ 1077 w 1131"/>
                  <a:gd name="T11" fmla="*/ 359 h 608"/>
                  <a:gd name="T12" fmla="*/ 1131 w 1131"/>
                  <a:gd name="T13" fmla="*/ 608 h 608"/>
                  <a:gd name="T14" fmla="*/ 0 w 1131"/>
                  <a:gd name="T15" fmla="*/ 608 h 6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608">
                    <a:moveTo>
                      <a:pt x="0" y="608"/>
                    </a:moveTo>
                    <a:lnTo>
                      <a:pt x="0" y="608"/>
                    </a:lnTo>
                    <a:lnTo>
                      <a:pt x="904" y="57"/>
                    </a:lnTo>
                    <a:lnTo>
                      <a:pt x="999" y="0"/>
                    </a:lnTo>
                    <a:lnTo>
                      <a:pt x="999" y="0"/>
                    </a:lnTo>
                    <a:lnTo>
                      <a:pt x="1077" y="359"/>
                    </a:lnTo>
                    <a:lnTo>
                      <a:pt x="1131" y="608"/>
                    </a:lnTo>
                    <a:lnTo>
                      <a:pt x="0" y="608"/>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0" name="Freeform 429"/>
              <p:cNvSpPr>
                <a:spLocks/>
              </p:cNvSpPr>
              <p:nvPr/>
            </p:nvSpPr>
            <p:spPr bwMode="auto">
              <a:xfrm>
                <a:off x="-3132138" y="160337"/>
                <a:ext cx="150813" cy="90488"/>
              </a:xfrm>
              <a:custGeom>
                <a:avLst/>
                <a:gdLst>
                  <a:gd name="T0" fmla="*/ 0 w 95"/>
                  <a:gd name="T1" fmla="*/ 57 h 57"/>
                  <a:gd name="T2" fmla="*/ 95 w 95"/>
                  <a:gd name="T3" fmla="*/ 0 h 57"/>
                  <a:gd name="T4" fmla="*/ 95 w 95"/>
                  <a:gd name="T5" fmla="*/ 0 h 57"/>
                  <a:gd name="T6" fmla="*/ 0 w 95"/>
                  <a:gd name="T7" fmla="*/ 57 h 57"/>
                </a:gdLst>
                <a:ahLst/>
                <a:cxnLst>
                  <a:cxn ang="0">
                    <a:pos x="T0" y="T1"/>
                  </a:cxn>
                  <a:cxn ang="0">
                    <a:pos x="T2" y="T3"/>
                  </a:cxn>
                  <a:cxn ang="0">
                    <a:pos x="T4" y="T5"/>
                  </a:cxn>
                  <a:cxn ang="0">
                    <a:pos x="T6" y="T7"/>
                  </a:cxn>
                </a:cxnLst>
                <a:rect l="0" t="0" r="r" b="b"/>
                <a:pathLst>
                  <a:path w="95" h="57">
                    <a:moveTo>
                      <a:pt x="0" y="57"/>
                    </a:moveTo>
                    <a:lnTo>
                      <a:pt x="95" y="0"/>
                    </a:lnTo>
                    <a:lnTo>
                      <a:pt x="95" y="0"/>
                    </a:lnTo>
                    <a:lnTo>
                      <a:pt x="0" y="5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1" name="Freeform 430"/>
              <p:cNvSpPr>
                <a:spLocks noEditPoints="1"/>
              </p:cNvSpPr>
              <p:nvPr/>
            </p:nvSpPr>
            <p:spPr bwMode="auto">
              <a:xfrm>
                <a:off x="-6364288" y="1125537"/>
                <a:ext cx="1797050" cy="1528763"/>
              </a:xfrm>
              <a:custGeom>
                <a:avLst/>
                <a:gdLst>
                  <a:gd name="T0" fmla="*/ 196 w 2357"/>
                  <a:gd name="T1" fmla="*/ 2006 h 2006"/>
                  <a:gd name="T2" fmla="*/ 0 w 2357"/>
                  <a:gd name="T3" fmla="*/ 0 h 2006"/>
                  <a:gd name="T4" fmla="*/ 2357 w 2357"/>
                  <a:gd name="T5" fmla="*/ 0 h 2006"/>
                  <a:gd name="T6" fmla="*/ 196 w 2357"/>
                  <a:gd name="T7" fmla="*/ 2006 h 2006"/>
                  <a:gd name="T8" fmla="*/ 2357 w 2357"/>
                  <a:gd name="T9" fmla="*/ 0 h 2006"/>
                  <a:gd name="T10" fmla="*/ 2357 w 2357"/>
                  <a:gd name="T11" fmla="*/ 0 h 2006"/>
                  <a:gd name="T12" fmla="*/ 2357 w 2357"/>
                  <a:gd name="T13" fmla="*/ 0 h 2006"/>
                  <a:gd name="T14" fmla="*/ 0 w 2357"/>
                  <a:gd name="T15" fmla="*/ 0 h 2006"/>
                  <a:gd name="T16" fmla="*/ 0 w 2357"/>
                  <a:gd name="T17" fmla="*/ 0 h 2006"/>
                  <a:gd name="T18" fmla="*/ 0 w 2357"/>
                  <a:gd name="T19" fmla="*/ 0 h 2006"/>
                  <a:gd name="T20" fmla="*/ 0 w 2357"/>
                  <a:gd name="T21" fmla="*/ 0 h 2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7" h="2006">
                    <a:moveTo>
                      <a:pt x="196" y="2006"/>
                    </a:moveTo>
                    <a:lnTo>
                      <a:pt x="0" y="0"/>
                    </a:lnTo>
                    <a:lnTo>
                      <a:pt x="2357" y="0"/>
                    </a:lnTo>
                    <a:lnTo>
                      <a:pt x="196" y="2006"/>
                    </a:lnTo>
                    <a:moveTo>
                      <a:pt x="2357" y="0"/>
                    </a:moveTo>
                    <a:lnTo>
                      <a:pt x="2357" y="0"/>
                    </a:lnTo>
                    <a:lnTo>
                      <a:pt x="2357" y="0"/>
                    </a:lnTo>
                    <a:moveTo>
                      <a:pt x="0" y="0"/>
                    </a:moveTo>
                    <a:lnTo>
                      <a:pt x="0" y="0"/>
                    </a:lnTo>
                    <a:lnTo>
                      <a:pt x="0" y="0"/>
                    </a:ln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2" name="Freeform 431"/>
              <p:cNvSpPr>
                <a:spLocks/>
              </p:cNvSpPr>
              <p:nvPr/>
            </p:nvSpPr>
            <p:spPr bwMode="auto">
              <a:xfrm>
                <a:off x="-6213475" y="1125537"/>
                <a:ext cx="1646238" cy="1528763"/>
              </a:xfrm>
              <a:custGeom>
                <a:avLst/>
                <a:gdLst>
                  <a:gd name="T0" fmla="*/ 0 w 1037"/>
                  <a:gd name="T1" fmla="*/ 963 h 963"/>
                  <a:gd name="T2" fmla="*/ 0 w 1037"/>
                  <a:gd name="T3" fmla="*/ 963 h 963"/>
                  <a:gd name="T4" fmla="*/ 1037 w 1037"/>
                  <a:gd name="T5" fmla="*/ 0 h 963"/>
                  <a:gd name="T6" fmla="*/ 1037 w 1037"/>
                  <a:gd name="T7" fmla="*/ 0 h 963"/>
                  <a:gd name="T8" fmla="*/ 1037 w 1037"/>
                  <a:gd name="T9" fmla="*/ 0 h 963"/>
                  <a:gd name="T10" fmla="*/ 1037 w 1037"/>
                  <a:gd name="T11" fmla="*/ 0 h 963"/>
                  <a:gd name="T12" fmla="*/ 0 w 1037"/>
                  <a:gd name="T13" fmla="*/ 963 h 963"/>
                </a:gdLst>
                <a:ahLst/>
                <a:cxnLst>
                  <a:cxn ang="0">
                    <a:pos x="T0" y="T1"/>
                  </a:cxn>
                  <a:cxn ang="0">
                    <a:pos x="T2" y="T3"/>
                  </a:cxn>
                  <a:cxn ang="0">
                    <a:pos x="T4" y="T5"/>
                  </a:cxn>
                  <a:cxn ang="0">
                    <a:pos x="T6" y="T7"/>
                  </a:cxn>
                  <a:cxn ang="0">
                    <a:pos x="T8" y="T9"/>
                  </a:cxn>
                  <a:cxn ang="0">
                    <a:pos x="T10" y="T11"/>
                  </a:cxn>
                  <a:cxn ang="0">
                    <a:pos x="T12" y="T13"/>
                  </a:cxn>
                </a:cxnLst>
                <a:rect l="0" t="0" r="r" b="b"/>
                <a:pathLst>
                  <a:path w="1037" h="963">
                    <a:moveTo>
                      <a:pt x="0" y="963"/>
                    </a:moveTo>
                    <a:lnTo>
                      <a:pt x="0" y="963"/>
                    </a:lnTo>
                    <a:lnTo>
                      <a:pt x="1037" y="0"/>
                    </a:lnTo>
                    <a:lnTo>
                      <a:pt x="1037" y="0"/>
                    </a:lnTo>
                    <a:lnTo>
                      <a:pt x="1037" y="0"/>
                    </a:lnTo>
                    <a:lnTo>
                      <a:pt x="1037" y="0"/>
                    </a:lnTo>
                    <a:lnTo>
                      <a:pt x="0" y="963"/>
                    </a:lnTo>
                    <a:close/>
                  </a:path>
                </a:pathLst>
              </a:custGeom>
              <a:solidFill>
                <a:srgbClr val="5AA1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3" name="Freeform 432"/>
              <p:cNvSpPr>
                <a:spLocks noEditPoints="1"/>
              </p:cNvSpPr>
              <p:nvPr/>
            </p:nvSpPr>
            <p:spPr bwMode="auto">
              <a:xfrm>
                <a:off x="-8323263" y="5514975"/>
                <a:ext cx="1782763" cy="2144713"/>
              </a:xfrm>
              <a:custGeom>
                <a:avLst/>
                <a:gdLst>
                  <a:gd name="T0" fmla="*/ 893 w 2339"/>
                  <a:gd name="T1" fmla="*/ 2815 h 2815"/>
                  <a:gd name="T2" fmla="*/ 0 w 2339"/>
                  <a:gd name="T3" fmla="*/ 2815 h 2815"/>
                  <a:gd name="T4" fmla="*/ 290 w 2339"/>
                  <a:gd name="T5" fmla="*/ 1 h 2815"/>
                  <a:gd name="T6" fmla="*/ 290 w 2339"/>
                  <a:gd name="T7" fmla="*/ 0 h 2815"/>
                  <a:gd name="T8" fmla="*/ 291 w 2339"/>
                  <a:gd name="T9" fmla="*/ 1 h 2815"/>
                  <a:gd name="T10" fmla="*/ 290 w 2339"/>
                  <a:gd name="T11" fmla="*/ 1 h 2815"/>
                  <a:gd name="T12" fmla="*/ 1731 w 2339"/>
                  <a:gd name="T13" fmla="*/ 1291 h 2815"/>
                  <a:gd name="T14" fmla="*/ 2339 w 2339"/>
                  <a:gd name="T15" fmla="*/ 1834 h 2815"/>
                  <a:gd name="T16" fmla="*/ 893 w 2339"/>
                  <a:gd name="T17" fmla="*/ 2815 h 2815"/>
                  <a:gd name="T18" fmla="*/ 291 w 2339"/>
                  <a:gd name="T19" fmla="*/ 1 h 2815"/>
                  <a:gd name="T20" fmla="*/ 290 w 2339"/>
                  <a:gd name="T21" fmla="*/ 1 h 2815"/>
                  <a:gd name="T22" fmla="*/ 291 w 2339"/>
                  <a:gd name="T23" fmla="*/ 1 h 2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39" h="2815">
                    <a:moveTo>
                      <a:pt x="893" y="2815"/>
                    </a:moveTo>
                    <a:lnTo>
                      <a:pt x="0" y="2815"/>
                    </a:lnTo>
                    <a:lnTo>
                      <a:pt x="290" y="1"/>
                    </a:lnTo>
                    <a:lnTo>
                      <a:pt x="290" y="0"/>
                    </a:lnTo>
                    <a:lnTo>
                      <a:pt x="291" y="1"/>
                    </a:lnTo>
                    <a:lnTo>
                      <a:pt x="290" y="1"/>
                    </a:lnTo>
                    <a:lnTo>
                      <a:pt x="1731" y="1291"/>
                    </a:lnTo>
                    <a:lnTo>
                      <a:pt x="2339" y="1834"/>
                    </a:lnTo>
                    <a:lnTo>
                      <a:pt x="893" y="2815"/>
                    </a:lnTo>
                    <a:moveTo>
                      <a:pt x="291" y="1"/>
                    </a:moveTo>
                    <a:lnTo>
                      <a:pt x="290" y="1"/>
                    </a:lnTo>
                    <a:lnTo>
                      <a:pt x="29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4" name="Freeform 433"/>
              <p:cNvSpPr>
                <a:spLocks/>
              </p:cNvSpPr>
              <p:nvPr/>
            </p:nvSpPr>
            <p:spPr bwMode="auto">
              <a:xfrm>
                <a:off x="-8159750" y="4237037"/>
                <a:ext cx="1141413" cy="1277938"/>
              </a:xfrm>
              <a:custGeom>
                <a:avLst/>
                <a:gdLst>
                  <a:gd name="T0" fmla="*/ 36 w 719"/>
                  <a:gd name="T1" fmla="*/ 805 h 805"/>
                  <a:gd name="T2" fmla="*/ 36 w 719"/>
                  <a:gd name="T3" fmla="*/ 805 h 805"/>
                  <a:gd name="T4" fmla="*/ 32 w 719"/>
                  <a:gd name="T5" fmla="*/ 713 h 805"/>
                  <a:gd name="T6" fmla="*/ 0 w 719"/>
                  <a:gd name="T7" fmla="*/ 1 h 805"/>
                  <a:gd name="T8" fmla="*/ 0 w 719"/>
                  <a:gd name="T9" fmla="*/ 1 h 805"/>
                  <a:gd name="T10" fmla="*/ 0 w 719"/>
                  <a:gd name="T11" fmla="*/ 0 h 805"/>
                  <a:gd name="T12" fmla="*/ 0 w 719"/>
                  <a:gd name="T13" fmla="*/ 0 h 805"/>
                  <a:gd name="T14" fmla="*/ 719 w 719"/>
                  <a:gd name="T15" fmla="*/ 227 h 805"/>
                  <a:gd name="T16" fmla="*/ 36 w 719"/>
                  <a:gd name="T17" fmla="*/ 805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9" h="805">
                    <a:moveTo>
                      <a:pt x="36" y="805"/>
                    </a:moveTo>
                    <a:lnTo>
                      <a:pt x="36" y="805"/>
                    </a:lnTo>
                    <a:lnTo>
                      <a:pt x="32" y="713"/>
                    </a:lnTo>
                    <a:lnTo>
                      <a:pt x="0" y="1"/>
                    </a:lnTo>
                    <a:lnTo>
                      <a:pt x="0" y="1"/>
                    </a:lnTo>
                    <a:lnTo>
                      <a:pt x="0" y="0"/>
                    </a:lnTo>
                    <a:lnTo>
                      <a:pt x="0" y="0"/>
                    </a:lnTo>
                    <a:lnTo>
                      <a:pt x="719" y="227"/>
                    </a:lnTo>
                    <a:lnTo>
                      <a:pt x="36" y="80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5" name="Freeform 434"/>
              <p:cNvSpPr>
                <a:spLocks/>
              </p:cNvSpPr>
              <p:nvPr/>
            </p:nvSpPr>
            <p:spPr bwMode="auto">
              <a:xfrm>
                <a:off x="-8101013" y="5514975"/>
                <a:ext cx="2635250" cy="1397000"/>
              </a:xfrm>
              <a:custGeom>
                <a:avLst/>
                <a:gdLst>
                  <a:gd name="T0" fmla="*/ 983 w 1660"/>
                  <a:gd name="T1" fmla="*/ 880 h 880"/>
                  <a:gd name="T2" fmla="*/ 691 w 1660"/>
                  <a:gd name="T3" fmla="*/ 619 h 880"/>
                  <a:gd name="T4" fmla="*/ 0 w 1660"/>
                  <a:gd name="T5" fmla="*/ 0 h 880"/>
                  <a:gd name="T6" fmla="*/ 1660 w 1660"/>
                  <a:gd name="T7" fmla="*/ 175 h 880"/>
                  <a:gd name="T8" fmla="*/ 1660 w 1660"/>
                  <a:gd name="T9" fmla="*/ 175 h 880"/>
                  <a:gd name="T10" fmla="*/ 1660 w 1660"/>
                  <a:gd name="T11" fmla="*/ 175 h 880"/>
                  <a:gd name="T12" fmla="*/ 1660 w 1660"/>
                  <a:gd name="T13" fmla="*/ 175 h 880"/>
                  <a:gd name="T14" fmla="*/ 983 w 1660"/>
                  <a:gd name="T15" fmla="*/ 880 h 8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0" h="880">
                    <a:moveTo>
                      <a:pt x="983" y="880"/>
                    </a:moveTo>
                    <a:lnTo>
                      <a:pt x="691" y="619"/>
                    </a:lnTo>
                    <a:lnTo>
                      <a:pt x="0" y="0"/>
                    </a:lnTo>
                    <a:lnTo>
                      <a:pt x="1660" y="175"/>
                    </a:lnTo>
                    <a:lnTo>
                      <a:pt x="1660" y="175"/>
                    </a:lnTo>
                    <a:lnTo>
                      <a:pt x="1660" y="175"/>
                    </a:lnTo>
                    <a:lnTo>
                      <a:pt x="1660" y="175"/>
                    </a:lnTo>
                    <a:lnTo>
                      <a:pt x="983" y="8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6" name="Freeform 435"/>
              <p:cNvSpPr>
                <a:spLocks/>
              </p:cNvSpPr>
              <p:nvPr/>
            </p:nvSpPr>
            <p:spPr bwMode="auto">
              <a:xfrm>
                <a:off x="-8102600" y="5514975"/>
                <a:ext cx="1098550" cy="982663"/>
              </a:xfrm>
              <a:custGeom>
                <a:avLst/>
                <a:gdLst>
                  <a:gd name="T0" fmla="*/ 692 w 692"/>
                  <a:gd name="T1" fmla="*/ 619 h 619"/>
                  <a:gd name="T2" fmla="*/ 0 w 692"/>
                  <a:gd name="T3" fmla="*/ 0 h 619"/>
                  <a:gd name="T4" fmla="*/ 1 w 692"/>
                  <a:gd name="T5" fmla="*/ 0 h 619"/>
                  <a:gd name="T6" fmla="*/ 692 w 692"/>
                  <a:gd name="T7" fmla="*/ 619 h 619"/>
                </a:gdLst>
                <a:ahLst/>
                <a:cxnLst>
                  <a:cxn ang="0">
                    <a:pos x="T0" y="T1"/>
                  </a:cxn>
                  <a:cxn ang="0">
                    <a:pos x="T2" y="T3"/>
                  </a:cxn>
                  <a:cxn ang="0">
                    <a:pos x="T4" y="T5"/>
                  </a:cxn>
                  <a:cxn ang="0">
                    <a:pos x="T6" y="T7"/>
                  </a:cxn>
                </a:cxnLst>
                <a:rect l="0" t="0" r="r" b="b"/>
                <a:pathLst>
                  <a:path w="692" h="619">
                    <a:moveTo>
                      <a:pt x="692" y="619"/>
                    </a:moveTo>
                    <a:lnTo>
                      <a:pt x="0" y="0"/>
                    </a:lnTo>
                    <a:lnTo>
                      <a:pt x="1" y="0"/>
                    </a:lnTo>
                    <a:lnTo>
                      <a:pt x="692" y="61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7" name="Freeform 436"/>
              <p:cNvSpPr>
                <a:spLocks noEditPoints="1"/>
              </p:cNvSpPr>
              <p:nvPr/>
            </p:nvSpPr>
            <p:spPr bwMode="auto">
              <a:xfrm>
                <a:off x="-9909175" y="4238625"/>
                <a:ext cx="1806575" cy="2339975"/>
              </a:xfrm>
              <a:custGeom>
                <a:avLst/>
                <a:gdLst>
                  <a:gd name="T0" fmla="*/ 0 w 2371"/>
                  <a:gd name="T1" fmla="*/ 3072 h 3072"/>
                  <a:gd name="T2" fmla="*/ 0 w 2371"/>
                  <a:gd name="T3" fmla="*/ 3072 h 3072"/>
                  <a:gd name="T4" fmla="*/ 0 w 2371"/>
                  <a:gd name="T5" fmla="*/ 3072 h 3072"/>
                  <a:gd name="T6" fmla="*/ 0 w 2371"/>
                  <a:gd name="T7" fmla="*/ 3072 h 3072"/>
                  <a:gd name="T8" fmla="*/ 2296 w 2371"/>
                  <a:gd name="T9" fmla="*/ 0 h 3072"/>
                  <a:gd name="T10" fmla="*/ 2363 w 2371"/>
                  <a:gd name="T11" fmla="*/ 1484 h 3072"/>
                  <a:gd name="T12" fmla="*/ 2371 w 2371"/>
                  <a:gd name="T13" fmla="*/ 1676 h 3072"/>
                  <a:gd name="T14" fmla="*/ 2371 w 2371"/>
                  <a:gd name="T15" fmla="*/ 1676 h 3072"/>
                  <a:gd name="T16" fmla="*/ 0 w 2371"/>
                  <a:gd name="T17" fmla="*/ 3072 h 3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1" h="3072">
                    <a:moveTo>
                      <a:pt x="0" y="3072"/>
                    </a:moveTo>
                    <a:lnTo>
                      <a:pt x="0" y="3072"/>
                    </a:lnTo>
                    <a:lnTo>
                      <a:pt x="0" y="3072"/>
                    </a:lnTo>
                    <a:moveTo>
                      <a:pt x="0" y="3072"/>
                    </a:moveTo>
                    <a:lnTo>
                      <a:pt x="2296" y="0"/>
                    </a:lnTo>
                    <a:lnTo>
                      <a:pt x="2363" y="1484"/>
                    </a:lnTo>
                    <a:lnTo>
                      <a:pt x="2371" y="1676"/>
                    </a:lnTo>
                    <a:lnTo>
                      <a:pt x="2371" y="1676"/>
                    </a:lnTo>
                    <a:lnTo>
                      <a:pt x="0" y="3072"/>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8" name="Freeform 437"/>
              <p:cNvSpPr>
                <a:spLocks/>
              </p:cNvSpPr>
              <p:nvPr/>
            </p:nvSpPr>
            <p:spPr bwMode="auto">
              <a:xfrm>
                <a:off x="-8102600" y="551497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9" name="Freeform 438"/>
              <p:cNvSpPr>
                <a:spLocks/>
              </p:cNvSpPr>
              <p:nvPr/>
            </p:nvSpPr>
            <p:spPr bwMode="auto">
              <a:xfrm>
                <a:off x="-8159750" y="4238625"/>
                <a:ext cx="50800" cy="1130300"/>
              </a:xfrm>
              <a:custGeom>
                <a:avLst/>
                <a:gdLst>
                  <a:gd name="T0" fmla="*/ 32 w 32"/>
                  <a:gd name="T1" fmla="*/ 712 h 712"/>
                  <a:gd name="T2" fmla="*/ 0 w 32"/>
                  <a:gd name="T3" fmla="*/ 0 h 712"/>
                  <a:gd name="T4" fmla="*/ 0 w 32"/>
                  <a:gd name="T5" fmla="*/ 0 h 712"/>
                  <a:gd name="T6" fmla="*/ 32 w 32"/>
                  <a:gd name="T7" fmla="*/ 712 h 712"/>
                </a:gdLst>
                <a:ahLst/>
                <a:cxnLst>
                  <a:cxn ang="0">
                    <a:pos x="T0" y="T1"/>
                  </a:cxn>
                  <a:cxn ang="0">
                    <a:pos x="T2" y="T3"/>
                  </a:cxn>
                  <a:cxn ang="0">
                    <a:pos x="T4" y="T5"/>
                  </a:cxn>
                  <a:cxn ang="0">
                    <a:pos x="T6" y="T7"/>
                  </a:cxn>
                </a:cxnLst>
                <a:rect l="0" t="0" r="r" b="b"/>
                <a:pathLst>
                  <a:path w="32" h="712">
                    <a:moveTo>
                      <a:pt x="32" y="712"/>
                    </a:moveTo>
                    <a:lnTo>
                      <a:pt x="0" y="0"/>
                    </a:lnTo>
                    <a:lnTo>
                      <a:pt x="0" y="0"/>
                    </a:lnTo>
                    <a:lnTo>
                      <a:pt x="32" y="71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0" name="Freeform 439"/>
              <p:cNvSpPr>
                <a:spLocks/>
              </p:cNvSpPr>
              <p:nvPr/>
            </p:nvSpPr>
            <p:spPr bwMode="auto">
              <a:xfrm>
                <a:off x="-8101013" y="4597400"/>
                <a:ext cx="2635250" cy="1195388"/>
              </a:xfrm>
              <a:custGeom>
                <a:avLst/>
                <a:gdLst>
                  <a:gd name="T0" fmla="*/ 1660 w 1660"/>
                  <a:gd name="T1" fmla="*/ 753 h 753"/>
                  <a:gd name="T2" fmla="*/ 0 w 1660"/>
                  <a:gd name="T3" fmla="*/ 578 h 753"/>
                  <a:gd name="T4" fmla="*/ 0 w 1660"/>
                  <a:gd name="T5" fmla="*/ 578 h 753"/>
                  <a:gd name="T6" fmla="*/ 682 w 1660"/>
                  <a:gd name="T7" fmla="*/ 0 h 753"/>
                  <a:gd name="T8" fmla="*/ 1660 w 1660"/>
                  <a:gd name="T9" fmla="*/ 753 h 753"/>
                  <a:gd name="T10" fmla="*/ 1660 w 1660"/>
                  <a:gd name="T11" fmla="*/ 753 h 753"/>
                </a:gdLst>
                <a:ahLst/>
                <a:cxnLst>
                  <a:cxn ang="0">
                    <a:pos x="T0" y="T1"/>
                  </a:cxn>
                  <a:cxn ang="0">
                    <a:pos x="T2" y="T3"/>
                  </a:cxn>
                  <a:cxn ang="0">
                    <a:pos x="T4" y="T5"/>
                  </a:cxn>
                  <a:cxn ang="0">
                    <a:pos x="T6" y="T7"/>
                  </a:cxn>
                  <a:cxn ang="0">
                    <a:pos x="T8" y="T9"/>
                  </a:cxn>
                  <a:cxn ang="0">
                    <a:pos x="T10" y="T11"/>
                  </a:cxn>
                </a:cxnLst>
                <a:rect l="0" t="0" r="r" b="b"/>
                <a:pathLst>
                  <a:path w="1660" h="753">
                    <a:moveTo>
                      <a:pt x="1660" y="753"/>
                    </a:moveTo>
                    <a:lnTo>
                      <a:pt x="0" y="578"/>
                    </a:lnTo>
                    <a:lnTo>
                      <a:pt x="0" y="578"/>
                    </a:lnTo>
                    <a:lnTo>
                      <a:pt x="682" y="0"/>
                    </a:lnTo>
                    <a:lnTo>
                      <a:pt x="1660" y="753"/>
                    </a:lnTo>
                    <a:lnTo>
                      <a:pt x="1660" y="753"/>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1" name="Freeform 440"/>
              <p:cNvSpPr>
                <a:spLocks/>
              </p:cNvSpPr>
              <p:nvPr/>
            </p:nvSpPr>
            <p:spPr bwMode="auto">
              <a:xfrm>
                <a:off x="-8102600" y="5514975"/>
                <a:ext cx="1588"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2" name="Freeform 441"/>
              <p:cNvSpPr>
                <a:spLocks/>
              </p:cNvSpPr>
              <p:nvPr/>
            </p:nvSpPr>
            <p:spPr bwMode="auto">
              <a:xfrm>
                <a:off x="-9909175" y="5514975"/>
                <a:ext cx="1806575" cy="2144713"/>
              </a:xfrm>
              <a:custGeom>
                <a:avLst/>
                <a:gdLst>
                  <a:gd name="T0" fmla="*/ 999 w 1138"/>
                  <a:gd name="T1" fmla="*/ 1351 h 1351"/>
                  <a:gd name="T2" fmla="*/ 662 w 1138"/>
                  <a:gd name="T3" fmla="*/ 1351 h 1351"/>
                  <a:gd name="T4" fmla="*/ 0 w 1138"/>
                  <a:gd name="T5" fmla="*/ 670 h 1351"/>
                  <a:gd name="T6" fmla="*/ 0 w 1138"/>
                  <a:gd name="T7" fmla="*/ 670 h 1351"/>
                  <a:gd name="T8" fmla="*/ 1138 w 1138"/>
                  <a:gd name="T9" fmla="*/ 0 h 1351"/>
                  <a:gd name="T10" fmla="*/ 999 w 1138"/>
                  <a:gd name="T11" fmla="*/ 1351 h 1351"/>
                </a:gdLst>
                <a:ahLst/>
                <a:cxnLst>
                  <a:cxn ang="0">
                    <a:pos x="T0" y="T1"/>
                  </a:cxn>
                  <a:cxn ang="0">
                    <a:pos x="T2" y="T3"/>
                  </a:cxn>
                  <a:cxn ang="0">
                    <a:pos x="T4" y="T5"/>
                  </a:cxn>
                  <a:cxn ang="0">
                    <a:pos x="T6" y="T7"/>
                  </a:cxn>
                  <a:cxn ang="0">
                    <a:pos x="T8" y="T9"/>
                  </a:cxn>
                  <a:cxn ang="0">
                    <a:pos x="T10" y="T11"/>
                  </a:cxn>
                </a:cxnLst>
                <a:rect l="0" t="0" r="r" b="b"/>
                <a:pathLst>
                  <a:path w="1138" h="1351">
                    <a:moveTo>
                      <a:pt x="999" y="1351"/>
                    </a:moveTo>
                    <a:lnTo>
                      <a:pt x="662" y="1351"/>
                    </a:lnTo>
                    <a:lnTo>
                      <a:pt x="0" y="670"/>
                    </a:lnTo>
                    <a:lnTo>
                      <a:pt x="0" y="670"/>
                    </a:lnTo>
                    <a:lnTo>
                      <a:pt x="1138" y="0"/>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3" name="Freeform 442"/>
              <p:cNvSpPr>
                <a:spLocks/>
              </p:cNvSpPr>
              <p:nvPr/>
            </p:nvSpPr>
            <p:spPr bwMode="auto">
              <a:xfrm>
                <a:off x="-5465763" y="4816475"/>
                <a:ext cx="1250950" cy="1479550"/>
              </a:xfrm>
              <a:custGeom>
                <a:avLst/>
                <a:gdLst>
                  <a:gd name="T0" fmla="*/ 788 w 788"/>
                  <a:gd name="T1" fmla="*/ 932 h 932"/>
                  <a:gd name="T2" fmla="*/ 0 w 788"/>
                  <a:gd name="T3" fmla="*/ 615 h 932"/>
                  <a:gd name="T4" fmla="*/ 0 w 788"/>
                  <a:gd name="T5" fmla="*/ 615 h 932"/>
                  <a:gd name="T6" fmla="*/ 0 w 788"/>
                  <a:gd name="T7" fmla="*/ 615 h 932"/>
                  <a:gd name="T8" fmla="*/ 498 w 788"/>
                  <a:gd name="T9" fmla="*/ 0 h 932"/>
                  <a:gd name="T10" fmla="*/ 788 w 788"/>
                  <a:gd name="T11" fmla="*/ 932 h 932"/>
                </a:gdLst>
                <a:ahLst/>
                <a:cxnLst>
                  <a:cxn ang="0">
                    <a:pos x="T0" y="T1"/>
                  </a:cxn>
                  <a:cxn ang="0">
                    <a:pos x="T2" y="T3"/>
                  </a:cxn>
                  <a:cxn ang="0">
                    <a:pos x="T4" y="T5"/>
                  </a:cxn>
                  <a:cxn ang="0">
                    <a:pos x="T6" y="T7"/>
                  </a:cxn>
                  <a:cxn ang="0">
                    <a:pos x="T8" y="T9"/>
                  </a:cxn>
                  <a:cxn ang="0">
                    <a:pos x="T10" y="T11"/>
                  </a:cxn>
                </a:cxnLst>
                <a:rect l="0" t="0" r="r" b="b"/>
                <a:pathLst>
                  <a:path w="788" h="932">
                    <a:moveTo>
                      <a:pt x="788" y="932"/>
                    </a:moveTo>
                    <a:lnTo>
                      <a:pt x="0" y="615"/>
                    </a:lnTo>
                    <a:lnTo>
                      <a:pt x="0" y="615"/>
                    </a:lnTo>
                    <a:lnTo>
                      <a:pt x="0" y="615"/>
                    </a:lnTo>
                    <a:lnTo>
                      <a:pt x="498" y="0"/>
                    </a:lnTo>
                    <a:lnTo>
                      <a:pt x="788"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4" name="Freeform 443"/>
              <p:cNvSpPr>
                <a:spLocks/>
              </p:cNvSpPr>
              <p:nvPr/>
            </p:nvSpPr>
            <p:spPr bwMode="auto">
              <a:xfrm>
                <a:off x="-6213475" y="2655887"/>
                <a:ext cx="1800225" cy="2160588"/>
              </a:xfrm>
              <a:custGeom>
                <a:avLst/>
                <a:gdLst>
                  <a:gd name="T0" fmla="*/ 969 w 1134"/>
                  <a:gd name="T1" fmla="*/ 1361 h 1361"/>
                  <a:gd name="T2" fmla="*/ 969 w 1134"/>
                  <a:gd name="T3" fmla="*/ 1361 h 1361"/>
                  <a:gd name="T4" fmla="*/ 0 w 1134"/>
                  <a:gd name="T5" fmla="*/ 0 h 1361"/>
                  <a:gd name="T6" fmla="*/ 0 w 1134"/>
                  <a:gd name="T7" fmla="*/ 0 h 1361"/>
                  <a:gd name="T8" fmla="*/ 1134 w 1134"/>
                  <a:gd name="T9" fmla="*/ 288 h 1361"/>
                  <a:gd name="T10" fmla="*/ 969 w 1134"/>
                  <a:gd name="T11" fmla="*/ 1361 h 1361"/>
                </a:gdLst>
                <a:ahLst/>
                <a:cxnLst>
                  <a:cxn ang="0">
                    <a:pos x="T0" y="T1"/>
                  </a:cxn>
                  <a:cxn ang="0">
                    <a:pos x="T2" y="T3"/>
                  </a:cxn>
                  <a:cxn ang="0">
                    <a:pos x="T4" y="T5"/>
                  </a:cxn>
                  <a:cxn ang="0">
                    <a:pos x="T6" y="T7"/>
                  </a:cxn>
                  <a:cxn ang="0">
                    <a:pos x="T8" y="T9"/>
                  </a:cxn>
                  <a:cxn ang="0">
                    <a:pos x="T10" y="T11"/>
                  </a:cxn>
                </a:cxnLst>
                <a:rect l="0" t="0" r="r" b="b"/>
                <a:pathLst>
                  <a:path w="1134" h="1361">
                    <a:moveTo>
                      <a:pt x="969" y="1361"/>
                    </a:moveTo>
                    <a:lnTo>
                      <a:pt x="969" y="1361"/>
                    </a:lnTo>
                    <a:lnTo>
                      <a:pt x="0" y="0"/>
                    </a:lnTo>
                    <a:lnTo>
                      <a:pt x="0" y="0"/>
                    </a:lnTo>
                    <a:lnTo>
                      <a:pt x="1134" y="288"/>
                    </a:lnTo>
                    <a:lnTo>
                      <a:pt x="969" y="1361"/>
                    </a:lnTo>
                    <a:close/>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5" name="Rectangle 444"/>
              <p:cNvSpPr>
                <a:spLocks noChangeArrowheads="1"/>
              </p:cNvSpPr>
              <p:nvPr/>
            </p:nvSpPr>
            <p:spPr bwMode="auto">
              <a:xfrm>
                <a:off x="-6213475" y="2655887"/>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6" name="Rectangle 445"/>
              <p:cNvSpPr>
                <a:spLocks noChangeArrowheads="1"/>
              </p:cNvSpPr>
              <p:nvPr/>
            </p:nvSpPr>
            <p:spPr bwMode="auto">
              <a:xfrm>
                <a:off x="-6213475" y="2655887"/>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7" name="Freeform 446"/>
              <p:cNvSpPr>
                <a:spLocks/>
              </p:cNvSpPr>
              <p:nvPr/>
            </p:nvSpPr>
            <p:spPr bwMode="auto">
              <a:xfrm>
                <a:off x="-4675188" y="4237037"/>
                <a:ext cx="1903413" cy="2058988"/>
              </a:xfrm>
              <a:custGeom>
                <a:avLst/>
                <a:gdLst>
                  <a:gd name="T0" fmla="*/ 290 w 1199"/>
                  <a:gd name="T1" fmla="*/ 1297 h 1297"/>
                  <a:gd name="T2" fmla="*/ 290 w 1199"/>
                  <a:gd name="T3" fmla="*/ 1297 h 1297"/>
                  <a:gd name="T4" fmla="*/ 0 w 1199"/>
                  <a:gd name="T5" fmla="*/ 365 h 1297"/>
                  <a:gd name="T6" fmla="*/ 0 w 1199"/>
                  <a:gd name="T7" fmla="*/ 365 h 1297"/>
                  <a:gd name="T8" fmla="*/ 0 w 1199"/>
                  <a:gd name="T9" fmla="*/ 365 h 1297"/>
                  <a:gd name="T10" fmla="*/ 0 w 1199"/>
                  <a:gd name="T11" fmla="*/ 365 h 1297"/>
                  <a:gd name="T12" fmla="*/ 1199 w 1199"/>
                  <a:gd name="T13" fmla="*/ 0 h 1297"/>
                  <a:gd name="T14" fmla="*/ 290 w 1199"/>
                  <a:gd name="T15" fmla="*/ 1297 h 1297"/>
                  <a:gd name="T16" fmla="*/ 290 w 1199"/>
                  <a:gd name="T17" fmla="*/ 1297 h 1297"/>
                  <a:gd name="T18" fmla="*/ 290 w 1199"/>
                  <a:gd name="T19" fmla="*/ 129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9" h="1297">
                    <a:moveTo>
                      <a:pt x="290" y="1297"/>
                    </a:moveTo>
                    <a:lnTo>
                      <a:pt x="290" y="1297"/>
                    </a:lnTo>
                    <a:lnTo>
                      <a:pt x="0" y="365"/>
                    </a:lnTo>
                    <a:lnTo>
                      <a:pt x="0" y="365"/>
                    </a:lnTo>
                    <a:lnTo>
                      <a:pt x="0" y="365"/>
                    </a:lnTo>
                    <a:lnTo>
                      <a:pt x="0" y="365"/>
                    </a:lnTo>
                    <a:lnTo>
                      <a:pt x="1199" y="0"/>
                    </a:lnTo>
                    <a:lnTo>
                      <a:pt x="290" y="1297"/>
                    </a:lnTo>
                    <a:lnTo>
                      <a:pt x="290" y="1297"/>
                    </a:lnTo>
                    <a:lnTo>
                      <a:pt x="290" y="1297"/>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8" name="Freeform 447"/>
              <p:cNvSpPr>
                <a:spLocks/>
              </p:cNvSpPr>
              <p:nvPr/>
            </p:nvSpPr>
            <p:spPr bwMode="auto">
              <a:xfrm>
                <a:off x="-4675188" y="4816475"/>
                <a:ext cx="460375" cy="1479550"/>
              </a:xfrm>
              <a:custGeom>
                <a:avLst/>
                <a:gdLst>
                  <a:gd name="T0" fmla="*/ 290 w 290"/>
                  <a:gd name="T1" fmla="*/ 932 h 932"/>
                  <a:gd name="T2" fmla="*/ 290 w 290"/>
                  <a:gd name="T3" fmla="*/ 932 h 932"/>
                  <a:gd name="T4" fmla="*/ 0 w 290"/>
                  <a:gd name="T5" fmla="*/ 0 h 932"/>
                  <a:gd name="T6" fmla="*/ 0 w 290"/>
                  <a:gd name="T7" fmla="*/ 0 h 932"/>
                  <a:gd name="T8" fmla="*/ 290 w 290"/>
                  <a:gd name="T9" fmla="*/ 932 h 932"/>
                </a:gdLst>
                <a:ahLst/>
                <a:cxnLst>
                  <a:cxn ang="0">
                    <a:pos x="T0" y="T1"/>
                  </a:cxn>
                  <a:cxn ang="0">
                    <a:pos x="T2" y="T3"/>
                  </a:cxn>
                  <a:cxn ang="0">
                    <a:pos x="T4" y="T5"/>
                  </a:cxn>
                  <a:cxn ang="0">
                    <a:pos x="T6" y="T7"/>
                  </a:cxn>
                  <a:cxn ang="0">
                    <a:pos x="T8" y="T9"/>
                  </a:cxn>
                </a:cxnLst>
                <a:rect l="0" t="0" r="r" b="b"/>
                <a:pathLst>
                  <a:path w="290" h="932">
                    <a:moveTo>
                      <a:pt x="290" y="932"/>
                    </a:moveTo>
                    <a:lnTo>
                      <a:pt x="290" y="932"/>
                    </a:lnTo>
                    <a:lnTo>
                      <a:pt x="0" y="0"/>
                    </a:lnTo>
                    <a:lnTo>
                      <a:pt x="0" y="0"/>
                    </a:lnTo>
                    <a:lnTo>
                      <a:pt x="290"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9" name="Freeform 448"/>
              <p:cNvSpPr>
                <a:spLocks/>
              </p:cNvSpPr>
              <p:nvPr/>
            </p:nvSpPr>
            <p:spPr bwMode="auto">
              <a:xfrm>
                <a:off x="-7018338" y="2655887"/>
                <a:ext cx="2343150" cy="2160588"/>
              </a:xfrm>
              <a:custGeom>
                <a:avLst/>
                <a:gdLst>
                  <a:gd name="T0" fmla="*/ 1476 w 1476"/>
                  <a:gd name="T1" fmla="*/ 1361 h 1361"/>
                  <a:gd name="T2" fmla="*/ 0 w 1476"/>
                  <a:gd name="T3" fmla="*/ 1223 h 1361"/>
                  <a:gd name="T4" fmla="*/ 507 w 1476"/>
                  <a:gd name="T5" fmla="*/ 0 h 1361"/>
                  <a:gd name="T6" fmla="*/ 1476 w 1476"/>
                  <a:gd name="T7" fmla="*/ 1361 h 1361"/>
                </a:gdLst>
                <a:ahLst/>
                <a:cxnLst>
                  <a:cxn ang="0">
                    <a:pos x="T0" y="T1"/>
                  </a:cxn>
                  <a:cxn ang="0">
                    <a:pos x="T2" y="T3"/>
                  </a:cxn>
                  <a:cxn ang="0">
                    <a:pos x="T4" y="T5"/>
                  </a:cxn>
                  <a:cxn ang="0">
                    <a:pos x="T6" y="T7"/>
                  </a:cxn>
                </a:cxnLst>
                <a:rect l="0" t="0" r="r" b="b"/>
                <a:pathLst>
                  <a:path w="1476" h="1361">
                    <a:moveTo>
                      <a:pt x="1476" y="1361"/>
                    </a:moveTo>
                    <a:lnTo>
                      <a:pt x="0" y="1223"/>
                    </a:lnTo>
                    <a:lnTo>
                      <a:pt x="507" y="0"/>
                    </a:lnTo>
                    <a:lnTo>
                      <a:pt x="1476" y="136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0" name="Freeform 449"/>
              <p:cNvSpPr>
                <a:spLocks/>
              </p:cNvSpPr>
              <p:nvPr/>
            </p:nvSpPr>
            <p:spPr bwMode="auto">
              <a:xfrm>
                <a:off x="-7018338" y="2655887"/>
                <a:ext cx="804863" cy="1941513"/>
              </a:xfrm>
              <a:custGeom>
                <a:avLst/>
                <a:gdLst>
                  <a:gd name="T0" fmla="*/ 0 w 507"/>
                  <a:gd name="T1" fmla="*/ 1223 h 1223"/>
                  <a:gd name="T2" fmla="*/ 507 w 507"/>
                  <a:gd name="T3" fmla="*/ 0 h 1223"/>
                  <a:gd name="T4" fmla="*/ 507 w 507"/>
                  <a:gd name="T5" fmla="*/ 0 h 1223"/>
                  <a:gd name="T6" fmla="*/ 0 w 507"/>
                  <a:gd name="T7" fmla="*/ 1223 h 1223"/>
                </a:gdLst>
                <a:ahLst/>
                <a:cxnLst>
                  <a:cxn ang="0">
                    <a:pos x="T0" y="T1"/>
                  </a:cxn>
                  <a:cxn ang="0">
                    <a:pos x="T2" y="T3"/>
                  </a:cxn>
                  <a:cxn ang="0">
                    <a:pos x="T4" y="T5"/>
                  </a:cxn>
                  <a:cxn ang="0">
                    <a:pos x="T6" y="T7"/>
                  </a:cxn>
                </a:cxnLst>
                <a:rect l="0" t="0" r="r" b="b"/>
                <a:pathLst>
                  <a:path w="507" h="1223">
                    <a:moveTo>
                      <a:pt x="0" y="1223"/>
                    </a:moveTo>
                    <a:lnTo>
                      <a:pt x="507" y="0"/>
                    </a:lnTo>
                    <a:lnTo>
                      <a:pt x="507" y="0"/>
                    </a:lnTo>
                    <a:lnTo>
                      <a:pt x="0" y="122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1" name="Rectangle 450"/>
              <p:cNvSpPr>
                <a:spLocks noChangeArrowheads="1"/>
              </p:cNvSpPr>
              <p:nvPr/>
            </p:nvSpPr>
            <p:spPr bwMode="auto">
              <a:xfrm>
                <a:off x="-6213475" y="2655887"/>
                <a:ext cx="1588" cy="1588"/>
              </a:xfrm>
              <a:prstGeom prst="rect">
                <a:avLst/>
              </a:prstGeom>
              <a:solidFill>
                <a:srgbClr val="5698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2" name="Freeform 451"/>
              <p:cNvSpPr>
                <a:spLocks/>
              </p:cNvSpPr>
              <p:nvPr/>
            </p:nvSpPr>
            <p:spPr bwMode="auto">
              <a:xfrm>
                <a:off x="-6213475" y="2655887"/>
                <a:ext cx="1538288" cy="2160588"/>
              </a:xfrm>
              <a:custGeom>
                <a:avLst/>
                <a:gdLst>
                  <a:gd name="T0" fmla="*/ 969 w 969"/>
                  <a:gd name="T1" fmla="*/ 1361 h 1361"/>
                  <a:gd name="T2" fmla="*/ 969 w 969"/>
                  <a:gd name="T3" fmla="*/ 1361 h 1361"/>
                  <a:gd name="T4" fmla="*/ 0 w 969"/>
                  <a:gd name="T5" fmla="*/ 0 h 1361"/>
                  <a:gd name="T6" fmla="*/ 0 w 969"/>
                  <a:gd name="T7" fmla="*/ 0 h 1361"/>
                  <a:gd name="T8" fmla="*/ 969 w 969"/>
                  <a:gd name="T9" fmla="*/ 1361 h 1361"/>
                </a:gdLst>
                <a:ahLst/>
                <a:cxnLst>
                  <a:cxn ang="0">
                    <a:pos x="T0" y="T1"/>
                  </a:cxn>
                  <a:cxn ang="0">
                    <a:pos x="T2" y="T3"/>
                  </a:cxn>
                  <a:cxn ang="0">
                    <a:pos x="T4" y="T5"/>
                  </a:cxn>
                  <a:cxn ang="0">
                    <a:pos x="T6" y="T7"/>
                  </a:cxn>
                  <a:cxn ang="0">
                    <a:pos x="T8" y="T9"/>
                  </a:cxn>
                </a:cxnLst>
                <a:rect l="0" t="0" r="r" b="b"/>
                <a:pathLst>
                  <a:path w="969" h="1361">
                    <a:moveTo>
                      <a:pt x="969" y="1361"/>
                    </a:moveTo>
                    <a:lnTo>
                      <a:pt x="969" y="1361"/>
                    </a:lnTo>
                    <a:lnTo>
                      <a:pt x="0" y="0"/>
                    </a:lnTo>
                    <a:lnTo>
                      <a:pt x="0" y="0"/>
                    </a:lnTo>
                    <a:lnTo>
                      <a:pt x="969" y="1361"/>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3" name="Freeform 452"/>
              <p:cNvSpPr>
                <a:spLocks/>
              </p:cNvSpPr>
              <p:nvPr/>
            </p:nvSpPr>
            <p:spPr bwMode="auto">
              <a:xfrm>
                <a:off x="-6213475" y="2655887"/>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4" name="Freeform 453"/>
              <p:cNvSpPr>
                <a:spLocks/>
              </p:cNvSpPr>
              <p:nvPr/>
            </p:nvSpPr>
            <p:spPr bwMode="auto">
              <a:xfrm>
                <a:off x="-4675188" y="3113087"/>
                <a:ext cx="1903413" cy="1703388"/>
              </a:xfrm>
              <a:custGeom>
                <a:avLst/>
                <a:gdLst>
                  <a:gd name="T0" fmla="*/ 0 w 1199"/>
                  <a:gd name="T1" fmla="*/ 1073 h 1073"/>
                  <a:gd name="T2" fmla="*/ 165 w 1199"/>
                  <a:gd name="T3" fmla="*/ 0 h 1073"/>
                  <a:gd name="T4" fmla="*/ 1199 w 1199"/>
                  <a:gd name="T5" fmla="*/ 708 h 1073"/>
                  <a:gd name="T6" fmla="*/ 0 w 1199"/>
                  <a:gd name="T7" fmla="*/ 1073 h 1073"/>
                </a:gdLst>
                <a:ahLst/>
                <a:cxnLst>
                  <a:cxn ang="0">
                    <a:pos x="T0" y="T1"/>
                  </a:cxn>
                  <a:cxn ang="0">
                    <a:pos x="T2" y="T3"/>
                  </a:cxn>
                  <a:cxn ang="0">
                    <a:pos x="T4" y="T5"/>
                  </a:cxn>
                  <a:cxn ang="0">
                    <a:pos x="T6" y="T7"/>
                  </a:cxn>
                </a:cxnLst>
                <a:rect l="0" t="0" r="r" b="b"/>
                <a:pathLst>
                  <a:path w="1199" h="1073">
                    <a:moveTo>
                      <a:pt x="0" y="1073"/>
                    </a:moveTo>
                    <a:lnTo>
                      <a:pt x="165" y="0"/>
                    </a:lnTo>
                    <a:lnTo>
                      <a:pt x="1199" y="708"/>
                    </a:lnTo>
                    <a:lnTo>
                      <a:pt x="0" y="1073"/>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5" name="Freeform 454"/>
              <p:cNvSpPr>
                <a:spLocks/>
              </p:cNvSpPr>
              <p:nvPr/>
            </p:nvSpPr>
            <p:spPr bwMode="auto">
              <a:xfrm>
                <a:off x="-7018338" y="4597400"/>
                <a:ext cx="2343150" cy="1195388"/>
              </a:xfrm>
              <a:custGeom>
                <a:avLst/>
                <a:gdLst>
                  <a:gd name="T0" fmla="*/ 978 w 1476"/>
                  <a:gd name="T1" fmla="*/ 753 h 753"/>
                  <a:gd name="T2" fmla="*/ 978 w 1476"/>
                  <a:gd name="T3" fmla="*/ 753 h 753"/>
                  <a:gd name="T4" fmla="*/ 0 w 1476"/>
                  <a:gd name="T5" fmla="*/ 0 h 753"/>
                  <a:gd name="T6" fmla="*/ 1476 w 1476"/>
                  <a:gd name="T7" fmla="*/ 138 h 753"/>
                  <a:gd name="T8" fmla="*/ 978 w 1476"/>
                  <a:gd name="T9" fmla="*/ 753 h 753"/>
                </a:gdLst>
                <a:ahLst/>
                <a:cxnLst>
                  <a:cxn ang="0">
                    <a:pos x="T0" y="T1"/>
                  </a:cxn>
                  <a:cxn ang="0">
                    <a:pos x="T2" y="T3"/>
                  </a:cxn>
                  <a:cxn ang="0">
                    <a:pos x="T4" y="T5"/>
                  </a:cxn>
                  <a:cxn ang="0">
                    <a:pos x="T6" y="T7"/>
                  </a:cxn>
                  <a:cxn ang="0">
                    <a:pos x="T8" y="T9"/>
                  </a:cxn>
                </a:cxnLst>
                <a:rect l="0" t="0" r="r" b="b"/>
                <a:pathLst>
                  <a:path w="1476" h="753">
                    <a:moveTo>
                      <a:pt x="978" y="753"/>
                    </a:moveTo>
                    <a:lnTo>
                      <a:pt x="978" y="753"/>
                    </a:lnTo>
                    <a:lnTo>
                      <a:pt x="0" y="0"/>
                    </a:lnTo>
                    <a:lnTo>
                      <a:pt x="1476" y="138"/>
                    </a:lnTo>
                    <a:lnTo>
                      <a:pt x="978" y="7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6" name="Line 455"/>
              <p:cNvSpPr>
                <a:spLocks noChangeShapeType="1"/>
              </p:cNvSpPr>
              <p:nvPr/>
            </p:nvSpPr>
            <p:spPr bwMode="auto">
              <a:xfrm>
                <a:off x="-7643813" y="76596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7" name="Freeform 456"/>
              <p:cNvSpPr>
                <a:spLocks/>
              </p:cNvSpPr>
              <p:nvPr/>
            </p:nvSpPr>
            <p:spPr bwMode="auto">
              <a:xfrm>
                <a:off x="-7643813" y="6911975"/>
                <a:ext cx="1103313" cy="747713"/>
              </a:xfrm>
              <a:custGeom>
                <a:avLst/>
                <a:gdLst>
                  <a:gd name="T0" fmla="*/ 0 w 695"/>
                  <a:gd name="T1" fmla="*/ 471 h 471"/>
                  <a:gd name="T2" fmla="*/ 0 w 695"/>
                  <a:gd name="T3" fmla="*/ 471 h 471"/>
                  <a:gd name="T4" fmla="*/ 695 w 695"/>
                  <a:gd name="T5" fmla="*/ 0 h 471"/>
                  <a:gd name="T6" fmla="*/ 0 w 695"/>
                  <a:gd name="T7" fmla="*/ 471 h 471"/>
                </a:gdLst>
                <a:ahLst/>
                <a:cxnLst>
                  <a:cxn ang="0">
                    <a:pos x="T0" y="T1"/>
                  </a:cxn>
                  <a:cxn ang="0">
                    <a:pos x="T2" y="T3"/>
                  </a:cxn>
                  <a:cxn ang="0">
                    <a:pos x="T4" y="T5"/>
                  </a:cxn>
                  <a:cxn ang="0">
                    <a:pos x="T6" y="T7"/>
                  </a:cxn>
                </a:cxnLst>
                <a:rect l="0" t="0" r="r" b="b"/>
                <a:pathLst>
                  <a:path w="695" h="471">
                    <a:moveTo>
                      <a:pt x="0" y="471"/>
                    </a:moveTo>
                    <a:lnTo>
                      <a:pt x="0" y="471"/>
                    </a:lnTo>
                    <a:lnTo>
                      <a:pt x="695" y="0"/>
                    </a:lnTo>
                    <a:lnTo>
                      <a:pt x="0" y="47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8" name="Freeform 457"/>
              <p:cNvSpPr>
                <a:spLocks/>
              </p:cNvSpPr>
              <p:nvPr/>
            </p:nvSpPr>
            <p:spPr bwMode="auto">
              <a:xfrm>
                <a:off x="-5465763" y="5792787"/>
                <a:ext cx="1524000" cy="1866900"/>
              </a:xfrm>
              <a:custGeom>
                <a:avLst/>
                <a:gdLst>
                  <a:gd name="T0" fmla="*/ 960 w 960"/>
                  <a:gd name="T1" fmla="*/ 1176 h 1176"/>
                  <a:gd name="T2" fmla="*/ 823 w 960"/>
                  <a:gd name="T3" fmla="*/ 1176 h 1176"/>
                  <a:gd name="T4" fmla="*/ 0 w 960"/>
                  <a:gd name="T5" fmla="*/ 0 h 1176"/>
                  <a:gd name="T6" fmla="*/ 788 w 960"/>
                  <a:gd name="T7" fmla="*/ 317 h 1176"/>
                  <a:gd name="T8" fmla="*/ 960 w 960"/>
                  <a:gd name="T9" fmla="*/ 1176 h 1176"/>
                </a:gdLst>
                <a:ahLst/>
                <a:cxnLst>
                  <a:cxn ang="0">
                    <a:pos x="T0" y="T1"/>
                  </a:cxn>
                  <a:cxn ang="0">
                    <a:pos x="T2" y="T3"/>
                  </a:cxn>
                  <a:cxn ang="0">
                    <a:pos x="T4" y="T5"/>
                  </a:cxn>
                  <a:cxn ang="0">
                    <a:pos x="T6" y="T7"/>
                  </a:cxn>
                  <a:cxn ang="0">
                    <a:pos x="T8" y="T9"/>
                  </a:cxn>
                </a:cxnLst>
                <a:rect l="0" t="0" r="r" b="b"/>
                <a:pathLst>
                  <a:path w="960" h="1176">
                    <a:moveTo>
                      <a:pt x="960" y="1176"/>
                    </a:moveTo>
                    <a:lnTo>
                      <a:pt x="823" y="1176"/>
                    </a:lnTo>
                    <a:lnTo>
                      <a:pt x="0" y="0"/>
                    </a:lnTo>
                    <a:lnTo>
                      <a:pt x="788" y="317"/>
                    </a:lnTo>
                    <a:lnTo>
                      <a:pt x="960" y="117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9" name="Rectangle 458"/>
              <p:cNvSpPr>
                <a:spLocks noChangeArrowheads="1"/>
              </p:cNvSpPr>
              <p:nvPr/>
            </p:nvSpPr>
            <p:spPr bwMode="auto">
              <a:xfrm>
                <a:off x="-5465763" y="5792787"/>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0" name="Freeform 459"/>
              <p:cNvSpPr>
                <a:spLocks/>
              </p:cNvSpPr>
              <p:nvPr/>
            </p:nvSpPr>
            <p:spPr bwMode="auto">
              <a:xfrm>
                <a:off x="-6540500" y="5792787"/>
                <a:ext cx="2381250" cy="1866900"/>
              </a:xfrm>
              <a:custGeom>
                <a:avLst/>
                <a:gdLst>
                  <a:gd name="T0" fmla="*/ 1500 w 1500"/>
                  <a:gd name="T1" fmla="*/ 1176 h 1176"/>
                  <a:gd name="T2" fmla="*/ 1072 w 1500"/>
                  <a:gd name="T3" fmla="*/ 1176 h 1176"/>
                  <a:gd name="T4" fmla="*/ 0 w 1500"/>
                  <a:gd name="T5" fmla="*/ 705 h 1176"/>
                  <a:gd name="T6" fmla="*/ 677 w 1500"/>
                  <a:gd name="T7" fmla="*/ 0 h 1176"/>
                  <a:gd name="T8" fmla="*/ 677 w 1500"/>
                  <a:gd name="T9" fmla="*/ 0 h 1176"/>
                  <a:gd name="T10" fmla="*/ 1500 w 1500"/>
                  <a:gd name="T11" fmla="*/ 1176 h 1176"/>
                </a:gdLst>
                <a:ahLst/>
                <a:cxnLst>
                  <a:cxn ang="0">
                    <a:pos x="T0" y="T1"/>
                  </a:cxn>
                  <a:cxn ang="0">
                    <a:pos x="T2" y="T3"/>
                  </a:cxn>
                  <a:cxn ang="0">
                    <a:pos x="T4" y="T5"/>
                  </a:cxn>
                  <a:cxn ang="0">
                    <a:pos x="T6" y="T7"/>
                  </a:cxn>
                  <a:cxn ang="0">
                    <a:pos x="T8" y="T9"/>
                  </a:cxn>
                  <a:cxn ang="0">
                    <a:pos x="T10" y="T11"/>
                  </a:cxn>
                </a:cxnLst>
                <a:rect l="0" t="0" r="r" b="b"/>
                <a:pathLst>
                  <a:path w="1500" h="1176">
                    <a:moveTo>
                      <a:pt x="1500" y="1176"/>
                    </a:moveTo>
                    <a:lnTo>
                      <a:pt x="1072" y="1176"/>
                    </a:lnTo>
                    <a:lnTo>
                      <a:pt x="0" y="705"/>
                    </a:lnTo>
                    <a:lnTo>
                      <a:pt x="677" y="0"/>
                    </a:lnTo>
                    <a:lnTo>
                      <a:pt x="677" y="0"/>
                    </a:lnTo>
                    <a:lnTo>
                      <a:pt x="150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1" name="Freeform 460"/>
              <p:cNvSpPr>
                <a:spLocks/>
              </p:cNvSpPr>
              <p:nvPr/>
            </p:nvSpPr>
            <p:spPr bwMode="auto">
              <a:xfrm>
                <a:off x="-4214813" y="6296025"/>
                <a:ext cx="1620838" cy="1363663"/>
              </a:xfrm>
              <a:custGeom>
                <a:avLst/>
                <a:gdLst>
                  <a:gd name="T0" fmla="*/ 1021 w 1021"/>
                  <a:gd name="T1" fmla="*/ 859 h 859"/>
                  <a:gd name="T2" fmla="*/ 172 w 1021"/>
                  <a:gd name="T3" fmla="*/ 859 h 859"/>
                  <a:gd name="T4" fmla="*/ 0 w 1021"/>
                  <a:gd name="T5" fmla="*/ 0 h 859"/>
                  <a:gd name="T6" fmla="*/ 1021 w 1021"/>
                  <a:gd name="T7" fmla="*/ 859 h 859"/>
                </a:gdLst>
                <a:ahLst/>
                <a:cxnLst>
                  <a:cxn ang="0">
                    <a:pos x="T0" y="T1"/>
                  </a:cxn>
                  <a:cxn ang="0">
                    <a:pos x="T2" y="T3"/>
                  </a:cxn>
                  <a:cxn ang="0">
                    <a:pos x="T4" y="T5"/>
                  </a:cxn>
                  <a:cxn ang="0">
                    <a:pos x="T6" y="T7"/>
                  </a:cxn>
                </a:cxnLst>
                <a:rect l="0" t="0" r="r" b="b"/>
                <a:pathLst>
                  <a:path w="1021" h="859">
                    <a:moveTo>
                      <a:pt x="1021" y="859"/>
                    </a:moveTo>
                    <a:lnTo>
                      <a:pt x="172" y="859"/>
                    </a:lnTo>
                    <a:lnTo>
                      <a:pt x="0" y="0"/>
                    </a:lnTo>
                    <a:lnTo>
                      <a:pt x="1021" y="8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2" name="Freeform 461"/>
              <p:cNvSpPr>
                <a:spLocks/>
              </p:cNvSpPr>
              <p:nvPr/>
            </p:nvSpPr>
            <p:spPr bwMode="auto">
              <a:xfrm>
                <a:off x="-6540500" y="6911975"/>
                <a:ext cx="1701800" cy="747713"/>
              </a:xfrm>
              <a:custGeom>
                <a:avLst/>
                <a:gdLst>
                  <a:gd name="T0" fmla="*/ 1072 w 1072"/>
                  <a:gd name="T1" fmla="*/ 471 h 471"/>
                  <a:gd name="T2" fmla="*/ 254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254" y="471"/>
                    </a:lnTo>
                    <a:lnTo>
                      <a:pt x="0" y="0"/>
                    </a:lnTo>
                    <a:lnTo>
                      <a:pt x="1072" y="471"/>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3" name="Line 462"/>
              <p:cNvSpPr>
                <a:spLocks noChangeShapeType="1"/>
              </p:cNvSpPr>
              <p:nvPr/>
            </p:nvSpPr>
            <p:spPr bwMode="auto">
              <a:xfrm>
                <a:off x="-6137275" y="76596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4" name="Freeform 463"/>
              <p:cNvSpPr>
                <a:spLocks/>
              </p:cNvSpPr>
              <p:nvPr/>
            </p:nvSpPr>
            <p:spPr bwMode="auto">
              <a:xfrm>
                <a:off x="-6540500" y="6911975"/>
                <a:ext cx="403225" cy="747713"/>
              </a:xfrm>
              <a:custGeom>
                <a:avLst/>
                <a:gdLst>
                  <a:gd name="T0" fmla="*/ 254 w 254"/>
                  <a:gd name="T1" fmla="*/ 471 h 471"/>
                  <a:gd name="T2" fmla="*/ 254 w 254"/>
                  <a:gd name="T3" fmla="*/ 471 h 471"/>
                  <a:gd name="T4" fmla="*/ 0 w 254"/>
                  <a:gd name="T5" fmla="*/ 0 h 471"/>
                  <a:gd name="T6" fmla="*/ 254 w 254"/>
                  <a:gd name="T7" fmla="*/ 471 h 471"/>
                </a:gdLst>
                <a:ahLst/>
                <a:cxnLst>
                  <a:cxn ang="0">
                    <a:pos x="T0" y="T1"/>
                  </a:cxn>
                  <a:cxn ang="0">
                    <a:pos x="T2" y="T3"/>
                  </a:cxn>
                  <a:cxn ang="0">
                    <a:pos x="T4" y="T5"/>
                  </a:cxn>
                  <a:cxn ang="0">
                    <a:pos x="T6" y="T7"/>
                  </a:cxn>
                </a:cxnLst>
                <a:rect l="0" t="0" r="r" b="b"/>
                <a:pathLst>
                  <a:path w="254" h="471">
                    <a:moveTo>
                      <a:pt x="254" y="471"/>
                    </a:moveTo>
                    <a:lnTo>
                      <a:pt x="254" y="471"/>
                    </a:lnTo>
                    <a:lnTo>
                      <a:pt x="0" y="0"/>
                    </a:lnTo>
                    <a:lnTo>
                      <a:pt x="254" y="471"/>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5" name="Freeform 464"/>
              <p:cNvSpPr>
                <a:spLocks/>
              </p:cNvSpPr>
              <p:nvPr/>
            </p:nvSpPr>
            <p:spPr bwMode="auto">
              <a:xfrm>
                <a:off x="-6540500" y="6911975"/>
                <a:ext cx="1701800" cy="747713"/>
              </a:xfrm>
              <a:custGeom>
                <a:avLst/>
                <a:gdLst>
                  <a:gd name="T0" fmla="*/ 1072 w 1072"/>
                  <a:gd name="T1" fmla="*/ 471 h 471"/>
                  <a:gd name="T2" fmla="*/ 1072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1072" y="471"/>
                    </a:lnTo>
                    <a:lnTo>
                      <a:pt x="0" y="0"/>
                    </a:lnTo>
                    <a:lnTo>
                      <a:pt x="1072" y="47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6" name="Freeform 465"/>
              <p:cNvSpPr>
                <a:spLocks/>
              </p:cNvSpPr>
              <p:nvPr/>
            </p:nvSpPr>
            <p:spPr bwMode="auto">
              <a:xfrm>
                <a:off x="-3327400" y="-3540126"/>
                <a:ext cx="2473325" cy="2046288"/>
              </a:xfrm>
              <a:custGeom>
                <a:avLst/>
                <a:gdLst>
                  <a:gd name="T0" fmla="*/ 0 w 1558"/>
                  <a:gd name="T1" fmla="*/ 1289 h 1289"/>
                  <a:gd name="T2" fmla="*/ 916 w 1558"/>
                  <a:gd name="T3" fmla="*/ 0 h 1289"/>
                  <a:gd name="T4" fmla="*/ 1558 w 1558"/>
                  <a:gd name="T5" fmla="*/ 541 h 1289"/>
                  <a:gd name="T6" fmla="*/ 1558 w 1558"/>
                  <a:gd name="T7" fmla="*/ 890 h 1289"/>
                  <a:gd name="T8" fmla="*/ 0 w 1558"/>
                  <a:gd name="T9" fmla="*/ 1289 h 1289"/>
                </a:gdLst>
                <a:ahLst/>
                <a:cxnLst>
                  <a:cxn ang="0">
                    <a:pos x="T0" y="T1"/>
                  </a:cxn>
                  <a:cxn ang="0">
                    <a:pos x="T2" y="T3"/>
                  </a:cxn>
                  <a:cxn ang="0">
                    <a:pos x="T4" y="T5"/>
                  </a:cxn>
                  <a:cxn ang="0">
                    <a:pos x="T6" y="T7"/>
                  </a:cxn>
                  <a:cxn ang="0">
                    <a:pos x="T8" y="T9"/>
                  </a:cxn>
                </a:cxnLst>
                <a:rect l="0" t="0" r="r" b="b"/>
                <a:pathLst>
                  <a:path w="1558" h="1289">
                    <a:moveTo>
                      <a:pt x="0" y="1289"/>
                    </a:moveTo>
                    <a:lnTo>
                      <a:pt x="916" y="0"/>
                    </a:lnTo>
                    <a:lnTo>
                      <a:pt x="1558" y="541"/>
                    </a:lnTo>
                    <a:lnTo>
                      <a:pt x="1558" y="890"/>
                    </a:lnTo>
                    <a:lnTo>
                      <a:pt x="0" y="128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7" name="Freeform 466"/>
              <p:cNvSpPr>
                <a:spLocks/>
              </p:cNvSpPr>
              <p:nvPr/>
            </p:nvSpPr>
            <p:spPr bwMode="auto">
              <a:xfrm>
                <a:off x="-2697163" y="-4110038"/>
                <a:ext cx="1154113" cy="569913"/>
              </a:xfrm>
              <a:custGeom>
                <a:avLst/>
                <a:gdLst>
                  <a:gd name="T0" fmla="*/ 519 w 727"/>
                  <a:gd name="T1" fmla="*/ 359 h 359"/>
                  <a:gd name="T2" fmla="*/ 519 w 727"/>
                  <a:gd name="T3" fmla="*/ 359 h 359"/>
                  <a:gd name="T4" fmla="*/ 0 w 727"/>
                  <a:gd name="T5" fmla="*/ 0 h 359"/>
                  <a:gd name="T6" fmla="*/ 727 w 727"/>
                  <a:gd name="T7" fmla="*/ 0 h 359"/>
                  <a:gd name="T8" fmla="*/ 519 w 727"/>
                  <a:gd name="T9" fmla="*/ 359 h 359"/>
                </a:gdLst>
                <a:ahLst/>
                <a:cxnLst>
                  <a:cxn ang="0">
                    <a:pos x="T0" y="T1"/>
                  </a:cxn>
                  <a:cxn ang="0">
                    <a:pos x="T2" y="T3"/>
                  </a:cxn>
                  <a:cxn ang="0">
                    <a:pos x="T4" y="T5"/>
                  </a:cxn>
                  <a:cxn ang="0">
                    <a:pos x="T6" y="T7"/>
                  </a:cxn>
                  <a:cxn ang="0">
                    <a:pos x="T8" y="T9"/>
                  </a:cxn>
                </a:cxnLst>
                <a:rect l="0" t="0" r="r" b="b"/>
                <a:pathLst>
                  <a:path w="727" h="359">
                    <a:moveTo>
                      <a:pt x="519" y="359"/>
                    </a:moveTo>
                    <a:lnTo>
                      <a:pt x="519" y="359"/>
                    </a:lnTo>
                    <a:lnTo>
                      <a:pt x="0" y="0"/>
                    </a:lnTo>
                    <a:lnTo>
                      <a:pt x="727" y="0"/>
                    </a:lnTo>
                    <a:lnTo>
                      <a:pt x="519"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8" name="Freeform 467"/>
              <p:cNvSpPr>
                <a:spLocks/>
              </p:cNvSpPr>
              <p:nvPr/>
            </p:nvSpPr>
            <p:spPr bwMode="auto">
              <a:xfrm>
                <a:off x="-1873250" y="-3540126"/>
                <a:ext cx="1019175" cy="858838"/>
              </a:xfrm>
              <a:custGeom>
                <a:avLst/>
                <a:gdLst>
                  <a:gd name="T0" fmla="*/ 642 w 642"/>
                  <a:gd name="T1" fmla="*/ 541 h 541"/>
                  <a:gd name="T2" fmla="*/ 0 w 642"/>
                  <a:gd name="T3" fmla="*/ 0 h 541"/>
                  <a:gd name="T4" fmla="*/ 642 w 642"/>
                  <a:gd name="T5" fmla="*/ 0 h 541"/>
                  <a:gd name="T6" fmla="*/ 642 w 642"/>
                  <a:gd name="T7" fmla="*/ 541 h 541"/>
                </a:gdLst>
                <a:ahLst/>
                <a:cxnLst>
                  <a:cxn ang="0">
                    <a:pos x="T0" y="T1"/>
                  </a:cxn>
                  <a:cxn ang="0">
                    <a:pos x="T2" y="T3"/>
                  </a:cxn>
                  <a:cxn ang="0">
                    <a:pos x="T4" y="T5"/>
                  </a:cxn>
                  <a:cxn ang="0">
                    <a:pos x="T6" y="T7"/>
                  </a:cxn>
                </a:cxnLst>
                <a:rect l="0" t="0" r="r" b="b"/>
                <a:pathLst>
                  <a:path w="642" h="541">
                    <a:moveTo>
                      <a:pt x="642" y="541"/>
                    </a:moveTo>
                    <a:lnTo>
                      <a:pt x="0" y="0"/>
                    </a:lnTo>
                    <a:lnTo>
                      <a:pt x="642" y="0"/>
                    </a:lnTo>
                    <a:lnTo>
                      <a:pt x="642" y="541"/>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9" name="Freeform 468"/>
              <p:cNvSpPr>
                <a:spLocks/>
              </p:cNvSpPr>
              <p:nvPr/>
            </p:nvSpPr>
            <p:spPr bwMode="auto">
              <a:xfrm>
                <a:off x="-3668713" y="-4110038"/>
                <a:ext cx="1795463" cy="569913"/>
              </a:xfrm>
              <a:custGeom>
                <a:avLst/>
                <a:gdLst>
                  <a:gd name="T0" fmla="*/ 1131 w 1131"/>
                  <a:gd name="T1" fmla="*/ 359 h 359"/>
                  <a:gd name="T2" fmla="*/ 0 w 1131"/>
                  <a:gd name="T3" fmla="*/ 359 h 359"/>
                  <a:gd name="T4" fmla="*/ 285 w 1131"/>
                  <a:gd name="T5" fmla="*/ 0 h 359"/>
                  <a:gd name="T6" fmla="*/ 612 w 1131"/>
                  <a:gd name="T7" fmla="*/ 0 h 359"/>
                  <a:gd name="T8" fmla="*/ 1131 w 1131"/>
                  <a:gd name="T9" fmla="*/ 359 h 359"/>
                </a:gdLst>
                <a:ahLst/>
                <a:cxnLst>
                  <a:cxn ang="0">
                    <a:pos x="T0" y="T1"/>
                  </a:cxn>
                  <a:cxn ang="0">
                    <a:pos x="T2" y="T3"/>
                  </a:cxn>
                  <a:cxn ang="0">
                    <a:pos x="T4" y="T5"/>
                  </a:cxn>
                  <a:cxn ang="0">
                    <a:pos x="T6" y="T7"/>
                  </a:cxn>
                  <a:cxn ang="0">
                    <a:pos x="T8" y="T9"/>
                  </a:cxn>
                </a:cxnLst>
                <a:rect l="0" t="0" r="r" b="b"/>
                <a:pathLst>
                  <a:path w="1131" h="359">
                    <a:moveTo>
                      <a:pt x="1131" y="359"/>
                    </a:moveTo>
                    <a:lnTo>
                      <a:pt x="0" y="359"/>
                    </a:lnTo>
                    <a:lnTo>
                      <a:pt x="285" y="0"/>
                    </a:lnTo>
                    <a:lnTo>
                      <a:pt x="612" y="0"/>
                    </a:lnTo>
                    <a:lnTo>
                      <a:pt x="1131"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0" name="Freeform 469"/>
              <p:cNvSpPr>
                <a:spLocks/>
              </p:cNvSpPr>
              <p:nvPr/>
            </p:nvSpPr>
            <p:spPr bwMode="auto">
              <a:xfrm>
                <a:off x="-1873250" y="-4110038"/>
                <a:ext cx="1019175" cy="569913"/>
              </a:xfrm>
              <a:custGeom>
                <a:avLst/>
                <a:gdLst>
                  <a:gd name="T0" fmla="*/ 642 w 642"/>
                  <a:gd name="T1" fmla="*/ 359 h 359"/>
                  <a:gd name="T2" fmla="*/ 0 w 642"/>
                  <a:gd name="T3" fmla="*/ 359 h 359"/>
                  <a:gd name="T4" fmla="*/ 208 w 642"/>
                  <a:gd name="T5" fmla="*/ 0 h 359"/>
                  <a:gd name="T6" fmla="*/ 642 w 642"/>
                  <a:gd name="T7" fmla="*/ 0 h 359"/>
                  <a:gd name="T8" fmla="*/ 642 w 642"/>
                  <a:gd name="T9" fmla="*/ 359 h 359"/>
                </a:gdLst>
                <a:ahLst/>
                <a:cxnLst>
                  <a:cxn ang="0">
                    <a:pos x="T0" y="T1"/>
                  </a:cxn>
                  <a:cxn ang="0">
                    <a:pos x="T2" y="T3"/>
                  </a:cxn>
                  <a:cxn ang="0">
                    <a:pos x="T4" y="T5"/>
                  </a:cxn>
                  <a:cxn ang="0">
                    <a:pos x="T6" y="T7"/>
                  </a:cxn>
                  <a:cxn ang="0">
                    <a:pos x="T8" y="T9"/>
                  </a:cxn>
                </a:cxnLst>
                <a:rect l="0" t="0" r="r" b="b"/>
                <a:pathLst>
                  <a:path w="642" h="359">
                    <a:moveTo>
                      <a:pt x="642" y="359"/>
                    </a:moveTo>
                    <a:lnTo>
                      <a:pt x="0" y="359"/>
                    </a:lnTo>
                    <a:lnTo>
                      <a:pt x="208" y="0"/>
                    </a:lnTo>
                    <a:lnTo>
                      <a:pt x="642" y="0"/>
                    </a:lnTo>
                    <a:lnTo>
                      <a:pt x="642"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1" name="Freeform 470"/>
              <p:cNvSpPr>
                <a:spLocks/>
              </p:cNvSpPr>
              <p:nvPr/>
            </p:nvSpPr>
            <p:spPr bwMode="auto">
              <a:xfrm>
                <a:off x="-3668713" y="-3540126"/>
                <a:ext cx="1795463" cy="2046288"/>
              </a:xfrm>
              <a:custGeom>
                <a:avLst/>
                <a:gdLst>
                  <a:gd name="T0" fmla="*/ 215 w 1131"/>
                  <a:gd name="T1" fmla="*/ 1289 h 1289"/>
                  <a:gd name="T2" fmla="*/ 150 w 1131"/>
                  <a:gd name="T3" fmla="*/ 902 h 1289"/>
                  <a:gd name="T4" fmla="*/ 0 w 1131"/>
                  <a:gd name="T5" fmla="*/ 0 h 1289"/>
                  <a:gd name="T6" fmla="*/ 0 w 1131"/>
                  <a:gd name="T7" fmla="*/ 0 h 1289"/>
                  <a:gd name="T8" fmla="*/ 0 w 1131"/>
                  <a:gd name="T9" fmla="*/ 0 h 1289"/>
                  <a:gd name="T10" fmla="*/ 1131 w 1131"/>
                  <a:gd name="T11" fmla="*/ 0 h 1289"/>
                  <a:gd name="T12" fmla="*/ 215 w 1131"/>
                  <a:gd name="T13" fmla="*/ 1289 h 1289"/>
                </a:gdLst>
                <a:ahLst/>
                <a:cxnLst>
                  <a:cxn ang="0">
                    <a:pos x="T0" y="T1"/>
                  </a:cxn>
                  <a:cxn ang="0">
                    <a:pos x="T2" y="T3"/>
                  </a:cxn>
                  <a:cxn ang="0">
                    <a:pos x="T4" y="T5"/>
                  </a:cxn>
                  <a:cxn ang="0">
                    <a:pos x="T6" y="T7"/>
                  </a:cxn>
                  <a:cxn ang="0">
                    <a:pos x="T8" y="T9"/>
                  </a:cxn>
                  <a:cxn ang="0">
                    <a:pos x="T10" y="T11"/>
                  </a:cxn>
                  <a:cxn ang="0">
                    <a:pos x="T12" y="T13"/>
                  </a:cxn>
                </a:cxnLst>
                <a:rect l="0" t="0" r="r" b="b"/>
                <a:pathLst>
                  <a:path w="1131" h="1289">
                    <a:moveTo>
                      <a:pt x="215" y="1289"/>
                    </a:moveTo>
                    <a:lnTo>
                      <a:pt x="150" y="902"/>
                    </a:lnTo>
                    <a:lnTo>
                      <a:pt x="0" y="0"/>
                    </a:lnTo>
                    <a:lnTo>
                      <a:pt x="0" y="0"/>
                    </a:lnTo>
                    <a:lnTo>
                      <a:pt x="0" y="0"/>
                    </a:lnTo>
                    <a:lnTo>
                      <a:pt x="1131" y="0"/>
                    </a:lnTo>
                    <a:lnTo>
                      <a:pt x="215" y="128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2" name="Freeform 471"/>
              <p:cNvSpPr>
                <a:spLocks/>
              </p:cNvSpPr>
              <p:nvPr/>
            </p:nvSpPr>
            <p:spPr bwMode="auto">
              <a:xfrm>
                <a:off x="-3668713" y="-35401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3" name="Freeform 472"/>
              <p:cNvSpPr>
                <a:spLocks/>
              </p:cNvSpPr>
              <p:nvPr/>
            </p:nvSpPr>
            <p:spPr bwMode="auto">
              <a:xfrm>
                <a:off x="-3668713" y="-3540126"/>
                <a:ext cx="238125" cy="1431925"/>
              </a:xfrm>
              <a:custGeom>
                <a:avLst/>
                <a:gdLst>
                  <a:gd name="T0" fmla="*/ 150 w 150"/>
                  <a:gd name="T1" fmla="*/ 902 h 902"/>
                  <a:gd name="T2" fmla="*/ 0 w 150"/>
                  <a:gd name="T3" fmla="*/ 0 h 902"/>
                  <a:gd name="T4" fmla="*/ 0 w 150"/>
                  <a:gd name="T5" fmla="*/ 0 h 902"/>
                  <a:gd name="T6" fmla="*/ 150 w 150"/>
                  <a:gd name="T7" fmla="*/ 902 h 902"/>
                </a:gdLst>
                <a:ahLst/>
                <a:cxnLst>
                  <a:cxn ang="0">
                    <a:pos x="T0" y="T1"/>
                  </a:cxn>
                  <a:cxn ang="0">
                    <a:pos x="T2" y="T3"/>
                  </a:cxn>
                  <a:cxn ang="0">
                    <a:pos x="T4" y="T5"/>
                  </a:cxn>
                  <a:cxn ang="0">
                    <a:pos x="T6" y="T7"/>
                  </a:cxn>
                </a:cxnLst>
                <a:rect l="0" t="0" r="r" b="b"/>
                <a:pathLst>
                  <a:path w="150" h="902">
                    <a:moveTo>
                      <a:pt x="150" y="902"/>
                    </a:moveTo>
                    <a:lnTo>
                      <a:pt x="0" y="0"/>
                    </a:lnTo>
                    <a:lnTo>
                      <a:pt x="0" y="0"/>
                    </a:lnTo>
                    <a:lnTo>
                      <a:pt x="150" y="902"/>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4" name="Freeform 473"/>
              <p:cNvSpPr>
                <a:spLocks/>
              </p:cNvSpPr>
              <p:nvPr/>
            </p:nvSpPr>
            <p:spPr bwMode="auto">
              <a:xfrm>
                <a:off x="-2771775" y="-428626"/>
                <a:ext cx="1917700" cy="2205038"/>
              </a:xfrm>
              <a:custGeom>
                <a:avLst/>
                <a:gdLst>
                  <a:gd name="T0" fmla="*/ 1208 w 1208"/>
                  <a:gd name="T1" fmla="*/ 1389 h 1389"/>
                  <a:gd name="T2" fmla="*/ 0 w 1208"/>
                  <a:gd name="T3" fmla="*/ 979 h 1389"/>
                  <a:gd name="T4" fmla="*/ 566 w 1208"/>
                  <a:gd name="T5" fmla="*/ 0 h 1389"/>
                  <a:gd name="T6" fmla="*/ 566 w 1208"/>
                  <a:gd name="T7" fmla="*/ 0 h 1389"/>
                  <a:gd name="T8" fmla="*/ 566 w 1208"/>
                  <a:gd name="T9" fmla="*/ 0 h 1389"/>
                  <a:gd name="T10" fmla="*/ 566 w 1208"/>
                  <a:gd name="T11" fmla="*/ 0 h 1389"/>
                  <a:gd name="T12" fmla="*/ 566 w 1208"/>
                  <a:gd name="T13" fmla="*/ 0 h 1389"/>
                  <a:gd name="T14" fmla="*/ 1104 w 1208"/>
                  <a:gd name="T15" fmla="*/ 901 h 1389"/>
                  <a:gd name="T16" fmla="*/ 1208 w 1208"/>
                  <a:gd name="T17" fmla="*/ 1075 h 1389"/>
                  <a:gd name="T18" fmla="*/ 1208 w 1208"/>
                  <a:gd name="T19" fmla="*/ 1389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8" h="1389">
                    <a:moveTo>
                      <a:pt x="1208" y="1389"/>
                    </a:moveTo>
                    <a:lnTo>
                      <a:pt x="0" y="979"/>
                    </a:lnTo>
                    <a:lnTo>
                      <a:pt x="566" y="0"/>
                    </a:lnTo>
                    <a:lnTo>
                      <a:pt x="566" y="0"/>
                    </a:lnTo>
                    <a:lnTo>
                      <a:pt x="566" y="0"/>
                    </a:lnTo>
                    <a:lnTo>
                      <a:pt x="566" y="0"/>
                    </a:lnTo>
                    <a:lnTo>
                      <a:pt x="566" y="0"/>
                    </a:lnTo>
                    <a:lnTo>
                      <a:pt x="1104" y="901"/>
                    </a:lnTo>
                    <a:lnTo>
                      <a:pt x="1208" y="1075"/>
                    </a:lnTo>
                    <a:lnTo>
                      <a:pt x="1208" y="138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5" name="Freeform 474"/>
              <p:cNvSpPr>
                <a:spLocks/>
              </p:cNvSpPr>
              <p:nvPr/>
            </p:nvSpPr>
            <p:spPr bwMode="auto">
              <a:xfrm>
                <a:off x="-3327400" y="-2127251"/>
                <a:ext cx="2473325" cy="1698625"/>
              </a:xfrm>
              <a:custGeom>
                <a:avLst/>
                <a:gdLst>
                  <a:gd name="T0" fmla="*/ 916 w 1558"/>
                  <a:gd name="T1" fmla="*/ 1070 h 1070"/>
                  <a:gd name="T2" fmla="*/ 916 w 1558"/>
                  <a:gd name="T3" fmla="*/ 1070 h 1070"/>
                  <a:gd name="T4" fmla="*/ 0 w 1558"/>
                  <a:gd name="T5" fmla="*/ 399 h 1070"/>
                  <a:gd name="T6" fmla="*/ 1558 w 1558"/>
                  <a:gd name="T7" fmla="*/ 0 h 1070"/>
                  <a:gd name="T8" fmla="*/ 1558 w 1558"/>
                  <a:gd name="T9" fmla="*/ 299 h 1070"/>
                  <a:gd name="T10" fmla="*/ 1515 w 1558"/>
                  <a:gd name="T11" fmla="*/ 350 h 1070"/>
                  <a:gd name="T12" fmla="*/ 916 w 1558"/>
                  <a:gd name="T13" fmla="*/ 1070 h 1070"/>
                </a:gdLst>
                <a:ahLst/>
                <a:cxnLst>
                  <a:cxn ang="0">
                    <a:pos x="T0" y="T1"/>
                  </a:cxn>
                  <a:cxn ang="0">
                    <a:pos x="T2" y="T3"/>
                  </a:cxn>
                  <a:cxn ang="0">
                    <a:pos x="T4" y="T5"/>
                  </a:cxn>
                  <a:cxn ang="0">
                    <a:pos x="T6" y="T7"/>
                  </a:cxn>
                  <a:cxn ang="0">
                    <a:pos x="T8" y="T9"/>
                  </a:cxn>
                  <a:cxn ang="0">
                    <a:pos x="T10" y="T11"/>
                  </a:cxn>
                  <a:cxn ang="0">
                    <a:pos x="T12" y="T13"/>
                  </a:cxn>
                </a:cxnLst>
                <a:rect l="0" t="0" r="r" b="b"/>
                <a:pathLst>
                  <a:path w="1558" h="1070">
                    <a:moveTo>
                      <a:pt x="916" y="1070"/>
                    </a:moveTo>
                    <a:lnTo>
                      <a:pt x="916" y="1070"/>
                    </a:lnTo>
                    <a:lnTo>
                      <a:pt x="0" y="399"/>
                    </a:lnTo>
                    <a:lnTo>
                      <a:pt x="1558" y="0"/>
                    </a:lnTo>
                    <a:lnTo>
                      <a:pt x="1558" y="299"/>
                    </a:lnTo>
                    <a:lnTo>
                      <a:pt x="1515" y="350"/>
                    </a:lnTo>
                    <a:lnTo>
                      <a:pt x="916" y="107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6" name="Freeform 475"/>
              <p:cNvSpPr>
                <a:spLocks/>
              </p:cNvSpPr>
              <p:nvPr/>
            </p:nvSpPr>
            <p:spPr bwMode="auto">
              <a:xfrm>
                <a:off x="-1873250" y="-428626"/>
                <a:ext cx="1019175" cy="1706563"/>
              </a:xfrm>
              <a:custGeom>
                <a:avLst/>
                <a:gdLst>
                  <a:gd name="T0" fmla="*/ 642 w 642"/>
                  <a:gd name="T1" fmla="*/ 1075 h 1075"/>
                  <a:gd name="T2" fmla="*/ 538 w 642"/>
                  <a:gd name="T3" fmla="*/ 901 h 1075"/>
                  <a:gd name="T4" fmla="*/ 0 w 642"/>
                  <a:gd name="T5" fmla="*/ 0 h 1075"/>
                  <a:gd name="T6" fmla="*/ 642 w 642"/>
                  <a:gd name="T7" fmla="*/ 193 h 1075"/>
                  <a:gd name="T8" fmla="*/ 642 w 642"/>
                  <a:gd name="T9" fmla="*/ 1075 h 1075"/>
                </a:gdLst>
                <a:ahLst/>
                <a:cxnLst>
                  <a:cxn ang="0">
                    <a:pos x="T0" y="T1"/>
                  </a:cxn>
                  <a:cxn ang="0">
                    <a:pos x="T2" y="T3"/>
                  </a:cxn>
                  <a:cxn ang="0">
                    <a:pos x="T4" y="T5"/>
                  </a:cxn>
                  <a:cxn ang="0">
                    <a:pos x="T6" y="T7"/>
                  </a:cxn>
                  <a:cxn ang="0">
                    <a:pos x="T8" y="T9"/>
                  </a:cxn>
                </a:cxnLst>
                <a:rect l="0" t="0" r="r" b="b"/>
                <a:pathLst>
                  <a:path w="642" h="1075">
                    <a:moveTo>
                      <a:pt x="642" y="1075"/>
                    </a:moveTo>
                    <a:lnTo>
                      <a:pt x="538" y="901"/>
                    </a:lnTo>
                    <a:lnTo>
                      <a:pt x="0" y="0"/>
                    </a:lnTo>
                    <a:lnTo>
                      <a:pt x="642" y="193"/>
                    </a:lnTo>
                    <a:lnTo>
                      <a:pt x="642" y="107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7" name="Freeform 476"/>
              <p:cNvSpPr>
                <a:spLocks/>
              </p:cNvSpPr>
              <p:nvPr/>
            </p:nvSpPr>
            <p:spPr bwMode="auto">
              <a:xfrm>
                <a:off x="-3327400" y="-1493838"/>
                <a:ext cx="1454150" cy="1654175"/>
              </a:xfrm>
              <a:custGeom>
                <a:avLst/>
                <a:gdLst>
                  <a:gd name="T0" fmla="*/ 218 w 916"/>
                  <a:gd name="T1" fmla="*/ 1042 h 1042"/>
                  <a:gd name="T2" fmla="*/ 218 w 916"/>
                  <a:gd name="T3" fmla="*/ 1042 h 1042"/>
                  <a:gd name="T4" fmla="*/ 0 w 916"/>
                  <a:gd name="T5" fmla="*/ 0 h 1042"/>
                  <a:gd name="T6" fmla="*/ 916 w 916"/>
                  <a:gd name="T7" fmla="*/ 671 h 1042"/>
                  <a:gd name="T8" fmla="*/ 916 w 916"/>
                  <a:gd name="T9" fmla="*/ 671 h 1042"/>
                  <a:gd name="T10" fmla="*/ 218 w 916"/>
                  <a:gd name="T11" fmla="*/ 1042 h 1042"/>
                </a:gdLst>
                <a:ahLst/>
                <a:cxnLst>
                  <a:cxn ang="0">
                    <a:pos x="T0" y="T1"/>
                  </a:cxn>
                  <a:cxn ang="0">
                    <a:pos x="T2" y="T3"/>
                  </a:cxn>
                  <a:cxn ang="0">
                    <a:pos x="T4" y="T5"/>
                  </a:cxn>
                  <a:cxn ang="0">
                    <a:pos x="T6" y="T7"/>
                  </a:cxn>
                  <a:cxn ang="0">
                    <a:pos x="T8" y="T9"/>
                  </a:cxn>
                  <a:cxn ang="0">
                    <a:pos x="T10" y="T11"/>
                  </a:cxn>
                </a:cxnLst>
                <a:rect l="0" t="0" r="r" b="b"/>
                <a:pathLst>
                  <a:path w="916" h="1042">
                    <a:moveTo>
                      <a:pt x="218" y="1042"/>
                    </a:moveTo>
                    <a:lnTo>
                      <a:pt x="218" y="1042"/>
                    </a:lnTo>
                    <a:lnTo>
                      <a:pt x="0" y="0"/>
                    </a:lnTo>
                    <a:lnTo>
                      <a:pt x="916" y="671"/>
                    </a:lnTo>
                    <a:lnTo>
                      <a:pt x="916" y="671"/>
                    </a:lnTo>
                    <a:lnTo>
                      <a:pt x="218" y="10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8" name="Freeform 477"/>
              <p:cNvSpPr>
                <a:spLocks/>
              </p:cNvSpPr>
              <p:nvPr/>
            </p:nvSpPr>
            <p:spPr bwMode="auto">
              <a:xfrm>
                <a:off x="-1873250" y="-1652588"/>
                <a:ext cx="1019175" cy="1530350"/>
              </a:xfrm>
              <a:custGeom>
                <a:avLst/>
                <a:gdLst>
                  <a:gd name="T0" fmla="*/ 642 w 642"/>
                  <a:gd name="T1" fmla="*/ 964 h 964"/>
                  <a:gd name="T2" fmla="*/ 0 w 642"/>
                  <a:gd name="T3" fmla="*/ 771 h 964"/>
                  <a:gd name="T4" fmla="*/ 0 w 642"/>
                  <a:gd name="T5" fmla="*/ 771 h 964"/>
                  <a:gd name="T6" fmla="*/ 599 w 642"/>
                  <a:gd name="T7" fmla="*/ 51 h 964"/>
                  <a:gd name="T8" fmla="*/ 642 w 642"/>
                  <a:gd name="T9" fmla="*/ 0 h 964"/>
                  <a:gd name="T10" fmla="*/ 642 w 642"/>
                  <a:gd name="T11" fmla="*/ 964 h 964"/>
                </a:gdLst>
                <a:ahLst/>
                <a:cxnLst>
                  <a:cxn ang="0">
                    <a:pos x="T0" y="T1"/>
                  </a:cxn>
                  <a:cxn ang="0">
                    <a:pos x="T2" y="T3"/>
                  </a:cxn>
                  <a:cxn ang="0">
                    <a:pos x="T4" y="T5"/>
                  </a:cxn>
                  <a:cxn ang="0">
                    <a:pos x="T6" y="T7"/>
                  </a:cxn>
                  <a:cxn ang="0">
                    <a:pos x="T8" y="T9"/>
                  </a:cxn>
                  <a:cxn ang="0">
                    <a:pos x="T10" y="T11"/>
                  </a:cxn>
                </a:cxnLst>
                <a:rect l="0" t="0" r="r" b="b"/>
                <a:pathLst>
                  <a:path w="642" h="964">
                    <a:moveTo>
                      <a:pt x="642" y="964"/>
                    </a:moveTo>
                    <a:lnTo>
                      <a:pt x="0" y="771"/>
                    </a:lnTo>
                    <a:lnTo>
                      <a:pt x="0" y="771"/>
                    </a:lnTo>
                    <a:lnTo>
                      <a:pt x="599" y="51"/>
                    </a:lnTo>
                    <a:lnTo>
                      <a:pt x="642" y="0"/>
                    </a:lnTo>
                    <a:lnTo>
                      <a:pt x="642" y="964"/>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9" name="Freeform 478"/>
              <p:cNvSpPr>
                <a:spLocks/>
              </p:cNvSpPr>
              <p:nvPr/>
            </p:nvSpPr>
            <p:spPr bwMode="auto">
              <a:xfrm>
                <a:off x="-922338" y="-1652588"/>
                <a:ext cx="68263" cy="80963"/>
              </a:xfrm>
              <a:custGeom>
                <a:avLst/>
                <a:gdLst>
                  <a:gd name="T0" fmla="*/ 0 w 43"/>
                  <a:gd name="T1" fmla="*/ 51 h 51"/>
                  <a:gd name="T2" fmla="*/ 43 w 43"/>
                  <a:gd name="T3" fmla="*/ 0 h 51"/>
                  <a:gd name="T4" fmla="*/ 43 w 43"/>
                  <a:gd name="T5" fmla="*/ 0 h 51"/>
                  <a:gd name="T6" fmla="*/ 0 w 43"/>
                  <a:gd name="T7" fmla="*/ 51 h 51"/>
                </a:gdLst>
                <a:ahLst/>
                <a:cxnLst>
                  <a:cxn ang="0">
                    <a:pos x="T0" y="T1"/>
                  </a:cxn>
                  <a:cxn ang="0">
                    <a:pos x="T2" y="T3"/>
                  </a:cxn>
                  <a:cxn ang="0">
                    <a:pos x="T4" y="T5"/>
                  </a:cxn>
                  <a:cxn ang="0">
                    <a:pos x="T6" y="T7"/>
                  </a:cxn>
                </a:cxnLst>
                <a:rect l="0" t="0" r="r" b="b"/>
                <a:pathLst>
                  <a:path w="43" h="51">
                    <a:moveTo>
                      <a:pt x="0" y="51"/>
                    </a:moveTo>
                    <a:lnTo>
                      <a:pt x="43" y="0"/>
                    </a:lnTo>
                    <a:lnTo>
                      <a:pt x="43" y="0"/>
                    </a:lnTo>
                    <a:lnTo>
                      <a:pt x="0" y="51"/>
                    </a:lnTo>
                    <a:close/>
                  </a:path>
                </a:pathLst>
              </a:custGeom>
              <a:solidFill>
                <a:srgbClr val="5A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0" name="Freeform 479"/>
              <p:cNvSpPr>
                <a:spLocks/>
              </p:cNvSpPr>
              <p:nvPr/>
            </p:nvSpPr>
            <p:spPr bwMode="auto">
              <a:xfrm>
                <a:off x="-2981325" y="-428626"/>
                <a:ext cx="1108075" cy="1554163"/>
              </a:xfrm>
              <a:custGeom>
                <a:avLst/>
                <a:gdLst>
                  <a:gd name="T0" fmla="*/ 132 w 698"/>
                  <a:gd name="T1" fmla="*/ 979 h 979"/>
                  <a:gd name="T2" fmla="*/ 78 w 698"/>
                  <a:gd name="T3" fmla="*/ 730 h 979"/>
                  <a:gd name="T4" fmla="*/ 0 w 698"/>
                  <a:gd name="T5" fmla="*/ 371 h 979"/>
                  <a:gd name="T6" fmla="*/ 0 w 698"/>
                  <a:gd name="T7" fmla="*/ 371 h 979"/>
                  <a:gd name="T8" fmla="*/ 698 w 698"/>
                  <a:gd name="T9" fmla="*/ 0 h 979"/>
                  <a:gd name="T10" fmla="*/ 132 w 698"/>
                  <a:gd name="T11" fmla="*/ 979 h 979"/>
                </a:gdLst>
                <a:ahLst/>
                <a:cxnLst>
                  <a:cxn ang="0">
                    <a:pos x="T0" y="T1"/>
                  </a:cxn>
                  <a:cxn ang="0">
                    <a:pos x="T2" y="T3"/>
                  </a:cxn>
                  <a:cxn ang="0">
                    <a:pos x="T4" y="T5"/>
                  </a:cxn>
                  <a:cxn ang="0">
                    <a:pos x="T6" y="T7"/>
                  </a:cxn>
                  <a:cxn ang="0">
                    <a:pos x="T8" y="T9"/>
                  </a:cxn>
                  <a:cxn ang="0">
                    <a:pos x="T10" y="T11"/>
                  </a:cxn>
                </a:cxnLst>
                <a:rect l="0" t="0" r="r" b="b"/>
                <a:pathLst>
                  <a:path w="698" h="979">
                    <a:moveTo>
                      <a:pt x="132" y="979"/>
                    </a:moveTo>
                    <a:lnTo>
                      <a:pt x="78" y="730"/>
                    </a:lnTo>
                    <a:lnTo>
                      <a:pt x="0" y="371"/>
                    </a:lnTo>
                    <a:lnTo>
                      <a:pt x="0" y="371"/>
                    </a:lnTo>
                    <a:lnTo>
                      <a:pt x="698" y="0"/>
                    </a:lnTo>
                    <a:lnTo>
                      <a:pt x="132" y="97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1" name="Freeform 480"/>
              <p:cNvSpPr>
                <a:spLocks/>
              </p:cNvSpPr>
              <p:nvPr/>
            </p:nvSpPr>
            <p:spPr bwMode="auto">
              <a:xfrm>
                <a:off x="-2981325" y="160337"/>
                <a:ext cx="123825" cy="569913"/>
              </a:xfrm>
              <a:custGeom>
                <a:avLst/>
                <a:gdLst>
                  <a:gd name="T0" fmla="*/ 78 w 78"/>
                  <a:gd name="T1" fmla="*/ 359 h 359"/>
                  <a:gd name="T2" fmla="*/ 0 w 78"/>
                  <a:gd name="T3" fmla="*/ 0 h 359"/>
                  <a:gd name="T4" fmla="*/ 0 w 78"/>
                  <a:gd name="T5" fmla="*/ 0 h 359"/>
                  <a:gd name="T6" fmla="*/ 78 w 78"/>
                  <a:gd name="T7" fmla="*/ 359 h 359"/>
                </a:gdLst>
                <a:ahLst/>
                <a:cxnLst>
                  <a:cxn ang="0">
                    <a:pos x="T0" y="T1"/>
                  </a:cxn>
                  <a:cxn ang="0">
                    <a:pos x="T2" y="T3"/>
                  </a:cxn>
                  <a:cxn ang="0">
                    <a:pos x="T4" y="T5"/>
                  </a:cxn>
                  <a:cxn ang="0">
                    <a:pos x="T6" y="T7"/>
                  </a:cxn>
                </a:cxnLst>
                <a:rect l="0" t="0" r="r" b="b"/>
                <a:pathLst>
                  <a:path w="78" h="359">
                    <a:moveTo>
                      <a:pt x="78" y="359"/>
                    </a:moveTo>
                    <a:lnTo>
                      <a:pt x="0" y="0"/>
                    </a:lnTo>
                    <a:lnTo>
                      <a:pt x="0" y="0"/>
                    </a:lnTo>
                    <a:lnTo>
                      <a:pt x="78" y="359"/>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2" name="Freeform 481"/>
              <p:cNvSpPr>
                <a:spLocks/>
              </p:cNvSpPr>
              <p:nvPr/>
            </p:nvSpPr>
            <p:spPr bwMode="auto">
              <a:xfrm>
                <a:off x="-2771775" y="-428626"/>
                <a:ext cx="898525" cy="1554163"/>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3" name="Freeform 482"/>
              <p:cNvSpPr>
                <a:spLocks noEditPoints="1"/>
              </p:cNvSpPr>
              <p:nvPr/>
            </p:nvSpPr>
            <p:spPr bwMode="auto">
              <a:xfrm>
                <a:off x="-2771775" y="2682875"/>
                <a:ext cx="898525" cy="2232025"/>
              </a:xfrm>
              <a:custGeom>
                <a:avLst/>
                <a:gdLst>
                  <a:gd name="T0" fmla="*/ 940 w 1179"/>
                  <a:gd name="T1" fmla="*/ 2930 h 2930"/>
                  <a:gd name="T2" fmla="*/ 0 w 1179"/>
                  <a:gd name="T3" fmla="*/ 2041 h 2930"/>
                  <a:gd name="T4" fmla="*/ 1179 w 1179"/>
                  <a:gd name="T5" fmla="*/ 0 h 2930"/>
                  <a:gd name="T6" fmla="*/ 940 w 1179"/>
                  <a:gd name="T7" fmla="*/ 2930 h 2930"/>
                  <a:gd name="T8" fmla="*/ 1179 w 1179"/>
                  <a:gd name="T9" fmla="*/ 0 h 2930"/>
                  <a:gd name="T10" fmla="*/ 1179 w 1179"/>
                  <a:gd name="T11" fmla="*/ 0 h 2930"/>
                </a:gdLst>
                <a:ahLst/>
                <a:cxnLst>
                  <a:cxn ang="0">
                    <a:pos x="T0" y="T1"/>
                  </a:cxn>
                  <a:cxn ang="0">
                    <a:pos x="T2" y="T3"/>
                  </a:cxn>
                  <a:cxn ang="0">
                    <a:pos x="T4" y="T5"/>
                  </a:cxn>
                  <a:cxn ang="0">
                    <a:pos x="T6" y="T7"/>
                  </a:cxn>
                  <a:cxn ang="0">
                    <a:pos x="T8" y="T9"/>
                  </a:cxn>
                  <a:cxn ang="0">
                    <a:pos x="T10" y="T11"/>
                  </a:cxn>
                </a:cxnLst>
                <a:rect l="0" t="0" r="r" b="b"/>
                <a:pathLst>
                  <a:path w="1179" h="2930">
                    <a:moveTo>
                      <a:pt x="940" y="2930"/>
                    </a:moveTo>
                    <a:lnTo>
                      <a:pt x="0" y="2041"/>
                    </a:lnTo>
                    <a:lnTo>
                      <a:pt x="1179" y="0"/>
                    </a:lnTo>
                    <a:lnTo>
                      <a:pt x="940" y="2930"/>
                    </a:lnTo>
                    <a:moveTo>
                      <a:pt x="1179" y="0"/>
                    </a:moveTo>
                    <a:lnTo>
                      <a:pt x="1179"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4" name="Freeform 483"/>
              <p:cNvSpPr>
                <a:spLocks/>
              </p:cNvSpPr>
              <p:nvPr/>
            </p:nvSpPr>
            <p:spPr bwMode="auto">
              <a:xfrm>
                <a:off x="-2771775" y="1125537"/>
                <a:ext cx="1917700" cy="1557338"/>
              </a:xfrm>
              <a:custGeom>
                <a:avLst/>
                <a:gdLst>
                  <a:gd name="T0" fmla="*/ 566 w 1208"/>
                  <a:gd name="T1" fmla="*/ 981 h 981"/>
                  <a:gd name="T2" fmla="*/ 566 w 1208"/>
                  <a:gd name="T3" fmla="*/ 981 h 981"/>
                  <a:gd name="T4" fmla="*/ 0 w 1208"/>
                  <a:gd name="T5" fmla="*/ 0 h 981"/>
                  <a:gd name="T6" fmla="*/ 1208 w 1208"/>
                  <a:gd name="T7" fmla="*/ 410 h 981"/>
                  <a:gd name="T8" fmla="*/ 1208 w 1208"/>
                  <a:gd name="T9" fmla="*/ 621 h 981"/>
                  <a:gd name="T10" fmla="*/ 933 w 1208"/>
                  <a:gd name="T11" fmla="*/ 775 h 981"/>
                  <a:gd name="T12" fmla="*/ 566 w 1208"/>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208" h="981">
                    <a:moveTo>
                      <a:pt x="566" y="981"/>
                    </a:moveTo>
                    <a:lnTo>
                      <a:pt x="566" y="981"/>
                    </a:lnTo>
                    <a:lnTo>
                      <a:pt x="0" y="0"/>
                    </a:lnTo>
                    <a:lnTo>
                      <a:pt x="1208" y="410"/>
                    </a:lnTo>
                    <a:lnTo>
                      <a:pt x="1208" y="621"/>
                    </a:lnTo>
                    <a:lnTo>
                      <a:pt x="933" y="775"/>
                    </a:lnTo>
                    <a:lnTo>
                      <a:pt x="566"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5" name="Freeform 484"/>
              <p:cNvSpPr>
                <a:spLocks/>
              </p:cNvSpPr>
              <p:nvPr/>
            </p:nvSpPr>
            <p:spPr bwMode="auto">
              <a:xfrm>
                <a:off x="-2054225" y="2682875"/>
                <a:ext cx="1200150" cy="2232025"/>
              </a:xfrm>
              <a:custGeom>
                <a:avLst/>
                <a:gdLst>
                  <a:gd name="T0" fmla="*/ 0 w 756"/>
                  <a:gd name="T1" fmla="*/ 1406 h 1406"/>
                  <a:gd name="T2" fmla="*/ 114 w 756"/>
                  <a:gd name="T3" fmla="*/ 0 h 1406"/>
                  <a:gd name="T4" fmla="*/ 756 w 756"/>
                  <a:gd name="T5" fmla="*/ 0 h 1406"/>
                  <a:gd name="T6" fmla="*/ 756 w 756"/>
                  <a:gd name="T7" fmla="*/ 553 h 1406"/>
                  <a:gd name="T8" fmla="*/ 0 w 756"/>
                  <a:gd name="T9" fmla="*/ 1406 h 1406"/>
                </a:gdLst>
                <a:ahLst/>
                <a:cxnLst>
                  <a:cxn ang="0">
                    <a:pos x="T0" y="T1"/>
                  </a:cxn>
                  <a:cxn ang="0">
                    <a:pos x="T2" y="T3"/>
                  </a:cxn>
                  <a:cxn ang="0">
                    <a:pos x="T4" y="T5"/>
                  </a:cxn>
                  <a:cxn ang="0">
                    <a:pos x="T6" y="T7"/>
                  </a:cxn>
                  <a:cxn ang="0">
                    <a:pos x="T8" y="T9"/>
                  </a:cxn>
                </a:cxnLst>
                <a:rect l="0" t="0" r="r" b="b"/>
                <a:pathLst>
                  <a:path w="756" h="1406">
                    <a:moveTo>
                      <a:pt x="0" y="1406"/>
                    </a:moveTo>
                    <a:lnTo>
                      <a:pt x="114" y="0"/>
                    </a:lnTo>
                    <a:lnTo>
                      <a:pt x="756" y="0"/>
                    </a:lnTo>
                    <a:lnTo>
                      <a:pt x="756" y="553"/>
                    </a:lnTo>
                    <a:lnTo>
                      <a:pt x="0" y="140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6" name="Freeform 485"/>
              <p:cNvSpPr>
                <a:spLocks noEditPoints="1"/>
              </p:cNvSpPr>
              <p:nvPr/>
            </p:nvSpPr>
            <p:spPr bwMode="auto">
              <a:xfrm>
                <a:off x="-4413250" y="1125537"/>
                <a:ext cx="2540000" cy="1987550"/>
              </a:xfrm>
              <a:custGeom>
                <a:avLst/>
                <a:gdLst>
                  <a:gd name="T0" fmla="*/ 0 w 3333"/>
                  <a:gd name="T1" fmla="*/ 2608 h 2608"/>
                  <a:gd name="T2" fmla="*/ 0 w 3333"/>
                  <a:gd name="T3" fmla="*/ 2608 h 2608"/>
                  <a:gd name="T4" fmla="*/ 0 w 3333"/>
                  <a:gd name="T5" fmla="*/ 2608 h 2608"/>
                  <a:gd name="T6" fmla="*/ 0 w 3333"/>
                  <a:gd name="T7" fmla="*/ 2608 h 2608"/>
                  <a:gd name="T8" fmla="*/ 0 w 3333"/>
                  <a:gd name="T9" fmla="*/ 2608 h 2608"/>
                  <a:gd name="T10" fmla="*/ 2154 w 3333"/>
                  <a:gd name="T11" fmla="*/ 0 h 2608"/>
                  <a:gd name="T12" fmla="*/ 3333 w 3333"/>
                  <a:gd name="T13" fmla="*/ 2042 h 2608"/>
                  <a:gd name="T14" fmla="*/ 3333 w 3333"/>
                  <a:gd name="T15" fmla="*/ 2042 h 2608"/>
                  <a:gd name="T16" fmla="*/ 0 w 3333"/>
                  <a:gd name="T17" fmla="*/ 2608 h 2608"/>
                  <a:gd name="T18" fmla="*/ 3333 w 3333"/>
                  <a:gd name="T19" fmla="*/ 2042 h 2608"/>
                  <a:gd name="T20" fmla="*/ 3333 w 3333"/>
                  <a:gd name="T21" fmla="*/ 2042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33" h="2608">
                    <a:moveTo>
                      <a:pt x="0" y="2608"/>
                    </a:moveTo>
                    <a:lnTo>
                      <a:pt x="0" y="2608"/>
                    </a:lnTo>
                    <a:lnTo>
                      <a:pt x="0" y="2608"/>
                    </a:lnTo>
                    <a:lnTo>
                      <a:pt x="0" y="2608"/>
                    </a:lnTo>
                    <a:moveTo>
                      <a:pt x="0" y="2608"/>
                    </a:moveTo>
                    <a:lnTo>
                      <a:pt x="2154" y="0"/>
                    </a:lnTo>
                    <a:lnTo>
                      <a:pt x="3333" y="2042"/>
                    </a:lnTo>
                    <a:lnTo>
                      <a:pt x="3333" y="2042"/>
                    </a:lnTo>
                    <a:lnTo>
                      <a:pt x="0" y="2608"/>
                    </a:lnTo>
                    <a:moveTo>
                      <a:pt x="3333" y="2042"/>
                    </a:moveTo>
                    <a:lnTo>
                      <a:pt x="3333" y="2042"/>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7" name="Freeform 486"/>
              <p:cNvSpPr>
                <a:spLocks/>
              </p:cNvSpPr>
              <p:nvPr/>
            </p:nvSpPr>
            <p:spPr bwMode="auto">
              <a:xfrm>
                <a:off x="-1873250" y="2111375"/>
                <a:ext cx="1019175" cy="571500"/>
              </a:xfrm>
              <a:custGeom>
                <a:avLst/>
                <a:gdLst>
                  <a:gd name="T0" fmla="*/ 0 w 642"/>
                  <a:gd name="T1" fmla="*/ 360 h 360"/>
                  <a:gd name="T2" fmla="*/ 0 w 642"/>
                  <a:gd name="T3" fmla="*/ 360 h 360"/>
                  <a:gd name="T4" fmla="*/ 367 w 642"/>
                  <a:gd name="T5" fmla="*/ 154 h 360"/>
                  <a:gd name="T6" fmla="*/ 642 w 642"/>
                  <a:gd name="T7" fmla="*/ 0 h 360"/>
                  <a:gd name="T8" fmla="*/ 642 w 642"/>
                  <a:gd name="T9" fmla="*/ 360 h 360"/>
                  <a:gd name="T10" fmla="*/ 0 w 642"/>
                  <a:gd name="T11" fmla="*/ 360 h 360"/>
                </a:gdLst>
                <a:ahLst/>
                <a:cxnLst>
                  <a:cxn ang="0">
                    <a:pos x="T0" y="T1"/>
                  </a:cxn>
                  <a:cxn ang="0">
                    <a:pos x="T2" y="T3"/>
                  </a:cxn>
                  <a:cxn ang="0">
                    <a:pos x="T4" y="T5"/>
                  </a:cxn>
                  <a:cxn ang="0">
                    <a:pos x="T6" y="T7"/>
                  </a:cxn>
                  <a:cxn ang="0">
                    <a:pos x="T8" y="T9"/>
                  </a:cxn>
                  <a:cxn ang="0">
                    <a:pos x="T10" y="T11"/>
                  </a:cxn>
                </a:cxnLst>
                <a:rect l="0" t="0" r="r" b="b"/>
                <a:pathLst>
                  <a:path w="642" h="360">
                    <a:moveTo>
                      <a:pt x="0" y="360"/>
                    </a:moveTo>
                    <a:lnTo>
                      <a:pt x="0" y="360"/>
                    </a:lnTo>
                    <a:lnTo>
                      <a:pt x="367" y="154"/>
                    </a:lnTo>
                    <a:lnTo>
                      <a:pt x="642" y="0"/>
                    </a:lnTo>
                    <a:lnTo>
                      <a:pt x="642" y="360"/>
                    </a:lnTo>
                    <a:lnTo>
                      <a:pt x="0" y="36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8" name="Freeform 487"/>
              <p:cNvSpPr>
                <a:spLocks/>
              </p:cNvSpPr>
              <p:nvPr/>
            </p:nvSpPr>
            <p:spPr bwMode="auto">
              <a:xfrm>
                <a:off x="-1290638" y="2111375"/>
                <a:ext cx="436563" cy="244475"/>
              </a:xfrm>
              <a:custGeom>
                <a:avLst/>
                <a:gdLst>
                  <a:gd name="T0" fmla="*/ 0 w 275"/>
                  <a:gd name="T1" fmla="*/ 154 h 154"/>
                  <a:gd name="T2" fmla="*/ 275 w 275"/>
                  <a:gd name="T3" fmla="*/ 0 h 154"/>
                  <a:gd name="T4" fmla="*/ 275 w 275"/>
                  <a:gd name="T5" fmla="*/ 0 h 154"/>
                  <a:gd name="T6" fmla="*/ 0 w 275"/>
                  <a:gd name="T7" fmla="*/ 154 h 154"/>
                </a:gdLst>
                <a:ahLst/>
                <a:cxnLst>
                  <a:cxn ang="0">
                    <a:pos x="T0" y="T1"/>
                  </a:cxn>
                  <a:cxn ang="0">
                    <a:pos x="T2" y="T3"/>
                  </a:cxn>
                  <a:cxn ang="0">
                    <a:pos x="T4" y="T5"/>
                  </a:cxn>
                  <a:cxn ang="0">
                    <a:pos x="T6" y="T7"/>
                  </a:cxn>
                </a:cxnLst>
                <a:rect l="0" t="0" r="r" b="b"/>
                <a:pathLst>
                  <a:path w="275" h="154">
                    <a:moveTo>
                      <a:pt x="0" y="154"/>
                    </a:moveTo>
                    <a:lnTo>
                      <a:pt x="275" y="0"/>
                    </a:lnTo>
                    <a:lnTo>
                      <a:pt x="275" y="0"/>
                    </a:lnTo>
                    <a:lnTo>
                      <a:pt x="0" y="15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9" name="Freeform 488"/>
              <p:cNvSpPr>
                <a:spLocks/>
              </p:cNvSpPr>
              <p:nvPr/>
            </p:nvSpPr>
            <p:spPr bwMode="auto">
              <a:xfrm>
                <a:off x="-4413250" y="2682875"/>
                <a:ext cx="2540000" cy="1554163"/>
              </a:xfrm>
              <a:custGeom>
                <a:avLst/>
                <a:gdLst>
                  <a:gd name="T0" fmla="*/ 1034 w 1600"/>
                  <a:gd name="T1" fmla="*/ 979 h 979"/>
                  <a:gd name="T2" fmla="*/ 0 w 1600"/>
                  <a:gd name="T3" fmla="*/ 271 h 979"/>
                  <a:gd name="T4" fmla="*/ 0 w 1600"/>
                  <a:gd name="T5" fmla="*/ 271 h 979"/>
                  <a:gd name="T6" fmla="*/ 1600 w 1600"/>
                  <a:gd name="T7" fmla="*/ 0 h 979"/>
                  <a:gd name="T8" fmla="*/ 1034 w 1600"/>
                  <a:gd name="T9" fmla="*/ 979 h 979"/>
                </a:gdLst>
                <a:ahLst/>
                <a:cxnLst>
                  <a:cxn ang="0">
                    <a:pos x="T0" y="T1"/>
                  </a:cxn>
                  <a:cxn ang="0">
                    <a:pos x="T2" y="T3"/>
                  </a:cxn>
                  <a:cxn ang="0">
                    <a:pos x="T4" y="T5"/>
                  </a:cxn>
                  <a:cxn ang="0">
                    <a:pos x="T6" y="T7"/>
                  </a:cxn>
                  <a:cxn ang="0">
                    <a:pos x="T8" y="T9"/>
                  </a:cxn>
                </a:cxnLst>
                <a:rect l="0" t="0" r="r" b="b"/>
                <a:pathLst>
                  <a:path w="1600" h="979">
                    <a:moveTo>
                      <a:pt x="1034" y="979"/>
                    </a:moveTo>
                    <a:lnTo>
                      <a:pt x="0" y="271"/>
                    </a:lnTo>
                    <a:lnTo>
                      <a:pt x="0" y="271"/>
                    </a:lnTo>
                    <a:lnTo>
                      <a:pt x="1600" y="0"/>
                    </a:lnTo>
                    <a:lnTo>
                      <a:pt x="1034"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0" name="Freeform 489"/>
              <p:cNvSpPr>
                <a:spLocks noEditPoints="1"/>
              </p:cNvSpPr>
              <p:nvPr/>
            </p:nvSpPr>
            <p:spPr bwMode="auto">
              <a:xfrm>
                <a:off x="-2438400" y="5792787"/>
                <a:ext cx="1517650" cy="1866900"/>
              </a:xfrm>
              <a:custGeom>
                <a:avLst/>
                <a:gdLst>
                  <a:gd name="T0" fmla="*/ 184 w 1992"/>
                  <a:gd name="T1" fmla="*/ 2449 h 2449"/>
                  <a:gd name="T2" fmla="*/ 0 w 1992"/>
                  <a:gd name="T3" fmla="*/ 2449 h 2449"/>
                  <a:gd name="T4" fmla="*/ 742 w 1992"/>
                  <a:gd name="T5" fmla="*/ 0 h 2449"/>
                  <a:gd name="T6" fmla="*/ 1342 w 1992"/>
                  <a:gd name="T7" fmla="*/ 650 h 2449"/>
                  <a:gd name="T8" fmla="*/ 1992 w 1992"/>
                  <a:gd name="T9" fmla="*/ 1354 h 2449"/>
                  <a:gd name="T10" fmla="*/ 184 w 1992"/>
                  <a:gd name="T11" fmla="*/ 2449 h 2449"/>
                  <a:gd name="T12" fmla="*/ 742 w 1992"/>
                  <a:gd name="T13" fmla="*/ 0 h 2449"/>
                  <a:gd name="T14" fmla="*/ 742 w 1992"/>
                  <a:gd name="T15" fmla="*/ 0 h 2449"/>
                  <a:gd name="T16" fmla="*/ 742 w 1992"/>
                  <a:gd name="T17" fmla="*/ 0 h 2449"/>
                  <a:gd name="T18" fmla="*/ 742 w 1992"/>
                  <a:gd name="T19" fmla="*/ 0 h 2449"/>
                  <a:gd name="T20" fmla="*/ 742 w 1992"/>
                  <a:gd name="T21" fmla="*/ 0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2" h="2449">
                    <a:moveTo>
                      <a:pt x="184" y="2449"/>
                    </a:moveTo>
                    <a:lnTo>
                      <a:pt x="0" y="2449"/>
                    </a:lnTo>
                    <a:lnTo>
                      <a:pt x="742" y="0"/>
                    </a:lnTo>
                    <a:lnTo>
                      <a:pt x="1342" y="650"/>
                    </a:lnTo>
                    <a:lnTo>
                      <a:pt x="1992" y="1354"/>
                    </a:lnTo>
                    <a:lnTo>
                      <a:pt x="184" y="2449"/>
                    </a:lnTo>
                    <a:moveTo>
                      <a:pt x="742" y="0"/>
                    </a:moveTo>
                    <a:lnTo>
                      <a:pt x="742" y="0"/>
                    </a:lnTo>
                    <a:moveTo>
                      <a:pt x="742" y="0"/>
                    </a:moveTo>
                    <a:lnTo>
                      <a:pt x="742" y="0"/>
                    </a:lnTo>
                    <a:lnTo>
                      <a:pt x="742"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1" name="Freeform 490"/>
              <p:cNvSpPr>
                <a:spLocks/>
              </p:cNvSpPr>
              <p:nvPr/>
            </p:nvSpPr>
            <p:spPr bwMode="auto">
              <a:xfrm>
                <a:off x="-2771775" y="4237037"/>
                <a:ext cx="898525" cy="1555750"/>
              </a:xfrm>
              <a:custGeom>
                <a:avLst/>
                <a:gdLst>
                  <a:gd name="T0" fmla="*/ 566 w 566"/>
                  <a:gd name="T1" fmla="*/ 980 h 980"/>
                  <a:gd name="T2" fmla="*/ 0 w 566"/>
                  <a:gd name="T3" fmla="*/ 0 h 980"/>
                  <a:gd name="T4" fmla="*/ 452 w 566"/>
                  <a:gd name="T5" fmla="*/ 427 h 980"/>
                  <a:gd name="T6" fmla="*/ 547 w 566"/>
                  <a:gd name="T7" fmla="*/ 885 h 980"/>
                  <a:gd name="T8" fmla="*/ 566 w 566"/>
                  <a:gd name="T9" fmla="*/ 980 h 980"/>
                </a:gdLst>
                <a:ahLst/>
                <a:cxnLst>
                  <a:cxn ang="0">
                    <a:pos x="T0" y="T1"/>
                  </a:cxn>
                  <a:cxn ang="0">
                    <a:pos x="T2" y="T3"/>
                  </a:cxn>
                  <a:cxn ang="0">
                    <a:pos x="T4" y="T5"/>
                  </a:cxn>
                  <a:cxn ang="0">
                    <a:pos x="T6" y="T7"/>
                  </a:cxn>
                  <a:cxn ang="0">
                    <a:pos x="T8" y="T9"/>
                  </a:cxn>
                </a:cxnLst>
                <a:rect l="0" t="0" r="r" b="b"/>
                <a:pathLst>
                  <a:path w="566" h="980">
                    <a:moveTo>
                      <a:pt x="566" y="980"/>
                    </a:moveTo>
                    <a:lnTo>
                      <a:pt x="0" y="0"/>
                    </a:lnTo>
                    <a:lnTo>
                      <a:pt x="452" y="427"/>
                    </a:lnTo>
                    <a:lnTo>
                      <a:pt x="547" y="88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2" name="Freeform 491"/>
              <p:cNvSpPr>
                <a:spLocks/>
              </p:cNvSpPr>
              <p:nvPr/>
            </p:nvSpPr>
            <p:spPr bwMode="auto">
              <a:xfrm>
                <a:off x="-1873250" y="5792787"/>
                <a:ext cx="1019175" cy="1031875"/>
              </a:xfrm>
              <a:custGeom>
                <a:avLst/>
                <a:gdLst>
                  <a:gd name="T0" fmla="*/ 600 w 642"/>
                  <a:gd name="T1" fmla="*/ 650 h 650"/>
                  <a:gd name="T2" fmla="*/ 288 w 642"/>
                  <a:gd name="T3" fmla="*/ 312 h 650"/>
                  <a:gd name="T4" fmla="*/ 0 w 642"/>
                  <a:gd name="T5" fmla="*/ 0 h 650"/>
                  <a:gd name="T6" fmla="*/ 642 w 642"/>
                  <a:gd name="T7" fmla="*/ 0 h 650"/>
                  <a:gd name="T8" fmla="*/ 642 w 642"/>
                  <a:gd name="T9" fmla="*/ 600 h 650"/>
                  <a:gd name="T10" fmla="*/ 600 w 642"/>
                  <a:gd name="T11" fmla="*/ 650 h 650"/>
                </a:gdLst>
                <a:ahLst/>
                <a:cxnLst>
                  <a:cxn ang="0">
                    <a:pos x="T0" y="T1"/>
                  </a:cxn>
                  <a:cxn ang="0">
                    <a:pos x="T2" y="T3"/>
                  </a:cxn>
                  <a:cxn ang="0">
                    <a:pos x="T4" y="T5"/>
                  </a:cxn>
                  <a:cxn ang="0">
                    <a:pos x="T6" y="T7"/>
                  </a:cxn>
                  <a:cxn ang="0">
                    <a:pos x="T8" y="T9"/>
                  </a:cxn>
                  <a:cxn ang="0">
                    <a:pos x="T10" y="T11"/>
                  </a:cxn>
                </a:cxnLst>
                <a:rect l="0" t="0" r="r" b="b"/>
                <a:pathLst>
                  <a:path w="642" h="650">
                    <a:moveTo>
                      <a:pt x="600" y="650"/>
                    </a:moveTo>
                    <a:lnTo>
                      <a:pt x="288" y="312"/>
                    </a:lnTo>
                    <a:lnTo>
                      <a:pt x="0" y="0"/>
                    </a:lnTo>
                    <a:lnTo>
                      <a:pt x="642" y="0"/>
                    </a:lnTo>
                    <a:lnTo>
                      <a:pt x="642" y="600"/>
                    </a:lnTo>
                    <a:lnTo>
                      <a:pt x="600" y="650"/>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3" name="Freeform 492"/>
              <p:cNvSpPr>
                <a:spLocks noEditPoints="1"/>
              </p:cNvSpPr>
              <p:nvPr/>
            </p:nvSpPr>
            <p:spPr bwMode="auto">
              <a:xfrm>
                <a:off x="-4214813" y="4237037"/>
                <a:ext cx="2341563" cy="2058988"/>
              </a:xfrm>
              <a:custGeom>
                <a:avLst/>
                <a:gdLst>
                  <a:gd name="T0" fmla="*/ 0 w 3073"/>
                  <a:gd name="T1" fmla="*/ 2701 h 2701"/>
                  <a:gd name="T2" fmla="*/ 0 w 3073"/>
                  <a:gd name="T3" fmla="*/ 2701 h 2701"/>
                  <a:gd name="T4" fmla="*/ 0 w 3073"/>
                  <a:gd name="T5" fmla="*/ 2701 h 2701"/>
                  <a:gd name="T6" fmla="*/ 0 w 3073"/>
                  <a:gd name="T7" fmla="*/ 2701 h 2701"/>
                  <a:gd name="T8" fmla="*/ 0 w 3073"/>
                  <a:gd name="T9" fmla="*/ 2701 h 2701"/>
                  <a:gd name="T10" fmla="*/ 1894 w 3073"/>
                  <a:gd name="T11" fmla="*/ 0 h 2701"/>
                  <a:gd name="T12" fmla="*/ 3073 w 3073"/>
                  <a:gd name="T13" fmla="*/ 2042 h 2701"/>
                  <a:gd name="T14" fmla="*/ 3073 w 3073"/>
                  <a:gd name="T15" fmla="*/ 2042 h 2701"/>
                  <a:gd name="T16" fmla="*/ 0 w 3073"/>
                  <a:gd name="T17" fmla="*/ 2701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701">
                    <a:moveTo>
                      <a:pt x="0" y="2701"/>
                    </a:moveTo>
                    <a:lnTo>
                      <a:pt x="0" y="2701"/>
                    </a:lnTo>
                    <a:lnTo>
                      <a:pt x="0" y="2701"/>
                    </a:lnTo>
                    <a:lnTo>
                      <a:pt x="0" y="2701"/>
                    </a:lnTo>
                    <a:moveTo>
                      <a:pt x="0" y="2701"/>
                    </a:moveTo>
                    <a:lnTo>
                      <a:pt x="1894" y="0"/>
                    </a:lnTo>
                    <a:lnTo>
                      <a:pt x="3073" y="2042"/>
                    </a:lnTo>
                    <a:lnTo>
                      <a:pt x="3073" y="2042"/>
                    </a:lnTo>
                    <a:lnTo>
                      <a:pt x="0" y="270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4" name="Freeform 493"/>
              <p:cNvSpPr>
                <a:spLocks/>
              </p:cNvSpPr>
              <p:nvPr/>
            </p:nvSpPr>
            <p:spPr bwMode="auto">
              <a:xfrm>
                <a:off x="-2054225" y="4914900"/>
                <a:ext cx="1200150" cy="877888"/>
              </a:xfrm>
              <a:custGeom>
                <a:avLst/>
                <a:gdLst>
                  <a:gd name="T0" fmla="*/ 114 w 756"/>
                  <a:gd name="T1" fmla="*/ 553 h 553"/>
                  <a:gd name="T2" fmla="*/ 114 w 756"/>
                  <a:gd name="T3" fmla="*/ 553 h 553"/>
                  <a:gd name="T4" fmla="*/ 114 w 756"/>
                  <a:gd name="T5" fmla="*/ 553 h 553"/>
                  <a:gd name="T6" fmla="*/ 95 w 756"/>
                  <a:gd name="T7" fmla="*/ 458 h 553"/>
                  <a:gd name="T8" fmla="*/ 0 w 756"/>
                  <a:gd name="T9" fmla="*/ 0 h 553"/>
                  <a:gd name="T10" fmla="*/ 756 w 756"/>
                  <a:gd name="T11" fmla="*/ 336 h 553"/>
                  <a:gd name="T12" fmla="*/ 756 w 756"/>
                  <a:gd name="T13" fmla="*/ 553 h 553"/>
                  <a:gd name="T14" fmla="*/ 114 w 756"/>
                  <a:gd name="T15" fmla="*/ 553 h 5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6" h="553">
                    <a:moveTo>
                      <a:pt x="114" y="553"/>
                    </a:moveTo>
                    <a:lnTo>
                      <a:pt x="114" y="553"/>
                    </a:lnTo>
                    <a:lnTo>
                      <a:pt x="114" y="553"/>
                    </a:lnTo>
                    <a:lnTo>
                      <a:pt x="95" y="458"/>
                    </a:lnTo>
                    <a:lnTo>
                      <a:pt x="0" y="0"/>
                    </a:lnTo>
                    <a:lnTo>
                      <a:pt x="756" y="336"/>
                    </a:lnTo>
                    <a:lnTo>
                      <a:pt x="756" y="553"/>
                    </a:lnTo>
                    <a:lnTo>
                      <a:pt x="114" y="5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5" name="Freeform 494"/>
              <p:cNvSpPr>
                <a:spLocks noEditPoints="1"/>
              </p:cNvSpPr>
              <p:nvPr/>
            </p:nvSpPr>
            <p:spPr bwMode="auto">
              <a:xfrm>
                <a:off x="-4214813" y="5792787"/>
                <a:ext cx="2341563" cy="1866900"/>
              </a:xfrm>
              <a:custGeom>
                <a:avLst/>
                <a:gdLst>
                  <a:gd name="T0" fmla="*/ 2331 w 3073"/>
                  <a:gd name="T1" fmla="*/ 2449 h 2449"/>
                  <a:gd name="T2" fmla="*/ 2127 w 3073"/>
                  <a:gd name="T3" fmla="*/ 2449 h 2449"/>
                  <a:gd name="T4" fmla="*/ 0 w 3073"/>
                  <a:gd name="T5" fmla="*/ 659 h 2449"/>
                  <a:gd name="T6" fmla="*/ 3073 w 3073"/>
                  <a:gd name="T7" fmla="*/ 0 h 2449"/>
                  <a:gd name="T8" fmla="*/ 2331 w 3073"/>
                  <a:gd name="T9" fmla="*/ 2449 h 2449"/>
                  <a:gd name="T10" fmla="*/ 0 w 3073"/>
                  <a:gd name="T11" fmla="*/ 659 h 2449"/>
                  <a:gd name="T12" fmla="*/ 0 w 3073"/>
                  <a:gd name="T13" fmla="*/ 659 h 2449"/>
                  <a:gd name="T14" fmla="*/ 0 w 3073"/>
                  <a:gd name="T15" fmla="*/ 659 h 2449"/>
                  <a:gd name="T16" fmla="*/ 0 w 3073"/>
                  <a:gd name="T17" fmla="*/ 659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449">
                    <a:moveTo>
                      <a:pt x="2331" y="2449"/>
                    </a:moveTo>
                    <a:lnTo>
                      <a:pt x="2127" y="2449"/>
                    </a:lnTo>
                    <a:lnTo>
                      <a:pt x="0" y="659"/>
                    </a:lnTo>
                    <a:lnTo>
                      <a:pt x="3073" y="0"/>
                    </a:lnTo>
                    <a:lnTo>
                      <a:pt x="2331" y="2449"/>
                    </a:lnTo>
                    <a:moveTo>
                      <a:pt x="0" y="659"/>
                    </a:moveTo>
                    <a:lnTo>
                      <a:pt x="0" y="659"/>
                    </a:lnTo>
                    <a:lnTo>
                      <a:pt x="0" y="659"/>
                    </a:lnTo>
                    <a:lnTo>
                      <a:pt x="0" y="659"/>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6" name="Rectangle 495"/>
              <p:cNvSpPr>
                <a:spLocks noChangeArrowheads="1"/>
              </p:cNvSpPr>
              <p:nvPr/>
            </p:nvSpPr>
            <p:spPr bwMode="auto">
              <a:xfrm>
                <a:off x="-4214813" y="6296025"/>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7" name="Freeform 496"/>
              <p:cNvSpPr>
                <a:spLocks/>
              </p:cNvSpPr>
              <p:nvPr/>
            </p:nvSpPr>
            <p:spPr bwMode="auto">
              <a:xfrm>
                <a:off x="-2438400" y="5792787"/>
                <a:ext cx="565150" cy="1866900"/>
              </a:xfrm>
              <a:custGeom>
                <a:avLst/>
                <a:gdLst>
                  <a:gd name="T0" fmla="*/ 0 w 356"/>
                  <a:gd name="T1" fmla="*/ 1176 h 1176"/>
                  <a:gd name="T2" fmla="*/ 0 w 356"/>
                  <a:gd name="T3" fmla="*/ 1176 h 1176"/>
                  <a:gd name="T4" fmla="*/ 356 w 356"/>
                  <a:gd name="T5" fmla="*/ 0 h 1176"/>
                  <a:gd name="T6" fmla="*/ 356 w 356"/>
                  <a:gd name="T7" fmla="*/ 0 h 1176"/>
                  <a:gd name="T8" fmla="*/ 0 w 356"/>
                  <a:gd name="T9" fmla="*/ 1176 h 1176"/>
                </a:gdLst>
                <a:ahLst/>
                <a:cxnLst>
                  <a:cxn ang="0">
                    <a:pos x="T0" y="T1"/>
                  </a:cxn>
                  <a:cxn ang="0">
                    <a:pos x="T2" y="T3"/>
                  </a:cxn>
                  <a:cxn ang="0">
                    <a:pos x="T4" y="T5"/>
                  </a:cxn>
                  <a:cxn ang="0">
                    <a:pos x="T6" y="T7"/>
                  </a:cxn>
                  <a:cxn ang="0">
                    <a:pos x="T8" y="T9"/>
                  </a:cxn>
                </a:cxnLst>
                <a:rect l="0" t="0" r="r" b="b"/>
                <a:pathLst>
                  <a:path w="356" h="1176">
                    <a:moveTo>
                      <a:pt x="0" y="1176"/>
                    </a:moveTo>
                    <a:lnTo>
                      <a:pt x="0" y="1176"/>
                    </a:lnTo>
                    <a:lnTo>
                      <a:pt x="356" y="0"/>
                    </a:lnTo>
                    <a:lnTo>
                      <a:pt x="356" y="0"/>
                    </a:lnTo>
                    <a:lnTo>
                      <a:pt x="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8" name="Freeform 497"/>
              <p:cNvSpPr>
                <a:spLocks/>
              </p:cNvSpPr>
              <p:nvPr/>
            </p:nvSpPr>
            <p:spPr bwMode="auto">
              <a:xfrm>
                <a:off x="-4214813" y="5792787"/>
                <a:ext cx="2341563" cy="503238"/>
              </a:xfrm>
              <a:custGeom>
                <a:avLst/>
                <a:gdLst>
                  <a:gd name="T0" fmla="*/ 0 w 1475"/>
                  <a:gd name="T1" fmla="*/ 317 h 317"/>
                  <a:gd name="T2" fmla="*/ 0 w 1475"/>
                  <a:gd name="T3" fmla="*/ 317 h 317"/>
                  <a:gd name="T4" fmla="*/ 0 w 1475"/>
                  <a:gd name="T5" fmla="*/ 317 h 317"/>
                  <a:gd name="T6" fmla="*/ 1475 w 1475"/>
                  <a:gd name="T7" fmla="*/ 0 h 317"/>
                  <a:gd name="T8" fmla="*/ 1475 w 1475"/>
                  <a:gd name="T9" fmla="*/ 0 h 317"/>
                  <a:gd name="T10" fmla="*/ 0 w 1475"/>
                  <a:gd name="T11" fmla="*/ 317 h 317"/>
                </a:gdLst>
                <a:ahLst/>
                <a:cxnLst>
                  <a:cxn ang="0">
                    <a:pos x="T0" y="T1"/>
                  </a:cxn>
                  <a:cxn ang="0">
                    <a:pos x="T2" y="T3"/>
                  </a:cxn>
                  <a:cxn ang="0">
                    <a:pos x="T4" y="T5"/>
                  </a:cxn>
                  <a:cxn ang="0">
                    <a:pos x="T6" y="T7"/>
                  </a:cxn>
                  <a:cxn ang="0">
                    <a:pos x="T8" y="T9"/>
                  </a:cxn>
                  <a:cxn ang="0">
                    <a:pos x="T10" y="T11"/>
                  </a:cxn>
                </a:cxnLst>
                <a:rect l="0" t="0" r="r" b="b"/>
                <a:pathLst>
                  <a:path w="1475" h="317">
                    <a:moveTo>
                      <a:pt x="0" y="317"/>
                    </a:moveTo>
                    <a:lnTo>
                      <a:pt x="0" y="317"/>
                    </a:lnTo>
                    <a:lnTo>
                      <a:pt x="0" y="317"/>
                    </a:lnTo>
                    <a:lnTo>
                      <a:pt x="1475" y="0"/>
                    </a:lnTo>
                    <a:lnTo>
                      <a:pt x="1475" y="0"/>
                    </a:lnTo>
                    <a:lnTo>
                      <a:pt x="0" y="317"/>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9" name="Freeform 498"/>
              <p:cNvSpPr>
                <a:spLocks/>
              </p:cNvSpPr>
              <p:nvPr/>
            </p:nvSpPr>
            <p:spPr bwMode="auto">
              <a:xfrm>
                <a:off x="-2054225" y="3560762"/>
                <a:ext cx="1200150" cy="1354138"/>
              </a:xfrm>
              <a:custGeom>
                <a:avLst/>
                <a:gdLst>
                  <a:gd name="T0" fmla="*/ 0 w 756"/>
                  <a:gd name="T1" fmla="*/ 853 h 853"/>
                  <a:gd name="T2" fmla="*/ 0 w 756"/>
                  <a:gd name="T3" fmla="*/ 853 h 853"/>
                  <a:gd name="T4" fmla="*/ 756 w 756"/>
                  <a:gd name="T5" fmla="*/ 0 h 853"/>
                  <a:gd name="T6" fmla="*/ 756 w 756"/>
                  <a:gd name="T7" fmla="*/ 675 h 853"/>
                  <a:gd name="T8" fmla="*/ 0 w 756"/>
                  <a:gd name="T9" fmla="*/ 853 h 853"/>
                </a:gdLst>
                <a:ahLst/>
                <a:cxnLst>
                  <a:cxn ang="0">
                    <a:pos x="T0" y="T1"/>
                  </a:cxn>
                  <a:cxn ang="0">
                    <a:pos x="T2" y="T3"/>
                  </a:cxn>
                  <a:cxn ang="0">
                    <a:pos x="T4" y="T5"/>
                  </a:cxn>
                  <a:cxn ang="0">
                    <a:pos x="T6" y="T7"/>
                  </a:cxn>
                  <a:cxn ang="0">
                    <a:pos x="T8" y="T9"/>
                  </a:cxn>
                </a:cxnLst>
                <a:rect l="0" t="0" r="r" b="b"/>
                <a:pathLst>
                  <a:path w="756" h="853">
                    <a:moveTo>
                      <a:pt x="0" y="853"/>
                    </a:moveTo>
                    <a:lnTo>
                      <a:pt x="0" y="853"/>
                    </a:lnTo>
                    <a:lnTo>
                      <a:pt x="756" y="0"/>
                    </a:lnTo>
                    <a:lnTo>
                      <a:pt x="756" y="675"/>
                    </a:lnTo>
                    <a:lnTo>
                      <a:pt x="0" y="853"/>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0" name="Freeform 499"/>
              <p:cNvSpPr>
                <a:spLocks/>
              </p:cNvSpPr>
              <p:nvPr/>
            </p:nvSpPr>
            <p:spPr bwMode="auto">
              <a:xfrm>
                <a:off x="-2054225" y="3560762"/>
                <a:ext cx="1200150" cy="1354138"/>
              </a:xfrm>
              <a:custGeom>
                <a:avLst/>
                <a:gdLst>
                  <a:gd name="T0" fmla="*/ 0 w 756"/>
                  <a:gd name="T1" fmla="*/ 853 h 853"/>
                  <a:gd name="T2" fmla="*/ 756 w 756"/>
                  <a:gd name="T3" fmla="*/ 0 h 853"/>
                  <a:gd name="T4" fmla="*/ 756 w 756"/>
                  <a:gd name="T5" fmla="*/ 0 h 853"/>
                  <a:gd name="T6" fmla="*/ 0 w 756"/>
                  <a:gd name="T7" fmla="*/ 853 h 853"/>
                </a:gdLst>
                <a:ahLst/>
                <a:cxnLst>
                  <a:cxn ang="0">
                    <a:pos x="T0" y="T1"/>
                  </a:cxn>
                  <a:cxn ang="0">
                    <a:pos x="T2" y="T3"/>
                  </a:cxn>
                  <a:cxn ang="0">
                    <a:pos x="T4" y="T5"/>
                  </a:cxn>
                  <a:cxn ang="0">
                    <a:pos x="T6" y="T7"/>
                  </a:cxn>
                </a:cxnLst>
                <a:rect l="0" t="0" r="r" b="b"/>
                <a:pathLst>
                  <a:path w="756" h="853">
                    <a:moveTo>
                      <a:pt x="0" y="853"/>
                    </a:moveTo>
                    <a:lnTo>
                      <a:pt x="756" y="0"/>
                    </a:lnTo>
                    <a:lnTo>
                      <a:pt x="756" y="0"/>
                    </a:lnTo>
                    <a:lnTo>
                      <a:pt x="0" y="853"/>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1" name="Freeform 500"/>
              <p:cNvSpPr>
                <a:spLocks/>
              </p:cNvSpPr>
              <p:nvPr/>
            </p:nvSpPr>
            <p:spPr bwMode="auto">
              <a:xfrm>
                <a:off x="-2054225" y="4632325"/>
                <a:ext cx="1200150" cy="815975"/>
              </a:xfrm>
              <a:custGeom>
                <a:avLst/>
                <a:gdLst>
                  <a:gd name="T0" fmla="*/ 756 w 756"/>
                  <a:gd name="T1" fmla="*/ 514 h 514"/>
                  <a:gd name="T2" fmla="*/ 0 w 756"/>
                  <a:gd name="T3" fmla="*/ 178 h 514"/>
                  <a:gd name="T4" fmla="*/ 756 w 756"/>
                  <a:gd name="T5" fmla="*/ 0 h 514"/>
                  <a:gd name="T6" fmla="*/ 756 w 756"/>
                  <a:gd name="T7" fmla="*/ 514 h 514"/>
                </a:gdLst>
                <a:ahLst/>
                <a:cxnLst>
                  <a:cxn ang="0">
                    <a:pos x="T0" y="T1"/>
                  </a:cxn>
                  <a:cxn ang="0">
                    <a:pos x="T2" y="T3"/>
                  </a:cxn>
                  <a:cxn ang="0">
                    <a:pos x="T4" y="T5"/>
                  </a:cxn>
                  <a:cxn ang="0">
                    <a:pos x="T6" y="T7"/>
                  </a:cxn>
                </a:cxnLst>
                <a:rect l="0" t="0" r="r" b="b"/>
                <a:pathLst>
                  <a:path w="756" h="514">
                    <a:moveTo>
                      <a:pt x="756" y="514"/>
                    </a:moveTo>
                    <a:lnTo>
                      <a:pt x="0" y="178"/>
                    </a:lnTo>
                    <a:lnTo>
                      <a:pt x="756" y="0"/>
                    </a:lnTo>
                    <a:lnTo>
                      <a:pt x="756" y="514"/>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2" name="Freeform 501"/>
              <p:cNvSpPr>
                <a:spLocks/>
              </p:cNvSpPr>
              <p:nvPr/>
            </p:nvSpPr>
            <p:spPr bwMode="auto">
              <a:xfrm>
                <a:off x="-2298700" y="6824662"/>
                <a:ext cx="1377950" cy="835025"/>
              </a:xfrm>
              <a:custGeom>
                <a:avLst/>
                <a:gdLst>
                  <a:gd name="T0" fmla="*/ 661 w 868"/>
                  <a:gd name="T1" fmla="*/ 526 h 526"/>
                  <a:gd name="T2" fmla="*/ 0 w 868"/>
                  <a:gd name="T3" fmla="*/ 526 h 526"/>
                  <a:gd name="T4" fmla="*/ 868 w 868"/>
                  <a:gd name="T5" fmla="*/ 0 h 526"/>
                  <a:gd name="T6" fmla="*/ 661 w 868"/>
                  <a:gd name="T7" fmla="*/ 526 h 526"/>
                </a:gdLst>
                <a:ahLst/>
                <a:cxnLst>
                  <a:cxn ang="0">
                    <a:pos x="T0" y="T1"/>
                  </a:cxn>
                  <a:cxn ang="0">
                    <a:pos x="T2" y="T3"/>
                  </a:cxn>
                  <a:cxn ang="0">
                    <a:pos x="T4" y="T5"/>
                  </a:cxn>
                  <a:cxn ang="0">
                    <a:pos x="T6" y="T7"/>
                  </a:cxn>
                </a:cxnLst>
                <a:rect l="0" t="0" r="r" b="b"/>
                <a:pathLst>
                  <a:path w="868" h="526">
                    <a:moveTo>
                      <a:pt x="661" y="526"/>
                    </a:moveTo>
                    <a:lnTo>
                      <a:pt x="0" y="526"/>
                    </a:lnTo>
                    <a:lnTo>
                      <a:pt x="868" y="0"/>
                    </a:lnTo>
                    <a:lnTo>
                      <a:pt x="661" y="526"/>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3" name="Freeform 502"/>
              <p:cNvSpPr>
                <a:spLocks/>
              </p:cNvSpPr>
              <p:nvPr/>
            </p:nvSpPr>
            <p:spPr bwMode="auto">
              <a:xfrm>
                <a:off x="-1249363" y="6824662"/>
                <a:ext cx="395288" cy="835025"/>
              </a:xfrm>
              <a:custGeom>
                <a:avLst/>
                <a:gdLst>
                  <a:gd name="T0" fmla="*/ 249 w 249"/>
                  <a:gd name="T1" fmla="*/ 526 h 526"/>
                  <a:gd name="T2" fmla="*/ 0 w 249"/>
                  <a:gd name="T3" fmla="*/ 526 h 526"/>
                  <a:gd name="T4" fmla="*/ 207 w 249"/>
                  <a:gd name="T5" fmla="*/ 0 h 526"/>
                  <a:gd name="T6" fmla="*/ 249 w 249"/>
                  <a:gd name="T7" fmla="*/ 166 h 526"/>
                  <a:gd name="T8" fmla="*/ 249 w 249"/>
                  <a:gd name="T9" fmla="*/ 526 h 526"/>
                </a:gdLst>
                <a:ahLst/>
                <a:cxnLst>
                  <a:cxn ang="0">
                    <a:pos x="T0" y="T1"/>
                  </a:cxn>
                  <a:cxn ang="0">
                    <a:pos x="T2" y="T3"/>
                  </a:cxn>
                  <a:cxn ang="0">
                    <a:pos x="T4" y="T5"/>
                  </a:cxn>
                  <a:cxn ang="0">
                    <a:pos x="T6" y="T7"/>
                  </a:cxn>
                  <a:cxn ang="0">
                    <a:pos x="T8" y="T9"/>
                  </a:cxn>
                </a:cxnLst>
                <a:rect l="0" t="0" r="r" b="b"/>
                <a:pathLst>
                  <a:path w="249" h="526">
                    <a:moveTo>
                      <a:pt x="249" y="526"/>
                    </a:moveTo>
                    <a:lnTo>
                      <a:pt x="0" y="526"/>
                    </a:lnTo>
                    <a:lnTo>
                      <a:pt x="207" y="0"/>
                    </a:lnTo>
                    <a:lnTo>
                      <a:pt x="249" y="166"/>
                    </a:lnTo>
                    <a:lnTo>
                      <a:pt x="249" y="52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4" name="Freeform 503"/>
              <p:cNvSpPr>
                <a:spLocks/>
              </p:cNvSpPr>
              <p:nvPr/>
            </p:nvSpPr>
            <p:spPr bwMode="auto">
              <a:xfrm>
                <a:off x="-920750" y="6745287"/>
                <a:ext cx="66675" cy="79375"/>
              </a:xfrm>
              <a:custGeom>
                <a:avLst/>
                <a:gdLst>
                  <a:gd name="T0" fmla="*/ 0 w 42"/>
                  <a:gd name="T1" fmla="*/ 50 h 50"/>
                  <a:gd name="T2" fmla="*/ 0 w 42"/>
                  <a:gd name="T3" fmla="*/ 50 h 50"/>
                  <a:gd name="T4" fmla="*/ 42 w 42"/>
                  <a:gd name="T5" fmla="*/ 0 h 50"/>
                  <a:gd name="T6" fmla="*/ 42 w 42"/>
                  <a:gd name="T7" fmla="*/ 47 h 50"/>
                  <a:gd name="T8" fmla="*/ 0 w 42"/>
                  <a:gd name="T9" fmla="*/ 50 h 50"/>
                </a:gdLst>
                <a:ahLst/>
                <a:cxnLst>
                  <a:cxn ang="0">
                    <a:pos x="T0" y="T1"/>
                  </a:cxn>
                  <a:cxn ang="0">
                    <a:pos x="T2" y="T3"/>
                  </a:cxn>
                  <a:cxn ang="0">
                    <a:pos x="T4" y="T5"/>
                  </a:cxn>
                  <a:cxn ang="0">
                    <a:pos x="T6" y="T7"/>
                  </a:cxn>
                  <a:cxn ang="0">
                    <a:pos x="T8" y="T9"/>
                  </a:cxn>
                </a:cxnLst>
                <a:rect l="0" t="0" r="r" b="b"/>
                <a:pathLst>
                  <a:path w="42" h="50">
                    <a:moveTo>
                      <a:pt x="0" y="50"/>
                    </a:moveTo>
                    <a:lnTo>
                      <a:pt x="0" y="50"/>
                    </a:lnTo>
                    <a:lnTo>
                      <a:pt x="42" y="0"/>
                    </a:lnTo>
                    <a:lnTo>
                      <a:pt x="42" y="47"/>
                    </a:lnTo>
                    <a:lnTo>
                      <a:pt x="0" y="5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5" name="Freeform 504"/>
              <p:cNvSpPr>
                <a:spLocks/>
              </p:cNvSpPr>
              <p:nvPr/>
            </p:nvSpPr>
            <p:spPr bwMode="auto">
              <a:xfrm>
                <a:off x="-920750" y="6819900"/>
                <a:ext cx="66675" cy="268288"/>
              </a:xfrm>
              <a:custGeom>
                <a:avLst/>
                <a:gdLst>
                  <a:gd name="T0" fmla="*/ 42 w 42"/>
                  <a:gd name="T1" fmla="*/ 169 h 169"/>
                  <a:gd name="T2" fmla="*/ 0 w 42"/>
                  <a:gd name="T3" fmla="*/ 3 h 169"/>
                  <a:gd name="T4" fmla="*/ 42 w 42"/>
                  <a:gd name="T5" fmla="*/ 0 h 169"/>
                  <a:gd name="T6" fmla="*/ 42 w 42"/>
                  <a:gd name="T7" fmla="*/ 169 h 169"/>
                </a:gdLst>
                <a:ahLst/>
                <a:cxnLst>
                  <a:cxn ang="0">
                    <a:pos x="T0" y="T1"/>
                  </a:cxn>
                  <a:cxn ang="0">
                    <a:pos x="T2" y="T3"/>
                  </a:cxn>
                  <a:cxn ang="0">
                    <a:pos x="T4" y="T5"/>
                  </a:cxn>
                  <a:cxn ang="0">
                    <a:pos x="T6" y="T7"/>
                  </a:cxn>
                </a:cxnLst>
                <a:rect l="0" t="0" r="r" b="b"/>
                <a:pathLst>
                  <a:path w="42" h="169">
                    <a:moveTo>
                      <a:pt x="42" y="169"/>
                    </a:moveTo>
                    <a:lnTo>
                      <a:pt x="0" y="3"/>
                    </a:lnTo>
                    <a:lnTo>
                      <a:pt x="42" y="0"/>
                    </a:lnTo>
                    <a:lnTo>
                      <a:pt x="42" y="16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grpSp>
        <p:sp>
          <p:nvSpPr>
            <p:cNvPr id="145" name="AutoShape 303"/>
            <p:cNvSpPr>
              <a:spLocks noChangeArrowheads="1" noTextEdit="1"/>
            </p:cNvSpPr>
            <p:nvPr/>
          </p:nvSpPr>
          <p:spPr bwMode="auto">
            <a:xfrm>
              <a:off x="749301" y="-1"/>
              <a:ext cx="8961438" cy="6721475"/>
            </a:xfrm>
            <a:prstGeom prst="rect">
              <a:avLst/>
            </a:prstGeom>
            <a:solidFill>
              <a:schemeClr val="accent4">
                <a:alpha val="83000"/>
              </a:schemeClr>
            </a:solidFill>
            <a:ln>
              <a:noFill/>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grpSp>
      <p:sp>
        <p:nvSpPr>
          <p:cNvPr id="2" name="Title 1"/>
          <p:cNvSpPr>
            <a:spLocks noGrp="1"/>
          </p:cNvSpPr>
          <p:nvPr>
            <p:ph type="title"/>
          </p:nvPr>
        </p:nvSpPr>
        <p:spPr bwMode="gray">
          <a:xfrm>
            <a:off x="119063" y="230188"/>
            <a:ext cx="8714017" cy="307777"/>
          </a:xfrm>
        </p:spPr>
        <p:txBody>
          <a:bodyPr>
            <a:spAutoFit/>
          </a:bodyPr>
          <a:lstStyle/>
          <a:p>
            <a:r>
              <a:rPr lang="zh-CN" dirty="0">
                <a:solidFill>
                  <a:schemeClr val="bg1"/>
                </a:solidFill>
                <a:latin typeface="+mn-lt"/>
                <a:ea typeface="楷体" panose="02010609060101010101" pitchFamily="49" charset="-122"/>
                <a:cs typeface="SimSun"/>
              </a:rPr>
              <a:t>神经系统是</a:t>
            </a:r>
            <a:r>
              <a:rPr lang="zh-CN" altLang="en-US" dirty="0">
                <a:solidFill>
                  <a:schemeClr val="bg1"/>
                </a:solidFill>
                <a:latin typeface="+mn-lt"/>
                <a:ea typeface="楷体" panose="02010609060101010101" pitchFamily="49" charset="-122"/>
                <a:cs typeface="SimSun"/>
              </a:rPr>
              <a:t>一种</a:t>
            </a:r>
            <a:r>
              <a:rPr lang="zh-CN" dirty="0">
                <a:solidFill>
                  <a:schemeClr val="bg1"/>
                </a:solidFill>
                <a:latin typeface="+mn-lt"/>
                <a:ea typeface="楷体" panose="02010609060101010101" pitchFamily="49" charset="-122"/>
                <a:cs typeface="SimSun"/>
              </a:rPr>
              <a:t>受生物启发而</a:t>
            </a:r>
            <a:r>
              <a:rPr lang="zh-CN" altLang="en-US" dirty="0">
                <a:solidFill>
                  <a:schemeClr val="bg1"/>
                </a:solidFill>
                <a:latin typeface="+mn-lt"/>
                <a:ea typeface="楷体" panose="02010609060101010101" pitchFamily="49" charset="-122"/>
                <a:cs typeface="SimSun"/>
              </a:rPr>
              <a:t>产生</a:t>
            </a:r>
            <a:r>
              <a:rPr lang="zh-CN" dirty="0">
                <a:solidFill>
                  <a:schemeClr val="bg1"/>
                </a:solidFill>
                <a:latin typeface="+mn-lt"/>
                <a:ea typeface="楷体" panose="02010609060101010101" pitchFamily="49" charset="-122"/>
                <a:cs typeface="SimSun"/>
              </a:rPr>
              <a:t>的数学建模技术</a:t>
            </a:r>
          </a:p>
        </p:txBody>
      </p:sp>
      <p:cxnSp>
        <p:nvCxnSpPr>
          <p:cNvPr id="12" name="Straight Connector 11"/>
          <p:cNvCxnSpPr>
            <a:cxnSpLocks/>
          </p:cNvCxnSpPr>
          <p:nvPr/>
        </p:nvCxnSpPr>
        <p:spPr>
          <a:xfrm>
            <a:off x="128358" y="4073966"/>
            <a:ext cx="8704722" cy="0"/>
          </a:xfrm>
          <a:prstGeom prst="line">
            <a:avLst/>
          </a:prstGeom>
          <a:ln w="3175">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119063" y="852472"/>
            <a:ext cx="3673384"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600" dirty="0">
                <a:solidFill>
                  <a:srgbClr val="FFCA21"/>
                </a:solidFill>
                <a:ea typeface="楷体" panose="02010609060101010101" pitchFamily="49" charset="-122"/>
                <a:cs typeface="SimSun"/>
              </a:rPr>
              <a:t>生物神经元结构是人类大脑的基础模块</a:t>
            </a:r>
          </a:p>
        </p:txBody>
      </p:sp>
      <p:grpSp>
        <p:nvGrpSpPr>
          <p:cNvPr id="117785" name="Group 117784"/>
          <p:cNvGrpSpPr/>
          <p:nvPr/>
        </p:nvGrpSpPr>
        <p:grpSpPr>
          <a:xfrm>
            <a:off x="119063" y="1288595"/>
            <a:ext cx="3582632" cy="1764977"/>
            <a:chOff x="216958" y="1381697"/>
            <a:chExt cx="3092157" cy="1523345"/>
          </a:xfrm>
        </p:grpSpPr>
        <p:sp>
          <p:nvSpPr>
            <p:cNvPr id="10" name="Freeform 9"/>
            <p:cNvSpPr/>
            <p:nvPr/>
          </p:nvSpPr>
          <p:spPr>
            <a:xfrm>
              <a:off x="318869" y="1770743"/>
              <a:ext cx="594971" cy="355938"/>
            </a:xfrm>
            <a:custGeom>
              <a:avLst/>
              <a:gdLst>
                <a:gd name="connsiteX0" fmla="*/ 0 w 1654659"/>
                <a:gd name="connsiteY0" fmla="*/ 923517 h 923517"/>
                <a:gd name="connsiteX1" fmla="*/ 22860 w 1654659"/>
                <a:gd name="connsiteY1" fmla="*/ 877797 h 923517"/>
                <a:gd name="connsiteX2" fmla="*/ 38100 w 1654659"/>
                <a:gd name="connsiteY2" fmla="*/ 824457 h 923517"/>
                <a:gd name="connsiteX3" fmla="*/ 45720 w 1654659"/>
                <a:gd name="connsiteY3" fmla="*/ 801597 h 923517"/>
                <a:gd name="connsiteX4" fmla="*/ 76200 w 1654659"/>
                <a:gd name="connsiteY4" fmla="*/ 603477 h 923517"/>
                <a:gd name="connsiteX5" fmla="*/ 99060 w 1654659"/>
                <a:gd name="connsiteY5" fmla="*/ 588237 h 923517"/>
                <a:gd name="connsiteX6" fmla="*/ 114300 w 1654659"/>
                <a:gd name="connsiteY6" fmla="*/ 565377 h 923517"/>
                <a:gd name="connsiteX7" fmla="*/ 144780 w 1654659"/>
                <a:gd name="connsiteY7" fmla="*/ 550137 h 923517"/>
                <a:gd name="connsiteX8" fmla="*/ 167640 w 1654659"/>
                <a:gd name="connsiteY8" fmla="*/ 481557 h 923517"/>
                <a:gd name="connsiteX9" fmla="*/ 236220 w 1654659"/>
                <a:gd name="connsiteY9" fmla="*/ 329157 h 923517"/>
                <a:gd name="connsiteX10" fmla="*/ 243840 w 1654659"/>
                <a:gd name="connsiteY10" fmla="*/ 252957 h 923517"/>
                <a:gd name="connsiteX11" fmla="*/ 281940 w 1654659"/>
                <a:gd name="connsiteY11" fmla="*/ 237717 h 923517"/>
                <a:gd name="connsiteX12" fmla="*/ 426720 w 1654659"/>
                <a:gd name="connsiteY12" fmla="*/ 222477 h 923517"/>
                <a:gd name="connsiteX13" fmla="*/ 457200 w 1654659"/>
                <a:gd name="connsiteY13" fmla="*/ 214857 h 923517"/>
                <a:gd name="connsiteX14" fmla="*/ 518160 w 1654659"/>
                <a:gd name="connsiteY14" fmla="*/ 191997 h 923517"/>
                <a:gd name="connsiteX15" fmla="*/ 594360 w 1654659"/>
                <a:gd name="connsiteY15" fmla="*/ 199617 h 923517"/>
                <a:gd name="connsiteX16" fmla="*/ 624840 w 1654659"/>
                <a:gd name="connsiteY16" fmla="*/ 191997 h 923517"/>
                <a:gd name="connsiteX17" fmla="*/ 655320 w 1654659"/>
                <a:gd name="connsiteY17" fmla="*/ 176757 h 923517"/>
                <a:gd name="connsiteX18" fmla="*/ 678180 w 1654659"/>
                <a:gd name="connsiteY18" fmla="*/ 169137 h 923517"/>
                <a:gd name="connsiteX19" fmla="*/ 708660 w 1654659"/>
                <a:gd name="connsiteY19" fmla="*/ 146277 h 923517"/>
                <a:gd name="connsiteX20" fmla="*/ 739140 w 1654659"/>
                <a:gd name="connsiteY20" fmla="*/ 131037 h 923517"/>
                <a:gd name="connsiteX21" fmla="*/ 762000 w 1654659"/>
                <a:gd name="connsiteY21" fmla="*/ 108177 h 923517"/>
                <a:gd name="connsiteX22" fmla="*/ 792480 w 1654659"/>
                <a:gd name="connsiteY22" fmla="*/ 92937 h 923517"/>
                <a:gd name="connsiteX23" fmla="*/ 822960 w 1654659"/>
                <a:gd name="connsiteY23" fmla="*/ 70077 h 923517"/>
                <a:gd name="connsiteX24" fmla="*/ 845820 w 1654659"/>
                <a:gd name="connsiteY24" fmla="*/ 62457 h 923517"/>
                <a:gd name="connsiteX25" fmla="*/ 922020 w 1654659"/>
                <a:gd name="connsiteY25" fmla="*/ 39597 h 923517"/>
                <a:gd name="connsiteX26" fmla="*/ 944880 w 1654659"/>
                <a:gd name="connsiteY26" fmla="*/ 24357 h 923517"/>
                <a:gd name="connsiteX27" fmla="*/ 967740 w 1654659"/>
                <a:gd name="connsiteY27" fmla="*/ 16737 h 923517"/>
                <a:gd name="connsiteX28" fmla="*/ 1485900 w 1654659"/>
                <a:gd name="connsiteY28" fmla="*/ 9117 h 923517"/>
                <a:gd name="connsiteX29" fmla="*/ 1653540 w 1654659"/>
                <a:gd name="connsiteY29" fmla="*/ 9117 h 923517"/>
                <a:gd name="connsiteX30" fmla="*/ 1653540 w 1654659"/>
                <a:gd name="connsiteY30" fmla="*/ 16737 h 923517"/>
                <a:gd name="connsiteX0" fmla="*/ 0 w 1656398"/>
                <a:gd name="connsiteY0" fmla="*/ 954896 h 954896"/>
                <a:gd name="connsiteX1" fmla="*/ 22860 w 1656398"/>
                <a:gd name="connsiteY1" fmla="*/ 909176 h 954896"/>
                <a:gd name="connsiteX2" fmla="*/ 38100 w 1656398"/>
                <a:gd name="connsiteY2" fmla="*/ 855836 h 954896"/>
                <a:gd name="connsiteX3" fmla="*/ 45720 w 1656398"/>
                <a:gd name="connsiteY3" fmla="*/ 832976 h 954896"/>
                <a:gd name="connsiteX4" fmla="*/ 76200 w 1656398"/>
                <a:gd name="connsiteY4" fmla="*/ 634856 h 954896"/>
                <a:gd name="connsiteX5" fmla="*/ 99060 w 1656398"/>
                <a:gd name="connsiteY5" fmla="*/ 619616 h 954896"/>
                <a:gd name="connsiteX6" fmla="*/ 114300 w 1656398"/>
                <a:gd name="connsiteY6" fmla="*/ 596756 h 954896"/>
                <a:gd name="connsiteX7" fmla="*/ 144780 w 1656398"/>
                <a:gd name="connsiteY7" fmla="*/ 581516 h 954896"/>
                <a:gd name="connsiteX8" fmla="*/ 167640 w 1656398"/>
                <a:gd name="connsiteY8" fmla="*/ 512936 h 954896"/>
                <a:gd name="connsiteX9" fmla="*/ 236220 w 1656398"/>
                <a:gd name="connsiteY9" fmla="*/ 360536 h 954896"/>
                <a:gd name="connsiteX10" fmla="*/ 243840 w 1656398"/>
                <a:gd name="connsiteY10" fmla="*/ 284336 h 954896"/>
                <a:gd name="connsiteX11" fmla="*/ 281940 w 1656398"/>
                <a:gd name="connsiteY11" fmla="*/ 269096 h 954896"/>
                <a:gd name="connsiteX12" fmla="*/ 426720 w 1656398"/>
                <a:gd name="connsiteY12" fmla="*/ 253856 h 954896"/>
                <a:gd name="connsiteX13" fmla="*/ 457200 w 1656398"/>
                <a:gd name="connsiteY13" fmla="*/ 246236 h 954896"/>
                <a:gd name="connsiteX14" fmla="*/ 518160 w 1656398"/>
                <a:gd name="connsiteY14" fmla="*/ 223376 h 954896"/>
                <a:gd name="connsiteX15" fmla="*/ 594360 w 1656398"/>
                <a:gd name="connsiteY15" fmla="*/ 230996 h 954896"/>
                <a:gd name="connsiteX16" fmla="*/ 624840 w 1656398"/>
                <a:gd name="connsiteY16" fmla="*/ 223376 h 954896"/>
                <a:gd name="connsiteX17" fmla="*/ 655320 w 1656398"/>
                <a:gd name="connsiteY17" fmla="*/ 208136 h 954896"/>
                <a:gd name="connsiteX18" fmla="*/ 678180 w 1656398"/>
                <a:gd name="connsiteY18" fmla="*/ 200516 h 954896"/>
                <a:gd name="connsiteX19" fmla="*/ 708660 w 1656398"/>
                <a:gd name="connsiteY19" fmla="*/ 177656 h 954896"/>
                <a:gd name="connsiteX20" fmla="*/ 739140 w 1656398"/>
                <a:gd name="connsiteY20" fmla="*/ 162416 h 954896"/>
                <a:gd name="connsiteX21" fmla="*/ 762000 w 1656398"/>
                <a:gd name="connsiteY21" fmla="*/ 139556 h 954896"/>
                <a:gd name="connsiteX22" fmla="*/ 792480 w 1656398"/>
                <a:gd name="connsiteY22" fmla="*/ 124316 h 954896"/>
                <a:gd name="connsiteX23" fmla="*/ 822960 w 1656398"/>
                <a:gd name="connsiteY23" fmla="*/ 101456 h 954896"/>
                <a:gd name="connsiteX24" fmla="*/ 845820 w 1656398"/>
                <a:gd name="connsiteY24" fmla="*/ 93836 h 954896"/>
                <a:gd name="connsiteX25" fmla="*/ 922020 w 1656398"/>
                <a:gd name="connsiteY25" fmla="*/ 70976 h 954896"/>
                <a:gd name="connsiteX26" fmla="*/ 944880 w 1656398"/>
                <a:gd name="connsiteY26" fmla="*/ 55736 h 954896"/>
                <a:gd name="connsiteX27" fmla="*/ 967740 w 1656398"/>
                <a:gd name="connsiteY27" fmla="*/ 48116 h 954896"/>
                <a:gd name="connsiteX28" fmla="*/ 1485900 w 1656398"/>
                <a:gd name="connsiteY28" fmla="*/ 40496 h 954896"/>
                <a:gd name="connsiteX29" fmla="*/ 1653540 w 1656398"/>
                <a:gd name="connsiteY29" fmla="*/ 40496 h 954896"/>
                <a:gd name="connsiteX30" fmla="*/ 1595952 w 1656398"/>
                <a:gd name="connsiteY30" fmla="*/ 127 h 954896"/>
                <a:gd name="connsiteX0" fmla="*/ 0 w 1595952"/>
                <a:gd name="connsiteY0" fmla="*/ 954769 h 954769"/>
                <a:gd name="connsiteX1" fmla="*/ 22860 w 1595952"/>
                <a:gd name="connsiteY1" fmla="*/ 909049 h 954769"/>
                <a:gd name="connsiteX2" fmla="*/ 38100 w 1595952"/>
                <a:gd name="connsiteY2" fmla="*/ 855709 h 954769"/>
                <a:gd name="connsiteX3" fmla="*/ 45720 w 1595952"/>
                <a:gd name="connsiteY3" fmla="*/ 832849 h 954769"/>
                <a:gd name="connsiteX4" fmla="*/ 76200 w 1595952"/>
                <a:gd name="connsiteY4" fmla="*/ 634729 h 954769"/>
                <a:gd name="connsiteX5" fmla="*/ 99060 w 1595952"/>
                <a:gd name="connsiteY5" fmla="*/ 619489 h 954769"/>
                <a:gd name="connsiteX6" fmla="*/ 114300 w 1595952"/>
                <a:gd name="connsiteY6" fmla="*/ 596629 h 954769"/>
                <a:gd name="connsiteX7" fmla="*/ 144780 w 1595952"/>
                <a:gd name="connsiteY7" fmla="*/ 581389 h 954769"/>
                <a:gd name="connsiteX8" fmla="*/ 167640 w 1595952"/>
                <a:gd name="connsiteY8" fmla="*/ 512809 h 954769"/>
                <a:gd name="connsiteX9" fmla="*/ 236220 w 1595952"/>
                <a:gd name="connsiteY9" fmla="*/ 360409 h 954769"/>
                <a:gd name="connsiteX10" fmla="*/ 243840 w 1595952"/>
                <a:gd name="connsiteY10" fmla="*/ 284209 h 954769"/>
                <a:gd name="connsiteX11" fmla="*/ 281940 w 1595952"/>
                <a:gd name="connsiteY11" fmla="*/ 268969 h 954769"/>
                <a:gd name="connsiteX12" fmla="*/ 426720 w 1595952"/>
                <a:gd name="connsiteY12" fmla="*/ 253729 h 954769"/>
                <a:gd name="connsiteX13" fmla="*/ 457200 w 1595952"/>
                <a:gd name="connsiteY13" fmla="*/ 246109 h 954769"/>
                <a:gd name="connsiteX14" fmla="*/ 518160 w 1595952"/>
                <a:gd name="connsiteY14" fmla="*/ 223249 h 954769"/>
                <a:gd name="connsiteX15" fmla="*/ 594360 w 1595952"/>
                <a:gd name="connsiteY15" fmla="*/ 230869 h 954769"/>
                <a:gd name="connsiteX16" fmla="*/ 624840 w 1595952"/>
                <a:gd name="connsiteY16" fmla="*/ 223249 h 954769"/>
                <a:gd name="connsiteX17" fmla="*/ 655320 w 1595952"/>
                <a:gd name="connsiteY17" fmla="*/ 208009 h 954769"/>
                <a:gd name="connsiteX18" fmla="*/ 678180 w 1595952"/>
                <a:gd name="connsiteY18" fmla="*/ 200389 h 954769"/>
                <a:gd name="connsiteX19" fmla="*/ 708660 w 1595952"/>
                <a:gd name="connsiteY19" fmla="*/ 177529 h 954769"/>
                <a:gd name="connsiteX20" fmla="*/ 739140 w 1595952"/>
                <a:gd name="connsiteY20" fmla="*/ 162289 h 954769"/>
                <a:gd name="connsiteX21" fmla="*/ 762000 w 1595952"/>
                <a:gd name="connsiteY21" fmla="*/ 139429 h 954769"/>
                <a:gd name="connsiteX22" fmla="*/ 792480 w 1595952"/>
                <a:gd name="connsiteY22" fmla="*/ 124189 h 954769"/>
                <a:gd name="connsiteX23" fmla="*/ 822960 w 1595952"/>
                <a:gd name="connsiteY23" fmla="*/ 101329 h 954769"/>
                <a:gd name="connsiteX24" fmla="*/ 845820 w 1595952"/>
                <a:gd name="connsiteY24" fmla="*/ 93709 h 954769"/>
                <a:gd name="connsiteX25" fmla="*/ 922020 w 1595952"/>
                <a:gd name="connsiteY25" fmla="*/ 70849 h 954769"/>
                <a:gd name="connsiteX26" fmla="*/ 944880 w 1595952"/>
                <a:gd name="connsiteY26" fmla="*/ 55609 h 954769"/>
                <a:gd name="connsiteX27" fmla="*/ 967740 w 1595952"/>
                <a:gd name="connsiteY27" fmla="*/ 47989 h 954769"/>
                <a:gd name="connsiteX28" fmla="*/ 1485900 w 1595952"/>
                <a:gd name="connsiteY28" fmla="*/ 40369 h 954769"/>
                <a:gd name="connsiteX29" fmla="*/ 1595952 w 1595952"/>
                <a:gd name="connsiteY29" fmla="*/ 0 h 95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595952" h="954769">
                  <a:moveTo>
                    <a:pt x="0" y="954769"/>
                  </a:moveTo>
                  <a:cubicBezTo>
                    <a:pt x="7620" y="939529"/>
                    <a:pt x="15940" y="924619"/>
                    <a:pt x="22860" y="909049"/>
                  </a:cubicBezTo>
                  <a:cubicBezTo>
                    <a:pt x="30168" y="892606"/>
                    <a:pt x="33257" y="872661"/>
                    <a:pt x="38100" y="855709"/>
                  </a:cubicBezTo>
                  <a:cubicBezTo>
                    <a:pt x="40307" y="847986"/>
                    <a:pt x="43180" y="840469"/>
                    <a:pt x="45720" y="832849"/>
                  </a:cubicBezTo>
                  <a:cubicBezTo>
                    <a:pt x="47188" y="815962"/>
                    <a:pt x="30707" y="680222"/>
                    <a:pt x="76200" y="634729"/>
                  </a:cubicBezTo>
                  <a:cubicBezTo>
                    <a:pt x="82676" y="628253"/>
                    <a:pt x="91440" y="624569"/>
                    <a:pt x="99060" y="619489"/>
                  </a:cubicBezTo>
                  <a:cubicBezTo>
                    <a:pt x="104140" y="611869"/>
                    <a:pt x="107265" y="602492"/>
                    <a:pt x="114300" y="596629"/>
                  </a:cubicBezTo>
                  <a:cubicBezTo>
                    <a:pt x="123026" y="589357"/>
                    <a:pt x="137964" y="590476"/>
                    <a:pt x="144780" y="581389"/>
                  </a:cubicBezTo>
                  <a:cubicBezTo>
                    <a:pt x="151447" y="572499"/>
                    <a:pt x="160496" y="528684"/>
                    <a:pt x="167640" y="512809"/>
                  </a:cubicBezTo>
                  <a:lnTo>
                    <a:pt x="236220" y="360409"/>
                  </a:lnTo>
                  <a:cubicBezTo>
                    <a:pt x="238760" y="335009"/>
                    <a:pt x="232424" y="307041"/>
                    <a:pt x="243840" y="284209"/>
                  </a:cubicBezTo>
                  <a:cubicBezTo>
                    <a:pt x="249957" y="271975"/>
                    <a:pt x="268670" y="272286"/>
                    <a:pt x="281940" y="268969"/>
                  </a:cubicBezTo>
                  <a:cubicBezTo>
                    <a:pt x="311804" y="261503"/>
                    <a:pt x="408922" y="255212"/>
                    <a:pt x="426720" y="253729"/>
                  </a:cubicBezTo>
                  <a:cubicBezTo>
                    <a:pt x="436880" y="251189"/>
                    <a:pt x="447265" y="249421"/>
                    <a:pt x="457200" y="246109"/>
                  </a:cubicBezTo>
                  <a:cubicBezTo>
                    <a:pt x="477788" y="239246"/>
                    <a:pt x="496591" y="225646"/>
                    <a:pt x="518160" y="223249"/>
                  </a:cubicBezTo>
                  <a:cubicBezTo>
                    <a:pt x="543531" y="220430"/>
                    <a:pt x="568960" y="228329"/>
                    <a:pt x="594360" y="230869"/>
                  </a:cubicBezTo>
                  <a:cubicBezTo>
                    <a:pt x="604520" y="228329"/>
                    <a:pt x="615034" y="226926"/>
                    <a:pt x="624840" y="223249"/>
                  </a:cubicBezTo>
                  <a:cubicBezTo>
                    <a:pt x="635476" y="219261"/>
                    <a:pt x="644879" y="212484"/>
                    <a:pt x="655320" y="208009"/>
                  </a:cubicBezTo>
                  <a:cubicBezTo>
                    <a:pt x="662703" y="204845"/>
                    <a:pt x="670560" y="202929"/>
                    <a:pt x="678180" y="200389"/>
                  </a:cubicBezTo>
                  <a:cubicBezTo>
                    <a:pt x="688340" y="192769"/>
                    <a:pt x="697890" y="184260"/>
                    <a:pt x="708660" y="177529"/>
                  </a:cubicBezTo>
                  <a:cubicBezTo>
                    <a:pt x="718293" y="171509"/>
                    <a:pt x="729897" y="168891"/>
                    <a:pt x="739140" y="162289"/>
                  </a:cubicBezTo>
                  <a:cubicBezTo>
                    <a:pt x="747909" y="156025"/>
                    <a:pt x="753231" y="145693"/>
                    <a:pt x="762000" y="139429"/>
                  </a:cubicBezTo>
                  <a:cubicBezTo>
                    <a:pt x="771243" y="132827"/>
                    <a:pt x="782847" y="130209"/>
                    <a:pt x="792480" y="124189"/>
                  </a:cubicBezTo>
                  <a:cubicBezTo>
                    <a:pt x="803250" y="117458"/>
                    <a:pt x="811933" y="107630"/>
                    <a:pt x="822960" y="101329"/>
                  </a:cubicBezTo>
                  <a:cubicBezTo>
                    <a:pt x="829934" y="97344"/>
                    <a:pt x="838299" y="96529"/>
                    <a:pt x="845820" y="93709"/>
                  </a:cubicBezTo>
                  <a:cubicBezTo>
                    <a:pt x="903106" y="72227"/>
                    <a:pt x="863727" y="82508"/>
                    <a:pt x="922020" y="70849"/>
                  </a:cubicBezTo>
                  <a:cubicBezTo>
                    <a:pt x="929640" y="65769"/>
                    <a:pt x="936689" y="59705"/>
                    <a:pt x="944880" y="55609"/>
                  </a:cubicBezTo>
                  <a:cubicBezTo>
                    <a:pt x="952064" y="52017"/>
                    <a:pt x="959711" y="48215"/>
                    <a:pt x="967740" y="47989"/>
                  </a:cubicBezTo>
                  <a:cubicBezTo>
                    <a:pt x="1140410" y="43125"/>
                    <a:pt x="1313180" y="42909"/>
                    <a:pt x="1485900" y="40369"/>
                  </a:cubicBezTo>
                  <a:cubicBezTo>
                    <a:pt x="1590602" y="32371"/>
                    <a:pt x="1573025" y="8410"/>
                    <a:pt x="1595952" y="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13" name="Freeform 12"/>
            <p:cNvSpPr/>
            <p:nvPr/>
          </p:nvSpPr>
          <p:spPr>
            <a:xfrm>
              <a:off x="408708" y="1848643"/>
              <a:ext cx="165118" cy="253891"/>
            </a:xfrm>
            <a:custGeom>
              <a:avLst/>
              <a:gdLst>
                <a:gd name="connsiteX0" fmla="*/ 0 w 442913"/>
                <a:gd name="connsiteY0" fmla="*/ 681038 h 681038"/>
                <a:gd name="connsiteX1" fmla="*/ 19050 w 442913"/>
                <a:gd name="connsiteY1" fmla="*/ 647700 h 681038"/>
                <a:gd name="connsiteX2" fmla="*/ 28575 w 442913"/>
                <a:gd name="connsiteY2" fmla="*/ 633413 h 681038"/>
                <a:gd name="connsiteX3" fmla="*/ 33338 w 442913"/>
                <a:gd name="connsiteY3" fmla="*/ 619125 h 681038"/>
                <a:gd name="connsiteX4" fmla="*/ 52388 w 442913"/>
                <a:gd name="connsiteY4" fmla="*/ 604838 h 681038"/>
                <a:gd name="connsiteX5" fmla="*/ 80963 w 442913"/>
                <a:gd name="connsiteY5" fmla="*/ 581025 h 681038"/>
                <a:gd name="connsiteX6" fmla="*/ 119063 w 442913"/>
                <a:gd name="connsiteY6" fmla="*/ 561975 h 681038"/>
                <a:gd name="connsiteX7" fmla="*/ 133350 w 442913"/>
                <a:gd name="connsiteY7" fmla="*/ 552450 h 681038"/>
                <a:gd name="connsiteX8" fmla="*/ 161925 w 442913"/>
                <a:gd name="connsiteY8" fmla="*/ 542925 h 681038"/>
                <a:gd name="connsiteX9" fmla="*/ 214313 w 442913"/>
                <a:gd name="connsiteY9" fmla="*/ 523875 h 681038"/>
                <a:gd name="connsiteX10" fmla="*/ 233363 w 442913"/>
                <a:gd name="connsiteY10" fmla="*/ 504825 h 681038"/>
                <a:gd name="connsiteX11" fmla="*/ 247650 w 442913"/>
                <a:gd name="connsiteY11" fmla="*/ 495300 h 681038"/>
                <a:gd name="connsiteX12" fmla="*/ 257175 w 442913"/>
                <a:gd name="connsiteY12" fmla="*/ 481013 h 681038"/>
                <a:gd name="connsiteX13" fmla="*/ 266700 w 442913"/>
                <a:gd name="connsiteY13" fmla="*/ 409575 h 681038"/>
                <a:gd name="connsiteX14" fmla="*/ 280988 w 442913"/>
                <a:gd name="connsiteY14" fmla="*/ 366713 h 681038"/>
                <a:gd name="connsiteX15" fmla="*/ 285750 w 442913"/>
                <a:gd name="connsiteY15" fmla="*/ 352425 h 681038"/>
                <a:gd name="connsiteX16" fmla="*/ 323850 w 442913"/>
                <a:gd name="connsiteY16" fmla="*/ 285750 h 681038"/>
                <a:gd name="connsiteX17" fmla="*/ 338138 w 442913"/>
                <a:gd name="connsiteY17" fmla="*/ 223838 h 681038"/>
                <a:gd name="connsiteX18" fmla="*/ 352425 w 442913"/>
                <a:gd name="connsiteY18" fmla="*/ 195263 h 681038"/>
                <a:gd name="connsiteX19" fmla="*/ 361950 w 442913"/>
                <a:gd name="connsiteY19" fmla="*/ 171450 h 681038"/>
                <a:gd name="connsiteX20" fmla="*/ 366713 w 442913"/>
                <a:gd name="connsiteY20" fmla="*/ 138113 h 681038"/>
                <a:gd name="connsiteX21" fmla="*/ 376238 w 442913"/>
                <a:gd name="connsiteY21" fmla="*/ 123825 h 681038"/>
                <a:gd name="connsiteX22" fmla="*/ 385763 w 442913"/>
                <a:gd name="connsiteY22" fmla="*/ 95250 h 681038"/>
                <a:gd name="connsiteX23" fmla="*/ 409575 w 442913"/>
                <a:gd name="connsiteY23" fmla="*/ 66675 h 681038"/>
                <a:gd name="connsiteX24" fmla="*/ 428625 w 442913"/>
                <a:gd name="connsiteY24" fmla="*/ 42863 h 681038"/>
                <a:gd name="connsiteX25" fmla="*/ 438150 w 442913"/>
                <a:gd name="connsiteY25" fmla="*/ 14288 h 681038"/>
                <a:gd name="connsiteX26" fmla="*/ 442913 w 442913"/>
                <a:gd name="connsiteY26" fmla="*/ 0 h 681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42913" h="681038">
                  <a:moveTo>
                    <a:pt x="0" y="681038"/>
                  </a:moveTo>
                  <a:cubicBezTo>
                    <a:pt x="6350" y="669925"/>
                    <a:pt x="12465" y="658675"/>
                    <a:pt x="19050" y="647700"/>
                  </a:cubicBezTo>
                  <a:cubicBezTo>
                    <a:pt x="21995" y="642792"/>
                    <a:pt x="26015" y="638532"/>
                    <a:pt x="28575" y="633413"/>
                  </a:cubicBezTo>
                  <a:cubicBezTo>
                    <a:pt x="30820" y="628923"/>
                    <a:pt x="30124" y="622982"/>
                    <a:pt x="33338" y="619125"/>
                  </a:cubicBezTo>
                  <a:cubicBezTo>
                    <a:pt x="38419" y="613027"/>
                    <a:pt x="46038" y="609600"/>
                    <a:pt x="52388" y="604838"/>
                  </a:cubicBezTo>
                  <a:cubicBezTo>
                    <a:pt x="60258" y="581223"/>
                    <a:pt x="51799" y="594485"/>
                    <a:pt x="80963" y="581025"/>
                  </a:cubicBezTo>
                  <a:cubicBezTo>
                    <a:pt x="93855" y="575075"/>
                    <a:pt x="107249" y="569851"/>
                    <a:pt x="119063" y="561975"/>
                  </a:cubicBezTo>
                  <a:cubicBezTo>
                    <a:pt x="123825" y="558800"/>
                    <a:pt x="128120" y="554775"/>
                    <a:pt x="133350" y="552450"/>
                  </a:cubicBezTo>
                  <a:cubicBezTo>
                    <a:pt x="142525" y="548372"/>
                    <a:pt x="152400" y="546100"/>
                    <a:pt x="161925" y="542925"/>
                  </a:cubicBezTo>
                  <a:cubicBezTo>
                    <a:pt x="184165" y="509567"/>
                    <a:pt x="153856" y="547128"/>
                    <a:pt x="214313" y="523875"/>
                  </a:cubicBezTo>
                  <a:cubicBezTo>
                    <a:pt x="222695" y="520651"/>
                    <a:pt x="226545" y="510669"/>
                    <a:pt x="233363" y="504825"/>
                  </a:cubicBezTo>
                  <a:cubicBezTo>
                    <a:pt x="237709" y="501100"/>
                    <a:pt x="242888" y="498475"/>
                    <a:pt x="247650" y="495300"/>
                  </a:cubicBezTo>
                  <a:cubicBezTo>
                    <a:pt x="250825" y="490538"/>
                    <a:pt x="255165" y="486372"/>
                    <a:pt x="257175" y="481013"/>
                  </a:cubicBezTo>
                  <a:cubicBezTo>
                    <a:pt x="263349" y="464549"/>
                    <a:pt x="264518" y="419937"/>
                    <a:pt x="266700" y="409575"/>
                  </a:cubicBezTo>
                  <a:cubicBezTo>
                    <a:pt x="269803" y="394838"/>
                    <a:pt x="276226" y="381000"/>
                    <a:pt x="280988" y="366713"/>
                  </a:cubicBezTo>
                  <a:cubicBezTo>
                    <a:pt x="282576" y="361950"/>
                    <a:pt x="282965" y="356602"/>
                    <a:pt x="285750" y="352425"/>
                  </a:cubicBezTo>
                  <a:cubicBezTo>
                    <a:pt x="312676" y="312036"/>
                    <a:pt x="299680" y="334089"/>
                    <a:pt x="323850" y="285750"/>
                  </a:cubicBezTo>
                  <a:cubicBezTo>
                    <a:pt x="327305" y="268478"/>
                    <a:pt x="332918" y="238455"/>
                    <a:pt x="338138" y="223838"/>
                  </a:cubicBezTo>
                  <a:cubicBezTo>
                    <a:pt x="341720" y="213809"/>
                    <a:pt x="348018" y="204958"/>
                    <a:pt x="352425" y="195263"/>
                  </a:cubicBezTo>
                  <a:cubicBezTo>
                    <a:pt x="355963" y="187480"/>
                    <a:pt x="358775" y="179388"/>
                    <a:pt x="361950" y="171450"/>
                  </a:cubicBezTo>
                  <a:cubicBezTo>
                    <a:pt x="363538" y="160338"/>
                    <a:pt x="363487" y="148865"/>
                    <a:pt x="366713" y="138113"/>
                  </a:cubicBezTo>
                  <a:cubicBezTo>
                    <a:pt x="368358" y="132630"/>
                    <a:pt x="373913" y="129056"/>
                    <a:pt x="376238" y="123825"/>
                  </a:cubicBezTo>
                  <a:cubicBezTo>
                    <a:pt x="380316" y="114650"/>
                    <a:pt x="380194" y="103604"/>
                    <a:pt x="385763" y="95250"/>
                  </a:cubicBezTo>
                  <a:cubicBezTo>
                    <a:pt x="405255" y="66013"/>
                    <a:pt x="383909" y="96009"/>
                    <a:pt x="409575" y="66675"/>
                  </a:cubicBezTo>
                  <a:cubicBezTo>
                    <a:pt x="416269" y="59025"/>
                    <a:pt x="422275" y="50800"/>
                    <a:pt x="428625" y="42863"/>
                  </a:cubicBezTo>
                  <a:lnTo>
                    <a:pt x="438150" y="14288"/>
                  </a:lnTo>
                  <a:lnTo>
                    <a:pt x="442913"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14" name="Freeform 13"/>
            <p:cNvSpPr/>
            <p:nvPr/>
          </p:nvSpPr>
          <p:spPr>
            <a:xfrm>
              <a:off x="232937" y="1873298"/>
              <a:ext cx="179321" cy="76546"/>
            </a:xfrm>
            <a:custGeom>
              <a:avLst/>
              <a:gdLst>
                <a:gd name="connsiteX0" fmla="*/ 0 w 481012"/>
                <a:gd name="connsiteY0" fmla="*/ 200565 h 205328"/>
                <a:gd name="connsiteX1" fmla="*/ 57150 w 481012"/>
                <a:gd name="connsiteY1" fmla="*/ 205328 h 205328"/>
                <a:gd name="connsiteX2" fmla="*/ 71437 w 481012"/>
                <a:gd name="connsiteY2" fmla="*/ 200565 h 205328"/>
                <a:gd name="connsiteX3" fmla="*/ 133350 w 481012"/>
                <a:gd name="connsiteY3" fmla="*/ 186278 h 205328"/>
                <a:gd name="connsiteX4" fmla="*/ 147637 w 481012"/>
                <a:gd name="connsiteY4" fmla="*/ 162465 h 205328"/>
                <a:gd name="connsiteX5" fmla="*/ 180975 w 481012"/>
                <a:gd name="connsiteY5" fmla="*/ 148178 h 205328"/>
                <a:gd name="connsiteX6" fmla="*/ 200025 w 481012"/>
                <a:gd name="connsiteY6" fmla="*/ 95790 h 205328"/>
                <a:gd name="connsiteX7" fmla="*/ 223837 w 481012"/>
                <a:gd name="connsiteY7" fmla="*/ 76740 h 205328"/>
                <a:gd name="connsiteX8" fmla="*/ 261937 w 481012"/>
                <a:gd name="connsiteY8" fmla="*/ 67215 h 205328"/>
                <a:gd name="connsiteX9" fmla="*/ 300037 w 481012"/>
                <a:gd name="connsiteY9" fmla="*/ 48165 h 205328"/>
                <a:gd name="connsiteX10" fmla="*/ 319087 w 481012"/>
                <a:gd name="connsiteY10" fmla="*/ 43403 h 205328"/>
                <a:gd name="connsiteX11" fmla="*/ 352425 w 481012"/>
                <a:gd name="connsiteY11" fmla="*/ 29115 h 205328"/>
                <a:gd name="connsiteX12" fmla="*/ 366712 w 481012"/>
                <a:gd name="connsiteY12" fmla="*/ 24353 h 205328"/>
                <a:gd name="connsiteX13" fmla="*/ 381000 w 481012"/>
                <a:gd name="connsiteY13" fmla="*/ 14828 h 205328"/>
                <a:gd name="connsiteX14" fmla="*/ 400050 w 481012"/>
                <a:gd name="connsiteY14" fmla="*/ 540 h 205328"/>
                <a:gd name="connsiteX15" fmla="*/ 447675 w 481012"/>
                <a:gd name="connsiteY15" fmla="*/ 5303 h 205328"/>
                <a:gd name="connsiteX16" fmla="*/ 481012 w 481012"/>
                <a:gd name="connsiteY16" fmla="*/ 10065 h 20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1012" h="205328">
                  <a:moveTo>
                    <a:pt x="0" y="200565"/>
                  </a:moveTo>
                  <a:cubicBezTo>
                    <a:pt x="19050" y="202153"/>
                    <a:pt x="38034" y="205328"/>
                    <a:pt x="57150" y="205328"/>
                  </a:cubicBezTo>
                  <a:cubicBezTo>
                    <a:pt x="62170" y="205328"/>
                    <a:pt x="66567" y="201783"/>
                    <a:pt x="71437" y="200565"/>
                  </a:cubicBezTo>
                  <a:cubicBezTo>
                    <a:pt x="91985" y="195428"/>
                    <a:pt x="112712" y="191040"/>
                    <a:pt x="133350" y="186278"/>
                  </a:cubicBezTo>
                  <a:cubicBezTo>
                    <a:pt x="138112" y="178340"/>
                    <a:pt x="141092" y="169011"/>
                    <a:pt x="147637" y="162465"/>
                  </a:cubicBezTo>
                  <a:cubicBezTo>
                    <a:pt x="153523" y="156579"/>
                    <a:pt x="172435" y="151024"/>
                    <a:pt x="180975" y="148178"/>
                  </a:cubicBezTo>
                  <a:cubicBezTo>
                    <a:pt x="182178" y="144570"/>
                    <a:pt x="196160" y="100760"/>
                    <a:pt x="200025" y="95790"/>
                  </a:cubicBezTo>
                  <a:cubicBezTo>
                    <a:pt x="206265" y="87766"/>
                    <a:pt x="214608" y="81000"/>
                    <a:pt x="223837" y="76740"/>
                  </a:cubicBezTo>
                  <a:cubicBezTo>
                    <a:pt x="235723" y="71254"/>
                    <a:pt x="261937" y="67215"/>
                    <a:pt x="261937" y="67215"/>
                  </a:cubicBezTo>
                  <a:cubicBezTo>
                    <a:pt x="279437" y="55549"/>
                    <a:pt x="276737" y="55931"/>
                    <a:pt x="300037" y="48165"/>
                  </a:cubicBezTo>
                  <a:cubicBezTo>
                    <a:pt x="306247" y="46095"/>
                    <a:pt x="312936" y="45640"/>
                    <a:pt x="319087" y="43403"/>
                  </a:cubicBezTo>
                  <a:cubicBezTo>
                    <a:pt x="330449" y="39271"/>
                    <a:pt x="341199" y="33605"/>
                    <a:pt x="352425" y="29115"/>
                  </a:cubicBezTo>
                  <a:cubicBezTo>
                    <a:pt x="357086" y="27251"/>
                    <a:pt x="361950" y="25940"/>
                    <a:pt x="366712" y="24353"/>
                  </a:cubicBezTo>
                  <a:cubicBezTo>
                    <a:pt x="371475" y="21178"/>
                    <a:pt x="376342" y="18155"/>
                    <a:pt x="381000" y="14828"/>
                  </a:cubicBezTo>
                  <a:cubicBezTo>
                    <a:pt x="387459" y="10214"/>
                    <a:pt x="392192" y="1663"/>
                    <a:pt x="400050" y="540"/>
                  </a:cubicBezTo>
                  <a:cubicBezTo>
                    <a:pt x="415844" y="-1716"/>
                    <a:pt x="431800" y="3715"/>
                    <a:pt x="447675" y="5303"/>
                  </a:cubicBezTo>
                  <a:cubicBezTo>
                    <a:pt x="467986" y="12073"/>
                    <a:pt x="456942" y="10065"/>
                    <a:pt x="481012" y="10065"/>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15" name="Freeform 14"/>
            <p:cNvSpPr/>
            <p:nvPr/>
          </p:nvSpPr>
          <p:spPr>
            <a:xfrm>
              <a:off x="216958" y="1762511"/>
              <a:ext cx="454517" cy="39971"/>
            </a:xfrm>
            <a:custGeom>
              <a:avLst/>
              <a:gdLst>
                <a:gd name="connsiteX0" fmla="*/ 0 w 1219200"/>
                <a:gd name="connsiteY0" fmla="*/ 107217 h 107217"/>
                <a:gd name="connsiteX1" fmla="*/ 33338 w 1219200"/>
                <a:gd name="connsiteY1" fmla="*/ 83405 h 107217"/>
                <a:gd name="connsiteX2" fmla="*/ 52388 w 1219200"/>
                <a:gd name="connsiteY2" fmla="*/ 73880 h 107217"/>
                <a:gd name="connsiteX3" fmla="*/ 90488 w 1219200"/>
                <a:gd name="connsiteY3" fmla="*/ 45305 h 107217"/>
                <a:gd name="connsiteX4" fmla="*/ 104775 w 1219200"/>
                <a:gd name="connsiteY4" fmla="*/ 31017 h 107217"/>
                <a:gd name="connsiteX5" fmla="*/ 161925 w 1219200"/>
                <a:gd name="connsiteY5" fmla="*/ 11967 h 107217"/>
                <a:gd name="connsiteX6" fmla="*/ 200025 w 1219200"/>
                <a:gd name="connsiteY6" fmla="*/ 7205 h 107217"/>
                <a:gd name="connsiteX7" fmla="*/ 219075 w 1219200"/>
                <a:gd name="connsiteY7" fmla="*/ 45305 h 107217"/>
                <a:gd name="connsiteX8" fmla="*/ 247650 w 1219200"/>
                <a:gd name="connsiteY8" fmla="*/ 73880 h 107217"/>
                <a:gd name="connsiteX9" fmla="*/ 266700 w 1219200"/>
                <a:gd name="connsiteY9" fmla="*/ 78642 h 107217"/>
                <a:gd name="connsiteX10" fmla="*/ 385763 w 1219200"/>
                <a:gd name="connsiteY10" fmla="*/ 83405 h 107217"/>
                <a:gd name="connsiteX11" fmla="*/ 400050 w 1219200"/>
                <a:gd name="connsiteY11" fmla="*/ 78642 h 107217"/>
                <a:gd name="connsiteX12" fmla="*/ 495300 w 1219200"/>
                <a:gd name="connsiteY12" fmla="*/ 73880 h 107217"/>
                <a:gd name="connsiteX13" fmla="*/ 514350 w 1219200"/>
                <a:gd name="connsiteY13" fmla="*/ 54830 h 107217"/>
                <a:gd name="connsiteX14" fmla="*/ 542925 w 1219200"/>
                <a:gd name="connsiteY14" fmla="*/ 50067 h 107217"/>
                <a:gd name="connsiteX15" fmla="*/ 633413 w 1219200"/>
                <a:gd name="connsiteY15" fmla="*/ 45305 h 107217"/>
                <a:gd name="connsiteX16" fmla="*/ 666750 w 1219200"/>
                <a:gd name="connsiteY16" fmla="*/ 35780 h 107217"/>
                <a:gd name="connsiteX17" fmla="*/ 762000 w 1219200"/>
                <a:gd name="connsiteY17" fmla="*/ 31017 h 107217"/>
                <a:gd name="connsiteX18" fmla="*/ 771525 w 1219200"/>
                <a:gd name="connsiteY18" fmla="*/ 16730 h 107217"/>
                <a:gd name="connsiteX19" fmla="*/ 828675 w 1219200"/>
                <a:gd name="connsiteY19" fmla="*/ 16730 h 107217"/>
                <a:gd name="connsiteX20" fmla="*/ 842963 w 1219200"/>
                <a:gd name="connsiteY20" fmla="*/ 21492 h 107217"/>
                <a:gd name="connsiteX21" fmla="*/ 909638 w 1219200"/>
                <a:gd name="connsiteY21" fmla="*/ 31017 h 107217"/>
                <a:gd name="connsiteX22" fmla="*/ 1042988 w 1219200"/>
                <a:gd name="connsiteY22" fmla="*/ 45305 h 107217"/>
                <a:gd name="connsiteX23" fmla="*/ 1081088 w 1219200"/>
                <a:gd name="connsiteY23" fmla="*/ 54830 h 107217"/>
                <a:gd name="connsiteX24" fmla="*/ 1128713 w 1219200"/>
                <a:gd name="connsiteY24" fmla="*/ 64355 h 107217"/>
                <a:gd name="connsiteX25" fmla="*/ 1147763 w 1219200"/>
                <a:gd name="connsiteY25" fmla="*/ 73880 h 107217"/>
                <a:gd name="connsiteX26" fmla="*/ 1219200 w 1219200"/>
                <a:gd name="connsiteY26" fmla="*/ 78642 h 10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19200" h="107217">
                  <a:moveTo>
                    <a:pt x="0" y="107217"/>
                  </a:moveTo>
                  <a:cubicBezTo>
                    <a:pt x="11113" y="99280"/>
                    <a:pt x="21817" y="90737"/>
                    <a:pt x="33338" y="83405"/>
                  </a:cubicBezTo>
                  <a:cubicBezTo>
                    <a:pt x="39328" y="79594"/>
                    <a:pt x="46481" y="77818"/>
                    <a:pt x="52388" y="73880"/>
                  </a:cubicBezTo>
                  <a:cubicBezTo>
                    <a:pt x="65597" y="65074"/>
                    <a:pt x="79263" y="56531"/>
                    <a:pt x="90488" y="45305"/>
                  </a:cubicBezTo>
                  <a:cubicBezTo>
                    <a:pt x="95250" y="40542"/>
                    <a:pt x="99000" y="34482"/>
                    <a:pt x="104775" y="31017"/>
                  </a:cubicBezTo>
                  <a:cubicBezTo>
                    <a:pt x="128074" y="17038"/>
                    <a:pt x="137961" y="16760"/>
                    <a:pt x="161925" y="11967"/>
                  </a:cubicBezTo>
                  <a:cubicBezTo>
                    <a:pt x="172961" y="4610"/>
                    <a:pt x="184724" y="-8096"/>
                    <a:pt x="200025" y="7205"/>
                  </a:cubicBezTo>
                  <a:cubicBezTo>
                    <a:pt x="210065" y="17245"/>
                    <a:pt x="210555" y="33946"/>
                    <a:pt x="219075" y="45305"/>
                  </a:cubicBezTo>
                  <a:cubicBezTo>
                    <a:pt x="229172" y="58767"/>
                    <a:pt x="232257" y="67283"/>
                    <a:pt x="247650" y="73880"/>
                  </a:cubicBezTo>
                  <a:cubicBezTo>
                    <a:pt x="253666" y="76458"/>
                    <a:pt x="260350" y="77055"/>
                    <a:pt x="266700" y="78642"/>
                  </a:cubicBezTo>
                  <a:cubicBezTo>
                    <a:pt x="314207" y="102395"/>
                    <a:pt x="285217" y="91784"/>
                    <a:pt x="385763" y="83405"/>
                  </a:cubicBezTo>
                  <a:cubicBezTo>
                    <a:pt x="390766" y="82988"/>
                    <a:pt x="395049" y="79077"/>
                    <a:pt x="400050" y="78642"/>
                  </a:cubicBezTo>
                  <a:cubicBezTo>
                    <a:pt x="431720" y="75888"/>
                    <a:pt x="463550" y="75467"/>
                    <a:pt x="495300" y="73880"/>
                  </a:cubicBezTo>
                  <a:cubicBezTo>
                    <a:pt x="501650" y="67530"/>
                    <a:pt x="506318" y="58846"/>
                    <a:pt x="514350" y="54830"/>
                  </a:cubicBezTo>
                  <a:cubicBezTo>
                    <a:pt x="522987" y="50511"/>
                    <a:pt x="533299" y="50837"/>
                    <a:pt x="542925" y="50067"/>
                  </a:cubicBezTo>
                  <a:cubicBezTo>
                    <a:pt x="573033" y="47658"/>
                    <a:pt x="603250" y="46892"/>
                    <a:pt x="633413" y="45305"/>
                  </a:cubicBezTo>
                  <a:cubicBezTo>
                    <a:pt x="641683" y="42548"/>
                    <a:pt x="658771" y="36445"/>
                    <a:pt x="666750" y="35780"/>
                  </a:cubicBezTo>
                  <a:cubicBezTo>
                    <a:pt x="698430" y="33140"/>
                    <a:pt x="730250" y="32605"/>
                    <a:pt x="762000" y="31017"/>
                  </a:cubicBezTo>
                  <a:cubicBezTo>
                    <a:pt x="765175" y="26255"/>
                    <a:pt x="767056" y="20306"/>
                    <a:pt x="771525" y="16730"/>
                  </a:cubicBezTo>
                  <a:cubicBezTo>
                    <a:pt x="785148" y="5832"/>
                    <a:pt x="821776" y="15963"/>
                    <a:pt x="828675" y="16730"/>
                  </a:cubicBezTo>
                  <a:cubicBezTo>
                    <a:pt x="833438" y="18317"/>
                    <a:pt x="838093" y="20274"/>
                    <a:pt x="842963" y="21492"/>
                  </a:cubicBezTo>
                  <a:cubicBezTo>
                    <a:pt x="867232" y="27559"/>
                    <a:pt x="882952" y="28052"/>
                    <a:pt x="909638" y="31017"/>
                  </a:cubicBezTo>
                  <a:cubicBezTo>
                    <a:pt x="986898" y="53092"/>
                    <a:pt x="897262" y="30229"/>
                    <a:pt x="1042988" y="45305"/>
                  </a:cubicBezTo>
                  <a:cubicBezTo>
                    <a:pt x="1056009" y="46652"/>
                    <a:pt x="1068309" y="51990"/>
                    <a:pt x="1081088" y="54830"/>
                  </a:cubicBezTo>
                  <a:cubicBezTo>
                    <a:pt x="1096892" y="58342"/>
                    <a:pt x="1128713" y="64355"/>
                    <a:pt x="1128713" y="64355"/>
                  </a:cubicBezTo>
                  <a:cubicBezTo>
                    <a:pt x="1135063" y="67530"/>
                    <a:pt x="1140760" y="72713"/>
                    <a:pt x="1147763" y="73880"/>
                  </a:cubicBezTo>
                  <a:cubicBezTo>
                    <a:pt x="1177015" y="78755"/>
                    <a:pt x="1194935" y="78642"/>
                    <a:pt x="1219200" y="78642"/>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16" name="Freeform 15"/>
            <p:cNvSpPr/>
            <p:nvPr/>
          </p:nvSpPr>
          <p:spPr>
            <a:xfrm>
              <a:off x="227611" y="1717259"/>
              <a:ext cx="65692" cy="51488"/>
            </a:xfrm>
            <a:custGeom>
              <a:avLst/>
              <a:gdLst>
                <a:gd name="connsiteX0" fmla="*/ 0 w 176213"/>
                <a:gd name="connsiteY0" fmla="*/ 0 h 138113"/>
                <a:gd name="connsiteX1" fmla="*/ 38100 w 176213"/>
                <a:gd name="connsiteY1" fmla="*/ 33338 h 138113"/>
                <a:gd name="connsiteX2" fmla="*/ 52388 w 176213"/>
                <a:gd name="connsiteY2" fmla="*/ 38100 h 138113"/>
                <a:gd name="connsiteX3" fmla="*/ 66675 w 176213"/>
                <a:gd name="connsiteY3" fmla="*/ 47625 h 138113"/>
                <a:gd name="connsiteX4" fmla="*/ 128588 w 176213"/>
                <a:gd name="connsiteY4" fmla="*/ 71438 h 138113"/>
                <a:gd name="connsiteX5" fmla="*/ 152400 w 176213"/>
                <a:gd name="connsiteY5" fmla="*/ 100013 h 138113"/>
                <a:gd name="connsiteX6" fmla="*/ 176213 w 176213"/>
                <a:gd name="connsiteY6" fmla="*/ 138113 h 13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213" h="138113">
                  <a:moveTo>
                    <a:pt x="0" y="0"/>
                  </a:moveTo>
                  <a:cubicBezTo>
                    <a:pt x="12700" y="11113"/>
                    <a:pt x="24452" y="23412"/>
                    <a:pt x="38100" y="33338"/>
                  </a:cubicBezTo>
                  <a:cubicBezTo>
                    <a:pt x="42160" y="36291"/>
                    <a:pt x="47898" y="35855"/>
                    <a:pt x="52388" y="38100"/>
                  </a:cubicBezTo>
                  <a:cubicBezTo>
                    <a:pt x="57507" y="40660"/>
                    <a:pt x="61392" y="45424"/>
                    <a:pt x="66675" y="47625"/>
                  </a:cubicBezTo>
                  <a:cubicBezTo>
                    <a:pt x="165877" y="88960"/>
                    <a:pt x="72684" y="43486"/>
                    <a:pt x="128588" y="71438"/>
                  </a:cubicBezTo>
                  <a:cubicBezTo>
                    <a:pt x="154589" y="123439"/>
                    <a:pt x="120987" y="64112"/>
                    <a:pt x="152400" y="100013"/>
                  </a:cubicBezTo>
                  <a:cubicBezTo>
                    <a:pt x="164659" y="114024"/>
                    <a:pt x="169046" y="123781"/>
                    <a:pt x="176213" y="138113"/>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17" name="Freeform 16"/>
            <p:cNvSpPr/>
            <p:nvPr/>
          </p:nvSpPr>
          <p:spPr>
            <a:xfrm>
              <a:off x="287976" y="1523734"/>
              <a:ext cx="187507" cy="246789"/>
            </a:xfrm>
            <a:custGeom>
              <a:avLst/>
              <a:gdLst>
                <a:gd name="connsiteX0" fmla="*/ 0 w 502968"/>
                <a:gd name="connsiteY0" fmla="*/ 0 h 661987"/>
                <a:gd name="connsiteX1" fmla="*/ 52388 w 502968"/>
                <a:gd name="connsiteY1" fmla="*/ 52387 h 661987"/>
                <a:gd name="connsiteX2" fmla="*/ 66675 w 502968"/>
                <a:gd name="connsiteY2" fmla="*/ 61912 h 661987"/>
                <a:gd name="connsiteX3" fmla="*/ 80963 w 502968"/>
                <a:gd name="connsiteY3" fmla="*/ 76200 h 661987"/>
                <a:gd name="connsiteX4" fmla="*/ 109538 w 502968"/>
                <a:gd name="connsiteY4" fmla="*/ 90487 h 661987"/>
                <a:gd name="connsiteX5" fmla="*/ 119063 w 502968"/>
                <a:gd name="connsiteY5" fmla="*/ 104775 h 661987"/>
                <a:gd name="connsiteX6" fmla="*/ 133350 w 502968"/>
                <a:gd name="connsiteY6" fmla="*/ 119062 h 661987"/>
                <a:gd name="connsiteX7" fmla="*/ 142875 w 502968"/>
                <a:gd name="connsiteY7" fmla="*/ 138112 h 661987"/>
                <a:gd name="connsiteX8" fmla="*/ 161925 w 502968"/>
                <a:gd name="connsiteY8" fmla="*/ 171450 h 661987"/>
                <a:gd name="connsiteX9" fmla="*/ 166688 w 502968"/>
                <a:gd name="connsiteY9" fmla="*/ 185737 h 661987"/>
                <a:gd name="connsiteX10" fmla="*/ 185738 w 502968"/>
                <a:gd name="connsiteY10" fmla="*/ 214312 h 661987"/>
                <a:gd name="connsiteX11" fmla="*/ 200025 w 502968"/>
                <a:gd name="connsiteY11" fmla="*/ 276225 h 661987"/>
                <a:gd name="connsiteX12" fmla="*/ 209550 w 502968"/>
                <a:gd name="connsiteY12" fmla="*/ 290512 h 661987"/>
                <a:gd name="connsiteX13" fmla="*/ 219075 w 502968"/>
                <a:gd name="connsiteY13" fmla="*/ 309562 h 661987"/>
                <a:gd name="connsiteX14" fmla="*/ 247650 w 502968"/>
                <a:gd name="connsiteY14" fmla="*/ 347662 h 661987"/>
                <a:gd name="connsiteX15" fmla="*/ 261938 w 502968"/>
                <a:gd name="connsiteY15" fmla="*/ 376237 h 661987"/>
                <a:gd name="connsiteX16" fmla="*/ 276225 w 502968"/>
                <a:gd name="connsiteY16" fmla="*/ 385762 h 661987"/>
                <a:gd name="connsiteX17" fmla="*/ 290513 w 502968"/>
                <a:gd name="connsiteY17" fmla="*/ 390525 h 661987"/>
                <a:gd name="connsiteX18" fmla="*/ 319088 w 502968"/>
                <a:gd name="connsiteY18" fmla="*/ 414337 h 661987"/>
                <a:gd name="connsiteX19" fmla="*/ 338138 w 502968"/>
                <a:gd name="connsiteY19" fmla="*/ 419100 h 661987"/>
                <a:gd name="connsiteX20" fmla="*/ 366713 w 502968"/>
                <a:gd name="connsiteY20" fmla="*/ 433387 h 661987"/>
                <a:gd name="connsiteX21" fmla="*/ 381000 w 502968"/>
                <a:gd name="connsiteY21" fmla="*/ 442912 h 661987"/>
                <a:gd name="connsiteX22" fmla="*/ 409575 w 502968"/>
                <a:gd name="connsiteY22" fmla="*/ 452437 h 661987"/>
                <a:gd name="connsiteX23" fmla="*/ 452438 w 502968"/>
                <a:gd name="connsiteY23" fmla="*/ 509587 h 661987"/>
                <a:gd name="connsiteX24" fmla="*/ 457200 w 502968"/>
                <a:gd name="connsiteY24" fmla="*/ 523875 h 661987"/>
                <a:gd name="connsiteX25" fmla="*/ 471488 w 502968"/>
                <a:gd name="connsiteY25" fmla="*/ 538162 h 661987"/>
                <a:gd name="connsiteX26" fmla="*/ 495300 w 502968"/>
                <a:gd name="connsiteY26" fmla="*/ 561975 h 661987"/>
                <a:gd name="connsiteX27" fmla="*/ 500063 w 502968"/>
                <a:gd name="connsiteY27" fmla="*/ 661987 h 661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2968" h="661987">
                  <a:moveTo>
                    <a:pt x="0" y="0"/>
                  </a:moveTo>
                  <a:cubicBezTo>
                    <a:pt x="17463" y="17462"/>
                    <a:pt x="34291" y="35583"/>
                    <a:pt x="52388" y="52387"/>
                  </a:cubicBezTo>
                  <a:cubicBezTo>
                    <a:pt x="56582" y="56282"/>
                    <a:pt x="62278" y="58248"/>
                    <a:pt x="66675" y="61912"/>
                  </a:cubicBezTo>
                  <a:cubicBezTo>
                    <a:pt x="71849" y="66224"/>
                    <a:pt x="75789" y="71888"/>
                    <a:pt x="80963" y="76200"/>
                  </a:cubicBezTo>
                  <a:cubicBezTo>
                    <a:pt x="93273" y="86459"/>
                    <a:pt x="95217" y="85714"/>
                    <a:pt x="109538" y="90487"/>
                  </a:cubicBezTo>
                  <a:cubicBezTo>
                    <a:pt x="112713" y="95250"/>
                    <a:pt x="115399" y="100378"/>
                    <a:pt x="119063" y="104775"/>
                  </a:cubicBezTo>
                  <a:cubicBezTo>
                    <a:pt x="123375" y="109949"/>
                    <a:pt x="129435" y="113582"/>
                    <a:pt x="133350" y="119062"/>
                  </a:cubicBezTo>
                  <a:cubicBezTo>
                    <a:pt x="137476" y="124839"/>
                    <a:pt x="139353" y="131948"/>
                    <a:pt x="142875" y="138112"/>
                  </a:cubicBezTo>
                  <a:cubicBezTo>
                    <a:pt x="156542" y="162029"/>
                    <a:pt x="149588" y="142664"/>
                    <a:pt x="161925" y="171450"/>
                  </a:cubicBezTo>
                  <a:cubicBezTo>
                    <a:pt x="163903" y="176064"/>
                    <a:pt x="164250" y="181349"/>
                    <a:pt x="166688" y="185737"/>
                  </a:cubicBezTo>
                  <a:cubicBezTo>
                    <a:pt x="172248" y="195744"/>
                    <a:pt x="185738" y="214312"/>
                    <a:pt x="185738" y="214312"/>
                  </a:cubicBezTo>
                  <a:cubicBezTo>
                    <a:pt x="190500" y="234950"/>
                    <a:pt x="193708" y="256009"/>
                    <a:pt x="200025" y="276225"/>
                  </a:cubicBezTo>
                  <a:cubicBezTo>
                    <a:pt x="201732" y="281688"/>
                    <a:pt x="206710" y="285542"/>
                    <a:pt x="209550" y="290512"/>
                  </a:cubicBezTo>
                  <a:cubicBezTo>
                    <a:pt x="213072" y="296676"/>
                    <a:pt x="215137" y="303655"/>
                    <a:pt x="219075" y="309562"/>
                  </a:cubicBezTo>
                  <a:cubicBezTo>
                    <a:pt x="227881" y="322771"/>
                    <a:pt x="247650" y="347662"/>
                    <a:pt x="247650" y="347662"/>
                  </a:cubicBezTo>
                  <a:cubicBezTo>
                    <a:pt x="251524" y="359283"/>
                    <a:pt x="252706" y="367005"/>
                    <a:pt x="261938" y="376237"/>
                  </a:cubicBezTo>
                  <a:cubicBezTo>
                    <a:pt x="265985" y="380284"/>
                    <a:pt x="271106" y="383202"/>
                    <a:pt x="276225" y="385762"/>
                  </a:cubicBezTo>
                  <a:cubicBezTo>
                    <a:pt x="280715" y="388007"/>
                    <a:pt x="285750" y="388937"/>
                    <a:pt x="290513" y="390525"/>
                  </a:cubicBezTo>
                  <a:cubicBezTo>
                    <a:pt x="299096" y="399108"/>
                    <a:pt x="307483" y="409364"/>
                    <a:pt x="319088" y="414337"/>
                  </a:cubicBezTo>
                  <a:cubicBezTo>
                    <a:pt x="325104" y="416915"/>
                    <a:pt x="331788" y="417512"/>
                    <a:pt x="338138" y="419100"/>
                  </a:cubicBezTo>
                  <a:cubicBezTo>
                    <a:pt x="379081" y="446397"/>
                    <a:pt x="327278" y="413670"/>
                    <a:pt x="366713" y="433387"/>
                  </a:cubicBezTo>
                  <a:cubicBezTo>
                    <a:pt x="371832" y="435947"/>
                    <a:pt x="375770" y="440587"/>
                    <a:pt x="381000" y="442912"/>
                  </a:cubicBezTo>
                  <a:cubicBezTo>
                    <a:pt x="390175" y="446990"/>
                    <a:pt x="409575" y="452437"/>
                    <a:pt x="409575" y="452437"/>
                  </a:cubicBezTo>
                  <a:cubicBezTo>
                    <a:pt x="423863" y="471487"/>
                    <a:pt x="439229" y="489774"/>
                    <a:pt x="452438" y="509587"/>
                  </a:cubicBezTo>
                  <a:cubicBezTo>
                    <a:pt x="455223" y="513764"/>
                    <a:pt x="454415" y="519698"/>
                    <a:pt x="457200" y="523875"/>
                  </a:cubicBezTo>
                  <a:cubicBezTo>
                    <a:pt x="460936" y="529479"/>
                    <a:pt x="467176" y="532988"/>
                    <a:pt x="471488" y="538162"/>
                  </a:cubicBezTo>
                  <a:cubicBezTo>
                    <a:pt x="491334" y="561977"/>
                    <a:pt x="469105" y="544511"/>
                    <a:pt x="495300" y="561975"/>
                  </a:cubicBezTo>
                  <a:cubicBezTo>
                    <a:pt x="509100" y="603370"/>
                    <a:pt x="500063" y="571242"/>
                    <a:pt x="500063" y="661987"/>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19" name="Freeform 18"/>
            <p:cNvSpPr/>
            <p:nvPr/>
          </p:nvSpPr>
          <p:spPr>
            <a:xfrm>
              <a:off x="500723" y="1583043"/>
              <a:ext cx="636701" cy="307081"/>
            </a:xfrm>
            <a:custGeom>
              <a:avLst/>
              <a:gdLst>
                <a:gd name="connsiteX0" fmla="*/ 0 w 1942155"/>
                <a:gd name="connsiteY0" fmla="*/ 0 h 892679"/>
                <a:gd name="connsiteX1" fmla="*/ 45342 w 1942155"/>
                <a:gd name="connsiteY1" fmla="*/ 7557 h 892679"/>
                <a:gd name="connsiteX2" fmla="*/ 90684 w 1942155"/>
                <a:gd name="connsiteY2" fmla="*/ 75570 h 892679"/>
                <a:gd name="connsiteX3" fmla="*/ 158697 w 1942155"/>
                <a:gd name="connsiteY3" fmla="*/ 136027 h 892679"/>
                <a:gd name="connsiteX4" fmla="*/ 196483 w 1942155"/>
                <a:gd name="connsiteY4" fmla="*/ 173812 h 892679"/>
                <a:gd name="connsiteX5" fmla="*/ 256939 w 1942155"/>
                <a:gd name="connsiteY5" fmla="*/ 226711 h 892679"/>
                <a:gd name="connsiteX6" fmla="*/ 309838 w 1942155"/>
                <a:gd name="connsiteY6" fmla="*/ 234268 h 892679"/>
                <a:gd name="connsiteX7" fmla="*/ 385408 w 1942155"/>
                <a:gd name="connsiteY7" fmla="*/ 249382 h 892679"/>
                <a:gd name="connsiteX8" fmla="*/ 423193 w 1942155"/>
                <a:gd name="connsiteY8" fmla="*/ 264496 h 892679"/>
                <a:gd name="connsiteX9" fmla="*/ 491207 w 1942155"/>
                <a:gd name="connsiteY9" fmla="*/ 272053 h 892679"/>
                <a:gd name="connsiteX10" fmla="*/ 642347 w 1942155"/>
                <a:gd name="connsiteY10" fmla="*/ 302281 h 892679"/>
                <a:gd name="connsiteX11" fmla="*/ 702803 w 1942155"/>
                <a:gd name="connsiteY11" fmla="*/ 324952 h 892679"/>
                <a:gd name="connsiteX12" fmla="*/ 823716 w 1942155"/>
                <a:gd name="connsiteY12" fmla="*/ 362737 h 892679"/>
                <a:gd name="connsiteX13" fmla="*/ 846387 w 1942155"/>
                <a:gd name="connsiteY13" fmla="*/ 377851 h 892679"/>
                <a:gd name="connsiteX14" fmla="*/ 891729 w 1942155"/>
                <a:gd name="connsiteY14" fmla="*/ 423194 h 892679"/>
                <a:gd name="connsiteX15" fmla="*/ 937071 w 1942155"/>
                <a:gd name="connsiteY15" fmla="*/ 453422 h 892679"/>
                <a:gd name="connsiteX16" fmla="*/ 959742 w 1942155"/>
                <a:gd name="connsiteY16" fmla="*/ 460979 h 892679"/>
                <a:gd name="connsiteX17" fmla="*/ 997527 w 1942155"/>
                <a:gd name="connsiteY17" fmla="*/ 483650 h 892679"/>
                <a:gd name="connsiteX18" fmla="*/ 1065540 w 1942155"/>
                <a:gd name="connsiteY18" fmla="*/ 491207 h 892679"/>
                <a:gd name="connsiteX19" fmla="*/ 1148668 w 1942155"/>
                <a:gd name="connsiteY19" fmla="*/ 513878 h 892679"/>
                <a:gd name="connsiteX20" fmla="*/ 1178896 w 1942155"/>
                <a:gd name="connsiteY20" fmla="*/ 521435 h 892679"/>
                <a:gd name="connsiteX21" fmla="*/ 1209124 w 1942155"/>
                <a:gd name="connsiteY21" fmla="*/ 528992 h 892679"/>
                <a:gd name="connsiteX22" fmla="*/ 1246909 w 1942155"/>
                <a:gd name="connsiteY22" fmla="*/ 536549 h 892679"/>
                <a:gd name="connsiteX23" fmla="*/ 1269580 w 1942155"/>
                <a:gd name="connsiteY23" fmla="*/ 544106 h 892679"/>
                <a:gd name="connsiteX24" fmla="*/ 1292251 w 1942155"/>
                <a:gd name="connsiteY24" fmla="*/ 559220 h 892679"/>
                <a:gd name="connsiteX25" fmla="*/ 1345150 w 1942155"/>
                <a:gd name="connsiteY25" fmla="*/ 566777 h 892679"/>
                <a:gd name="connsiteX26" fmla="*/ 1398050 w 1942155"/>
                <a:gd name="connsiteY26" fmla="*/ 597005 h 892679"/>
                <a:gd name="connsiteX27" fmla="*/ 1428278 w 1942155"/>
                <a:gd name="connsiteY27" fmla="*/ 619676 h 892679"/>
                <a:gd name="connsiteX28" fmla="*/ 1443392 w 1942155"/>
                <a:gd name="connsiteY28" fmla="*/ 642347 h 892679"/>
                <a:gd name="connsiteX29" fmla="*/ 1435835 w 1942155"/>
                <a:gd name="connsiteY29" fmla="*/ 672575 h 892679"/>
                <a:gd name="connsiteX30" fmla="*/ 1481177 w 1942155"/>
                <a:gd name="connsiteY30" fmla="*/ 717917 h 892679"/>
                <a:gd name="connsiteX31" fmla="*/ 1534076 w 1942155"/>
                <a:gd name="connsiteY31" fmla="*/ 770817 h 892679"/>
                <a:gd name="connsiteX32" fmla="*/ 1564304 w 1942155"/>
                <a:gd name="connsiteY32" fmla="*/ 778374 h 892679"/>
                <a:gd name="connsiteX33" fmla="*/ 1586975 w 1942155"/>
                <a:gd name="connsiteY33" fmla="*/ 793488 h 892679"/>
                <a:gd name="connsiteX34" fmla="*/ 1647431 w 1942155"/>
                <a:gd name="connsiteY34" fmla="*/ 808602 h 892679"/>
                <a:gd name="connsiteX35" fmla="*/ 1670102 w 1942155"/>
                <a:gd name="connsiteY35" fmla="*/ 816159 h 892679"/>
                <a:gd name="connsiteX36" fmla="*/ 1707888 w 1942155"/>
                <a:gd name="connsiteY36" fmla="*/ 823716 h 892679"/>
                <a:gd name="connsiteX37" fmla="*/ 1791015 w 1942155"/>
                <a:gd name="connsiteY37" fmla="*/ 884172 h 892679"/>
                <a:gd name="connsiteX38" fmla="*/ 1813686 w 1942155"/>
                <a:gd name="connsiteY38" fmla="*/ 891729 h 892679"/>
                <a:gd name="connsiteX39" fmla="*/ 1942155 w 1942155"/>
                <a:gd name="connsiteY39" fmla="*/ 891729 h 892679"/>
                <a:gd name="connsiteX0" fmla="*/ 0 w 1813686"/>
                <a:gd name="connsiteY0" fmla="*/ 0 h 891729"/>
                <a:gd name="connsiteX1" fmla="*/ 45342 w 1813686"/>
                <a:gd name="connsiteY1" fmla="*/ 7557 h 891729"/>
                <a:gd name="connsiteX2" fmla="*/ 90684 w 1813686"/>
                <a:gd name="connsiteY2" fmla="*/ 75570 h 891729"/>
                <a:gd name="connsiteX3" fmla="*/ 158697 w 1813686"/>
                <a:gd name="connsiteY3" fmla="*/ 136027 h 891729"/>
                <a:gd name="connsiteX4" fmla="*/ 196483 w 1813686"/>
                <a:gd name="connsiteY4" fmla="*/ 173812 h 891729"/>
                <a:gd name="connsiteX5" fmla="*/ 256939 w 1813686"/>
                <a:gd name="connsiteY5" fmla="*/ 226711 h 891729"/>
                <a:gd name="connsiteX6" fmla="*/ 309838 w 1813686"/>
                <a:gd name="connsiteY6" fmla="*/ 234268 h 891729"/>
                <a:gd name="connsiteX7" fmla="*/ 385408 w 1813686"/>
                <a:gd name="connsiteY7" fmla="*/ 249382 h 891729"/>
                <a:gd name="connsiteX8" fmla="*/ 423193 w 1813686"/>
                <a:gd name="connsiteY8" fmla="*/ 264496 h 891729"/>
                <a:gd name="connsiteX9" fmla="*/ 491207 w 1813686"/>
                <a:gd name="connsiteY9" fmla="*/ 272053 h 891729"/>
                <a:gd name="connsiteX10" fmla="*/ 642347 w 1813686"/>
                <a:gd name="connsiteY10" fmla="*/ 302281 h 891729"/>
                <a:gd name="connsiteX11" fmla="*/ 702803 w 1813686"/>
                <a:gd name="connsiteY11" fmla="*/ 324952 h 891729"/>
                <a:gd name="connsiteX12" fmla="*/ 823716 w 1813686"/>
                <a:gd name="connsiteY12" fmla="*/ 362737 h 891729"/>
                <a:gd name="connsiteX13" fmla="*/ 846387 w 1813686"/>
                <a:gd name="connsiteY13" fmla="*/ 377851 h 891729"/>
                <a:gd name="connsiteX14" fmla="*/ 891729 w 1813686"/>
                <a:gd name="connsiteY14" fmla="*/ 423194 h 891729"/>
                <a:gd name="connsiteX15" fmla="*/ 937071 w 1813686"/>
                <a:gd name="connsiteY15" fmla="*/ 453422 h 891729"/>
                <a:gd name="connsiteX16" fmla="*/ 959742 w 1813686"/>
                <a:gd name="connsiteY16" fmla="*/ 460979 h 891729"/>
                <a:gd name="connsiteX17" fmla="*/ 997527 w 1813686"/>
                <a:gd name="connsiteY17" fmla="*/ 483650 h 891729"/>
                <a:gd name="connsiteX18" fmla="*/ 1065540 w 1813686"/>
                <a:gd name="connsiteY18" fmla="*/ 491207 h 891729"/>
                <a:gd name="connsiteX19" fmla="*/ 1148668 w 1813686"/>
                <a:gd name="connsiteY19" fmla="*/ 513878 h 891729"/>
                <a:gd name="connsiteX20" fmla="*/ 1178896 w 1813686"/>
                <a:gd name="connsiteY20" fmla="*/ 521435 h 891729"/>
                <a:gd name="connsiteX21" fmla="*/ 1209124 w 1813686"/>
                <a:gd name="connsiteY21" fmla="*/ 528992 h 891729"/>
                <a:gd name="connsiteX22" fmla="*/ 1246909 w 1813686"/>
                <a:gd name="connsiteY22" fmla="*/ 536549 h 891729"/>
                <a:gd name="connsiteX23" fmla="*/ 1269580 w 1813686"/>
                <a:gd name="connsiteY23" fmla="*/ 544106 h 891729"/>
                <a:gd name="connsiteX24" fmla="*/ 1292251 w 1813686"/>
                <a:gd name="connsiteY24" fmla="*/ 559220 h 891729"/>
                <a:gd name="connsiteX25" fmla="*/ 1345150 w 1813686"/>
                <a:gd name="connsiteY25" fmla="*/ 566777 h 891729"/>
                <a:gd name="connsiteX26" fmla="*/ 1398050 w 1813686"/>
                <a:gd name="connsiteY26" fmla="*/ 597005 h 891729"/>
                <a:gd name="connsiteX27" fmla="*/ 1428278 w 1813686"/>
                <a:gd name="connsiteY27" fmla="*/ 619676 h 891729"/>
                <a:gd name="connsiteX28" fmla="*/ 1443392 w 1813686"/>
                <a:gd name="connsiteY28" fmla="*/ 642347 h 891729"/>
                <a:gd name="connsiteX29" fmla="*/ 1435835 w 1813686"/>
                <a:gd name="connsiteY29" fmla="*/ 672575 h 891729"/>
                <a:gd name="connsiteX30" fmla="*/ 1481177 w 1813686"/>
                <a:gd name="connsiteY30" fmla="*/ 717917 h 891729"/>
                <a:gd name="connsiteX31" fmla="*/ 1534076 w 1813686"/>
                <a:gd name="connsiteY31" fmla="*/ 770817 h 891729"/>
                <a:gd name="connsiteX32" fmla="*/ 1564304 w 1813686"/>
                <a:gd name="connsiteY32" fmla="*/ 778374 h 891729"/>
                <a:gd name="connsiteX33" fmla="*/ 1586975 w 1813686"/>
                <a:gd name="connsiteY33" fmla="*/ 793488 h 891729"/>
                <a:gd name="connsiteX34" fmla="*/ 1647431 w 1813686"/>
                <a:gd name="connsiteY34" fmla="*/ 808602 h 891729"/>
                <a:gd name="connsiteX35" fmla="*/ 1670102 w 1813686"/>
                <a:gd name="connsiteY35" fmla="*/ 816159 h 891729"/>
                <a:gd name="connsiteX36" fmla="*/ 1707888 w 1813686"/>
                <a:gd name="connsiteY36" fmla="*/ 823716 h 891729"/>
                <a:gd name="connsiteX37" fmla="*/ 1791015 w 1813686"/>
                <a:gd name="connsiteY37" fmla="*/ 884172 h 891729"/>
                <a:gd name="connsiteX38" fmla="*/ 1813686 w 1813686"/>
                <a:gd name="connsiteY38" fmla="*/ 891729 h 891729"/>
                <a:gd name="connsiteX0" fmla="*/ 0 w 1791015"/>
                <a:gd name="connsiteY0" fmla="*/ 0 h 884172"/>
                <a:gd name="connsiteX1" fmla="*/ 45342 w 1791015"/>
                <a:gd name="connsiteY1" fmla="*/ 7557 h 884172"/>
                <a:gd name="connsiteX2" fmla="*/ 90684 w 1791015"/>
                <a:gd name="connsiteY2" fmla="*/ 75570 h 884172"/>
                <a:gd name="connsiteX3" fmla="*/ 158697 w 1791015"/>
                <a:gd name="connsiteY3" fmla="*/ 136027 h 884172"/>
                <a:gd name="connsiteX4" fmla="*/ 196483 w 1791015"/>
                <a:gd name="connsiteY4" fmla="*/ 173812 h 884172"/>
                <a:gd name="connsiteX5" fmla="*/ 256939 w 1791015"/>
                <a:gd name="connsiteY5" fmla="*/ 226711 h 884172"/>
                <a:gd name="connsiteX6" fmla="*/ 309838 w 1791015"/>
                <a:gd name="connsiteY6" fmla="*/ 234268 h 884172"/>
                <a:gd name="connsiteX7" fmla="*/ 385408 w 1791015"/>
                <a:gd name="connsiteY7" fmla="*/ 249382 h 884172"/>
                <a:gd name="connsiteX8" fmla="*/ 423193 w 1791015"/>
                <a:gd name="connsiteY8" fmla="*/ 264496 h 884172"/>
                <a:gd name="connsiteX9" fmla="*/ 491207 w 1791015"/>
                <a:gd name="connsiteY9" fmla="*/ 272053 h 884172"/>
                <a:gd name="connsiteX10" fmla="*/ 642347 w 1791015"/>
                <a:gd name="connsiteY10" fmla="*/ 302281 h 884172"/>
                <a:gd name="connsiteX11" fmla="*/ 702803 w 1791015"/>
                <a:gd name="connsiteY11" fmla="*/ 324952 h 884172"/>
                <a:gd name="connsiteX12" fmla="*/ 823716 w 1791015"/>
                <a:gd name="connsiteY12" fmla="*/ 362737 h 884172"/>
                <a:gd name="connsiteX13" fmla="*/ 846387 w 1791015"/>
                <a:gd name="connsiteY13" fmla="*/ 377851 h 884172"/>
                <a:gd name="connsiteX14" fmla="*/ 891729 w 1791015"/>
                <a:gd name="connsiteY14" fmla="*/ 423194 h 884172"/>
                <a:gd name="connsiteX15" fmla="*/ 937071 w 1791015"/>
                <a:gd name="connsiteY15" fmla="*/ 453422 h 884172"/>
                <a:gd name="connsiteX16" fmla="*/ 959742 w 1791015"/>
                <a:gd name="connsiteY16" fmla="*/ 460979 h 884172"/>
                <a:gd name="connsiteX17" fmla="*/ 997527 w 1791015"/>
                <a:gd name="connsiteY17" fmla="*/ 483650 h 884172"/>
                <a:gd name="connsiteX18" fmla="*/ 1065540 w 1791015"/>
                <a:gd name="connsiteY18" fmla="*/ 491207 h 884172"/>
                <a:gd name="connsiteX19" fmla="*/ 1148668 w 1791015"/>
                <a:gd name="connsiteY19" fmla="*/ 513878 h 884172"/>
                <a:gd name="connsiteX20" fmla="*/ 1178896 w 1791015"/>
                <a:gd name="connsiteY20" fmla="*/ 521435 h 884172"/>
                <a:gd name="connsiteX21" fmla="*/ 1209124 w 1791015"/>
                <a:gd name="connsiteY21" fmla="*/ 528992 h 884172"/>
                <a:gd name="connsiteX22" fmla="*/ 1246909 w 1791015"/>
                <a:gd name="connsiteY22" fmla="*/ 536549 h 884172"/>
                <a:gd name="connsiteX23" fmla="*/ 1269580 w 1791015"/>
                <a:gd name="connsiteY23" fmla="*/ 544106 h 884172"/>
                <a:gd name="connsiteX24" fmla="*/ 1292251 w 1791015"/>
                <a:gd name="connsiteY24" fmla="*/ 559220 h 884172"/>
                <a:gd name="connsiteX25" fmla="*/ 1345150 w 1791015"/>
                <a:gd name="connsiteY25" fmla="*/ 566777 h 884172"/>
                <a:gd name="connsiteX26" fmla="*/ 1398050 w 1791015"/>
                <a:gd name="connsiteY26" fmla="*/ 597005 h 884172"/>
                <a:gd name="connsiteX27" fmla="*/ 1428278 w 1791015"/>
                <a:gd name="connsiteY27" fmla="*/ 619676 h 884172"/>
                <a:gd name="connsiteX28" fmla="*/ 1443392 w 1791015"/>
                <a:gd name="connsiteY28" fmla="*/ 642347 h 884172"/>
                <a:gd name="connsiteX29" fmla="*/ 1435835 w 1791015"/>
                <a:gd name="connsiteY29" fmla="*/ 672575 h 884172"/>
                <a:gd name="connsiteX30" fmla="*/ 1481177 w 1791015"/>
                <a:gd name="connsiteY30" fmla="*/ 717917 h 884172"/>
                <a:gd name="connsiteX31" fmla="*/ 1534076 w 1791015"/>
                <a:gd name="connsiteY31" fmla="*/ 770817 h 884172"/>
                <a:gd name="connsiteX32" fmla="*/ 1564304 w 1791015"/>
                <a:gd name="connsiteY32" fmla="*/ 778374 h 884172"/>
                <a:gd name="connsiteX33" fmla="*/ 1586975 w 1791015"/>
                <a:gd name="connsiteY33" fmla="*/ 793488 h 884172"/>
                <a:gd name="connsiteX34" fmla="*/ 1647431 w 1791015"/>
                <a:gd name="connsiteY34" fmla="*/ 808602 h 884172"/>
                <a:gd name="connsiteX35" fmla="*/ 1670102 w 1791015"/>
                <a:gd name="connsiteY35" fmla="*/ 816159 h 884172"/>
                <a:gd name="connsiteX36" fmla="*/ 1707888 w 1791015"/>
                <a:gd name="connsiteY36" fmla="*/ 823716 h 884172"/>
                <a:gd name="connsiteX37" fmla="*/ 1791015 w 1791015"/>
                <a:gd name="connsiteY37" fmla="*/ 884172 h 884172"/>
                <a:gd name="connsiteX0" fmla="*/ 0 w 1707888"/>
                <a:gd name="connsiteY0" fmla="*/ 0 h 823716"/>
                <a:gd name="connsiteX1" fmla="*/ 45342 w 1707888"/>
                <a:gd name="connsiteY1" fmla="*/ 7557 h 823716"/>
                <a:gd name="connsiteX2" fmla="*/ 90684 w 1707888"/>
                <a:gd name="connsiteY2" fmla="*/ 75570 h 823716"/>
                <a:gd name="connsiteX3" fmla="*/ 158697 w 1707888"/>
                <a:gd name="connsiteY3" fmla="*/ 136027 h 823716"/>
                <a:gd name="connsiteX4" fmla="*/ 196483 w 1707888"/>
                <a:gd name="connsiteY4" fmla="*/ 173812 h 823716"/>
                <a:gd name="connsiteX5" fmla="*/ 256939 w 1707888"/>
                <a:gd name="connsiteY5" fmla="*/ 226711 h 823716"/>
                <a:gd name="connsiteX6" fmla="*/ 309838 w 1707888"/>
                <a:gd name="connsiteY6" fmla="*/ 234268 h 823716"/>
                <a:gd name="connsiteX7" fmla="*/ 385408 w 1707888"/>
                <a:gd name="connsiteY7" fmla="*/ 249382 h 823716"/>
                <a:gd name="connsiteX8" fmla="*/ 423193 w 1707888"/>
                <a:gd name="connsiteY8" fmla="*/ 264496 h 823716"/>
                <a:gd name="connsiteX9" fmla="*/ 491207 w 1707888"/>
                <a:gd name="connsiteY9" fmla="*/ 272053 h 823716"/>
                <a:gd name="connsiteX10" fmla="*/ 642347 w 1707888"/>
                <a:gd name="connsiteY10" fmla="*/ 302281 h 823716"/>
                <a:gd name="connsiteX11" fmla="*/ 702803 w 1707888"/>
                <a:gd name="connsiteY11" fmla="*/ 324952 h 823716"/>
                <a:gd name="connsiteX12" fmla="*/ 823716 w 1707888"/>
                <a:gd name="connsiteY12" fmla="*/ 362737 h 823716"/>
                <a:gd name="connsiteX13" fmla="*/ 846387 w 1707888"/>
                <a:gd name="connsiteY13" fmla="*/ 377851 h 823716"/>
                <a:gd name="connsiteX14" fmla="*/ 891729 w 1707888"/>
                <a:gd name="connsiteY14" fmla="*/ 423194 h 823716"/>
                <a:gd name="connsiteX15" fmla="*/ 937071 w 1707888"/>
                <a:gd name="connsiteY15" fmla="*/ 453422 h 823716"/>
                <a:gd name="connsiteX16" fmla="*/ 959742 w 1707888"/>
                <a:gd name="connsiteY16" fmla="*/ 460979 h 823716"/>
                <a:gd name="connsiteX17" fmla="*/ 997527 w 1707888"/>
                <a:gd name="connsiteY17" fmla="*/ 483650 h 823716"/>
                <a:gd name="connsiteX18" fmla="*/ 1065540 w 1707888"/>
                <a:gd name="connsiteY18" fmla="*/ 491207 h 823716"/>
                <a:gd name="connsiteX19" fmla="*/ 1148668 w 1707888"/>
                <a:gd name="connsiteY19" fmla="*/ 513878 h 823716"/>
                <a:gd name="connsiteX20" fmla="*/ 1178896 w 1707888"/>
                <a:gd name="connsiteY20" fmla="*/ 521435 h 823716"/>
                <a:gd name="connsiteX21" fmla="*/ 1209124 w 1707888"/>
                <a:gd name="connsiteY21" fmla="*/ 528992 h 823716"/>
                <a:gd name="connsiteX22" fmla="*/ 1246909 w 1707888"/>
                <a:gd name="connsiteY22" fmla="*/ 536549 h 823716"/>
                <a:gd name="connsiteX23" fmla="*/ 1269580 w 1707888"/>
                <a:gd name="connsiteY23" fmla="*/ 544106 h 823716"/>
                <a:gd name="connsiteX24" fmla="*/ 1292251 w 1707888"/>
                <a:gd name="connsiteY24" fmla="*/ 559220 h 823716"/>
                <a:gd name="connsiteX25" fmla="*/ 1345150 w 1707888"/>
                <a:gd name="connsiteY25" fmla="*/ 566777 h 823716"/>
                <a:gd name="connsiteX26" fmla="*/ 1398050 w 1707888"/>
                <a:gd name="connsiteY26" fmla="*/ 597005 h 823716"/>
                <a:gd name="connsiteX27" fmla="*/ 1428278 w 1707888"/>
                <a:gd name="connsiteY27" fmla="*/ 619676 h 823716"/>
                <a:gd name="connsiteX28" fmla="*/ 1443392 w 1707888"/>
                <a:gd name="connsiteY28" fmla="*/ 642347 h 823716"/>
                <a:gd name="connsiteX29" fmla="*/ 1435835 w 1707888"/>
                <a:gd name="connsiteY29" fmla="*/ 672575 h 823716"/>
                <a:gd name="connsiteX30" fmla="*/ 1481177 w 1707888"/>
                <a:gd name="connsiteY30" fmla="*/ 717917 h 823716"/>
                <a:gd name="connsiteX31" fmla="*/ 1534076 w 1707888"/>
                <a:gd name="connsiteY31" fmla="*/ 770817 h 823716"/>
                <a:gd name="connsiteX32" fmla="*/ 1564304 w 1707888"/>
                <a:gd name="connsiteY32" fmla="*/ 778374 h 823716"/>
                <a:gd name="connsiteX33" fmla="*/ 1586975 w 1707888"/>
                <a:gd name="connsiteY33" fmla="*/ 793488 h 823716"/>
                <a:gd name="connsiteX34" fmla="*/ 1647431 w 1707888"/>
                <a:gd name="connsiteY34" fmla="*/ 808602 h 823716"/>
                <a:gd name="connsiteX35" fmla="*/ 1670102 w 1707888"/>
                <a:gd name="connsiteY35" fmla="*/ 816159 h 823716"/>
                <a:gd name="connsiteX36" fmla="*/ 1707888 w 1707888"/>
                <a:gd name="connsiteY36" fmla="*/ 823716 h 82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707888" h="823716">
                  <a:moveTo>
                    <a:pt x="0" y="0"/>
                  </a:moveTo>
                  <a:cubicBezTo>
                    <a:pt x="15114" y="2519"/>
                    <a:pt x="32789" y="-1230"/>
                    <a:pt x="45342" y="7557"/>
                  </a:cubicBezTo>
                  <a:cubicBezTo>
                    <a:pt x="70529" y="25188"/>
                    <a:pt x="70533" y="55419"/>
                    <a:pt x="90684" y="75570"/>
                  </a:cubicBezTo>
                  <a:cubicBezTo>
                    <a:pt x="142448" y="127335"/>
                    <a:pt x="118241" y="109056"/>
                    <a:pt x="158697" y="136027"/>
                  </a:cubicBezTo>
                  <a:cubicBezTo>
                    <a:pt x="188928" y="181371"/>
                    <a:pt x="156177" y="138544"/>
                    <a:pt x="196483" y="173812"/>
                  </a:cubicBezTo>
                  <a:cubicBezTo>
                    <a:pt x="203414" y="179876"/>
                    <a:pt x="238455" y="221166"/>
                    <a:pt x="256939" y="226711"/>
                  </a:cubicBezTo>
                  <a:cubicBezTo>
                    <a:pt x="274000" y="231829"/>
                    <a:pt x="292205" y="231749"/>
                    <a:pt x="309838" y="234268"/>
                  </a:cubicBezTo>
                  <a:cubicBezTo>
                    <a:pt x="384358" y="259108"/>
                    <a:pt x="246472" y="214648"/>
                    <a:pt x="385408" y="249382"/>
                  </a:cubicBezTo>
                  <a:cubicBezTo>
                    <a:pt x="398568" y="252672"/>
                    <a:pt x="409929" y="261654"/>
                    <a:pt x="423193" y="264496"/>
                  </a:cubicBezTo>
                  <a:cubicBezTo>
                    <a:pt x="445498" y="269275"/>
                    <a:pt x="468536" y="269534"/>
                    <a:pt x="491207" y="272053"/>
                  </a:cubicBezTo>
                  <a:cubicBezTo>
                    <a:pt x="573962" y="321706"/>
                    <a:pt x="482116" y="274415"/>
                    <a:pt x="642347" y="302281"/>
                  </a:cubicBezTo>
                  <a:cubicBezTo>
                    <a:pt x="663551" y="305969"/>
                    <a:pt x="682385" y="318146"/>
                    <a:pt x="702803" y="324952"/>
                  </a:cubicBezTo>
                  <a:cubicBezTo>
                    <a:pt x="742863" y="338305"/>
                    <a:pt x="783412" y="350142"/>
                    <a:pt x="823716" y="362737"/>
                  </a:cubicBezTo>
                  <a:cubicBezTo>
                    <a:pt x="831273" y="367775"/>
                    <a:pt x="839599" y="371817"/>
                    <a:pt x="846387" y="377851"/>
                  </a:cubicBezTo>
                  <a:cubicBezTo>
                    <a:pt x="862363" y="392052"/>
                    <a:pt x="873944" y="411337"/>
                    <a:pt x="891729" y="423194"/>
                  </a:cubicBezTo>
                  <a:cubicBezTo>
                    <a:pt x="906843" y="433270"/>
                    <a:pt x="919838" y="447678"/>
                    <a:pt x="937071" y="453422"/>
                  </a:cubicBezTo>
                  <a:cubicBezTo>
                    <a:pt x="944628" y="455941"/>
                    <a:pt x="952617" y="457417"/>
                    <a:pt x="959742" y="460979"/>
                  </a:cubicBezTo>
                  <a:cubicBezTo>
                    <a:pt x="972879" y="467548"/>
                    <a:pt x="983404" y="479615"/>
                    <a:pt x="997527" y="483650"/>
                  </a:cubicBezTo>
                  <a:cubicBezTo>
                    <a:pt x="1019460" y="489917"/>
                    <a:pt x="1042869" y="488688"/>
                    <a:pt x="1065540" y="491207"/>
                  </a:cubicBezTo>
                  <a:cubicBezTo>
                    <a:pt x="1107918" y="505332"/>
                    <a:pt x="1080484" y="496832"/>
                    <a:pt x="1148668" y="513878"/>
                  </a:cubicBezTo>
                  <a:lnTo>
                    <a:pt x="1178896" y="521435"/>
                  </a:lnTo>
                  <a:cubicBezTo>
                    <a:pt x="1188972" y="523954"/>
                    <a:pt x="1198940" y="526955"/>
                    <a:pt x="1209124" y="528992"/>
                  </a:cubicBezTo>
                  <a:cubicBezTo>
                    <a:pt x="1221719" y="531511"/>
                    <a:pt x="1234448" y="533434"/>
                    <a:pt x="1246909" y="536549"/>
                  </a:cubicBezTo>
                  <a:cubicBezTo>
                    <a:pt x="1254637" y="538481"/>
                    <a:pt x="1262455" y="540544"/>
                    <a:pt x="1269580" y="544106"/>
                  </a:cubicBezTo>
                  <a:cubicBezTo>
                    <a:pt x="1277704" y="548168"/>
                    <a:pt x="1283552" y="556610"/>
                    <a:pt x="1292251" y="559220"/>
                  </a:cubicBezTo>
                  <a:cubicBezTo>
                    <a:pt x="1309312" y="564338"/>
                    <a:pt x="1327517" y="564258"/>
                    <a:pt x="1345150" y="566777"/>
                  </a:cubicBezTo>
                  <a:cubicBezTo>
                    <a:pt x="1374666" y="581535"/>
                    <a:pt x="1373129" y="579204"/>
                    <a:pt x="1398050" y="597005"/>
                  </a:cubicBezTo>
                  <a:cubicBezTo>
                    <a:pt x="1408299" y="604326"/>
                    <a:pt x="1419372" y="610770"/>
                    <a:pt x="1428278" y="619676"/>
                  </a:cubicBezTo>
                  <a:cubicBezTo>
                    <a:pt x="1434700" y="626098"/>
                    <a:pt x="1438354" y="634790"/>
                    <a:pt x="1443392" y="642347"/>
                  </a:cubicBezTo>
                  <a:cubicBezTo>
                    <a:pt x="1440873" y="652423"/>
                    <a:pt x="1431190" y="663285"/>
                    <a:pt x="1435835" y="672575"/>
                  </a:cubicBezTo>
                  <a:cubicBezTo>
                    <a:pt x="1445394" y="691693"/>
                    <a:pt x="1466063" y="702803"/>
                    <a:pt x="1481177" y="717917"/>
                  </a:cubicBezTo>
                  <a:lnTo>
                    <a:pt x="1534076" y="770817"/>
                  </a:lnTo>
                  <a:lnTo>
                    <a:pt x="1564304" y="778374"/>
                  </a:lnTo>
                  <a:cubicBezTo>
                    <a:pt x="1571861" y="783412"/>
                    <a:pt x="1578851" y="789426"/>
                    <a:pt x="1586975" y="793488"/>
                  </a:cubicBezTo>
                  <a:cubicBezTo>
                    <a:pt x="1604249" y="802125"/>
                    <a:pt x="1630185" y="804291"/>
                    <a:pt x="1647431" y="808602"/>
                  </a:cubicBezTo>
                  <a:cubicBezTo>
                    <a:pt x="1655159" y="810534"/>
                    <a:pt x="1662374" y="814227"/>
                    <a:pt x="1670102" y="816159"/>
                  </a:cubicBezTo>
                  <a:cubicBezTo>
                    <a:pt x="1682563" y="819274"/>
                    <a:pt x="1695293" y="821197"/>
                    <a:pt x="1707888" y="823716"/>
                  </a:cubicBez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21" name="Freeform 20"/>
            <p:cNvSpPr/>
            <p:nvPr/>
          </p:nvSpPr>
          <p:spPr>
            <a:xfrm>
              <a:off x="1165646" y="1556876"/>
              <a:ext cx="347990" cy="93508"/>
            </a:xfrm>
            <a:custGeom>
              <a:avLst/>
              <a:gdLst>
                <a:gd name="connsiteX0" fmla="*/ 0 w 933450"/>
                <a:gd name="connsiteY0" fmla="*/ 15875 h 250825"/>
                <a:gd name="connsiteX1" fmla="*/ 22225 w 933450"/>
                <a:gd name="connsiteY1" fmla="*/ 31750 h 250825"/>
                <a:gd name="connsiteX2" fmla="*/ 38100 w 933450"/>
                <a:gd name="connsiteY2" fmla="*/ 34925 h 250825"/>
                <a:gd name="connsiteX3" fmla="*/ 60325 w 933450"/>
                <a:gd name="connsiteY3" fmla="*/ 41275 h 250825"/>
                <a:gd name="connsiteX4" fmla="*/ 79375 w 933450"/>
                <a:gd name="connsiteY4" fmla="*/ 44450 h 250825"/>
                <a:gd name="connsiteX5" fmla="*/ 98425 w 933450"/>
                <a:gd name="connsiteY5" fmla="*/ 50800 h 250825"/>
                <a:gd name="connsiteX6" fmla="*/ 111125 w 933450"/>
                <a:gd name="connsiteY6" fmla="*/ 60325 h 250825"/>
                <a:gd name="connsiteX7" fmla="*/ 117475 w 933450"/>
                <a:gd name="connsiteY7" fmla="*/ 69850 h 250825"/>
                <a:gd name="connsiteX8" fmla="*/ 136525 w 933450"/>
                <a:gd name="connsiteY8" fmla="*/ 79375 h 250825"/>
                <a:gd name="connsiteX9" fmla="*/ 158750 w 933450"/>
                <a:gd name="connsiteY9" fmla="*/ 88900 h 250825"/>
                <a:gd name="connsiteX10" fmla="*/ 168275 w 933450"/>
                <a:gd name="connsiteY10" fmla="*/ 95250 h 250825"/>
                <a:gd name="connsiteX11" fmla="*/ 177800 w 933450"/>
                <a:gd name="connsiteY11" fmla="*/ 98425 h 250825"/>
                <a:gd name="connsiteX12" fmla="*/ 228600 w 933450"/>
                <a:gd name="connsiteY12" fmla="*/ 104775 h 250825"/>
                <a:gd name="connsiteX13" fmla="*/ 247650 w 933450"/>
                <a:gd name="connsiteY13" fmla="*/ 111125 h 250825"/>
                <a:gd name="connsiteX14" fmla="*/ 266700 w 933450"/>
                <a:gd name="connsiteY14" fmla="*/ 123825 h 250825"/>
                <a:gd name="connsiteX15" fmla="*/ 276225 w 933450"/>
                <a:gd name="connsiteY15" fmla="*/ 127000 h 250825"/>
                <a:gd name="connsiteX16" fmla="*/ 285750 w 933450"/>
                <a:gd name="connsiteY16" fmla="*/ 133350 h 250825"/>
                <a:gd name="connsiteX17" fmla="*/ 320675 w 933450"/>
                <a:gd name="connsiteY17" fmla="*/ 139700 h 250825"/>
                <a:gd name="connsiteX18" fmla="*/ 358775 w 933450"/>
                <a:gd name="connsiteY18" fmla="*/ 136525 h 250825"/>
                <a:gd name="connsiteX19" fmla="*/ 368300 w 933450"/>
                <a:gd name="connsiteY19" fmla="*/ 133350 h 250825"/>
                <a:gd name="connsiteX20" fmla="*/ 406400 w 933450"/>
                <a:gd name="connsiteY20" fmla="*/ 130175 h 250825"/>
                <a:gd name="connsiteX21" fmla="*/ 431800 w 933450"/>
                <a:gd name="connsiteY21" fmla="*/ 123825 h 250825"/>
                <a:gd name="connsiteX22" fmla="*/ 454025 w 933450"/>
                <a:gd name="connsiteY22" fmla="*/ 111125 h 250825"/>
                <a:gd name="connsiteX23" fmla="*/ 466725 w 933450"/>
                <a:gd name="connsiteY23" fmla="*/ 107950 h 250825"/>
                <a:gd name="connsiteX24" fmla="*/ 482600 w 933450"/>
                <a:gd name="connsiteY24" fmla="*/ 101600 h 250825"/>
                <a:gd name="connsiteX25" fmla="*/ 517525 w 933450"/>
                <a:gd name="connsiteY25" fmla="*/ 98425 h 250825"/>
                <a:gd name="connsiteX26" fmla="*/ 539750 w 933450"/>
                <a:gd name="connsiteY26" fmla="*/ 95250 h 250825"/>
                <a:gd name="connsiteX27" fmla="*/ 657225 w 933450"/>
                <a:gd name="connsiteY27" fmla="*/ 88900 h 250825"/>
                <a:gd name="connsiteX28" fmla="*/ 682625 w 933450"/>
                <a:gd name="connsiteY28" fmla="*/ 79375 h 250825"/>
                <a:gd name="connsiteX29" fmla="*/ 685800 w 933450"/>
                <a:gd name="connsiteY29" fmla="*/ 66675 h 250825"/>
                <a:gd name="connsiteX30" fmla="*/ 688975 w 933450"/>
                <a:gd name="connsiteY30" fmla="*/ 34925 h 250825"/>
                <a:gd name="connsiteX31" fmla="*/ 692150 w 933450"/>
                <a:gd name="connsiteY31" fmla="*/ 19050 h 250825"/>
                <a:gd name="connsiteX32" fmla="*/ 695325 w 933450"/>
                <a:gd name="connsiteY32" fmla="*/ 0 h 250825"/>
                <a:gd name="connsiteX33" fmla="*/ 733425 w 933450"/>
                <a:gd name="connsiteY33" fmla="*/ 3175 h 250825"/>
                <a:gd name="connsiteX34" fmla="*/ 742950 w 933450"/>
                <a:gd name="connsiteY34" fmla="*/ 25400 h 250825"/>
                <a:gd name="connsiteX35" fmla="*/ 752475 w 933450"/>
                <a:gd name="connsiteY35" fmla="*/ 34925 h 250825"/>
                <a:gd name="connsiteX36" fmla="*/ 762000 w 933450"/>
                <a:gd name="connsiteY36" fmla="*/ 50800 h 250825"/>
                <a:gd name="connsiteX37" fmla="*/ 768350 w 933450"/>
                <a:gd name="connsiteY37" fmla="*/ 60325 h 250825"/>
                <a:gd name="connsiteX38" fmla="*/ 771525 w 933450"/>
                <a:gd name="connsiteY38" fmla="*/ 69850 h 250825"/>
                <a:gd name="connsiteX39" fmla="*/ 781050 w 933450"/>
                <a:gd name="connsiteY39" fmla="*/ 79375 h 250825"/>
                <a:gd name="connsiteX40" fmla="*/ 793750 w 933450"/>
                <a:gd name="connsiteY40" fmla="*/ 101600 h 250825"/>
                <a:gd name="connsiteX41" fmla="*/ 796925 w 933450"/>
                <a:gd name="connsiteY41" fmla="*/ 123825 h 250825"/>
                <a:gd name="connsiteX42" fmla="*/ 800100 w 933450"/>
                <a:gd name="connsiteY42" fmla="*/ 136525 h 250825"/>
                <a:gd name="connsiteX43" fmla="*/ 803275 w 933450"/>
                <a:gd name="connsiteY43" fmla="*/ 158750 h 250825"/>
                <a:gd name="connsiteX44" fmla="*/ 809625 w 933450"/>
                <a:gd name="connsiteY44" fmla="*/ 174625 h 250825"/>
                <a:gd name="connsiteX45" fmla="*/ 822325 w 933450"/>
                <a:gd name="connsiteY45" fmla="*/ 196850 h 250825"/>
                <a:gd name="connsiteX46" fmla="*/ 838200 w 933450"/>
                <a:gd name="connsiteY46" fmla="*/ 215900 h 250825"/>
                <a:gd name="connsiteX47" fmla="*/ 863600 w 933450"/>
                <a:gd name="connsiteY47" fmla="*/ 222250 h 250825"/>
                <a:gd name="connsiteX48" fmla="*/ 873125 w 933450"/>
                <a:gd name="connsiteY48" fmla="*/ 225425 h 250825"/>
                <a:gd name="connsiteX49" fmla="*/ 876300 w 933450"/>
                <a:gd name="connsiteY49" fmla="*/ 234950 h 250825"/>
                <a:gd name="connsiteX50" fmla="*/ 901700 w 933450"/>
                <a:gd name="connsiteY50" fmla="*/ 238125 h 250825"/>
                <a:gd name="connsiteX51" fmla="*/ 914400 w 933450"/>
                <a:gd name="connsiteY51" fmla="*/ 241300 h 250825"/>
                <a:gd name="connsiteX52" fmla="*/ 923925 w 933450"/>
                <a:gd name="connsiteY52" fmla="*/ 244475 h 250825"/>
                <a:gd name="connsiteX53" fmla="*/ 933450 w 933450"/>
                <a:gd name="connsiteY53" fmla="*/ 250825 h 25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33450" h="250825">
                  <a:moveTo>
                    <a:pt x="0" y="15875"/>
                  </a:moveTo>
                  <a:cubicBezTo>
                    <a:pt x="7408" y="21167"/>
                    <a:pt x="14082" y="27679"/>
                    <a:pt x="22225" y="31750"/>
                  </a:cubicBezTo>
                  <a:cubicBezTo>
                    <a:pt x="27052" y="34163"/>
                    <a:pt x="32865" y="33616"/>
                    <a:pt x="38100" y="34925"/>
                  </a:cubicBezTo>
                  <a:cubicBezTo>
                    <a:pt x="62309" y="40977"/>
                    <a:pt x="30631" y="35336"/>
                    <a:pt x="60325" y="41275"/>
                  </a:cubicBezTo>
                  <a:cubicBezTo>
                    <a:pt x="66638" y="42538"/>
                    <a:pt x="73130" y="42889"/>
                    <a:pt x="79375" y="44450"/>
                  </a:cubicBezTo>
                  <a:cubicBezTo>
                    <a:pt x="85869" y="46073"/>
                    <a:pt x="98425" y="50800"/>
                    <a:pt x="98425" y="50800"/>
                  </a:cubicBezTo>
                  <a:cubicBezTo>
                    <a:pt x="102658" y="53975"/>
                    <a:pt x="107383" y="56583"/>
                    <a:pt x="111125" y="60325"/>
                  </a:cubicBezTo>
                  <a:cubicBezTo>
                    <a:pt x="113823" y="63023"/>
                    <a:pt x="114422" y="67560"/>
                    <a:pt x="117475" y="69850"/>
                  </a:cubicBezTo>
                  <a:cubicBezTo>
                    <a:pt x="123155" y="74110"/>
                    <a:pt x="130319" y="75927"/>
                    <a:pt x="136525" y="79375"/>
                  </a:cubicBezTo>
                  <a:cubicBezTo>
                    <a:pt x="154465" y="89341"/>
                    <a:pt x="136877" y="83432"/>
                    <a:pt x="158750" y="88900"/>
                  </a:cubicBezTo>
                  <a:cubicBezTo>
                    <a:pt x="161925" y="91017"/>
                    <a:pt x="164862" y="93543"/>
                    <a:pt x="168275" y="95250"/>
                  </a:cubicBezTo>
                  <a:cubicBezTo>
                    <a:pt x="171268" y="96747"/>
                    <a:pt x="174494" y="97903"/>
                    <a:pt x="177800" y="98425"/>
                  </a:cubicBezTo>
                  <a:cubicBezTo>
                    <a:pt x="194656" y="101087"/>
                    <a:pt x="211667" y="102658"/>
                    <a:pt x="228600" y="104775"/>
                  </a:cubicBezTo>
                  <a:cubicBezTo>
                    <a:pt x="234950" y="106892"/>
                    <a:pt x="242081" y="107412"/>
                    <a:pt x="247650" y="111125"/>
                  </a:cubicBezTo>
                  <a:cubicBezTo>
                    <a:pt x="254000" y="115358"/>
                    <a:pt x="259460" y="121412"/>
                    <a:pt x="266700" y="123825"/>
                  </a:cubicBezTo>
                  <a:cubicBezTo>
                    <a:pt x="269875" y="124883"/>
                    <a:pt x="273232" y="125503"/>
                    <a:pt x="276225" y="127000"/>
                  </a:cubicBezTo>
                  <a:cubicBezTo>
                    <a:pt x="279638" y="128707"/>
                    <a:pt x="282337" y="131643"/>
                    <a:pt x="285750" y="133350"/>
                  </a:cubicBezTo>
                  <a:cubicBezTo>
                    <a:pt x="295539" y="138244"/>
                    <a:pt x="311919" y="138606"/>
                    <a:pt x="320675" y="139700"/>
                  </a:cubicBezTo>
                  <a:cubicBezTo>
                    <a:pt x="333375" y="138642"/>
                    <a:pt x="346143" y="138209"/>
                    <a:pt x="358775" y="136525"/>
                  </a:cubicBezTo>
                  <a:cubicBezTo>
                    <a:pt x="362092" y="136083"/>
                    <a:pt x="364983" y="133792"/>
                    <a:pt x="368300" y="133350"/>
                  </a:cubicBezTo>
                  <a:cubicBezTo>
                    <a:pt x="380932" y="131666"/>
                    <a:pt x="393700" y="131233"/>
                    <a:pt x="406400" y="130175"/>
                  </a:cubicBezTo>
                  <a:cubicBezTo>
                    <a:pt x="414867" y="128058"/>
                    <a:pt x="423521" y="126585"/>
                    <a:pt x="431800" y="123825"/>
                  </a:cubicBezTo>
                  <a:cubicBezTo>
                    <a:pt x="461463" y="113937"/>
                    <a:pt x="429638" y="121577"/>
                    <a:pt x="454025" y="111125"/>
                  </a:cubicBezTo>
                  <a:cubicBezTo>
                    <a:pt x="458036" y="109406"/>
                    <a:pt x="462585" y="109330"/>
                    <a:pt x="466725" y="107950"/>
                  </a:cubicBezTo>
                  <a:cubicBezTo>
                    <a:pt x="472132" y="106148"/>
                    <a:pt x="476998" y="102650"/>
                    <a:pt x="482600" y="101600"/>
                  </a:cubicBezTo>
                  <a:cubicBezTo>
                    <a:pt x="494089" y="99446"/>
                    <a:pt x="505907" y="99716"/>
                    <a:pt x="517525" y="98425"/>
                  </a:cubicBezTo>
                  <a:cubicBezTo>
                    <a:pt x="524963" y="97599"/>
                    <a:pt x="532284" y="95759"/>
                    <a:pt x="539750" y="95250"/>
                  </a:cubicBezTo>
                  <a:cubicBezTo>
                    <a:pt x="578875" y="92582"/>
                    <a:pt x="618067" y="91017"/>
                    <a:pt x="657225" y="88900"/>
                  </a:cubicBezTo>
                  <a:cubicBezTo>
                    <a:pt x="664136" y="87518"/>
                    <a:pt x="677594" y="86922"/>
                    <a:pt x="682625" y="79375"/>
                  </a:cubicBezTo>
                  <a:cubicBezTo>
                    <a:pt x="685046" y="75744"/>
                    <a:pt x="684742" y="70908"/>
                    <a:pt x="685800" y="66675"/>
                  </a:cubicBezTo>
                  <a:cubicBezTo>
                    <a:pt x="686858" y="56092"/>
                    <a:pt x="687569" y="45468"/>
                    <a:pt x="688975" y="34925"/>
                  </a:cubicBezTo>
                  <a:cubicBezTo>
                    <a:pt x="689688" y="29576"/>
                    <a:pt x="691185" y="24359"/>
                    <a:pt x="692150" y="19050"/>
                  </a:cubicBezTo>
                  <a:cubicBezTo>
                    <a:pt x="693302" y="12716"/>
                    <a:pt x="694267" y="6350"/>
                    <a:pt x="695325" y="0"/>
                  </a:cubicBezTo>
                  <a:cubicBezTo>
                    <a:pt x="708025" y="1058"/>
                    <a:pt x="721171" y="-326"/>
                    <a:pt x="733425" y="3175"/>
                  </a:cubicBezTo>
                  <a:cubicBezTo>
                    <a:pt x="740432" y="5177"/>
                    <a:pt x="740866" y="21753"/>
                    <a:pt x="742950" y="25400"/>
                  </a:cubicBezTo>
                  <a:cubicBezTo>
                    <a:pt x="745178" y="29299"/>
                    <a:pt x="749781" y="31333"/>
                    <a:pt x="752475" y="34925"/>
                  </a:cubicBezTo>
                  <a:cubicBezTo>
                    <a:pt x="756178" y="39862"/>
                    <a:pt x="758729" y="45567"/>
                    <a:pt x="762000" y="50800"/>
                  </a:cubicBezTo>
                  <a:cubicBezTo>
                    <a:pt x="764022" y="54036"/>
                    <a:pt x="766643" y="56912"/>
                    <a:pt x="768350" y="60325"/>
                  </a:cubicBezTo>
                  <a:cubicBezTo>
                    <a:pt x="769847" y="63318"/>
                    <a:pt x="769669" y="67065"/>
                    <a:pt x="771525" y="69850"/>
                  </a:cubicBezTo>
                  <a:cubicBezTo>
                    <a:pt x="774016" y="73586"/>
                    <a:pt x="778175" y="75926"/>
                    <a:pt x="781050" y="79375"/>
                  </a:cubicBezTo>
                  <a:cubicBezTo>
                    <a:pt x="786660" y="86107"/>
                    <a:pt x="789868" y="93836"/>
                    <a:pt x="793750" y="101600"/>
                  </a:cubicBezTo>
                  <a:cubicBezTo>
                    <a:pt x="794808" y="109008"/>
                    <a:pt x="795586" y="116462"/>
                    <a:pt x="796925" y="123825"/>
                  </a:cubicBezTo>
                  <a:cubicBezTo>
                    <a:pt x="797706" y="128118"/>
                    <a:pt x="799319" y="132232"/>
                    <a:pt x="800100" y="136525"/>
                  </a:cubicBezTo>
                  <a:cubicBezTo>
                    <a:pt x="801439" y="143888"/>
                    <a:pt x="801460" y="151490"/>
                    <a:pt x="803275" y="158750"/>
                  </a:cubicBezTo>
                  <a:cubicBezTo>
                    <a:pt x="804657" y="164279"/>
                    <a:pt x="807987" y="169166"/>
                    <a:pt x="809625" y="174625"/>
                  </a:cubicBezTo>
                  <a:cubicBezTo>
                    <a:pt x="816000" y="195877"/>
                    <a:pt x="806576" y="186351"/>
                    <a:pt x="822325" y="196850"/>
                  </a:cubicBezTo>
                  <a:cubicBezTo>
                    <a:pt x="825746" y="201981"/>
                    <a:pt x="832354" y="213243"/>
                    <a:pt x="838200" y="215900"/>
                  </a:cubicBezTo>
                  <a:cubicBezTo>
                    <a:pt x="846145" y="219511"/>
                    <a:pt x="855180" y="219954"/>
                    <a:pt x="863600" y="222250"/>
                  </a:cubicBezTo>
                  <a:cubicBezTo>
                    <a:pt x="866829" y="223131"/>
                    <a:pt x="869950" y="224367"/>
                    <a:pt x="873125" y="225425"/>
                  </a:cubicBezTo>
                  <a:cubicBezTo>
                    <a:pt x="874183" y="228600"/>
                    <a:pt x="873242" y="233591"/>
                    <a:pt x="876300" y="234950"/>
                  </a:cubicBezTo>
                  <a:cubicBezTo>
                    <a:pt x="884097" y="238415"/>
                    <a:pt x="893284" y="236722"/>
                    <a:pt x="901700" y="238125"/>
                  </a:cubicBezTo>
                  <a:cubicBezTo>
                    <a:pt x="906004" y="238842"/>
                    <a:pt x="910204" y="240101"/>
                    <a:pt x="914400" y="241300"/>
                  </a:cubicBezTo>
                  <a:cubicBezTo>
                    <a:pt x="917618" y="242219"/>
                    <a:pt x="920932" y="242978"/>
                    <a:pt x="923925" y="244475"/>
                  </a:cubicBezTo>
                  <a:cubicBezTo>
                    <a:pt x="927338" y="246182"/>
                    <a:pt x="933450" y="250825"/>
                    <a:pt x="933450" y="250825"/>
                  </a:cubicBez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22" name="Freeform 21"/>
            <p:cNvSpPr/>
            <p:nvPr/>
          </p:nvSpPr>
          <p:spPr>
            <a:xfrm>
              <a:off x="567368" y="1406554"/>
              <a:ext cx="49113" cy="267502"/>
            </a:xfrm>
            <a:custGeom>
              <a:avLst/>
              <a:gdLst>
                <a:gd name="connsiteX0" fmla="*/ 49072 w 131742"/>
                <a:gd name="connsiteY0" fmla="*/ 0 h 717550"/>
                <a:gd name="connsiteX1" fmla="*/ 52247 w 131742"/>
                <a:gd name="connsiteY1" fmla="*/ 95250 h 717550"/>
                <a:gd name="connsiteX2" fmla="*/ 33197 w 131742"/>
                <a:gd name="connsiteY2" fmla="*/ 174625 h 717550"/>
                <a:gd name="connsiteX3" fmla="*/ 30022 w 131742"/>
                <a:gd name="connsiteY3" fmla="*/ 184150 h 717550"/>
                <a:gd name="connsiteX4" fmla="*/ 26847 w 131742"/>
                <a:gd name="connsiteY4" fmla="*/ 196850 h 717550"/>
                <a:gd name="connsiteX5" fmla="*/ 20497 w 131742"/>
                <a:gd name="connsiteY5" fmla="*/ 209550 h 717550"/>
                <a:gd name="connsiteX6" fmla="*/ 17322 w 131742"/>
                <a:gd name="connsiteY6" fmla="*/ 219075 h 717550"/>
                <a:gd name="connsiteX7" fmla="*/ 1447 w 131742"/>
                <a:gd name="connsiteY7" fmla="*/ 266700 h 717550"/>
                <a:gd name="connsiteX8" fmla="*/ 17322 w 131742"/>
                <a:gd name="connsiteY8" fmla="*/ 327025 h 717550"/>
                <a:gd name="connsiteX9" fmla="*/ 26847 w 131742"/>
                <a:gd name="connsiteY9" fmla="*/ 333375 h 717550"/>
                <a:gd name="connsiteX10" fmla="*/ 33197 w 131742"/>
                <a:gd name="connsiteY10" fmla="*/ 346075 h 717550"/>
                <a:gd name="connsiteX11" fmla="*/ 45897 w 131742"/>
                <a:gd name="connsiteY11" fmla="*/ 352425 h 717550"/>
                <a:gd name="connsiteX12" fmla="*/ 55422 w 131742"/>
                <a:gd name="connsiteY12" fmla="*/ 361950 h 717550"/>
                <a:gd name="connsiteX13" fmla="*/ 68122 w 131742"/>
                <a:gd name="connsiteY13" fmla="*/ 377825 h 717550"/>
                <a:gd name="connsiteX14" fmla="*/ 77647 w 131742"/>
                <a:gd name="connsiteY14" fmla="*/ 390525 h 717550"/>
                <a:gd name="connsiteX15" fmla="*/ 90347 w 131742"/>
                <a:gd name="connsiteY15" fmla="*/ 403225 h 717550"/>
                <a:gd name="connsiteX16" fmla="*/ 93522 w 131742"/>
                <a:gd name="connsiteY16" fmla="*/ 419100 h 717550"/>
                <a:gd name="connsiteX17" fmla="*/ 122097 w 131742"/>
                <a:gd name="connsiteY17" fmla="*/ 469900 h 717550"/>
                <a:gd name="connsiteX18" fmla="*/ 128447 w 131742"/>
                <a:gd name="connsiteY18" fmla="*/ 488950 h 717550"/>
                <a:gd name="connsiteX19" fmla="*/ 128447 w 131742"/>
                <a:gd name="connsiteY19" fmla="*/ 561975 h 717550"/>
                <a:gd name="connsiteX20" fmla="*/ 122097 w 131742"/>
                <a:gd name="connsiteY20" fmla="*/ 581025 h 717550"/>
                <a:gd name="connsiteX21" fmla="*/ 118922 w 131742"/>
                <a:gd name="connsiteY21" fmla="*/ 596900 h 717550"/>
                <a:gd name="connsiteX22" fmla="*/ 125272 w 131742"/>
                <a:gd name="connsiteY22" fmla="*/ 704850 h 717550"/>
                <a:gd name="connsiteX23" fmla="*/ 131622 w 131742"/>
                <a:gd name="connsiteY23" fmla="*/ 71755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1742" h="717550">
                  <a:moveTo>
                    <a:pt x="49072" y="0"/>
                  </a:moveTo>
                  <a:cubicBezTo>
                    <a:pt x="50130" y="31750"/>
                    <a:pt x="53598" y="63511"/>
                    <a:pt x="52247" y="95250"/>
                  </a:cubicBezTo>
                  <a:cubicBezTo>
                    <a:pt x="50558" y="134943"/>
                    <a:pt x="44481" y="143594"/>
                    <a:pt x="33197" y="174625"/>
                  </a:cubicBezTo>
                  <a:cubicBezTo>
                    <a:pt x="32053" y="177770"/>
                    <a:pt x="30941" y="180932"/>
                    <a:pt x="30022" y="184150"/>
                  </a:cubicBezTo>
                  <a:cubicBezTo>
                    <a:pt x="28823" y="188346"/>
                    <a:pt x="28379" y="192764"/>
                    <a:pt x="26847" y="196850"/>
                  </a:cubicBezTo>
                  <a:cubicBezTo>
                    <a:pt x="25185" y="201282"/>
                    <a:pt x="22361" y="205200"/>
                    <a:pt x="20497" y="209550"/>
                  </a:cubicBezTo>
                  <a:cubicBezTo>
                    <a:pt x="19179" y="212626"/>
                    <a:pt x="18466" y="215930"/>
                    <a:pt x="17322" y="219075"/>
                  </a:cubicBezTo>
                  <a:cubicBezTo>
                    <a:pt x="3733" y="256445"/>
                    <a:pt x="11439" y="231728"/>
                    <a:pt x="1447" y="266700"/>
                  </a:cubicBezTo>
                  <a:cubicBezTo>
                    <a:pt x="5377" y="333511"/>
                    <a:pt x="-11623" y="310485"/>
                    <a:pt x="17322" y="327025"/>
                  </a:cubicBezTo>
                  <a:cubicBezTo>
                    <a:pt x="20635" y="328918"/>
                    <a:pt x="23672" y="331258"/>
                    <a:pt x="26847" y="333375"/>
                  </a:cubicBezTo>
                  <a:cubicBezTo>
                    <a:pt x="28964" y="337608"/>
                    <a:pt x="29850" y="342728"/>
                    <a:pt x="33197" y="346075"/>
                  </a:cubicBezTo>
                  <a:cubicBezTo>
                    <a:pt x="36544" y="349422"/>
                    <a:pt x="42046" y="349674"/>
                    <a:pt x="45897" y="352425"/>
                  </a:cubicBezTo>
                  <a:cubicBezTo>
                    <a:pt x="49551" y="355035"/>
                    <a:pt x="52247" y="358775"/>
                    <a:pt x="55422" y="361950"/>
                  </a:cubicBezTo>
                  <a:cubicBezTo>
                    <a:pt x="61603" y="380493"/>
                    <a:pt x="53761" y="363464"/>
                    <a:pt x="68122" y="377825"/>
                  </a:cubicBezTo>
                  <a:cubicBezTo>
                    <a:pt x="71864" y="381567"/>
                    <a:pt x="74162" y="386543"/>
                    <a:pt x="77647" y="390525"/>
                  </a:cubicBezTo>
                  <a:cubicBezTo>
                    <a:pt x="81589" y="395031"/>
                    <a:pt x="86114" y="398992"/>
                    <a:pt x="90347" y="403225"/>
                  </a:cubicBezTo>
                  <a:cubicBezTo>
                    <a:pt x="91405" y="408517"/>
                    <a:pt x="91585" y="414063"/>
                    <a:pt x="93522" y="419100"/>
                  </a:cubicBezTo>
                  <a:cubicBezTo>
                    <a:pt x="106727" y="453433"/>
                    <a:pt x="105382" y="436470"/>
                    <a:pt x="122097" y="469900"/>
                  </a:cubicBezTo>
                  <a:cubicBezTo>
                    <a:pt x="125090" y="475887"/>
                    <a:pt x="126330" y="482600"/>
                    <a:pt x="128447" y="488950"/>
                  </a:cubicBezTo>
                  <a:cubicBezTo>
                    <a:pt x="131434" y="521803"/>
                    <a:pt x="134056" y="528321"/>
                    <a:pt x="128447" y="561975"/>
                  </a:cubicBezTo>
                  <a:cubicBezTo>
                    <a:pt x="127347" y="568577"/>
                    <a:pt x="123858" y="574567"/>
                    <a:pt x="122097" y="581025"/>
                  </a:cubicBezTo>
                  <a:cubicBezTo>
                    <a:pt x="120677" y="586231"/>
                    <a:pt x="119980" y="591608"/>
                    <a:pt x="118922" y="596900"/>
                  </a:cubicBezTo>
                  <a:cubicBezTo>
                    <a:pt x="121039" y="632883"/>
                    <a:pt x="122359" y="668922"/>
                    <a:pt x="125272" y="704850"/>
                  </a:cubicBezTo>
                  <a:cubicBezTo>
                    <a:pt x="125916" y="712790"/>
                    <a:pt x="127424" y="713352"/>
                    <a:pt x="131622" y="71755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23" name="Freeform 22"/>
            <p:cNvSpPr/>
            <p:nvPr/>
          </p:nvSpPr>
          <p:spPr>
            <a:xfrm>
              <a:off x="731250" y="1381697"/>
              <a:ext cx="64028" cy="333787"/>
            </a:xfrm>
            <a:custGeom>
              <a:avLst/>
              <a:gdLst>
                <a:gd name="connsiteX0" fmla="*/ 76200 w 171748"/>
                <a:gd name="connsiteY0" fmla="*/ 0 h 895350"/>
                <a:gd name="connsiteX1" fmla="*/ 9525 w 171748"/>
                <a:gd name="connsiteY1" fmla="*/ 95250 h 895350"/>
                <a:gd name="connsiteX2" fmla="*/ 3175 w 171748"/>
                <a:gd name="connsiteY2" fmla="*/ 114300 h 895350"/>
                <a:gd name="connsiteX3" fmla="*/ 0 w 171748"/>
                <a:gd name="connsiteY3" fmla="*/ 155575 h 895350"/>
                <a:gd name="connsiteX4" fmla="*/ 3175 w 171748"/>
                <a:gd name="connsiteY4" fmla="*/ 307975 h 895350"/>
                <a:gd name="connsiteX5" fmla="*/ 6350 w 171748"/>
                <a:gd name="connsiteY5" fmla="*/ 320675 h 895350"/>
                <a:gd name="connsiteX6" fmla="*/ 12700 w 171748"/>
                <a:gd name="connsiteY6" fmla="*/ 403225 h 895350"/>
                <a:gd name="connsiteX7" fmla="*/ 31750 w 171748"/>
                <a:gd name="connsiteY7" fmla="*/ 409575 h 895350"/>
                <a:gd name="connsiteX8" fmla="*/ 47625 w 171748"/>
                <a:gd name="connsiteY8" fmla="*/ 415925 h 895350"/>
                <a:gd name="connsiteX9" fmla="*/ 73025 w 171748"/>
                <a:gd name="connsiteY9" fmla="*/ 457200 h 895350"/>
                <a:gd name="connsiteX10" fmla="*/ 88900 w 171748"/>
                <a:gd name="connsiteY10" fmla="*/ 495300 h 895350"/>
                <a:gd name="connsiteX11" fmla="*/ 104775 w 171748"/>
                <a:gd name="connsiteY11" fmla="*/ 517525 h 895350"/>
                <a:gd name="connsiteX12" fmla="*/ 114300 w 171748"/>
                <a:gd name="connsiteY12" fmla="*/ 558800 h 895350"/>
                <a:gd name="connsiteX13" fmla="*/ 120650 w 171748"/>
                <a:gd name="connsiteY13" fmla="*/ 577850 h 895350"/>
                <a:gd name="connsiteX14" fmla="*/ 123825 w 171748"/>
                <a:gd name="connsiteY14" fmla="*/ 587375 h 895350"/>
                <a:gd name="connsiteX15" fmla="*/ 133350 w 171748"/>
                <a:gd name="connsiteY15" fmla="*/ 593725 h 895350"/>
                <a:gd name="connsiteX16" fmla="*/ 139700 w 171748"/>
                <a:gd name="connsiteY16" fmla="*/ 603250 h 895350"/>
                <a:gd name="connsiteX17" fmla="*/ 149225 w 171748"/>
                <a:gd name="connsiteY17" fmla="*/ 612775 h 895350"/>
                <a:gd name="connsiteX18" fmla="*/ 152400 w 171748"/>
                <a:gd name="connsiteY18" fmla="*/ 625475 h 895350"/>
                <a:gd name="connsiteX19" fmla="*/ 158750 w 171748"/>
                <a:gd name="connsiteY19" fmla="*/ 638175 h 895350"/>
                <a:gd name="connsiteX20" fmla="*/ 161925 w 171748"/>
                <a:gd name="connsiteY20" fmla="*/ 762000 h 895350"/>
                <a:gd name="connsiteX21" fmla="*/ 158750 w 171748"/>
                <a:gd name="connsiteY21" fmla="*/ 777875 h 895350"/>
                <a:gd name="connsiteX22" fmla="*/ 165100 w 171748"/>
                <a:gd name="connsiteY22" fmla="*/ 822325 h 895350"/>
                <a:gd name="connsiteX23" fmla="*/ 168275 w 171748"/>
                <a:gd name="connsiteY23" fmla="*/ 860425 h 895350"/>
                <a:gd name="connsiteX24" fmla="*/ 171450 w 171748"/>
                <a:gd name="connsiteY24" fmla="*/ 873125 h 895350"/>
                <a:gd name="connsiteX25" fmla="*/ 171450 w 171748"/>
                <a:gd name="connsiteY25" fmla="*/ 895350 h 89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1748" h="895350">
                  <a:moveTo>
                    <a:pt x="76200" y="0"/>
                  </a:moveTo>
                  <a:cubicBezTo>
                    <a:pt x="53975" y="31750"/>
                    <a:pt x="30391" y="62591"/>
                    <a:pt x="9525" y="95250"/>
                  </a:cubicBezTo>
                  <a:cubicBezTo>
                    <a:pt x="5921" y="100891"/>
                    <a:pt x="4219" y="107688"/>
                    <a:pt x="3175" y="114300"/>
                  </a:cubicBezTo>
                  <a:cubicBezTo>
                    <a:pt x="1023" y="127930"/>
                    <a:pt x="1058" y="141817"/>
                    <a:pt x="0" y="155575"/>
                  </a:cubicBezTo>
                  <a:cubicBezTo>
                    <a:pt x="1058" y="206375"/>
                    <a:pt x="1222" y="257202"/>
                    <a:pt x="3175" y="307975"/>
                  </a:cubicBezTo>
                  <a:cubicBezTo>
                    <a:pt x="3343" y="312335"/>
                    <a:pt x="5916" y="316333"/>
                    <a:pt x="6350" y="320675"/>
                  </a:cubicBezTo>
                  <a:cubicBezTo>
                    <a:pt x="9096" y="348136"/>
                    <a:pt x="5118" y="376689"/>
                    <a:pt x="12700" y="403225"/>
                  </a:cubicBezTo>
                  <a:cubicBezTo>
                    <a:pt x="14539" y="409661"/>
                    <a:pt x="25535" y="407089"/>
                    <a:pt x="31750" y="409575"/>
                  </a:cubicBezTo>
                  <a:lnTo>
                    <a:pt x="47625" y="415925"/>
                  </a:lnTo>
                  <a:cubicBezTo>
                    <a:pt x="55430" y="427632"/>
                    <a:pt x="67290" y="442863"/>
                    <a:pt x="73025" y="457200"/>
                  </a:cubicBezTo>
                  <a:cubicBezTo>
                    <a:pt x="80016" y="474678"/>
                    <a:pt x="78083" y="479074"/>
                    <a:pt x="88900" y="495300"/>
                  </a:cubicBezTo>
                  <a:cubicBezTo>
                    <a:pt x="102163" y="515194"/>
                    <a:pt x="96005" y="493406"/>
                    <a:pt x="104775" y="517525"/>
                  </a:cubicBezTo>
                  <a:cubicBezTo>
                    <a:pt x="116528" y="549846"/>
                    <a:pt x="106822" y="528887"/>
                    <a:pt x="114300" y="558800"/>
                  </a:cubicBezTo>
                  <a:cubicBezTo>
                    <a:pt x="115923" y="565294"/>
                    <a:pt x="118533" y="571500"/>
                    <a:pt x="120650" y="577850"/>
                  </a:cubicBezTo>
                  <a:cubicBezTo>
                    <a:pt x="121708" y="581025"/>
                    <a:pt x="121040" y="585519"/>
                    <a:pt x="123825" y="587375"/>
                  </a:cubicBezTo>
                  <a:lnTo>
                    <a:pt x="133350" y="593725"/>
                  </a:lnTo>
                  <a:cubicBezTo>
                    <a:pt x="135467" y="596900"/>
                    <a:pt x="137257" y="600319"/>
                    <a:pt x="139700" y="603250"/>
                  </a:cubicBezTo>
                  <a:cubicBezTo>
                    <a:pt x="142575" y="606699"/>
                    <a:pt x="146997" y="608876"/>
                    <a:pt x="149225" y="612775"/>
                  </a:cubicBezTo>
                  <a:cubicBezTo>
                    <a:pt x="151390" y="616564"/>
                    <a:pt x="150868" y="621389"/>
                    <a:pt x="152400" y="625475"/>
                  </a:cubicBezTo>
                  <a:cubicBezTo>
                    <a:pt x="154062" y="629907"/>
                    <a:pt x="156633" y="633942"/>
                    <a:pt x="158750" y="638175"/>
                  </a:cubicBezTo>
                  <a:cubicBezTo>
                    <a:pt x="159808" y="679450"/>
                    <a:pt x="161925" y="720711"/>
                    <a:pt x="161925" y="762000"/>
                  </a:cubicBezTo>
                  <a:cubicBezTo>
                    <a:pt x="161925" y="767396"/>
                    <a:pt x="158750" y="772479"/>
                    <a:pt x="158750" y="777875"/>
                  </a:cubicBezTo>
                  <a:cubicBezTo>
                    <a:pt x="158750" y="792959"/>
                    <a:pt x="162169" y="807669"/>
                    <a:pt x="165100" y="822325"/>
                  </a:cubicBezTo>
                  <a:cubicBezTo>
                    <a:pt x="166158" y="835025"/>
                    <a:pt x="166694" y="847779"/>
                    <a:pt x="168275" y="860425"/>
                  </a:cubicBezTo>
                  <a:cubicBezTo>
                    <a:pt x="168816" y="864755"/>
                    <a:pt x="171055" y="868779"/>
                    <a:pt x="171450" y="873125"/>
                  </a:cubicBezTo>
                  <a:cubicBezTo>
                    <a:pt x="172121" y="880503"/>
                    <a:pt x="171450" y="887942"/>
                    <a:pt x="171450" y="89535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24" name="Freeform 23"/>
            <p:cNvSpPr/>
            <p:nvPr/>
          </p:nvSpPr>
          <p:spPr>
            <a:xfrm>
              <a:off x="757289" y="1423124"/>
              <a:ext cx="183464" cy="126693"/>
            </a:xfrm>
            <a:custGeom>
              <a:avLst/>
              <a:gdLst>
                <a:gd name="connsiteX0" fmla="*/ 492125 w 492125"/>
                <a:gd name="connsiteY0" fmla="*/ 0 h 339725"/>
                <a:gd name="connsiteX1" fmla="*/ 412750 w 492125"/>
                <a:gd name="connsiteY1" fmla="*/ 53975 h 339725"/>
                <a:gd name="connsiteX2" fmla="*/ 409575 w 492125"/>
                <a:gd name="connsiteY2" fmla="*/ 82550 h 339725"/>
                <a:gd name="connsiteX3" fmla="*/ 400050 w 492125"/>
                <a:gd name="connsiteY3" fmla="*/ 92075 h 339725"/>
                <a:gd name="connsiteX4" fmla="*/ 396875 w 492125"/>
                <a:gd name="connsiteY4" fmla="*/ 127000 h 339725"/>
                <a:gd name="connsiteX5" fmla="*/ 390525 w 492125"/>
                <a:gd name="connsiteY5" fmla="*/ 142875 h 339725"/>
                <a:gd name="connsiteX6" fmla="*/ 387350 w 492125"/>
                <a:gd name="connsiteY6" fmla="*/ 152400 h 339725"/>
                <a:gd name="connsiteX7" fmla="*/ 384175 w 492125"/>
                <a:gd name="connsiteY7" fmla="*/ 165100 h 339725"/>
                <a:gd name="connsiteX8" fmla="*/ 368300 w 492125"/>
                <a:gd name="connsiteY8" fmla="*/ 184150 h 339725"/>
                <a:gd name="connsiteX9" fmla="*/ 352425 w 492125"/>
                <a:gd name="connsiteY9" fmla="*/ 203200 h 339725"/>
                <a:gd name="connsiteX10" fmla="*/ 342900 w 492125"/>
                <a:gd name="connsiteY10" fmla="*/ 206375 h 339725"/>
                <a:gd name="connsiteX11" fmla="*/ 263525 w 492125"/>
                <a:gd name="connsiteY11" fmla="*/ 215900 h 339725"/>
                <a:gd name="connsiteX12" fmla="*/ 244475 w 492125"/>
                <a:gd name="connsiteY12" fmla="*/ 234950 h 339725"/>
                <a:gd name="connsiteX13" fmla="*/ 234950 w 492125"/>
                <a:gd name="connsiteY13" fmla="*/ 241300 h 339725"/>
                <a:gd name="connsiteX14" fmla="*/ 142875 w 492125"/>
                <a:gd name="connsiteY14" fmla="*/ 250825 h 339725"/>
                <a:gd name="connsiteX15" fmla="*/ 133350 w 492125"/>
                <a:gd name="connsiteY15" fmla="*/ 257175 h 339725"/>
                <a:gd name="connsiteX16" fmla="*/ 101600 w 492125"/>
                <a:gd name="connsiteY16" fmla="*/ 292100 h 339725"/>
                <a:gd name="connsiteX17" fmla="*/ 82550 w 492125"/>
                <a:gd name="connsiteY17" fmla="*/ 295275 h 339725"/>
                <a:gd name="connsiteX18" fmla="*/ 41275 w 492125"/>
                <a:gd name="connsiteY18" fmla="*/ 298450 h 339725"/>
                <a:gd name="connsiteX19" fmla="*/ 34925 w 492125"/>
                <a:gd name="connsiteY19" fmla="*/ 314325 h 339725"/>
                <a:gd name="connsiteX20" fmla="*/ 28575 w 492125"/>
                <a:gd name="connsiteY20" fmla="*/ 333375 h 339725"/>
                <a:gd name="connsiteX21" fmla="*/ 15875 w 492125"/>
                <a:gd name="connsiteY21" fmla="*/ 336550 h 339725"/>
                <a:gd name="connsiteX22" fmla="*/ 0 w 492125"/>
                <a:gd name="connsiteY22" fmla="*/ 339725 h 339725"/>
                <a:gd name="connsiteX0" fmla="*/ 492125 w 492125"/>
                <a:gd name="connsiteY0" fmla="*/ 0 h 339725"/>
                <a:gd name="connsiteX1" fmla="*/ 412750 w 492125"/>
                <a:gd name="connsiteY1" fmla="*/ 53975 h 339725"/>
                <a:gd name="connsiteX2" fmla="*/ 409575 w 492125"/>
                <a:gd name="connsiteY2" fmla="*/ 82550 h 339725"/>
                <a:gd name="connsiteX3" fmla="*/ 400050 w 492125"/>
                <a:gd name="connsiteY3" fmla="*/ 92075 h 339725"/>
                <a:gd name="connsiteX4" fmla="*/ 396875 w 492125"/>
                <a:gd name="connsiteY4" fmla="*/ 127000 h 339725"/>
                <a:gd name="connsiteX5" fmla="*/ 390525 w 492125"/>
                <a:gd name="connsiteY5" fmla="*/ 142875 h 339725"/>
                <a:gd name="connsiteX6" fmla="*/ 387350 w 492125"/>
                <a:gd name="connsiteY6" fmla="*/ 152400 h 339725"/>
                <a:gd name="connsiteX7" fmla="*/ 384175 w 492125"/>
                <a:gd name="connsiteY7" fmla="*/ 165100 h 339725"/>
                <a:gd name="connsiteX8" fmla="*/ 368300 w 492125"/>
                <a:gd name="connsiteY8" fmla="*/ 184150 h 339725"/>
                <a:gd name="connsiteX9" fmla="*/ 352425 w 492125"/>
                <a:gd name="connsiteY9" fmla="*/ 203200 h 339725"/>
                <a:gd name="connsiteX10" fmla="*/ 342900 w 492125"/>
                <a:gd name="connsiteY10" fmla="*/ 206375 h 339725"/>
                <a:gd name="connsiteX11" fmla="*/ 263525 w 492125"/>
                <a:gd name="connsiteY11" fmla="*/ 215900 h 339725"/>
                <a:gd name="connsiteX12" fmla="*/ 244475 w 492125"/>
                <a:gd name="connsiteY12" fmla="*/ 234950 h 339725"/>
                <a:gd name="connsiteX13" fmla="*/ 234950 w 492125"/>
                <a:gd name="connsiteY13" fmla="*/ 241300 h 339725"/>
                <a:gd name="connsiteX14" fmla="*/ 142875 w 492125"/>
                <a:gd name="connsiteY14" fmla="*/ 250825 h 339725"/>
                <a:gd name="connsiteX15" fmla="*/ 133350 w 492125"/>
                <a:gd name="connsiteY15" fmla="*/ 257175 h 339725"/>
                <a:gd name="connsiteX16" fmla="*/ 82550 w 492125"/>
                <a:gd name="connsiteY16" fmla="*/ 295275 h 339725"/>
                <a:gd name="connsiteX17" fmla="*/ 41275 w 492125"/>
                <a:gd name="connsiteY17" fmla="*/ 298450 h 339725"/>
                <a:gd name="connsiteX18" fmla="*/ 34925 w 492125"/>
                <a:gd name="connsiteY18" fmla="*/ 314325 h 339725"/>
                <a:gd name="connsiteX19" fmla="*/ 28575 w 492125"/>
                <a:gd name="connsiteY19" fmla="*/ 333375 h 339725"/>
                <a:gd name="connsiteX20" fmla="*/ 15875 w 492125"/>
                <a:gd name="connsiteY20" fmla="*/ 336550 h 339725"/>
                <a:gd name="connsiteX21" fmla="*/ 0 w 492125"/>
                <a:gd name="connsiteY21" fmla="*/ 339725 h 339725"/>
                <a:gd name="connsiteX0" fmla="*/ 492125 w 492125"/>
                <a:gd name="connsiteY0" fmla="*/ 0 h 339842"/>
                <a:gd name="connsiteX1" fmla="*/ 412750 w 492125"/>
                <a:gd name="connsiteY1" fmla="*/ 53975 h 339842"/>
                <a:gd name="connsiteX2" fmla="*/ 409575 w 492125"/>
                <a:gd name="connsiteY2" fmla="*/ 82550 h 339842"/>
                <a:gd name="connsiteX3" fmla="*/ 400050 w 492125"/>
                <a:gd name="connsiteY3" fmla="*/ 92075 h 339842"/>
                <a:gd name="connsiteX4" fmla="*/ 396875 w 492125"/>
                <a:gd name="connsiteY4" fmla="*/ 127000 h 339842"/>
                <a:gd name="connsiteX5" fmla="*/ 390525 w 492125"/>
                <a:gd name="connsiteY5" fmla="*/ 142875 h 339842"/>
                <a:gd name="connsiteX6" fmla="*/ 387350 w 492125"/>
                <a:gd name="connsiteY6" fmla="*/ 152400 h 339842"/>
                <a:gd name="connsiteX7" fmla="*/ 384175 w 492125"/>
                <a:gd name="connsiteY7" fmla="*/ 165100 h 339842"/>
                <a:gd name="connsiteX8" fmla="*/ 368300 w 492125"/>
                <a:gd name="connsiteY8" fmla="*/ 184150 h 339842"/>
                <a:gd name="connsiteX9" fmla="*/ 352425 w 492125"/>
                <a:gd name="connsiteY9" fmla="*/ 203200 h 339842"/>
                <a:gd name="connsiteX10" fmla="*/ 342900 w 492125"/>
                <a:gd name="connsiteY10" fmla="*/ 206375 h 339842"/>
                <a:gd name="connsiteX11" fmla="*/ 263525 w 492125"/>
                <a:gd name="connsiteY11" fmla="*/ 215900 h 339842"/>
                <a:gd name="connsiteX12" fmla="*/ 244475 w 492125"/>
                <a:gd name="connsiteY12" fmla="*/ 234950 h 339842"/>
                <a:gd name="connsiteX13" fmla="*/ 234950 w 492125"/>
                <a:gd name="connsiteY13" fmla="*/ 241300 h 339842"/>
                <a:gd name="connsiteX14" fmla="*/ 142875 w 492125"/>
                <a:gd name="connsiteY14" fmla="*/ 250825 h 339842"/>
                <a:gd name="connsiteX15" fmla="*/ 133350 w 492125"/>
                <a:gd name="connsiteY15" fmla="*/ 257175 h 339842"/>
                <a:gd name="connsiteX16" fmla="*/ 82550 w 492125"/>
                <a:gd name="connsiteY16" fmla="*/ 295275 h 339842"/>
                <a:gd name="connsiteX17" fmla="*/ 41275 w 492125"/>
                <a:gd name="connsiteY17" fmla="*/ 298450 h 339842"/>
                <a:gd name="connsiteX18" fmla="*/ 34925 w 492125"/>
                <a:gd name="connsiteY18" fmla="*/ 314325 h 339842"/>
                <a:gd name="connsiteX19" fmla="*/ 15875 w 492125"/>
                <a:gd name="connsiteY19" fmla="*/ 336550 h 339842"/>
                <a:gd name="connsiteX20" fmla="*/ 0 w 492125"/>
                <a:gd name="connsiteY20" fmla="*/ 339725 h 339842"/>
                <a:gd name="connsiteX0" fmla="*/ 492125 w 492125"/>
                <a:gd name="connsiteY0" fmla="*/ 0 h 339842"/>
                <a:gd name="connsiteX1" fmla="*/ 412750 w 492125"/>
                <a:gd name="connsiteY1" fmla="*/ 53975 h 339842"/>
                <a:gd name="connsiteX2" fmla="*/ 409575 w 492125"/>
                <a:gd name="connsiteY2" fmla="*/ 82550 h 339842"/>
                <a:gd name="connsiteX3" fmla="*/ 400050 w 492125"/>
                <a:gd name="connsiteY3" fmla="*/ 92075 h 339842"/>
                <a:gd name="connsiteX4" fmla="*/ 396875 w 492125"/>
                <a:gd name="connsiteY4" fmla="*/ 127000 h 339842"/>
                <a:gd name="connsiteX5" fmla="*/ 390525 w 492125"/>
                <a:gd name="connsiteY5" fmla="*/ 142875 h 339842"/>
                <a:gd name="connsiteX6" fmla="*/ 387350 w 492125"/>
                <a:gd name="connsiteY6" fmla="*/ 152400 h 339842"/>
                <a:gd name="connsiteX7" fmla="*/ 384175 w 492125"/>
                <a:gd name="connsiteY7" fmla="*/ 165100 h 339842"/>
                <a:gd name="connsiteX8" fmla="*/ 368300 w 492125"/>
                <a:gd name="connsiteY8" fmla="*/ 184150 h 339842"/>
                <a:gd name="connsiteX9" fmla="*/ 352425 w 492125"/>
                <a:gd name="connsiteY9" fmla="*/ 203200 h 339842"/>
                <a:gd name="connsiteX10" fmla="*/ 342900 w 492125"/>
                <a:gd name="connsiteY10" fmla="*/ 206375 h 339842"/>
                <a:gd name="connsiteX11" fmla="*/ 263525 w 492125"/>
                <a:gd name="connsiteY11" fmla="*/ 215900 h 339842"/>
                <a:gd name="connsiteX12" fmla="*/ 244475 w 492125"/>
                <a:gd name="connsiteY12" fmla="*/ 234950 h 339842"/>
                <a:gd name="connsiteX13" fmla="*/ 234950 w 492125"/>
                <a:gd name="connsiteY13" fmla="*/ 241300 h 339842"/>
                <a:gd name="connsiteX14" fmla="*/ 142875 w 492125"/>
                <a:gd name="connsiteY14" fmla="*/ 250825 h 339842"/>
                <a:gd name="connsiteX15" fmla="*/ 133350 w 492125"/>
                <a:gd name="connsiteY15" fmla="*/ 257175 h 339842"/>
                <a:gd name="connsiteX16" fmla="*/ 41275 w 492125"/>
                <a:gd name="connsiteY16" fmla="*/ 298450 h 339842"/>
                <a:gd name="connsiteX17" fmla="*/ 34925 w 492125"/>
                <a:gd name="connsiteY17" fmla="*/ 314325 h 339842"/>
                <a:gd name="connsiteX18" fmla="*/ 15875 w 492125"/>
                <a:gd name="connsiteY18" fmla="*/ 336550 h 339842"/>
                <a:gd name="connsiteX19" fmla="*/ 0 w 492125"/>
                <a:gd name="connsiteY19" fmla="*/ 339725 h 339842"/>
                <a:gd name="connsiteX0" fmla="*/ 492125 w 492125"/>
                <a:gd name="connsiteY0" fmla="*/ 0 h 339842"/>
                <a:gd name="connsiteX1" fmla="*/ 412750 w 492125"/>
                <a:gd name="connsiteY1" fmla="*/ 53975 h 339842"/>
                <a:gd name="connsiteX2" fmla="*/ 409575 w 492125"/>
                <a:gd name="connsiteY2" fmla="*/ 82550 h 339842"/>
                <a:gd name="connsiteX3" fmla="*/ 400050 w 492125"/>
                <a:gd name="connsiteY3" fmla="*/ 92075 h 339842"/>
                <a:gd name="connsiteX4" fmla="*/ 396875 w 492125"/>
                <a:gd name="connsiteY4" fmla="*/ 127000 h 339842"/>
                <a:gd name="connsiteX5" fmla="*/ 390525 w 492125"/>
                <a:gd name="connsiteY5" fmla="*/ 142875 h 339842"/>
                <a:gd name="connsiteX6" fmla="*/ 387350 w 492125"/>
                <a:gd name="connsiteY6" fmla="*/ 152400 h 339842"/>
                <a:gd name="connsiteX7" fmla="*/ 384175 w 492125"/>
                <a:gd name="connsiteY7" fmla="*/ 165100 h 339842"/>
                <a:gd name="connsiteX8" fmla="*/ 368300 w 492125"/>
                <a:gd name="connsiteY8" fmla="*/ 184150 h 339842"/>
                <a:gd name="connsiteX9" fmla="*/ 352425 w 492125"/>
                <a:gd name="connsiteY9" fmla="*/ 203200 h 339842"/>
                <a:gd name="connsiteX10" fmla="*/ 342900 w 492125"/>
                <a:gd name="connsiteY10" fmla="*/ 206375 h 339842"/>
                <a:gd name="connsiteX11" fmla="*/ 263525 w 492125"/>
                <a:gd name="connsiteY11" fmla="*/ 215900 h 339842"/>
                <a:gd name="connsiteX12" fmla="*/ 244475 w 492125"/>
                <a:gd name="connsiteY12" fmla="*/ 234950 h 339842"/>
                <a:gd name="connsiteX13" fmla="*/ 234950 w 492125"/>
                <a:gd name="connsiteY13" fmla="*/ 241300 h 339842"/>
                <a:gd name="connsiteX14" fmla="*/ 142875 w 492125"/>
                <a:gd name="connsiteY14" fmla="*/ 250825 h 339842"/>
                <a:gd name="connsiteX15" fmla="*/ 41275 w 492125"/>
                <a:gd name="connsiteY15" fmla="*/ 298450 h 339842"/>
                <a:gd name="connsiteX16" fmla="*/ 34925 w 492125"/>
                <a:gd name="connsiteY16" fmla="*/ 314325 h 339842"/>
                <a:gd name="connsiteX17" fmla="*/ 15875 w 492125"/>
                <a:gd name="connsiteY17" fmla="*/ 336550 h 339842"/>
                <a:gd name="connsiteX18" fmla="*/ 0 w 492125"/>
                <a:gd name="connsiteY18" fmla="*/ 339725 h 339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2125" h="339842">
                  <a:moveTo>
                    <a:pt x="492125" y="0"/>
                  </a:moveTo>
                  <a:cubicBezTo>
                    <a:pt x="465667" y="17992"/>
                    <a:pt x="435375" y="31350"/>
                    <a:pt x="412750" y="53975"/>
                  </a:cubicBezTo>
                  <a:cubicBezTo>
                    <a:pt x="405973" y="60752"/>
                    <a:pt x="412606" y="73458"/>
                    <a:pt x="409575" y="82550"/>
                  </a:cubicBezTo>
                  <a:cubicBezTo>
                    <a:pt x="408155" y="86810"/>
                    <a:pt x="403225" y="88900"/>
                    <a:pt x="400050" y="92075"/>
                  </a:cubicBezTo>
                  <a:cubicBezTo>
                    <a:pt x="398992" y="103717"/>
                    <a:pt x="399029" y="115511"/>
                    <a:pt x="396875" y="127000"/>
                  </a:cubicBezTo>
                  <a:cubicBezTo>
                    <a:pt x="395825" y="132602"/>
                    <a:pt x="392526" y="137539"/>
                    <a:pt x="390525" y="142875"/>
                  </a:cubicBezTo>
                  <a:cubicBezTo>
                    <a:pt x="389350" y="146009"/>
                    <a:pt x="388269" y="149182"/>
                    <a:pt x="387350" y="152400"/>
                  </a:cubicBezTo>
                  <a:cubicBezTo>
                    <a:pt x="386151" y="156596"/>
                    <a:pt x="386420" y="161358"/>
                    <a:pt x="384175" y="165100"/>
                  </a:cubicBezTo>
                  <a:cubicBezTo>
                    <a:pt x="379922" y="172188"/>
                    <a:pt x="373040" y="177378"/>
                    <a:pt x="368300" y="184150"/>
                  </a:cubicBezTo>
                  <a:cubicBezTo>
                    <a:pt x="358283" y="198460"/>
                    <a:pt x="367469" y="195678"/>
                    <a:pt x="352425" y="203200"/>
                  </a:cubicBezTo>
                  <a:cubicBezTo>
                    <a:pt x="349432" y="204697"/>
                    <a:pt x="346213" y="205902"/>
                    <a:pt x="342900" y="206375"/>
                  </a:cubicBezTo>
                  <a:cubicBezTo>
                    <a:pt x="316520" y="210144"/>
                    <a:pt x="289983" y="212725"/>
                    <a:pt x="263525" y="215900"/>
                  </a:cubicBezTo>
                  <a:cubicBezTo>
                    <a:pt x="257175" y="222250"/>
                    <a:pt x="251947" y="229969"/>
                    <a:pt x="244475" y="234950"/>
                  </a:cubicBezTo>
                  <a:cubicBezTo>
                    <a:pt x="241300" y="237067"/>
                    <a:pt x="238675" y="240472"/>
                    <a:pt x="234950" y="241300"/>
                  </a:cubicBezTo>
                  <a:cubicBezTo>
                    <a:pt x="209354" y="246988"/>
                    <a:pt x="169211" y="248944"/>
                    <a:pt x="142875" y="250825"/>
                  </a:cubicBezTo>
                  <a:cubicBezTo>
                    <a:pt x="110596" y="260350"/>
                    <a:pt x="59267" y="287867"/>
                    <a:pt x="41275" y="298450"/>
                  </a:cubicBezTo>
                  <a:cubicBezTo>
                    <a:pt x="23283" y="309033"/>
                    <a:pt x="39158" y="307975"/>
                    <a:pt x="34925" y="314325"/>
                  </a:cubicBezTo>
                  <a:cubicBezTo>
                    <a:pt x="30692" y="320675"/>
                    <a:pt x="21696" y="332317"/>
                    <a:pt x="15875" y="336550"/>
                  </a:cubicBezTo>
                  <a:cubicBezTo>
                    <a:pt x="10054" y="340783"/>
                    <a:pt x="0" y="339725"/>
                    <a:pt x="0" y="339725"/>
                  </a:cubicBez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25" name="Freeform 24"/>
            <p:cNvSpPr/>
            <p:nvPr/>
          </p:nvSpPr>
          <p:spPr>
            <a:xfrm>
              <a:off x="1210624" y="1484674"/>
              <a:ext cx="77074" cy="126650"/>
            </a:xfrm>
            <a:custGeom>
              <a:avLst/>
              <a:gdLst>
                <a:gd name="connsiteX0" fmla="*/ 0 w 206744"/>
                <a:gd name="connsiteY0" fmla="*/ 0 h 339725"/>
                <a:gd name="connsiteX1" fmla="*/ 38100 w 206744"/>
                <a:gd name="connsiteY1" fmla="*/ 63500 h 339725"/>
                <a:gd name="connsiteX2" fmla="*/ 69850 w 206744"/>
                <a:gd name="connsiteY2" fmla="*/ 79375 h 339725"/>
                <a:gd name="connsiteX3" fmla="*/ 82550 w 206744"/>
                <a:gd name="connsiteY3" fmla="*/ 85725 h 339725"/>
                <a:gd name="connsiteX4" fmla="*/ 92075 w 206744"/>
                <a:gd name="connsiteY4" fmla="*/ 98425 h 339725"/>
                <a:gd name="connsiteX5" fmla="*/ 117475 w 206744"/>
                <a:gd name="connsiteY5" fmla="*/ 104775 h 339725"/>
                <a:gd name="connsiteX6" fmla="*/ 133350 w 206744"/>
                <a:gd name="connsiteY6" fmla="*/ 111125 h 339725"/>
                <a:gd name="connsiteX7" fmla="*/ 158750 w 206744"/>
                <a:gd name="connsiteY7" fmla="*/ 123825 h 339725"/>
                <a:gd name="connsiteX8" fmla="*/ 171450 w 206744"/>
                <a:gd name="connsiteY8" fmla="*/ 152400 h 339725"/>
                <a:gd name="connsiteX9" fmla="*/ 184150 w 206744"/>
                <a:gd name="connsiteY9" fmla="*/ 165100 h 339725"/>
                <a:gd name="connsiteX10" fmla="*/ 193675 w 206744"/>
                <a:gd name="connsiteY10" fmla="*/ 184150 h 339725"/>
                <a:gd name="connsiteX11" fmla="*/ 203200 w 206744"/>
                <a:gd name="connsiteY11" fmla="*/ 203200 h 339725"/>
                <a:gd name="connsiteX12" fmla="*/ 203200 w 206744"/>
                <a:gd name="connsiteY12" fmla="*/ 292100 h 339725"/>
                <a:gd name="connsiteX13" fmla="*/ 196850 w 206744"/>
                <a:gd name="connsiteY13" fmla="*/ 317500 h 339725"/>
                <a:gd name="connsiteX14" fmla="*/ 190500 w 206744"/>
                <a:gd name="connsiteY14" fmla="*/ 327025 h 339725"/>
                <a:gd name="connsiteX15" fmla="*/ 190500 w 206744"/>
                <a:gd name="connsiteY15" fmla="*/ 339725 h 339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744" h="339725">
                  <a:moveTo>
                    <a:pt x="0" y="0"/>
                  </a:moveTo>
                  <a:cubicBezTo>
                    <a:pt x="12700" y="21167"/>
                    <a:pt x="23289" y="43753"/>
                    <a:pt x="38100" y="63500"/>
                  </a:cubicBezTo>
                  <a:cubicBezTo>
                    <a:pt x="49589" y="78819"/>
                    <a:pt x="56145" y="74236"/>
                    <a:pt x="69850" y="79375"/>
                  </a:cubicBezTo>
                  <a:cubicBezTo>
                    <a:pt x="74282" y="81037"/>
                    <a:pt x="78317" y="83608"/>
                    <a:pt x="82550" y="85725"/>
                  </a:cubicBezTo>
                  <a:cubicBezTo>
                    <a:pt x="85725" y="89958"/>
                    <a:pt x="87429" y="95891"/>
                    <a:pt x="92075" y="98425"/>
                  </a:cubicBezTo>
                  <a:cubicBezTo>
                    <a:pt x="99737" y="102604"/>
                    <a:pt x="109134" y="102208"/>
                    <a:pt x="117475" y="104775"/>
                  </a:cubicBezTo>
                  <a:cubicBezTo>
                    <a:pt x="122922" y="106451"/>
                    <a:pt x="128175" y="108737"/>
                    <a:pt x="133350" y="111125"/>
                  </a:cubicBezTo>
                  <a:cubicBezTo>
                    <a:pt x="141945" y="115092"/>
                    <a:pt x="158750" y="123825"/>
                    <a:pt x="158750" y="123825"/>
                  </a:cubicBezTo>
                  <a:cubicBezTo>
                    <a:pt x="160735" y="128787"/>
                    <a:pt x="167636" y="147315"/>
                    <a:pt x="171450" y="152400"/>
                  </a:cubicBezTo>
                  <a:cubicBezTo>
                    <a:pt x="175042" y="157189"/>
                    <a:pt x="180717" y="160195"/>
                    <a:pt x="184150" y="165100"/>
                  </a:cubicBezTo>
                  <a:cubicBezTo>
                    <a:pt x="188221" y="170916"/>
                    <a:pt x="190227" y="177944"/>
                    <a:pt x="193675" y="184150"/>
                  </a:cubicBezTo>
                  <a:cubicBezTo>
                    <a:pt x="203933" y="202614"/>
                    <a:pt x="197019" y="184657"/>
                    <a:pt x="203200" y="203200"/>
                  </a:cubicBezTo>
                  <a:cubicBezTo>
                    <a:pt x="205285" y="246988"/>
                    <a:pt x="210008" y="258060"/>
                    <a:pt x="203200" y="292100"/>
                  </a:cubicBezTo>
                  <a:cubicBezTo>
                    <a:pt x="201488" y="300658"/>
                    <a:pt x="201691" y="310238"/>
                    <a:pt x="196850" y="317500"/>
                  </a:cubicBezTo>
                  <a:cubicBezTo>
                    <a:pt x="194733" y="320675"/>
                    <a:pt x="191548" y="323356"/>
                    <a:pt x="190500" y="327025"/>
                  </a:cubicBezTo>
                  <a:cubicBezTo>
                    <a:pt x="189337" y="331095"/>
                    <a:pt x="190500" y="335492"/>
                    <a:pt x="190500" y="339725"/>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26" name="Freeform 25"/>
            <p:cNvSpPr/>
            <p:nvPr/>
          </p:nvSpPr>
          <p:spPr>
            <a:xfrm>
              <a:off x="1289808" y="1434961"/>
              <a:ext cx="133872" cy="126650"/>
            </a:xfrm>
            <a:custGeom>
              <a:avLst/>
              <a:gdLst>
                <a:gd name="connsiteX0" fmla="*/ 6673 w 359098"/>
                <a:gd name="connsiteY0" fmla="*/ 0 h 339725"/>
                <a:gd name="connsiteX1" fmla="*/ 323 w 359098"/>
                <a:gd name="connsiteY1" fmla="*/ 57150 h 339725"/>
                <a:gd name="connsiteX2" fmla="*/ 19373 w 359098"/>
                <a:gd name="connsiteY2" fmla="*/ 136525 h 339725"/>
                <a:gd name="connsiteX3" fmla="*/ 35248 w 359098"/>
                <a:gd name="connsiteY3" fmla="*/ 146050 h 339725"/>
                <a:gd name="connsiteX4" fmla="*/ 57473 w 359098"/>
                <a:gd name="connsiteY4" fmla="*/ 165100 h 339725"/>
                <a:gd name="connsiteX5" fmla="*/ 66998 w 359098"/>
                <a:gd name="connsiteY5" fmla="*/ 184150 h 339725"/>
                <a:gd name="connsiteX6" fmla="*/ 73348 w 359098"/>
                <a:gd name="connsiteY6" fmla="*/ 193675 h 339725"/>
                <a:gd name="connsiteX7" fmla="*/ 79698 w 359098"/>
                <a:gd name="connsiteY7" fmla="*/ 206375 h 339725"/>
                <a:gd name="connsiteX8" fmla="*/ 105098 w 359098"/>
                <a:gd name="connsiteY8" fmla="*/ 234950 h 339725"/>
                <a:gd name="connsiteX9" fmla="*/ 111448 w 359098"/>
                <a:gd name="connsiteY9" fmla="*/ 244475 h 339725"/>
                <a:gd name="connsiteX10" fmla="*/ 136848 w 359098"/>
                <a:gd name="connsiteY10" fmla="*/ 254000 h 339725"/>
                <a:gd name="connsiteX11" fmla="*/ 155898 w 359098"/>
                <a:gd name="connsiteY11" fmla="*/ 263525 h 339725"/>
                <a:gd name="connsiteX12" fmla="*/ 171773 w 359098"/>
                <a:gd name="connsiteY12" fmla="*/ 273050 h 339725"/>
                <a:gd name="connsiteX13" fmla="*/ 181298 w 359098"/>
                <a:gd name="connsiteY13" fmla="*/ 279400 h 339725"/>
                <a:gd name="connsiteX14" fmla="*/ 190823 w 359098"/>
                <a:gd name="connsiteY14" fmla="*/ 282575 h 339725"/>
                <a:gd name="connsiteX15" fmla="*/ 203523 w 359098"/>
                <a:gd name="connsiteY15" fmla="*/ 288925 h 339725"/>
                <a:gd name="connsiteX16" fmla="*/ 222573 w 359098"/>
                <a:gd name="connsiteY16" fmla="*/ 295275 h 339725"/>
                <a:gd name="connsiteX17" fmla="*/ 235273 w 359098"/>
                <a:gd name="connsiteY17" fmla="*/ 304800 h 339725"/>
                <a:gd name="connsiteX18" fmla="*/ 298773 w 359098"/>
                <a:gd name="connsiteY18" fmla="*/ 317500 h 339725"/>
                <a:gd name="connsiteX19" fmla="*/ 317823 w 359098"/>
                <a:gd name="connsiteY19" fmla="*/ 323850 h 339725"/>
                <a:gd name="connsiteX20" fmla="*/ 340048 w 359098"/>
                <a:gd name="connsiteY20" fmla="*/ 333375 h 339725"/>
                <a:gd name="connsiteX21" fmla="*/ 359098 w 359098"/>
                <a:gd name="connsiteY21" fmla="*/ 339725 h 339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9098" h="339725">
                  <a:moveTo>
                    <a:pt x="6673" y="0"/>
                  </a:moveTo>
                  <a:cubicBezTo>
                    <a:pt x="4556" y="19050"/>
                    <a:pt x="-1452" y="38065"/>
                    <a:pt x="323" y="57150"/>
                  </a:cubicBezTo>
                  <a:cubicBezTo>
                    <a:pt x="2843" y="84243"/>
                    <a:pt x="9424" y="111200"/>
                    <a:pt x="19373" y="136525"/>
                  </a:cubicBezTo>
                  <a:cubicBezTo>
                    <a:pt x="21629" y="142269"/>
                    <a:pt x="30015" y="142779"/>
                    <a:pt x="35248" y="146050"/>
                  </a:cubicBezTo>
                  <a:cubicBezTo>
                    <a:pt x="43768" y="151375"/>
                    <a:pt x="51467" y="156520"/>
                    <a:pt x="57473" y="165100"/>
                  </a:cubicBezTo>
                  <a:cubicBezTo>
                    <a:pt x="61544" y="170916"/>
                    <a:pt x="63550" y="177944"/>
                    <a:pt x="66998" y="184150"/>
                  </a:cubicBezTo>
                  <a:cubicBezTo>
                    <a:pt x="68851" y="187486"/>
                    <a:pt x="71455" y="190362"/>
                    <a:pt x="73348" y="193675"/>
                  </a:cubicBezTo>
                  <a:cubicBezTo>
                    <a:pt x="75696" y="197784"/>
                    <a:pt x="77073" y="202437"/>
                    <a:pt x="79698" y="206375"/>
                  </a:cubicBezTo>
                  <a:cubicBezTo>
                    <a:pt x="93708" y="227390"/>
                    <a:pt x="89753" y="217048"/>
                    <a:pt x="105098" y="234950"/>
                  </a:cubicBezTo>
                  <a:cubicBezTo>
                    <a:pt x="107581" y="237847"/>
                    <a:pt x="108517" y="242032"/>
                    <a:pt x="111448" y="244475"/>
                  </a:cubicBezTo>
                  <a:cubicBezTo>
                    <a:pt x="118564" y="250405"/>
                    <a:pt x="128303" y="251864"/>
                    <a:pt x="136848" y="254000"/>
                  </a:cubicBezTo>
                  <a:cubicBezTo>
                    <a:pt x="164145" y="272198"/>
                    <a:pt x="129608" y="250380"/>
                    <a:pt x="155898" y="263525"/>
                  </a:cubicBezTo>
                  <a:cubicBezTo>
                    <a:pt x="161418" y="266285"/>
                    <a:pt x="166540" y="269779"/>
                    <a:pt x="171773" y="273050"/>
                  </a:cubicBezTo>
                  <a:cubicBezTo>
                    <a:pt x="175009" y="275072"/>
                    <a:pt x="177885" y="277693"/>
                    <a:pt x="181298" y="279400"/>
                  </a:cubicBezTo>
                  <a:cubicBezTo>
                    <a:pt x="184291" y="280897"/>
                    <a:pt x="187747" y="281257"/>
                    <a:pt x="190823" y="282575"/>
                  </a:cubicBezTo>
                  <a:cubicBezTo>
                    <a:pt x="195173" y="284439"/>
                    <a:pt x="199129" y="287167"/>
                    <a:pt x="203523" y="288925"/>
                  </a:cubicBezTo>
                  <a:cubicBezTo>
                    <a:pt x="209738" y="291411"/>
                    <a:pt x="222573" y="295275"/>
                    <a:pt x="222573" y="295275"/>
                  </a:cubicBezTo>
                  <a:cubicBezTo>
                    <a:pt x="226806" y="298450"/>
                    <a:pt x="230388" y="302765"/>
                    <a:pt x="235273" y="304800"/>
                  </a:cubicBezTo>
                  <a:cubicBezTo>
                    <a:pt x="260703" y="315396"/>
                    <a:pt x="270447" y="308058"/>
                    <a:pt x="298773" y="317500"/>
                  </a:cubicBezTo>
                  <a:lnTo>
                    <a:pt x="317823" y="323850"/>
                  </a:lnTo>
                  <a:cubicBezTo>
                    <a:pt x="348484" y="334070"/>
                    <a:pt x="300814" y="317682"/>
                    <a:pt x="340048" y="333375"/>
                  </a:cubicBezTo>
                  <a:cubicBezTo>
                    <a:pt x="346263" y="335861"/>
                    <a:pt x="359098" y="339725"/>
                    <a:pt x="359098" y="339725"/>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27" name="Freeform 26"/>
            <p:cNvSpPr/>
            <p:nvPr/>
          </p:nvSpPr>
          <p:spPr>
            <a:xfrm>
              <a:off x="1352660" y="1395901"/>
              <a:ext cx="80488" cy="142037"/>
            </a:xfrm>
            <a:custGeom>
              <a:avLst/>
              <a:gdLst>
                <a:gd name="connsiteX0" fmla="*/ 215900 w 215900"/>
                <a:gd name="connsiteY0" fmla="*/ 0 h 381000"/>
                <a:gd name="connsiteX1" fmla="*/ 209550 w 215900"/>
                <a:gd name="connsiteY1" fmla="*/ 98425 h 381000"/>
                <a:gd name="connsiteX2" fmla="*/ 200025 w 215900"/>
                <a:gd name="connsiteY2" fmla="*/ 107950 h 381000"/>
                <a:gd name="connsiteX3" fmla="*/ 196850 w 215900"/>
                <a:gd name="connsiteY3" fmla="*/ 117475 h 381000"/>
                <a:gd name="connsiteX4" fmla="*/ 193675 w 215900"/>
                <a:gd name="connsiteY4" fmla="*/ 142875 h 381000"/>
                <a:gd name="connsiteX5" fmla="*/ 190500 w 215900"/>
                <a:gd name="connsiteY5" fmla="*/ 155575 h 381000"/>
                <a:gd name="connsiteX6" fmla="*/ 184150 w 215900"/>
                <a:gd name="connsiteY6" fmla="*/ 203200 h 381000"/>
                <a:gd name="connsiteX7" fmla="*/ 184150 w 215900"/>
                <a:gd name="connsiteY7" fmla="*/ 273050 h 381000"/>
                <a:gd name="connsiteX8" fmla="*/ 171450 w 215900"/>
                <a:gd name="connsiteY8" fmla="*/ 279400 h 381000"/>
                <a:gd name="connsiteX9" fmla="*/ 152400 w 215900"/>
                <a:gd name="connsiteY9" fmla="*/ 288925 h 381000"/>
                <a:gd name="connsiteX10" fmla="*/ 142875 w 215900"/>
                <a:gd name="connsiteY10" fmla="*/ 298450 h 381000"/>
                <a:gd name="connsiteX11" fmla="*/ 133350 w 215900"/>
                <a:gd name="connsiteY11" fmla="*/ 304800 h 381000"/>
                <a:gd name="connsiteX12" fmla="*/ 111125 w 215900"/>
                <a:gd name="connsiteY12" fmla="*/ 327025 h 381000"/>
                <a:gd name="connsiteX13" fmla="*/ 101600 w 215900"/>
                <a:gd name="connsiteY13" fmla="*/ 336550 h 381000"/>
                <a:gd name="connsiteX14" fmla="*/ 88900 w 215900"/>
                <a:gd name="connsiteY14" fmla="*/ 342900 h 381000"/>
                <a:gd name="connsiteX15" fmla="*/ 79375 w 215900"/>
                <a:gd name="connsiteY15" fmla="*/ 346075 h 381000"/>
                <a:gd name="connsiteX16" fmla="*/ 69850 w 215900"/>
                <a:gd name="connsiteY16" fmla="*/ 352425 h 381000"/>
                <a:gd name="connsiteX17" fmla="*/ 50800 w 215900"/>
                <a:gd name="connsiteY17" fmla="*/ 358775 h 381000"/>
                <a:gd name="connsiteX18" fmla="*/ 41275 w 215900"/>
                <a:gd name="connsiteY18" fmla="*/ 365125 h 381000"/>
                <a:gd name="connsiteX19" fmla="*/ 0 w 215900"/>
                <a:gd name="connsiteY19" fmla="*/ 38100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5900" h="381000">
                  <a:moveTo>
                    <a:pt x="215900" y="0"/>
                  </a:moveTo>
                  <a:cubicBezTo>
                    <a:pt x="213783" y="32808"/>
                    <a:pt x="214333" y="65898"/>
                    <a:pt x="209550" y="98425"/>
                  </a:cubicBezTo>
                  <a:cubicBezTo>
                    <a:pt x="208897" y="102867"/>
                    <a:pt x="202516" y="104214"/>
                    <a:pt x="200025" y="107950"/>
                  </a:cubicBezTo>
                  <a:cubicBezTo>
                    <a:pt x="198169" y="110735"/>
                    <a:pt x="197908" y="114300"/>
                    <a:pt x="196850" y="117475"/>
                  </a:cubicBezTo>
                  <a:cubicBezTo>
                    <a:pt x="195792" y="125942"/>
                    <a:pt x="195078" y="134459"/>
                    <a:pt x="193675" y="142875"/>
                  </a:cubicBezTo>
                  <a:cubicBezTo>
                    <a:pt x="192958" y="147179"/>
                    <a:pt x="191181" y="151265"/>
                    <a:pt x="190500" y="155575"/>
                  </a:cubicBezTo>
                  <a:cubicBezTo>
                    <a:pt x="188002" y="171395"/>
                    <a:pt x="186267" y="187325"/>
                    <a:pt x="184150" y="203200"/>
                  </a:cubicBezTo>
                  <a:cubicBezTo>
                    <a:pt x="186553" y="221221"/>
                    <a:pt x="197289" y="253342"/>
                    <a:pt x="184150" y="273050"/>
                  </a:cubicBezTo>
                  <a:cubicBezTo>
                    <a:pt x="181525" y="276988"/>
                    <a:pt x="175559" y="277052"/>
                    <a:pt x="171450" y="279400"/>
                  </a:cubicBezTo>
                  <a:cubicBezTo>
                    <a:pt x="154216" y="289248"/>
                    <a:pt x="169864" y="283104"/>
                    <a:pt x="152400" y="288925"/>
                  </a:cubicBezTo>
                  <a:cubicBezTo>
                    <a:pt x="149225" y="292100"/>
                    <a:pt x="146324" y="295575"/>
                    <a:pt x="142875" y="298450"/>
                  </a:cubicBezTo>
                  <a:cubicBezTo>
                    <a:pt x="139944" y="300893"/>
                    <a:pt x="136186" y="302247"/>
                    <a:pt x="133350" y="304800"/>
                  </a:cubicBezTo>
                  <a:cubicBezTo>
                    <a:pt x="125563" y="311809"/>
                    <a:pt x="118533" y="319617"/>
                    <a:pt x="111125" y="327025"/>
                  </a:cubicBezTo>
                  <a:cubicBezTo>
                    <a:pt x="107950" y="330200"/>
                    <a:pt x="105616" y="334542"/>
                    <a:pt x="101600" y="336550"/>
                  </a:cubicBezTo>
                  <a:cubicBezTo>
                    <a:pt x="97367" y="338667"/>
                    <a:pt x="93250" y="341036"/>
                    <a:pt x="88900" y="342900"/>
                  </a:cubicBezTo>
                  <a:cubicBezTo>
                    <a:pt x="85824" y="344218"/>
                    <a:pt x="82368" y="344578"/>
                    <a:pt x="79375" y="346075"/>
                  </a:cubicBezTo>
                  <a:cubicBezTo>
                    <a:pt x="75962" y="347782"/>
                    <a:pt x="73337" y="350875"/>
                    <a:pt x="69850" y="352425"/>
                  </a:cubicBezTo>
                  <a:cubicBezTo>
                    <a:pt x="63733" y="355143"/>
                    <a:pt x="56369" y="355062"/>
                    <a:pt x="50800" y="358775"/>
                  </a:cubicBezTo>
                  <a:cubicBezTo>
                    <a:pt x="47625" y="360892"/>
                    <a:pt x="44818" y="363708"/>
                    <a:pt x="41275" y="365125"/>
                  </a:cubicBezTo>
                  <a:cubicBezTo>
                    <a:pt x="-2636" y="382689"/>
                    <a:pt x="13132" y="367868"/>
                    <a:pt x="0" y="38100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28" name="Freeform 27"/>
            <p:cNvSpPr/>
            <p:nvPr/>
          </p:nvSpPr>
          <p:spPr>
            <a:xfrm>
              <a:off x="1429598" y="1404186"/>
              <a:ext cx="181097" cy="292359"/>
            </a:xfrm>
            <a:custGeom>
              <a:avLst/>
              <a:gdLst>
                <a:gd name="connsiteX0" fmla="*/ 428625 w 485775"/>
                <a:gd name="connsiteY0" fmla="*/ 0 h 784225"/>
                <a:gd name="connsiteX1" fmla="*/ 434975 w 485775"/>
                <a:gd name="connsiteY1" fmla="*/ 142875 h 784225"/>
                <a:gd name="connsiteX2" fmla="*/ 441325 w 485775"/>
                <a:gd name="connsiteY2" fmla="*/ 152400 h 784225"/>
                <a:gd name="connsiteX3" fmla="*/ 450850 w 485775"/>
                <a:gd name="connsiteY3" fmla="*/ 171450 h 784225"/>
                <a:gd name="connsiteX4" fmla="*/ 454025 w 485775"/>
                <a:gd name="connsiteY4" fmla="*/ 212725 h 784225"/>
                <a:gd name="connsiteX5" fmla="*/ 460375 w 485775"/>
                <a:gd name="connsiteY5" fmla="*/ 228600 h 784225"/>
                <a:gd name="connsiteX6" fmla="*/ 463550 w 485775"/>
                <a:gd name="connsiteY6" fmla="*/ 241300 h 784225"/>
                <a:gd name="connsiteX7" fmla="*/ 466725 w 485775"/>
                <a:gd name="connsiteY7" fmla="*/ 273050 h 784225"/>
                <a:gd name="connsiteX8" fmla="*/ 473075 w 485775"/>
                <a:gd name="connsiteY8" fmla="*/ 292100 h 784225"/>
                <a:gd name="connsiteX9" fmla="*/ 476250 w 485775"/>
                <a:gd name="connsiteY9" fmla="*/ 304800 h 784225"/>
                <a:gd name="connsiteX10" fmla="*/ 485775 w 485775"/>
                <a:gd name="connsiteY10" fmla="*/ 336550 h 784225"/>
                <a:gd name="connsiteX11" fmla="*/ 479425 w 485775"/>
                <a:gd name="connsiteY11" fmla="*/ 387350 h 784225"/>
                <a:gd name="connsiteX12" fmla="*/ 473075 w 485775"/>
                <a:gd name="connsiteY12" fmla="*/ 396875 h 784225"/>
                <a:gd name="connsiteX13" fmla="*/ 460375 w 485775"/>
                <a:gd name="connsiteY13" fmla="*/ 422275 h 784225"/>
                <a:gd name="connsiteX14" fmla="*/ 444500 w 485775"/>
                <a:gd name="connsiteY14" fmla="*/ 444500 h 784225"/>
                <a:gd name="connsiteX15" fmla="*/ 441325 w 485775"/>
                <a:gd name="connsiteY15" fmla="*/ 454025 h 784225"/>
                <a:gd name="connsiteX16" fmla="*/ 422275 w 485775"/>
                <a:gd name="connsiteY16" fmla="*/ 498475 h 784225"/>
                <a:gd name="connsiteX17" fmla="*/ 419100 w 485775"/>
                <a:gd name="connsiteY17" fmla="*/ 508000 h 784225"/>
                <a:gd name="connsiteX18" fmla="*/ 406400 w 485775"/>
                <a:gd name="connsiteY18" fmla="*/ 517525 h 784225"/>
                <a:gd name="connsiteX19" fmla="*/ 384175 w 485775"/>
                <a:gd name="connsiteY19" fmla="*/ 536575 h 784225"/>
                <a:gd name="connsiteX20" fmla="*/ 374650 w 485775"/>
                <a:gd name="connsiteY20" fmla="*/ 539750 h 784225"/>
                <a:gd name="connsiteX21" fmla="*/ 365125 w 485775"/>
                <a:gd name="connsiteY21" fmla="*/ 558800 h 784225"/>
                <a:gd name="connsiteX22" fmla="*/ 355600 w 485775"/>
                <a:gd name="connsiteY22" fmla="*/ 565150 h 784225"/>
                <a:gd name="connsiteX23" fmla="*/ 349250 w 485775"/>
                <a:gd name="connsiteY23" fmla="*/ 574675 h 784225"/>
                <a:gd name="connsiteX24" fmla="*/ 330200 w 485775"/>
                <a:gd name="connsiteY24" fmla="*/ 584200 h 784225"/>
                <a:gd name="connsiteX25" fmla="*/ 311150 w 485775"/>
                <a:gd name="connsiteY25" fmla="*/ 593725 h 784225"/>
                <a:gd name="connsiteX26" fmla="*/ 301625 w 485775"/>
                <a:gd name="connsiteY26" fmla="*/ 603250 h 784225"/>
                <a:gd name="connsiteX27" fmla="*/ 285750 w 485775"/>
                <a:gd name="connsiteY27" fmla="*/ 615950 h 784225"/>
                <a:gd name="connsiteX28" fmla="*/ 276225 w 485775"/>
                <a:gd name="connsiteY28" fmla="*/ 635000 h 784225"/>
                <a:gd name="connsiteX29" fmla="*/ 263525 w 485775"/>
                <a:gd name="connsiteY29" fmla="*/ 644525 h 784225"/>
                <a:gd name="connsiteX30" fmla="*/ 257175 w 485775"/>
                <a:gd name="connsiteY30" fmla="*/ 654050 h 784225"/>
                <a:gd name="connsiteX31" fmla="*/ 234950 w 485775"/>
                <a:gd name="connsiteY31" fmla="*/ 660400 h 784225"/>
                <a:gd name="connsiteX32" fmla="*/ 215900 w 485775"/>
                <a:gd name="connsiteY32" fmla="*/ 666750 h 784225"/>
                <a:gd name="connsiteX33" fmla="*/ 190500 w 485775"/>
                <a:gd name="connsiteY33" fmla="*/ 673100 h 784225"/>
                <a:gd name="connsiteX34" fmla="*/ 155575 w 485775"/>
                <a:gd name="connsiteY34" fmla="*/ 695325 h 784225"/>
                <a:gd name="connsiteX35" fmla="*/ 142875 w 485775"/>
                <a:gd name="connsiteY35" fmla="*/ 698500 h 784225"/>
                <a:gd name="connsiteX36" fmla="*/ 130175 w 485775"/>
                <a:gd name="connsiteY36" fmla="*/ 708025 h 784225"/>
                <a:gd name="connsiteX37" fmla="*/ 107950 w 485775"/>
                <a:gd name="connsiteY37" fmla="*/ 711200 h 784225"/>
                <a:gd name="connsiteX38" fmla="*/ 98425 w 485775"/>
                <a:gd name="connsiteY38" fmla="*/ 714375 h 784225"/>
                <a:gd name="connsiteX39" fmla="*/ 53975 w 485775"/>
                <a:gd name="connsiteY39" fmla="*/ 717550 h 784225"/>
                <a:gd name="connsiteX40" fmla="*/ 44450 w 485775"/>
                <a:gd name="connsiteY40" fmla="*/ 720725 h 784225"/>
                <a:gd name="connsiteX41" fmla="*/ 28575 w 485775"/>
                <a:gd name="connsiteY41" fmla="*/ 723900 h 784225"/>
                <a:gd name="connsiteX42" fmla="*/ 31750 w 485775"/>
                <a:gd name="connsiteY42" fmla="*/ 733425 h 784225"/>
                <a:gd name="connsiteX43" fmla="*/ 19050 w 485775"/>
                <a:gd name="connsiteY43" fmla="*/ 752475 h 784225"/>
                <a:gd name="connsiteX44" fmla="*/ 12700 w 485775"/>
                <a:gd name="connsiteY44" fmla="*/ 768350 h 784225"/>
                <a:gd name="connsiteX45" fmla="*/ 0 w 485775"/>
                <a:gd name="connsiteY45" fmla="*/ 784225 h 78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85775" h="784225">
                  <a:moveTo>
                    <a:pt x="428625" y="0"/>
                  </a:moveTo>
                  <a:cubicBezTo>
                    <a:pt x="430742" y="47625"/>
                    <a:pt x="431016" y="95368"/>
                    <a:pt x="434975" y="142875"/>
                  </a:cubicBezTo>
                  <a:cubicBezTo>
                    <a:pt x="435292" y="146678"/>
                    <a:pt x="439618" y="148987"/>
                    <a:pt x="441325" y="152400"/>
                  </a:cubicBezTo>
                  <a:cubicBezTo>
                    <a:pt x="454470" y="178690"/>
                    <a:pt x="432652" y="144153"/>
                    <a:pt x="450850" y="171450"/>
                  </a:cubicBezTo>
                  <a:cubicBezTo>
                    <a:pt x="451908" y="185208"/>
                    <a:pt x="451756" y="199114"/>
                    <a:pt x="454025" y="212725"/>
                  </a:cubicBezTo>
                  <a:cubicBezTo>
                    <a:pt x="454962" y="218347"/>
                    <a:pt x="458573" y="223193"/>
                    <a:pt x="460375" y="228600"/>
                  </a:cubicBezTo>
                  <a:cubicBezTo>
                    <a:pt x="461755" y="232740"/>
                    <a:pt x="462492" y="237067"/>
                    <a:pt x="463550" y="241300"/>
                  </a:cubicBezTo>
                  <a:cubicBezTo>
                    <a:pt x="464608" y="251883"/>
                    <a:pt x="464765" y="262596"/>
                    <a:pt x="466725" y="273050"/>
                  </a:cubicBezTo>
                  <a:cubicBezTo>
                    <a:pt x="467959" y="279629"/>
                    <a:pt x="471152" y="285689"/>
                    <a:pt x="473075" y="292100"/>
                  </a:cubicBezTo>
                  <a:cubicBezTo>
                    <a:pt x="474329" y="296280"/>
                    <a:pt x="474996" y="300620"/>
                    <a:pt x="476250" y="304800"/>
                  </a:cubicBezTo>
                  <a:cubicBezTo>
                    <a:pt x="487845" y="343449"/>
                    <a:pt x="478457" y="307278"/>
                    <a:pt x="485775" y="336550"/>
                  </a:cubicBezTo>
                  <a:cubicBezTo>
                    <a:pt x="483658" y="353483"/>
                    <a:pt x="482941" y="370651"/>
                    <a:pt x="479425" y="387350"/>
                  </a:cubicBezTo>
                  <a:cubicBezTo>
                    <a:pt x="478639" y="391084"/>
                    <a:pt x="474282" y="393255"/>
                    <a:pt x="473075" y="396875"/>
                  </a:cubicBezTo>
                  <a:cubicBezTo>
                    <a:pt x="464384" y="422948"/>
                    <a:pt x="478154" y="410422"/>
                    <a:pt x="460375" y="422275"/>
                  </a:cubicBezTo>
                  <a:cubicBezTo>
                    <a:pt x="453774" y="455281"/>
                    <a:pt x="464218" y="424782"/>
                    <a:pt x="444500" y="444500"/>
                  </a:cubicBezTo>
                  <a:cubicBezTo>
                    <a:pt x="442133" y="446867"/>
                    <a:pt x="442599" y="450930"/>
                    <a:pt x="441325" y="454025"/>
                  </a:cubicBezTo>
                  <a:cubicBezTo>
                    <a:pt x="435187" y="468931"/>
                    <a:pt x="427373" y="483182"/>
                    <a:pt x="422275" y="498475"/>
                  </a:cubicBezTo>
                  <a:cubicBezTo>
                    <a:pt x="421217" y="501650"/>
                    <a:pt x="421243" y="505429"/>
                    <a:pt x="419100" y="508000"/>
                  </a:cubicBezTo>
                  <a:cubicBezTo>
                    <a:pt x="415712" y="512065"/>
                    <a:pt x="410418" y="514081"/>
                    <a:pt x="406400" y="517525"/>
                  </a:cubicBezTo>
                  <a:cubicBezTo>
                    <a:pt x="395140" y="527176"/>
                    <a:pt x="398102" y="528617"/>
                    <a:pt x="384175" y="536575"/>
                  </a:cubicBezTo>
                  <a:cubicBezTo>
                    <a:pt x="381269" y="538235"/>
                    <a:pt x="377825" y="538692"/>
                    <a:pt x="374650" y="539750"/>
                  </a:cubicBezTo>
                  <a:cubicBezTo>
                    <a:pt x="372068" y="547497"/>
                    <a:pt x="371280" y="552645"/>
                    <a:pt x="365125" y="558800"/>
                  </a:cubicBezTo>
                  <a:cubicBezTo>
                    <a:pt x="362427" y="561498"/>
                    <a:pt x="358775" y="563033"/>
                    <a:pt x="355600" y="565150"/>
                  </a:cubicBezTo>
                  <a:cubicBezTo>
                    <a:pt x="353483" y="568325"/>
                    <a:pt x="351948" y="571977"/>
                    <a:pt x="349250" y="574675"/>
                  </a:cubicBezTo>
                  <a:cubicBezTo>
                    <a:pt x="340151" y="583774"/>
                    <a:pt x="340529" y="579035"/>
                    <a:pt x="330200" y="584200"/>
                  </a:cubicBezTo>
                  <a:cubicBezTo>
                    <a:pt x="305581" y="596510"/>
                    <a:pt x="335091" y="585745"/>
                    <a:pt x="311150" y="593725"/>
                  </a:cubicBezTo>
                  <a:cubicBezTo>
                    <a:pt x="307975" y="596900"/>
                    <a:pt x="305004" y="600293"/>
                    <a:pt x="301625" y="603250"/>
                  </a:cubicBezTo>
                  <a:cubicBezTo>
                    <a:pt x="296525" y="607712"/>
                    <a:pt x="290542" y="611158"/>
                    <a:pt x="285750" y="615950"/>
                  </a:cubicBezTo>
                  <a:cubicBezTo>
                    <a:pt x="253097" y="648603"/>
                    <a:pt x="302048" y="604012"/>
                    <a:pt x="276225" y="635000"/>
                  </a:cubicBezTo>
                  <a:cubicBezTo>
                    <a:pt x="272837" y="639065"/>
                    <a:pt x="267267" y="640783"/>
                    <a:pt x="263525" y="644525"/>
                  </a:cubicBezTo>
                  <a:cubicBezTo>
                    <a:pt x="260827" y="647223"/>
                    <a:pt x="260155" y="651666"/>
                    <a:pt x="257175" y="654050"/>
                  </a:cubicBezTo>
                  <a:cubicBezTo>
                    <a:pt x="255041" y="655757"/>
                    <a:pt x="235863" y="660126"/>
                    <a:pt x="234950" y="660400"/>
                  </a:cubicBezTo>
                  <a:cubicBezTo>
                    <a:pt x="228539" y="662323"/>
                    <a:pt x="222464" y="665437"/>
                    <a:pt x="215900" y="666750"/>
                  </a:cubicBezTo>
                  <a:cubicBezTo>
                    <a:pt x="211502" y="667630"/>
                    <a:pt x="195992" y="670049"/>
                    <a:pt x="190500" y="673100"/>
                  </a:cubicBezTo>
                  <a:cubicBezTo>
                    <a:pt x="189279" y="673778"/>
                    <a:pt x="159425" y="694362"/>
                    <a:pt x="155575" y="695325"/>
                  </a:cubicBezTo>
                  <a:lnTo>
                    <a:pt x="142875" y="698500"/>
                  </a:lnTo>
                  <a:cubicBezTo>
                    <a:pt x="138642" y="701675"/>
                    <a:pt x="135148" y="706217"/>
                    <a:pt x="130175" y="708025"/>
                  </a:cubicBezTo>
                  <a:cubicBezTo>
                    <a:pt x="123142" y="710582"/>
                    <a:pt x="115288" y="709732"/>
                    <a:pt x="107950" y="711200"/>
                  </a:cubicBezTo>
                  <a:cubicBezTo>
                    <a:pt x="104668" y="711856"/>
                    <a:pt x="101749" y="713984"/>
                    <a:pt x="98425" y="714375"/>
                  </a:cubicBezTo>
                  <a:cubicBezTo>
                    <a:pt x="83672" y="716111"/>
                    <a:pt x="68792" y="716492"/>
                    <a:pt x="53975" y="717550"/>
                  </a:cubicBezTo>
                  <a:cubicBezTo>
                    <a:pt x="50800" y="718608"/>
                    <a:pt x="47697" y="719913"/>
                    <a:pt x="44450" y="720725"/>
                  </a:cubicBezTo>
                  <a:cubicBezTo>
                    <a:pt x="39215" y="722034"/>
                    <a:pt x="32391" y="720084"/>
                    <a:pt x="28575" y="723900"/>
                  </a:cubicBezTo>
                  <a:cubicBezTo>
                    <a:pt x="26208" y="726267"/>
                    <a:pt x="30692" y="730250"/>
                    <a:pt x="31750" y="733425"/>
                  </a:cubicBezTo>
                  <a:cubicBezTo>
                    <a:pt x="23356" y="758606"/>
                    <a:pt x="36038" y="725294"/>
                    <a:pt x="19050" y="752475"/>
                  </a:cubicBezTo>
                  <a:cubicBezTo>
                    <a:pt x="16029" y="757308"/>
                    <a:pt x="15249" y="763252"/>
                    <a:pt x="12700" y="768350"/>
                  </a:cubicBezTo>
                  <a:cubicBezTo>
                    <a:pt x="8695" y="776360"/>
                    <a:pt x="5906" y="778319"/>
                    <a:pt x="0" y="784225"/>
                  </a:cubicBez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29" name="Freeform 28"/>
            <p:cNvSpPr/>
            <p:nvPr/>
          </p:nvSpPr>
          <p:spPr>
            <a:xfrm>
              <a:off x="1604776" y="1387615"/>
              <a:ext cx="168077" cy="138486"/>
            </a:xfrm>
            <a:custGeom>
              <a:avLst/>
              <a:gdLst>
                <a:gd name="connsiteX0" fmla="*/ 450850 w 450850"/>
                <a:gd name="connsiteY0" fmla="*/ 0 h 371475"/>
                <a:gd name="connsiteX1" fmla="*/ 438150 w 450850"/>
                <a:gd name="connsiteY1" fmla="*/ 60325 h 371475"/>
                <a:gd name="connsiteX2" fmla="*/ 428625 w 450850"/>
                <a:gd name="connsiteY2" fmla="*/ 73025 h 371475"/>
                <a:gd name="connsiteX3" fmla="*/ 422275 w 450850"/>
                <a:gd name="connsiteY3" fmla="*/ 88900 h 371475"/>
                <a:gd name="connsiteX4" fmla="*/ 409575 w 450850"/>
                <a:gd name="connsiteY4" fmla="*/ 101600 h 371475"/>
                <a:gd name="connsiteX5" fmla="*/ 400050 w 450850"/>
                <a:gd name="connsiteY5" fmla="*/ 117475 h 371475"/>
                <a:gd name="connsiteX6" fmla="*/ 393700 w 450850"/>
                <a:gd name="connsiteY6" fmla="*/ 127000 h 371475"/>
                <a:gd name="connsiteX7" fmla="*/ 384175 w 450850"/>
                <a:gd name="connsiteY7" fmla="*/ 146050 h 371475"/>
                <a:gd name="connsiteX8" fmla="*/ 361950 w 450850"/>
                <a:gd name="connsiteY8" fmla="*/ 158750 h 371475"/>
                <a:gd name="connsiteX9" fmla="*/ 333375 w 450850"/>
                <a:gd name="connsiteY9" fmla="*/ 177800 h 371475"/>
                <a:gd name="connsiteX10" fmla="*/ 314325 w 450850"/>
                <a:gd name="connsiteY10" fmla="*/ 184150 h 371475"/>
                <a:gd name="connsiteX11" fmla="*/ 304800 w 450850"/>
                <a:gd name="connsiteY11" fmla="*/ 203200 h 371475"/>
                <a:gd name="connsiteX12" fmla="*/ 295275 w 450850"/>
                <a:gd name="connsiteY12" fmla="*/ 222250 h 371475"/>
                <a:gd name="connsiteX13" fmla="*/ 288925 w 450850"/>
                <a:gd name="connsiteY13" fmla="*/ 241300 h 371475"/>
                <a:gd name="connsiteX14" fmla="*/ 263525 w 450850"/>
                <a:gd name="connsiteY14" fmla="*/ 257175 h 371475"/>
                <a:gd name="connsiteX15" fmla="*/ 254000 w 450850"/>
                <a:gd name="connsiteY15" fmla="*/ 263525 h 371475"/>
                <a:gd name="connsiteX16" fmla="*/ 250825 w 450850"/>
                <a:gd name="connsiteY16" fmla="*/ 273050 h 371475"/>
                <a:gd name="connsiteX17" fmla="*/ 241300 w 450850"/>
                <a:gd name="connsiteY17" fmla="*/ 276225 h 371475"/>
                <a:gd name="connsiteX18" fmla="*/ 225425 w 450850"/>
                <a:gd name="connsiteY18" fmla="*/ 279400 h 371475"/>
                <a:gd name="connsiteX19" fmla="*/ 212725 w 450850"/>
                <a:gd name="connsiteY19" fmla="*/ 285750 h 371475"/>
                <a:gd name="connsiteX20" fmla="*/ 203200 w 450850"/>
                <a:gd name="connsiteY20" fmla="*/ 288925 h 371475"/>
                <a:gd name="connsiteX21" fmla="*/ 196850 w 450850"/>
                <a:gd name="connsiteY21" fmla="*/ 298450 h 371475"/>
                <a:gd name="connsiteX22" fmla="*/ 184150 w 450850"/>
                <a:gd name="connsiteY22" fmla="*/ 311150 h 371475"/>
                <a:gd name="connsiteX23" fmla="*/ 171450 w 450850"/>
                <a:gd name="connsiteY23" fmla="*/ 317500 h 371475"/>
                <a:gd name="connsiteX24" fmla="*/ 161925 w 450850"/>
                <a:gd name="connsiteY24" fmla="*/ 323850 h 371475"/>
                <a:gd name="connsiteX25" fmla="*/ 146050 w 450850"/>
                <a:gd name="connsiteY25" fmla="*/ 336550 h 371475"/>
                <a:gd name="connsiteX26" fmla="*/ 111125 w 450850"/>
                <a:gd name="connsiteY26" fmla="*/ 342900 h 371475"/>
                <a:gd name="connsiteX27" fmla="*/ 101600 w 450850"/>
                <a:gd name="connsiteY27" fmla="*/ 346075 h 371475"/>
                <a:gd name="connsiteX28" fmla="*/ 47625 w 450850"/>
                <a:gd name="connsiteY28" fmla="*/ 352425 h 371475"/>
                <a:gd name="connsiteX29" fmla="*/ 19050 w 450850"/>
                <a:gd name="connsiteY29" fmla="*/ 358775 h 371475"/>
                <a:gd name="connsiteX30" fmla="*/ 0 w 450850"/>
                <a:gd name="connsiteY30" fmla="*/ 371475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50850" h="371475">
                  <a:moveTo>
                    <a:pt x="450850" y="0"/>
                  </a:moveTo>
                  <a:cubicBezTo>
                    <a:pt x="448451" y="15592"/>
                    <a:pt x="446513" y="43600"/>
                    <a:pt x="438150" y="60325"/>
                  </a:cubicBezTo>
                  <a:cubicBezTo>
                    <a:pt x="435783" y="65058"/>
                    <a:pt x="431195" y="68399"/>
                    <a:pt x="428625" y="73025"/>
                  </a:cubicBezTo>
                  <a:cubicBezTo>
                    <a:pt x="425857" y="78007"/>
                    <a:pt x="425436" y="84158"/>
                    <a:pt x="422275" y="88900"/>
                  </a:cubicBezTo>
                  <a:cubicBezTo>
                    <a:pt x="418954" y="93881"/>
                    <a:pt x="413251" y="96874"/>
                    <a:pt x="409575" y="101600"/>
                  </a:cubicBezTo>
                  <a:cubicBezTo>
                    <a:pt x="405786" y="106471"/>
                    <a:pt x="403321" y="112242"/>
                    <a:pt x="400050" y="117475"/>
                  </a:cubicBezTo>
                  <a:cubicBezTo>
                    <a:pt x="398028" y="120711"/>
                    <a:pt x="395407" y="123587"/>
                    <a:pt x="393700" y="127000"/>
                  </a:cubicBezTo>
                  <a:cubicBezTo>
                    <a:pt x="388535" y="137329"/>
                    <a:pt x="393274" y="136951"/>
                    <a:pt x="384175" y="146050"/>
                  </a:cubicBezTo>
                  <a:cubicBezTo>
                    <a:pt x="378483" y="151742"/>
                    <a:pt x="368425" y="154766"/>
                    <a:pt x="361950" y="158750"/>
                  </a:cubicBezTo>
                  <a:cubicBezTo>
                    <a:pt x="352201" y="164750"/>
                    <a:pt x="344235" y="174180"/>
                    <a:pt x="333375" y="177800"/>
                  </a:cubicBezTo>
                  <a:lnTo>
                    <a:pt x="314325" y="184150"/>
                  </a:lnTo>
                  <a:cubicBezTo>
                    <a:pt x="301123" y="203953"/>
                    <a:pt x="313563" y="183482"/>
                    <a:pt x="304800" y="203200"/>
                  </a:cubicBezTo>
                  <a:cubicBezTo>
                    <a:pt x="301917" y="209688"/>
                    <a:pt x="298006" y="215697"/>
                    <a:pt x="295275" y="222250"/>
                  </a:cubicBezTo>
                  <a:cubicBezTo>
                    <a:pt x="292701" y="228429"/>
                    <a:pt x="293428" y="236347"/>
                    <a:pt x="288925" y="241300"/>
                  </a:cubicBezTo>
                  <a:cubicBezTo>
                    <a:pt x="282209" y="248688"/>
                    <a:pt x="271832" y="251637"/>
                    <a:pt x="263525" y="257175"/>
                  </a:cubicBezTo>
                  <a:lnTo>
                    <a:pt x="254000" y="263525"/>
                  </a:lnTo>
                  <a:cubicBezTo>
                    <a:pt x="252942" y="266700"/>
                    <a:pt x="253192" y="270683"/>
                    <a:pt x="250825" y="273050"/>
                  </a:cubicBezTo>
                  <a:cubicBezTo>
                    <a:pt x="248458" y="275417"/>
                    <a:pt x="244547" y="275413"/>
                    <a:pt x="241300" y="276225"/>
                  </a:cubicBezTo>
                  <a:cubicBezTo>
                    <a:pt x="236065" y="277534"/>
                    <a:pt x="230717" y="278342"/>
                    <a:pt x="225425" y="279400"/>
                  </a:cubicBezTo>
                  <a:cubicBezTo>
                    <a:pt x="221192" y="281517"/>
                    <a:pt x="217075" y="283886"/>
                    <a:pt x="212725" y="285750"/>
                  </a:cubicBezTo>
                  <a:cubicBezTo>
                    <a:pt x="209649" y="287068"/>
                    <a:pt x="205813" y="286834"/>
                    <a:pt x="203200" y="288925"/>
                  </a:cubicBezTo>
                  <a:cubicBezTo>
                    <a:pt x="200220" y="291309"/>
                    <a:pt x="199333" y="295553"/>
                    <a:pt x="196850" y="298450"/>
                  </a:cubicBezTo>
                  <a:cubicBezTo>
                    <a:pt x="192954" y="302996"/>
                    <a:pt x="188939" y="307558"/>
                    <a:pt x="184150" y="311150"/>
                  </a:cubicBezTo>
                  <a:cubicBezTo>
                    <a:pt x="180364" y="313990"/>
                    <a:pt x="175559" y="315152"/>
                    <a:pt x="171450" y="317500"/>
                  </a:cubicBezTo>
                  <a:cubicBezTo>
                    <a:pt x="168137" y="319393"/>
                    <a:pt x="164978" y="321560"/>
                    <a:pt x="161925" y="323850"/>
                  </a:cubicBezTo>
                  <a:cubicBezTo>
                    <a:pt x="156504" y="327916"/>
                    <a:pt x="152111" y="333519"/>
                    <a:pt x="146050" y="336550"/>
                  </a:cubicBezTo>
                  <a:cubicBezTo>
                    <a:pt x="143739" y="337706"/>
                    <a:pt x="111787" y="342753"/>
                    <a:pt x="111125" y="342900"/>
                  </a:cubicBezTo>
                  <a:cubicBezTo>
                    <a:pt x="107858" y="343626"/>
                    <a:pt x="104910" y="345579"/>
                    <a:pt x="101600" y="346075"/>
                  </a:cubicBezTo>
                  <a:cubicBezTo>
                    <a:pt x="83685" y="348762"/>
                    <a:pt x="65575" y="349977"/>
                    <a:pt x="47625" y="352425"/>
                  </a:cubicBezTo>
                  <a:cubicBezTo>
                    <a:pt x="38757" y="353634"/>
                    <a:pt x="27859" y="356573"/>
                    <a:pt x="19050" y="358775"/>
                  </a:cubicBezTo>
                  <a:cubicBezTo>
                    <a:pt x="4457" y="369720"/>
                    <a:pt x="11083" y="365933"/>
                    <a:pt x="0" y="371475"/>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30" name="Freeform 29"/>
            <p:cNvSpPr/>
            <p:nvPr/>
          </p:nvSpPr>
          <p:spPr>
            <a:xfrm>
              <a:off x="1713671" y="1439695"/>
              <a:ext cx="118364" cy="32120"/>
            </a:xfrm>
            <a:custGeom>
              <a:avLst/>
              <a:gdLst>
                <a:gd name="connsiteX0" fmla="*/ 317500 w 317500"/>
                <a:gd name="connsiteY0" fmla="*/ 0 h 86157"/>
                <a:gd name="connsiteX1" fmla="*/ 238125 w 317500"/>
                <a:gd name="connsiteY1" fmla="*/ 63500 h 86157"/>
                <a:gd name="connsiteX2" fmla="*/ 222250 w 317500"/>
                <a:gd name="connsiteY2" fmla="*/ 73025 h 86157"/>
                <a:gd name="connsiteX3" fmla="*/ 212725 w 317500"/>
                <a:gd name="connsiteY3" fmla="*/ 79375 h 86157"/>
                <a:gd name="connsiteX4" fmla="*/ 184150 w 317500"/>
                <a:gd name="connsiteY4" fmla="*/ 85725 h 86157"/>
                <a:gd name="connsiteX5" fmla="*/ 0 w 317500"/>
                <a:gd name="connsiteY5" fmla="*/ 85725 h 8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86157">
                  <a:moveTo>
                    <a:pt x="317500" y="0"/>
                  </a:moveTo>
                  <a:cubicBezTo>
                    <a:pt x="291042" y="21167"/>
                    <a:pt x="265015" y="42884"/>
                    <a:pt x="238125" y="63500"/>
                  </a:cubicBezTo>
                  <a:cubicBezTo>
                    <a:pt x="233228" y="67255"/>
                    <a:pt x="227483" y="69754"/>
                    <a:pt x="222250" y="73025"/>
                  </a:cubicBezTo>
                  <a:cubicBezTo>
                    <a:pt x="219014" y="75047"/>
                    <a:pt x="216232" y="77872"/>
                    <a:pt x="212725" y="79375"/>
                  </a:cubicBezTo>
                  <a:cubicBezTo>
                    <a:pt x="209821" y="80620"/>
                    <a:pt x="185715" y="85700"/>
                    <a:pt x="184150" y="85725"/>
                  </a:cubicBezTo>
                  <a:cubicBezTo>
                    <a:pt x="122774" y="86699"/>
                    <a:pt x="61383" y="85725"/>
                    <a:pt x="0" y="85725"/>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31" name="Freeform 30"/>
            <p:cNvSpPr/>
            <p:nvPr/>
          </p:nvSpPr>
          <p:spPr>
            <a:xfrm>
              <a:off x="1590573" y="1464552"/>
              <a:ext cx="371664" cy="114924"/>
            </a:xfrm>
            <a:custGeom>
              <a:avLst/>
              <a:gdLst>
                <a:gd name="connsiteX0" fmla="*/ 996950 w 996950"/>
                <a:gd name="connsiteY0" fmla="*/ 0 h 308273"/>
                <a:gd name="connsiteX1" fmla="*/ 939800 w 996950"/>
                <a:gd name="connsiteY1" fmla="*/ 95250 h 308273"/>
                <a:gd name="connsiteX2" fmla="*/ 930275 w 996950"/>
                <a:gd name="connsiteY2" fmla="*/ 101600 h 308273"/>
                <a:gd name="connsiteX3" fmla="*/ 904875 w 996950"/>
                <a:gd name="connsiteY3" fmla="*/ 123825 h 308273"/>
                <a:gd name="connsiteX4" fmla="*/ 873125 w 996950"/>
                <a:gd name="connsiteY4" fmla="*/ 136525 h 308273"/>
                <a:gd name="connsiteX5" fmla="*/ 860425 w 996950"/>
                <a:gd name="connsiteY5" fmla="*/ 139700 h 308273"/>
                <a:gd name="connsiteX6" fmla="*/ 822325 w 996950"/>
                <a:gd name="connsiteY6" fmla="*/ 158750 h 308273"/>
                <a:gd name="connsiteX7" fmla="*/ 774700 w 996950"/>
                <a:gd name="connsiteY7" fmla="*/ 168275 h 308273"/>
                <a:gd name="connsiteX8" fmla="*/ 749300 w 996950"/>
                <a:gd name="connsiteY8" fmla="*/ 174625 h 308273"/>
                <a:gd name="connsiteX9" fmla="*/ 730250 w 996950"/>
                <a:gd name="connsiteY9" fmla="*/ 180975 h 308273"/>
                <a:gd name="connsiteX10" fmla="*/ 635000 w 996950"/>
                <a:gd name="connsiteY10" fmla="*/ 187325 h 308273"/>
                <a:gd name="connsiteX11" fmla="*/ 622300 w 996950"/>
                <a:gd name="connsiteY11" fmla="*/ 193675 h 308273"/>
                <a:gd name="connsiteX12" fmla="*/ 571500 w 996950"/>
                <a:gd name="connsiteY12" fmla="*/ 209550 h 308273"/>
                <a:gd name="connsiteX13" fmla="*/ 549275 w 996950"/>
                <a:gd name="connsiteY13" fmla="*/ 231775 h 308273"/>
                <a:gd name="connsiteX14" fmla="*/ 533400 w 996950"/>
                <a:gd name="connsiteY14" fmla="*/ 241300 h 308273"/>
                <a:gd name="connsiteX15" fmla="*/ 501650 w 996950"/>
                <a:gd name="connsiteY15" fmla="*/ 276225 h 308273"/>
                <a:gd name="connsiteX16" fmla="*/ 482600 w 996950"/>
                <a:gd name="connsiteY16" fmla="*/ 279400 h 308273"/>
                <a:gd name="connsiteX17" fmla="*/ 460375 w 996950"/>
                <a:gd name="connsiteY17" fmla="*/ 285750 h 308273"/>
                <a:gd name="connsiteX18" fmla="*/ 406400 w 996950"/>
                <a:gd name="connsiteY18" fmla="*/ 292100 h 308273"/>
                <a:gd name="connsiteX19" fmla="*/ 327025 w 996950"/>
                <a:gd name="connsiteY19" fmla="*/ 301625 h 308273"/>
                <a:gd name="connsiteX20" fmla="*/ 193675 w 996950"/>
                <a:gd name="connsiteY20" fmla="*/ 307975 h 308273"/>
                <a:gd name="connsiteX21" fmla="*/ 0 w 996950"/>
                <a:gd name="connsiteY21" fmla="*/ 307975 h 30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6950" h="308273">
                  <a:moveTo>
                    <a:pt x="996950" y="0"/>
                  </a:moveTo>
                  <a:cubicBezTo>
                    <a:pt x="977900" y="31750"/>
                    <a:pt x="960115" y="64294"/>
                    <a:pt x="939800" y="95250"/>
                  </a:cubicBezTo>
                  <a:cubicBezTo>
                    <a:pt x="937706" y="98440"/>
                    <a:pt x="933172" y="99117"/>
                    <a:pt x="930275" y="101600"/>
                  </a:cubicBezTo>
                  <a:cubicBezTo>
                    <a:pt x="919283" y="111022"/>
                    <a:pt x="917548" y="116913"/>
                    <a:pt x="904875" y="123825"/>
                  </a:cubicBezTo>
                  <a:cubicBezTo>
                    <a:pt x="898541" y="127280"/>
                    <a:pt x="882421" y="133869"/>
                    <a:pt x="873125" y="136525"/>
                  </a:cubicBezTo>
                  <a:cubicBezTo>
                    <a:pt x="868929" y="137724"/>
                    <a:pt x="864658" y="138642"/>
                    <a:pt x="860425" y="139700"/>
                  </a:cubicBezTo>
                  <a:cubicBezTo>
                    <a:pt x="846531" y="148963"/>
                    <a:pt x="842631" y="152338"/>
                    <a:pt x="822325" y="158750"/>
                  </a:cubicBezTo>
                  <a:cubicBezTo>
                    <a:pt x="810260" y="162560"/>
                    <a:pt x="788670" y="164783"/>
                    <a:pt x="774700" y="168275"/>
                  </a:cubicBezTo>
                  <a:cubicBezTo>
                    <a:pt x="766233" y="170392"/>
                    <a:pt x="757579" y="171865"/>
                    <a:pt x="749300" y="174625"/>
                  </a:cubicBezTo>
                  <a:cubicBezTo>
                    <a:pt x="742950" y="176742"/>
                    <a:pt x="736903" y="180236"/>
                    <a:pt x="730250" y="180975"/>
                  </a:cubicBezTo>
                  <a:cubicBezTo>
                    <a:pt x="698624" y="184489"/>
                    <a:pt x="635000" y="187325"/>
                    <a:pt x="635000" y="187325"/>
                  </a:cubicBezTo>
                  <a:cubicBezTo>
                    <a:pt x="630767" y="189442"/>
                    <a:pt x="626833" y="192315"/>
                    <a:pt x="622300" y="193675"/>
                  </a:cubicBezTo>
                  <a:cubicBezTo>
                    <a:pt x="596487" y="201419"/>
                    <a:pt x="601294" y="189687"/>
                    <a:pt x="571500" y="209550"/>
                  </a:cubicBezTo>
                  <a:cubicBezTo>
                    <a:pt x="542534" y="228860"/>
                    <a:pt x="588870" y="196580"/>
                    <a:pt x="549275" y="231775"/>
                  </a:cubicBezTo>
                  <a:cubicBezTo>
                    <a:pt x="544663" y="235875"/>
                    <a:pt x="538692" y="238125"/>
                    <a:pt x="533400" y="241300"/>
                  </a:cubicBezTo>
                  <a:cubicBezTo>
                    <a:pt x="530487" y="245045"/>
                    <a:pt x="514367" y="271986"/>
                    <a:pt x="501650" y="276225"/>
                  </a:cubicBezTo>
                  <a:cubicBezTo>
                    <a:pt x="495543" y="278261"/>
                    <a:pt x="488884" y="278003"/>
                    <a:pt x="482600" y="279400"/>
                  </a:cubicBezTo>
                  <a:cubicBezTo>
                    <a:pt x="459952" y="284433"/>
                    <a:pt x="488035" y="281140"/>
                    <a:pt x="460375" y="285750"/>
                  </a:cubicBezTo>
                  <a:cubicBezTo>
                    <a:pt x="415332" y="293257"/>
                    <a:pt x="454837" y="284452"/>
                    <a:pt x="406400" y="292100"/>
                  </a:cubicBezTo>
                  <a:cubicBezTo>
                    <a:pt x="337194" y="303027"/>
                    <a:pt x="417635" y="295584"/>
                    <a:pt x="327025" y="301625"/>
                  </a:cubicBezTo>
                  <a:cubicBezTo>
                    <a:pt x="271399" y="309572"/>
                    <a:pt x="296022" y="306909"/>
                    <a:pt x="193675" y="307975"/>
                  </a:cubicBezTo>
                  <a:cubicBezTo>
                    <a:pt x="129120" y="308647"/>
                    <a:pt x="64558" y="307975"/>
                    <a:pt x="0" y="307975"/>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32" name="Freeform 31"/>
            <p:cNvSpPr/>
            <p:nvPr/>
          </p:nvSpPr>
          <p:spPr>
            <a:xfrm>
              <a:off x="1778771" y="1564966"/>
              <a:ext cx="266319" cy="40474"/>
            </a:xfrm>
            <a:custGeom>
              <a:avLst/>
              <a:gdLst>
                <a:gd name="connsiteX0" fmla="*/ 714375 w 714375"/>
                <a:gd name="connsiteY0" fmla="*/ 13226 h 108567"/>
                <a:gd name="connsiteX1" fmla="*/ 647700 w 714375"/>
                <a:gd name="connsiteY1" fmla="*/ 44976 h 108567"/>
                <a:gd name="connsiteX2" fmla="*/ 628650 w 714375"/>
                <a:gd name="connsiteY2" fmla="*/ 48151 h 108567"/>
                <a:gd name="connsiteX3" fmla="*/ 615950 w 714375"/>
                <a:gd name="connsiteY3" fmla="*/ 51326 h 108567"/>
                <a:gd name="connsiteX4" fmla="*/ 581025 w 714375"/>
                <a:gd name="connsiteY4" fmla="*/ 70376 h 108567"/>
                <a:gd name="connsiteX5" fmla="*/ 498475 w 714375"/>
                <a:gd name="connsiteY5" fmla="*/ 86251 h 108567"/>
                <a:gd name="connsiteX6" fmla="*/ 444500 w 714375"/>
                <a:gd name="connsiteY6" fmla="*/ 95776 h 108567"/>
                <a:gd name="connsiteX7" fmla="*/ 431800 w 714375"/>
                <a:gd name="connsiteY7" fmla="*/ 105301 h 108567"/>
                <a:gd name="connsiteX8" fmla="*/ 387350 w 714375"/>
                <a:gd name="connsiteY8" fmla="*/ 102126 h 108567"/>
                <a:gd name="connsiteX9" fmla="*/ 377825 w 714375"/>
                <a:gd name="connsiteY9" fmla="*/ 98951 h 108567"/>
                <a:gd name="connsiteX10" fmla="*/ 358775 w 714375"/>
                <a:gd name="connsiteY10" fmla="*/ 89426 h 108567"/>
                <a:gd name="connsiteX11" fmla="*/ 257175 w 714375"/>
                <a:gd name="connsiteY11" fmla="*/ 54501 h 108567"/>
                <a:gd name="connsiteX12" fmla="*/ 200025 w 714375"/>
                <a:gd name="connsiteY12" fmla="*/ 44976 h 108567"/>
                <a:gd name="connsiteX13" fmla="*/ 184150 w 714375"/>
                <a:gd name="connsiteY13" fmla="*/ 38626 h 108567"/>
                <a:gd name="connsiteX14" fmla="*/ 111125 w 714375"/>
                <a:gd name="connsiteY14" fmla="*/ 19576 h 108567"/>
                <a:gd name="connsiteX15" fmla="*/ 101600 w 714375"/>
                <a:gd name="connsiteY15" fmla="*/ 16401 h 108567"/>
                <a:gd name="connsiteX16" fmla="*/ 76200 w 714375"/>
                <a:gd name="connsiteY16" fmla="*/ 10051 h 108567"/>
                <a:gd name="connsiteX17" fmla="*/ 63500 w 714375"/>
                <a:gd name="connsiteY17" fmla="*/ 3701 h 108567"/>
                <a:gd name="connsiteX18" fmla="*/ 0 w 714375"/>
                <a:gd name="connsiteY18" fmla="*/ 526 h 108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14375" h="108567">
                  <a:moveTo>
                    <a:pt x="714375" y="13226"/>
                  </a:moveTo>
                  <a:cubicBezTo>
                    <a:pt x="692150" y="23809"/>
                    <a:pt x="670497" y="35688"/>
                    <a:pt x="647700" y="44976"/>
                  </a:cubicBezTo>
                  <a:cubicBezTo>
                    <a:pt x="641738" y="47405"/>
                    <a:pt x="634963" y="46888"/>
                    <a:pt x="628650" y="48151"/>
                  </a:cubicBezTo>
                  <a:cubicBezTo>
                    <a:pt x="624371" y="49007"/>
                    <a:pt x="620183" y="50268"/>
                    <a:pt x="615950" y="51326"/>
                  </a:cubicBezTo>
                  <a:cubicBezTo>
                    <a:pt x="605348" y="58394"/>
                    <a:pt x="592972" y="67214"/>
                    <a:pt x="581025" y="70376"/>
                  </a:cubicBezTo>
                  <a:cubicBezTo>
                    <a:pt x="553937" y="77546"/>
                    <a:pt x="526055" y="81301"/>
                    <a:pt x="498475" y="86251"/>
                  </a:cubicBezTo>
                  <a:cubicBezTo>
                    <a:pt x="436310" y="97409"/>
                    <a:pt x="475901" y="87926"/>
                    <a:pt x="444500" y="95776"/>
                  </a:cubicBezTo>
                  <a:cubicBezTo>
                    <a:pt x="440267" y="98951"/>
                    <a:pt x="436713" y="103336"/>
                    <a:pt x="431800" y="105301"/>
                  </a:cubicBezTo>
                  <a:cubicBezTo>
                    <a:pt x="415595" y="111783"/>
                    <a:pt x="403469" y="107499"/>
                    <a:pt x="387350" y="102126"/>
                  </a:cubicBezTo>
                  <a:cubicBezTo>
                    <a:pt x="384175" y="101068"/>
                    <a:pt x="380883" y="100310"/>
                    <a:pt x="377825" y="98951"/>
                  </a:cubicBezTo>
                  <a:cubicBezTo>
                    <a:pt x="371337" y="96068"/>
                    <a:pt x="365289" y="92249"/>
                    <a:pt x="358775" y="89426"/>
                  </a:cubicBezTo>
                  <a:cubicBezTo>
                    <a:pt x="279243" y="54962"/>
                    <a:pt x="308470" y="60913"/>
                    <a:pt x="257175" y="54501"/>
                  </a:cubicBezTo>
                  <a:cubicBezTo>
                    <a:pt x="221029" y="40042"/>
                    <a:pt x="265043" y="55812"/>
                    <a:pt x="200025" y="44976"/>
                  </a:cubicBezTo>
                  <a:cubicBezTo>
                    <a:pt x="194403" y="44039"/>
                    <a:pt x="189630" y="40192"/>
                    <a:pt x="184150" y="38626"/>
                  </a:cubicBezTo>
                  <a:cubicBezTo>
                    <a:pt x="159962" y="31715"/>
                    <a:pt x="135416" y="26116"/>
                    <a:pt x="111125" y="19576"/>
                  </a:cubicBezTo>
                  <a:cubicBezTo>
                    <a:pt x="107893" y="18706"/>
                    <a:pt x="104829" y="17282"/>
                    <a:pt x="101600" y="16401"/>
                  </a:cubicBezTo>
                  <a:cubicBezTo>
                    <a:pt x="93180" y="14105"/>
                    <a:pt x="84006" y="13954"/>
                    <a:pt x="76200" y="10051"/>
                  </a:cubicBezTo>
                  <a:cubicBezTo>
                    <a:pt x="71967" y="7934"/>
                    <a:pt x="68033" y="5061"/>
                    <a:pt x="63500" y="3701"/>
                  </a:cubicBezTo>
                  <a:cubicBezTo>
                    <a:pt x="44797" y="-1910"/>
                    <a:pt x="16451" y="526"/>
                    <a:pt x="0" y="526"/>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33" name="Freeform 32"/>
            <p:cNvSpPr/>
            <p:nvPr/>
          </p:nvSpPr>
          <p:spPr>
            <a:xfrm>
              <a:off x="1032552" y="2132362"/>
              <a:ext cx="252169" cy="690299"/>
            </a:xfrm>
            <a:custGeom>
              <a:avLst/>
              <a:gdLst>
                <a:gd name="connsiteX0" fmla="*/ 670560 w 670560"/>
                <a:gd name="connsiteY0" fmla="*/ 0 h 1851660"/>
                <a:gd name="connsiteX1" fmla="*/ 662940 w 670560"/>
                <a:gd name="connsiteY1" fmla="*/ 38100 h 1851660"/>
                <a:gd name="connsiteX2" fmla="*/ 617220 w 670560"/>
                <a:gd name="connsiteY2" fmla="*/ 83820 h 1851660"/>
                <a:gd name="connsiteX3" fmla="*/ 594360 w 670560"/>
                <a:gd name="connsiteY3" fmla="*/ 106680 h 1851660"/>
                <a:gd name="connsiteX4" fmla="*/ 548640 w 670560"/>
                <a:gd name="connsiteY4" fmla="*/ 129540 h 1851660"/>
                <a:gd name="connsiteX5" fmla="*/ 541020 w 670560"/>
                <a:gd name="connsiteY5" fmla="*/ 152400 h 1851660"/>
                <a:gd name="connsiteX6" fmla="*/ 502920 w 670560"/>
                <a:gd name="connsiteY6" fmla="*/ 198120 h 1851660"/>
                <a:gd name="connsiteX7" fmla="*/ 495300 w 670560"/>
                <a:gd name="connsiteY7" fmla="*/ 220980 h 1851660"/>
                <a:gd name="connsiteX8" fmla="*/ 472440 w 670560"/>
                <a:gd name="connsiteY8" fmla="*/ 243840 h 1851660"/>
                <a:gd name="connsiteX9" fmla="*/ 449580 w 670560"/>
                <a:gd name="connsiteY9" fmla="*/ 274320 h 1851660"/>
                <a:gd name="connsiteX10" fmla="*/ 441960 w 670560"/>
                <a:gd name="connsiteY10" fmla="*/ 304800 h 1851660"/>
                <a:gd name="connsiteX11" fmla="*/ 411480 w 670560"/>
                <a:gd name="connsiteY11" fmla="*/ 312420 h 1851660"/>
                <a:gd name="connsiteX12" fmla="*/ 388620 w 670560"/>
                <a:gd name="connsiteY12" fmla="*/ 327660 h 1851660"/>
                <a:gd name="connsiteX13" fmla="*/ 365760 w 670560"/>
                <a:gd name="connsiteY13" fmla="*/ 358140 h 1851660"/>
                <a:gd name="connsiteX14" fmla="*/ 266700 w 670560"/>
                <a:gd name="connsiteY14" fmla="*/ 426720 h 1851660"/>
                <a:gd name="connsiteX15" fmla="*/ 259080 w 670560"/>
                <a:gd name="connsiteY15" fmla="*/ 449580 h 1851660"/>
                <a:gd name="connsiteX16" fmla="*/ 236220 w 670560"/>
                <a:gd name="connsiteY16" fmla="*/ 464820 h 1851660"/>
                <a:gd name="connsiteX17" fmla="*/ 205740 w 670560"/>
                <a:gd name="connsiteY17" fmla="*/ 495300 h 1851660"/>
                <a:gd name="connsiteX18" fmla="*/ 167640 w 670560"/>
                <a:gd name="connsiteY18" fmla="*/ 541020 h 1851660"/>
                <a:gd name="connsiteX19" fmla="*/ 160020 w 670560"/>
                <a:gd name="connsiteY19" fmla="*/ 563880 h 1851660"/>
                <a:gd name="connsiteX20" fmla="*/ 91440 w 670560"/>
                <a:gd name="connsiteY20" fmla="*/ 617220 h 1851660"/>
                <a:gd name="connsiteX21" fmla="*/ 60960 w 670560"/>
                <a:gd name="connsiteY21" fmla="*/ 624840 h 1851660"/>
                <a:gd name="connsiteX22" fmla="*/ 45720 w 670560"/>
                <a:gd name="connsiteY22" fmla="*/ 647700 h 1851660"/>
                <a:gd name="connsiteX23" fmla="*/ 30480 w 670560"/>
                <a:gd name="connsiteY23" fmla="*/ 716280 h 1851660"/>
                <a:gd name="connsiteX24" fmla="*/ 7620 w 670560"/>
                <a:gd name="connsiteY24" fmla="*/ 769620 h 1851660"/>
                <a:gd name="connsiteX25" fmla="*/ 0 w 670560"/>
                <a:gd name="connsiteY25" fmla="*/ 792480 h 1851660"/>
                <a:gd name="connsiteX26" fmla="*/ 15240 w 670560"/>
                <a:gd name="connsiteY26" fmla="*/ 891540 h 1851660"/>
                <a:gd name="connsiteX27" fmla="*/ 22860 w 670560"/>
                <a:gd name="connsiteY27" fmla="*/ 929640 h 1851660"/>
                <a:gd name="connsiteX28" fmla="*/ 30480 w 670560"/>
                <a:gd name="connsiteY28" fmla="*/ 1021080 h 1851660"/>
                <a:gd name="connsiteX29" fmla="*/ 45720 w 670560"/>
                <a:gd name="connsiteY29" fmla="*/ 1043940 h 1851660"/>
                <a:gd name="connsiteX30" fmla="*/ 53340 w 670560"/>
                <a:gd name="connsiteY30" fmla="*/ 1066800 h 1851660"/>
                <a:gd name="connsiteX31" fmla="*/ 60960 w 670560"/>
                <a:gd name="connsiteY31" fmla="*/ 1120140 h 1851660"/>
                <a:gd name="connsiteX32" fmla="*/ 76200 w 670560"/>
                <a:gd name="connsiteY32" fmla="*/ 1203960 h 1851660"/>
                <a:gd name="connsiteX33" fmla="*/ 60960 w 670560"/>
                <a:gd name="connsiteY33" fmla="*/ 1653540 h 1851660"/>
                <a:gd name="connsiteX34" fmla="*/ 45720 w 670560"/>
                <a:gd name="connsiteY34" fmla="*/ 1691640 h 1851660"/>
                <a:gd name="connsiteX35" fmla="*/ 38100 w 670560"/>
                <a:gd name="connsiteY35" fmla="*/ 1737360 h 1851660"/>
                <a:gd name="connsiteX36" fmla="*/ 30480 w 670560"/>
                <a:gd name="connsiteY36" fmla="*/ 1760220 h 1851660"/>
                <a:gd name="connsiteX37" fmla="*/ 22860 w 670560"/>
                <a:gd name="connsiteY37" fmla="*/ 1813560 h 1851660"/>
                <a:gd name="connsiteX38" fmla="*/ 15240 w 670560"/>
                <a:gd name="connsiteY38" fmla="*/ 1851660 h 1851660"/>
                <a:gd name="connsiteX0" fmla="*/ 670560 w 670560"/>
                <a:gd name="connsiteY0" fmla="*/ 0 h 1851660"/>
                <a:gd name="connsiteX1" fmla="*/ 662940 w 670560"/>
                <a:gd name="connsiteY1" fmla="*/ 38100 h 1851660"/>
                <a:gd name="connsiteX2" fmla="*/ 617220 w 670560"/>
                <a:gd name="connsiteY2" fmla="*/ 83820 h 1851660"/>
                <a:gd name="connsiteX3" fmla="*/ 594360 w 670560"/>
                <a:gd name="connsiteY3" fmla="*/ 106680 h 1851660"/>
                <a:gd name="connsiteX4" fmla="*/ 548640 w 670560"/>
                <a:gd name="connsiteY4" fmla="*/ 129540 h 1851660"/>
                <a:gd name="connsiteX5" fmla="*/ 541020 w 670560"/>
                <a:gd name="connsiteY5" fmla="*/ 152400 h 1851660"/>
                <a:gd name="connsiteX6" fmla="*/ 502920 w 670560"/>
                <a:gd name="connsiteY6" fmla="*/ 198120 h 1851660"/>
                <a:gd name="connsiteX7" fmla="*/ 495300 w 670560"/>
                <a:gd name="connsiteY7" fmla="*/ 220980 h 1851660"/>
                <a:gd name="connsiteX8" fmla="*/ 472440 w 670560"/>
                <a:gd name="connsiteY8" fmla="*/ 243840 h 1851660"/>
                <a:gd name="connsiteX9" fmla="*/ 449580 w 670560"/>
                <a:gd name="connsiteY9" fmla="*/ 274320 h 1851660"/>
                <a:gd name="connsiteX10" fmla="*/ 441960 w 670560"/>
                <a:gd name="connsiteY10" fmla="*/ 304800 h 1851660"/>
                <a:gd name="connsiteX11" fmla="*/ 411480 w 670560"/>
                <a:gd name="connsiteY11" fmla="*/ 312420 h 1851660"/>
                <a:gd name="connsiteX12" fmla="*/ 388620 w 670560"/>
                <a:gd name="connsiteY12" fmla="*/ 327660 h 1851660"/>
                <a:gd name="connsiteX13" fmla="*/ 365760 w 670560"/>
                <a:gd name="connsiteY13" fmla="*/ 358140 h 1851660"/>
                <a:gd name="connsiteX14" fmla="*/ 266700 w 670560"/>
                <a:gd name="connsiteY14" fmla="*/ 426720 h 1851660"/>
                <a:gd name="connsiteX15" fmla="*/ 259080 w 670560"/>
                <a:gd name="connsiteY15" fmla="*/ 449580 h 1851660"/>
                <a:gd name="connsiteX16" fmla="*/ 236220 w 670560"/>
                <a:gd name="connsiteY16" fmla="*/ 464820 h 1851660"/>
                <a:gd name="connsiteX17" fmla="*/ 205740 w 670560"/>
                <a:gd name="connsiteY17" fmla="*/ 495300 h 1851660"/>
                <a:gd name="connsiteX18" fmla="*/ 167640 w 670560"/>
                <a:gd name="connsiteY18" fmla="*/ 541020 h 1851660"/>
                <a:gd name="connsiteX19" fmla="*/ 160020 w 670560"/>
                <a:gd name="connsiteY19" fmla="*/ 563880 h 1851660"/>
                <a:gd name="connsiteX20" fmla="*/ 91440 w 670560"/>
                <a:gd name="connsiteY20" fmla="*/ 617220 h 1851660"/>
                <a:gd name="connsiteX21" fmla="*/ 60960 w 670560"/>
                <a:gd name="connsiteY21" fmla="*/ 624840 h 1851660"/>
                <a:gd name="connsiteX22" fmla="*/ 45720 w 670560"/>
                <a:gd name="connsiteY22" fmla="*/ 647700 h 1851660"/>
                <a:gd name="connsiteX23" fmla="*/ 7620 w 670560"/>
                <a:gd name="connsiteY23" fmla="*/ 769620 h 1851660"/>
                <a:gd name="connsiteX24" fmla="*/ 0 w 670560"/>
                <a:gd name="connsiteY24" fmla="*/ 792480 h 1851660"/>
                <a:gd name="connsiteX25" fmla="*/ 15240 w 670560"/>
                <a:gd name="connsiteY25" fmla="*/ 891540 h 1851660"/>
                <a:gd name="connsiteX26" fmla="*/ 22860 w 670560"/>
                <a:gd name="connsiteY26" fmla="*/ 929640 h 1851660"/>
                <a:gd name="connsiteX27" fmla="*/ 30480 w 670560"/>
                <a:gd name="connsiteY27" fmla="*/ 1021080 h 1851660"/>
                <a:gd name="connsiteX28" fmla="*/ 45720 w 670560"/>
                <a:gd name="connsiteY28" fmla="*/ 1043940 h 1851660"/>
                <a:gd name="connsiteX29" fmla="*/ 53340 w 670560"/>
                <a:gd name="connsiteY29" fmla="*/ 1066800 h 1851660"/>
                <a:gd name="connsiteX30" fmla="*/ 60960 w 670560"/>
                <a:gd name="connsiteY30" fmla="*/ 1120140 h 1851660"/>
                <a:gd name="connsiteX31" fmla="*/ 76200 w 670560"/>
                <a:gd name="connsiteY31" fmla="*/ 1203960 h 1851660"/>
                <a:gd name="connsiteX32" fmla="*/ 60960 w 670560"/>
                <a:gd name="connsiteY32" fmla="*/ 1653540 h 1851660"/>
                <a:gd name="connsiteX33" fmla="*/ 45720 w 670560"/>
                <a:gd name="connsiteY33" fmla="*/ 1691640 h 1851660"/>
                <a:gd name="connsiteX34" fmla="*/ 38100 w 670560"/>
                <a:gd name="connsiteY34" fmla="*/ 1737360 h 1851660"/>
                <a:gd name="connsiteX35" fmla="*/ 30480 w 670560"/>
                <a:gd name="connsiteY35" fmla="*/ 1760220 h 1851660"/>
                <a:gd name="connsiteX36" fmla="*/ 22860 w 670560"/>
                <a:gd name="connsiteY36" fmla="*/ 1813560 h 1851660"/>
                <a:gd name="connsiteX37" fmla="*/ 15240 w 670560"/>
                <a:gd name="connsiteY37" fmla="*/ 1851660 h 1851660"/>
                <a:gd name="connsiteX0" fmla="*/ 670560 w 670560"/>
                <a:gd name="connsiteY0" fmla="*/ 0 h 1851660"/>
                <a:gd name="connsiteX1" fmla="*/ 662940 w 670560"/>
                <a:gd name="connsiteY1" fmla="*/ 38100 h 1851660"/>
                <a:gd name="connsiteX2" fmla="*/ 617220 w 670560"/>
                <a:gd name="connsiteY2" fmla="*/ 83820 h 1851660"/>
                <a:gd name="connsiteX3" fmla="*/ 594360 w 670560"/>
                <a:gd name="connsiteY3" fmla="*/ 106680 h 1851660"/>
                <a:gd name="connsiteX4" fmla="*/ 548640 w 670560"/>
                <a:gd name="connsiteY4" fmla="*/ 129540 h 1851660"/>
                <a:gd name="connsiteX5" fmla="*/ 541020 w 670560"/>
                <a:gd name="connsiteY5" fmla="*/ 152400 h 1851660"/>
                <a:gd name="connsiteX6" fmla="*/ 502920 w 670560"/>
                <a:gd name="connsiteY6" fmla="*/ 198120 h 1851660"/>
                <a:gd name="connsiteX7" fmla="*/ 495300 w 670560"/>
                <a:gd name="connsiteY7" fmla="*/ 220980 h 1851660"/>
                <a:gd name="connsiteX8" fmla="*/ 472440 w 670560"/>
                <a:gd name="connsiteY8" fmla="*/ 243840 h 1851660"/>
                <a:gd name="connsiteX9" fmla="*/ 449580 w 670560"/>
                <a:gd name="connsiteY9" fmla="*/ 274320 h 1851660"/>
                <a:gd name="connsiteX10" fmla="*/ 441960 w 670560"/>
                <a:gd name="connsiteY10" fmla="*/ 304800 h 1851660"/>
                <a:gd name="connsiteX11" fmla="*/ 411480 w 670560"/>
                <a:gd name="connsiteY11" fmla="*/ 312420 h 1851660"/>
                <a:gd name="connsiteX12" fmla="*/ 388620 w 670560"/>
                <a:gd name="connsiteY12" fmla="*/ 327660 h 1851660"/>
                <a:gd name="connsiteX13" fmla="*/ 365760 w 670560"/>
                <a:gd name="connsiteY13" fmla="*/ 358140 h 1851660"/>
                <a:gd name="connsiteX14" fmla="*/ 266700 w 670560"/>
                <a:gd name="connsiteY14" fmla="*/ 426720 h 1851660"/>
                <a:gd name="connsiteX15" fmla="*/ 259080 w 670560"/>
                <a:gd name="connsiteY15" fmla="*/ 449580 h 1851660"/>
                <a:gd name="connsiteX16" fmla="*/ 236220 w 670560"/>
                <a:gd name="connsiteY16" fmla="*/ 464820 h 1851660"/>
                <a:gd name="connsiteX17" fmla="*/ 205740 w 670560"/>
                <a:gd name="connsiteY17" fmla="*/ 495300 h 1851660"/>
                <a:gd name="connsiteX18" fmla="*/ 167640 w 670560"/>
                <a:gd name="connsiteY18" fmla="*/ 541020 h 1851660"/>
                <a:gd name="connsiteX19" fmla="*/ 160020 w 670560"/>
                <a:gd name="connsiteY19" fmla="*/ 563880 h 1851660"/>
                <a:gd name="connsiteX20" fmla="*/ 91440 w 670560"/>
                <a:gd name="connsiteY20" fmla="*/ 617220 h 1851660"/>
                <a:gd name="connsiteX21" fmla="*/ 60960 w 670560"/>
                <a:gd name="connsiteY21" fmla="*/ 624840 h 1851660"/>
                <a:gd name="connsiteX22" fmla="*/ 7620 w 670560"/>
                <a:gd name="connsiteY22" fmla="*/ 769620 h 1851660"/>
                <a:gd name="connsiteX23" fmla="*/ 0 w 670560"/>
                <a:gd name="connsiteY23" fmla="*/ 792480 h 1851660"/>
                <a:gd name="connsiteX24" fmla="*/ 15240 w 670560"/>
                <a:gd name="connsiteY24" fmla="*/ 891540 h 1851660"/>
                <a:gd name="connsiteX25" fmla="*/ 22860 w 670560"/>
                <a:gd name="connsiteY25" fmla="*/ 929640 h 1851660"/>
                <a:gd name="connsiteX26" fmla="*/ 30480 w 670560"/>
                <a:gd name="connsiteY26" fmla="*/ 1021080 h 1851660"/>
                <a:gd name="connsiteX27" fmla="*/ 45720 w 670560"/>
                <a:gd name="connsiteY27" fmla="*/ 1043940 h 1851660"/>
                <a:gd name="connsiteX28" fmla="*/ 53340 w 670560"/>
                <a:gd name="connsiteY28" fmla="*/ 1066800 h 1851660"/>
                <a:gd name="connsiteX29" fmla="*/ 60960 w 670560"/>
                <a:gd name="connsiteY29" fmla="*/ 1120140 h 1851660"/>
                <a:gd name="connsiteX30" fmla="*/ 76200 w 670560"/>
                <a:gd name="connsiteY30" fmla="*/ 1203960 h 1851660"/>
                <a:gd name="connsiteX31" fmla="*/ 60960 w 670560"/>
                <a:gd name="connsiteY31" fmla="*/ 1653540 h 1851660"/>
                <a:gd name="connsiteX32" fmla="*/ 45720 w 670560"/>
                <a:gd name="connsiteY32" fmla="*/ 1691640 h 1851660"/>
                <a:gd name="connsiteX33" fmla="*/ 38100 w 670560"/>
                <a:gd name="connsiteY33" fmla="*/ 1737360 h 1851660"/>
                <a:gd name="connsiteX34" fmla="*/ 30480 w 670560"/>
                <a:gd name="connsiteY34" fmla="*/ 1760220 h 1851660"/>
                <a:gd name="connsiteX35" fmla="*/ 22860 w 670560"/>
                <a:gd name="connsiteY35" fmla="*/ 1813560 h 1851660"/>
                <a:gd name="connsiteX36" fmla="*/ 15240 w 670560"/>
                <a:gd name="connsiteY36" fmla="*/ 1851660 h 1851660"/>
                <a:gd name="connsiteX0" fmla="*/ 671556 w 671556"/>
                <a:gd name="connsiteY0" fmla="*/ 0 h 1851660"/>
                <a:gd name="connsiteX1" fmla="*/ 663936 w 671556"/>
                <a:gd name="connsiteY1" fmla="*/ 38100 h 1851660"/>
                <a:gd name="connsiteX2" fmla="*/ 618216 w 671556"/>
                <a:gd name="connsiteY2" fmla="*/ 83820 h 1851660"/>
                <a:gd name="connsiteX3" fmla="*/ 595356 w 671556"/>
                <a:gd name="connsiteY3" fmla="*/ 106680 h 1851660"/>
                <a:gd name="connsiteX4" fmla="*/ 549636 w 671556"/>
                <a:gd name="connsiteY4" fmla="*/ 129540 h 1851660"/>
                <a:gd name="connsiteX5" fmla="*/ 542016 w 671556"/>
                <a:gd name="connsiteY5" fmla="*/ 152400 h 1851660"/>
                <a:gd name="connsiteX6" fmla="*/ 503916 w 671556"/>
                <a:gd name="connsiteY6" fmla="*/ 198120 h 1851660"/>
                <a:gd name="connsiteX7" fmla="*/ 496296 w 671556"/>
                <a:gd name="connsiteY7" fmla="*/ 220980 h 1851660"/>
                <a:gd name="connsiteX8" fmla="*/ 473436 w 671556"/>
                <a:gd name="connsiteY8" fmla="*/ 243840 h 1851660"/>
                <a:gd name="connsiteX9" fmla="*/ 450576 w 671556"/>
                <a:gd name="connsiteY9" fmla="*/ 274320 h 1851660"/>
                <a:gd name="connsiteX10" fmla="*/ 442956 w 671556"/>
                <a:gd name="connsiteY10" fmla="*/ 304800 h 1851660"/>
                <a:gd name="connsiteX11" fmla="*/ 412476 w 671556"/>
                <a:gd name="connsiteY11" fmla="*/ 312420 h 1851660"/>
                <a:gd name="connsiteX12" fmla="*/ 389616 w 671556"/>
                <a:gd name="connsiteY12" fmla="*/ 327660 h 1851660"/>
                <a:gd name="connsiteX13" fmla="*/ 366756 w 671556"/>
                <a:gd name="connsiteY13" fmla="*/ 358140 h 1851660"/>
                <a:gd name="connsiteX14" fmla="*/ 267696 w 671556"/>
                <a:gd name="connsiteY14" fmla="*/ 426720 h 1851660"/>
                <a:gd name="connsiteX15" fmla="*/ 260076 w 671556"/>
                <a:gd name="connsiteY15" fmla="*/ 449580 h 1851660"/>
                <a:gd name="connsiteX16" fmla="*/ 237216 w 671556"/>
                <a:gd name="connsiteY16" fmla="*/ 464820 h 1851660"/>
                <a:gd name="connsiteX17" fmla="*/ 206736 w 671556"/>
                <a:gd name="connsiteY17" fmla="*/ 495300 h 1851660"/>
                <a:gd name="connsiteX18" fmla="*/ 168636 w 671556"/>
                <a:gd name="connsiteY18" fmla="*/ 541020 h 1851660"/>
                <a:gd name="connsiteX19" fmla="*/ 161016 w 671556"/>
                <a:gd name="connsiteY19" fmla="*/ 563880 h 1851660"/>
                <a:gd name="connsiteX20" fmla="*/ 92436 w 671556"/>
                <a:gd name="connsiteY20" fmla="*/ 617220 h 1851660"/>
                <a:gd name="connsiteX21" fmla="*/ 8616 w 671556"/>
                <a:gd name="connsiteY21" fmla="*/ 769620 h 1851660"/>
                <a:gd name="connsiteX22" fmla="*/ 996 w 671556"/>
                <a:gd name="connsiteY22" fmla="*/ 792480 h 1851660"/>
                <a:gd name="connsiteX23" fmla="*/ 16236 w 671556"/>
                <a:gd name="connsiteY23" fmla="*/ 891540 h 1851660"/>
                <a:gd name="connsiteX24" fmla="*/ 23856 w 671556"/>
                <a:gd name="connsiteY24" fmla="*/ 929640 h 1851660"/>
                <a:gd name="connsiteX25" fmla="*/ 31476 w 671556"/>
                <a:gd name="connsiteY25" fmla="*/ 1021080 h 1851660"/>
                <a:gd name="connsiteX26" fmla="*/ 46716 w 671556"/>
                <a:gd name="connsiteY26" fmla="*/ 1043940 h 1851660"/>
                <a:gd name="connsiteX27" fmla="*/ 54336 w 671556"/>
                <a:gd name="connsiteY27" fmla="*/ 1066800 h 1851660"/>
                <a:gd name="connsiteX28" fmla="*/ 61956 w 671556"/>
                <a:gd name="connsiteY28" fmla="*/ 1120140 h 1851660"/>
                <a:gd name="connsiteX29" fmla="*/ 77196 w 671556"/>
                <a:gd name="connsiteY29" fmla="*/ 1203960 h 1851660"/>
                <a:gd name="connsiteX30" fmla="*/ 61956 w 671556"/>
                <a:gd name="connsiteY30" fmla="*/ 1653540 h 1851660"/>
                <a:gd name="connsiteX31" fmla="*/ 46716 w 671556"/>
                <a:gd name="connsiteY31" fmla="*/ 1691640 h 1851660"/>
                <a:gd name="connsiteX32" fmla="*/ 39096 w 671556"/>
                <a:gd name="connsiteY32" fmla="*/ 1737360 h 1851660"/>
                <a:gd name="connsiteX33" fmla="*/ 31476 w 671556"/>
                <a:gd name="connsiteY33" fmla="*/ 1760220 h 1851660"/>
                <a:gd name="connsiteX34" fmla="*/ 23856 w 671556"/>
                <a:gd name="connsiteY34" fmla="*/ 1813560 h 1851660"/>
                <a:gd name="connsiteX35" fmla="*/ 16236 w 671556"/>
                <a:gd name="connsiteY35" fmla="*/ 1851660 h 1851660"/>
                <a:gd name="connsiteX0" fmla="*/ 676417 w 676417"/>
                <a:gd name="connsiteY0" fmla="*/ 0 h 1851660"/>
                <a:gd name="connsiteX1" fmla="*/ 668797 w 676417"/>
                <a:gd name="connsiteY1" fmla="*/ 38100 h 1851660"/>
                <a:gd name="connsiteX2" fmla="*/ 623077 w 676417"/>
                <a:gd name="connsiteY2" fmla="*/ 83820 h 1851660"/>
                <a:gd name="connsiteX3" fmla="*/ 600217 w 676417"/>
                <a:gd name="connsiteY3" fmla="*/ 106680 h 1851660"/>
                <a:gd name="connsiteX4" fmla="*/ 554497 w 676417"/>
                <a:gd name="connsiteY4" fmla="*/ 129540 h 1851660"/>
                <a:gd name="connsiteX5" fmla="*/ 546877 w 676417"/>
                <a:gd name="connsiteY5" fmla="*/ 152400 h 1851660"/>
                <a:gd name="connsiteX6" fmla="*/ 508777 w 676417"/>
                <a:gd name="connsiteY6" fmla="*/ 198120 h 1851660"/>
                <a:gd name="connsiteX7" fmla="*/ 501157 w 676417"/>
                <a:gd name="connsiteY7" fmla="*/ 220980 h 1851660"/>
                <a:gd name="connsiteX8" fmla="*/ 478297 w 676417"/>
                <a:gd name="connsiteY8" fmla="*/ 243840 h 1851660"/>
                <a:gd name="connsiteX9" fmla="*/ 455437 w 676417"/>
                <a:gd name="connsiteY9" fmla="*/ 274320 h 1851660"/>
                <a:gd name="connsiteX10" fmla="*/ 447817 w 676417"/>
                <a:gd name="connsiteY10" fmla="*/ 304800 h 1851660"/>
                <a:gd name="connsiteX11" fmla="*/ 417337 w 676417"/>
                <a:gd name="connsiteY11" fmla="*/ 312420 h 1851660"/>
                <a:gd name="connsiteX12" fmla="*/ 394477 w 676417"/>
                <a:gd name="connsiteY12" fmla="*/ 327660 h 1851660"/>
                <a:gd name="connsiteX13" fmla="*/ 371617 w 676417"/>
                <a:gd name="connsiteY13" fmla="*/ 358140 h 1851660"/>
                <a:gd name="connsiteX14" fmla="*/ 272557 w 676417"/>
                <a:gd name="connsiteY14" fmla="*/ 426720 h 1851660"/>
                <a:gd name="connsiteX15" fmla="*/ 264937 w 676417"/>
                <a:gd name="connsiteY15" fmla="*/ 449580 h 1851660"/>
                <a:gd name="connsiteX16" fmla="*/ 242077 w 676417"/>
                <a:gd name="connsiteY16" fmla="*/ 464820 h 1851660"/>
                <a:gd name="connsiteX17" fmla="*/ 211597 w 676417"/>
                <a:gd name="connsiteY17" fmla="*/ 495300 h 1851660"/>
                <a:gd name="connsiteX18" fmla="*/ 173497 w 676417"/>
                <a:gd name="connsiteY18" fmla="*/ 541020 h 1851660"/>
                <a:gd name="connsiteX19" fmla="*/ 165877 w 676417"/>
                <a:gd name="connsiteY19" fmla="*/ 563880 h 1851660"/>
                <a:gd name="connsiteX20" fmla="*/ 13477 w 676417"/>
                <a:gd name="connsiteY20" fmla="*/ 769620 h 1851660"/>
                <a:gd name="connsiteX21" fmla="*/ 5857 w 676417"/>
                <a:gd name="connsiteY21" fmla="*/ 792480 h 1851660"/>
                <a:gd name="connsiteX22" fmla="*/ 21097 w 676417"/>
                <a:gd name="connsiteY22" fmla="*/ 891540 h 1851660"/>
                <a:gd name="connsiteX23" fmla="*/ 28717 w 676417"/>
                <a:gd name="connsiteY23" fmla="*/ 929640 h 1851660"/>
                <a:gd name="connsiteX24" fmla="*/ 36337 w 676417"/>
                <a:gd name="connsiteY24" fmla="*/ 1021080 h 1851660"/>
                <a:gd name="connsiteX25" fmla="*/ 51577 w 676417"/>
                <a:gd name="connsiteY25" fmla="*/ 1043940 h 1851660"/>
                <a:gd name="connsiteX26" fmla="*/ 59197 w 676417"/>
                <a:gd name="connsiteY26" fmla="*/ 1066800 h 1851660"/>
                <a:gd name="connsiteX27" fmla="*/ 66817 w 676417"/>
                <a:gd name="connsiteY27" fmla="*/ 1120140 h 1851660"/>
                <a:gd name="connsiteX28" fmla="*/ 82057 w 676417"/>
                <a:gd name="connsiteY28" fmla="*/ 1203960 h 1851660"/>
                <a:gd name="connsiteX29" fmla="*/ 66817 w 676417"/>
                <a:gd name="connsiteY29" fmla="*/ 1653540 h 1851660"/>
                <a:gd name="connsiteX30" fmla="*/ 51577 w 676417"/>
                <a:gd name="connsiteY30" fmla="*/ 1691640 h 1851660"/>
                <a:gd name="connsiteX31" fmla="*/ 43957 w 676417"/>
                <a:gd name="connsiteY31" fmla="*/ 1737360 h 1851660"/>
                <a:gd name="connsiteX32" fmla="*/ 36337 w 676417"/>
                <a:gd name="connsiteY32" fmla="*/ 1760220 h 1851660"/>
                <a:gd name="connsiteX33" fmla="*/ 28717 w 676417"/>
                <a:gd name="connsiteY33" fmla="*/ 1813560 h 1851660"/>
                <a:gd name="connsiteX34" fmla="*/ 21097 w 676417"/>
                <a:gd name="connsiteY34" fmla="*/ 1851660 h 1851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6417" h="1851660">
                  <a:moveTo>
                    <a:pt x="676417" y="0"/>
                  </a:moveTo>
                  <a:cubicBezTo>
                    <a:pt x="673877" y="12700"/>
                    <a:pt x="673345" y="25973"/>
                    <a:pt x="668797" y="38100"/>
                  </a:cubicBezTo>
                  <a:cubicBezTo>
                    <a:pt x="659266" y="63516"/>
                    <a:pt x="643198" y="66574"/>
                    <a:pt x="623077" y="83820"/>
                  </a:cubicBezTo>
                  <a:cubicBezTo>
                    <a:pt x="614895" y="90833"/>
                    <a:pt x="608496" y="99781"/>
                    <a:pt x="600217" y="106680"/>
                  </a:cubicBezTo>
                  <a:cubicBezTo>
                    <a:pt x="580522" y="123093"/>
                    <a:pt x="577408" y="121903"/>
                    <a:pt x="554497" y="129540"/>
                  </a:cubicBezTo>
                  <a:cubicBezTo>
                    <a:pt x="551957" y="137160"/>
                    <a:pt x="550469" y="145216"/>
                    <a:pt x="546877" y="152400"/>
                  </a:cubicBezTo>
                  <a:cubicBezTo>
                    <a:pt x="536268" y="173618"/>
                    <a:pt x="525629" y="181268"/>
                    <a:pt x="508777" y="198120"/>
                  </a:cubicBezTo>
                  <a:cubicBezTo>
                    <a:pt x="506237" y="205740"/>
                    <a:pt x="505612" y="214297"/>
                    <a:pt x="501157" y="220980"/>
                  </a:cubicBezTo>
                  <a:cubicBezTo>
                    <a:pt x="495179" y="229946"/>
                    <a:pt x="485310" y="235658"/>
                    <a:pt x="478297" y="243840"/>
                  </a:cubicBezTo>
                  <a:cubicBezTo>
                    <a:pt x="470032" y="253483"/>
                    <a:pt x="463057" y="264160"/>
                    <a:pt x="455437" y="274320"/>
                  </a:cubicBezTo>
                  <a:cubicBezTo>
                    <a:pt x="452897" y="284480"/>
                    <a:pt x="455222" y="297395"/>
                    <a:pt x="447817" y="304800"/>
                  </a:cubicBezTo>
                  <a:cubicBezTo>
                    <a:pt x="440412" y="312205"/>
                    <a:pt x="426963" y="308295"/>
                    <a:pt x="417337" y="312420"/>
                  </a:cubicBezTo>
                  <a:cubicBezTo>
                    <a:pt x="408919" y="316028"/>
                    <a:pt x="400953" y="321184"/>
                    <a:pt x="394477" y="327660"/>
                  </a:cubicBezTo>
                  <a:cubicBezTo>
                    <a:pt x="385497" y="336640"/>
                    <a:pt x="381474" y="350131"/>
                    <a:pt x="371617" y="358140"/>
                  </a:cubicBezTo>
                  <a:cubicBezTo>
                    <a:pt x="340448" y="383465"/>
                    <a:pt x="305577" y="403860"/>
                    <a:pt x="272557" y="426720"/>
                  </a:cubicBezTo>
                  <a:cubicBezTo>
                    <a:pt x="270017" y="434340"/>
                    <a:pt x="269955" y="443308"/>
                    <a:pt x="264937" y="449580"/>
                  </a:cubicBezTo>
                  <a:cubicBezTo>
                    <a:pt x="259216" y="456731"/>
                    <a:pt x="249030" y="458860"/>
                    <a:pt x="242077" y="464820"/>
                  </a:cubicBezTo>
                  <a:cubicBezTo>
                    <a:pt x="231168" y="474171"/>
                    <a:pt x="220948" y="484391"/>
                    <a:pt x="211597" y="495300"/>
                  </a:cubicBezTo>
                  <a:cubicBezTo>
                    <a:pt x="147944" y="569562"/>
                    <a:pt x="252766" y="461751"/>
                    <a:pt x="173497" y="541020"/>
                  </a:cubicBezTo>
                  <a:cubicBezTo>
                    <a:pt x="170957" y="548640"/>
                    <a:pt x="192547" y="525780"/>
                    <a:pt x="165877" y="563880"/>
                  </a:cubicBezTo>
                  <a:cubicBezTo>
                    <a:pt x="139207" y="601980"/>
                    <a:pt x="40147" y="731520"/>
                    <a:pt x="13477" y="769620"/>
                  </a:cubicBezTo>
                  <a:cubicBezTo>
                    <a:pt x="-13193" y="807720"/>
                    <a:pt x="8397" y="784860"/>
                    <a:pt x="5857" y="792480"/>
                  </a:cubicBezTo>
                  <a:cubicBezTo>
                    <a:pt x="11565" y="832437"/>
                    <a:pt x="14049" y="852773"/>
                    <a:pt x="21097" y="891540"/>
                  </a:cubicBezTo>
                  <a:cubicBezTo>
                    <a:pt x="23414" y="904283"/>
                    <a:pt x="26177" y="916940"/>
                    <a:pt x="28717" y="929640"/>
                  </a:cubicBezTo>
                  <a:cubicBezTo>
                    <a:pt x="31257" y="960120"/>
                    <a:pt x="30339" y="991088"/>
                    <a:pt x="36337" y="1021080"/>
                  </a:cubicBezTo>
                  <a:cubicBezTo>
                    <a:pt x="38133" y="1030060"/>
                    <a:pt x="47481" y="1035749"/>
                    <a:pt x="51577" y="1043940"/>
                  </a:cubicBezTo>
                  <a:cubicBezTo>
                    <a:pt x="55169" y="1051124"/>
                    <a:pt x="56657" y="1059180"/>
                    <a:pt x="59197" y="1066800"/>
                  </a:cubicBezTo>
                  <a:cubicBezTo>
                    <a:pt x="61737" y="1084580"/>
                    <a:pt x="64443" y="1102337"/>
                    <a:pt x="66817" y="1120140"/>
                  </a:cubicBezTo>
                  <a:cubicBezTo>
                    <a:pt x="76391" y="1191942"/>
                    <a:pt x="67586" y="1160546"/>
                    <a:pt x="82057" y="1203960"/>
                  </a:cubicBezTo>
                  <a:cubicBezTo>
                    <a:pt x="80117" y="1312595"/>
                    <a:pt x="119096" y="1514130"/>
                    <a:pt x="66817" y="1653540"/>
                  </a:cubicBezTo>
                  <a:cubicBezTo>
                    <a:pt x="62014" y="1666347"/>
                    <a:pt x="56657" y="1678940"/>
                    <a:pt x="51577" y="1691640"/>
                  </a:cubicBezTo>
                  <a:cubicBezTo>
                    <a:pt x="49037" y="1706880"/>
                    <a:pt x="47309" y="1722278"/>
                    <a:pt x="43957" y="1737360"/>
                  </a:cubicBezTo>
                  <a:cubicBezTo>
                    <a:pt x="42215" y="1745201"/>
                    <a:pt x="37912" y="1752344"/>
                    <a:pt x="36337" y="1760220"/>
                  </a:cubicBezTo>
                  <a:cubicBezTo>
                    <a:pt x="32815" y="1777832"/>
                    <a:pt x="31930" y="1795889"/>
                    <a:pt x="28717" y="1813560"/>
                  </a:cubicBezTo>
                  <a:cubicBezTo>
                    <a:pt x="20481" y="1858858"/>
                    <a:pt x="21097" y="1830571"/>
                    <a:pt x="21097" y="1851660"/>
                  </a:cubicBez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34" name="Freeform 33"/>
            <p:cNvSpPr/>
            <p:nvPr/>
          </p:nvSpPr>
          <p:spPr>
            <a:xfrm>
              <a:off x="661226" y="2073246"/>
              <a:ext cx="400131" cy="394417"/>
            </a:xfrm>
            <a:custGeom>
              <a:avLst/>
              <a:gdLst>
                <a:gd name="connsiteX0" fmla="*/ 22886 w 1095984"/>
                <a:gd name="connsiteY0" fmla="*/ 0 h 1057984"/>
                <a:gd name="connsiteX1" fmla="*/ 45558 w 1095984"/>
                <a:gd name="connsiteY1" fmla="*/ 249382 h 1057984"/>
                <a:gd name="connsiteX2" fmla="*/ 38000 w 1095984"/>
                <a:gd name="connsiteY2" fmla="*/ 294724 h 1057984"/>
                <a:gd name="connsiteX3" fmla="*/ 22886 w 1095984"/>
                <a:gd name="connsiteY3" fmla="*/ 317395 h 1057984"/>
                <a:gd name="connsiteX4" fmla="*/ 53115 w 1095984"/>
                <a:gd name="connsiteY4" fmla="*/ 377852 h 1057984"/>
                <a:gd name="connsiteX5" fmla="*/ 68229 w 1095984"/>
                <a:gd name="connsiteY5" fmla="*/ 559220 h 1057984"/>
                <a:gd name="connsiteX6" fmla="*/ 75786 w 1095984"/>
                <a:gd name="connsiteY6" fmla="*/ 581891 h 1057984"/>
                <a:gd name="connsiteX7" fmla="*/ 68229 w 1095984"/>
                <a:gd name="connsiteY7" fmla="*/ 627233 h 1057984"/>
                <a:gd name="connsiteX8" fmla="*/ 38000 w 1095984"/>
                <a:gd name="connsiteY8" fmla="*/ 657462 h 1057984"/>
                <a:gd name="connsiteX9" fmla="*/ 15329 w 1095984"/>
                <a:gd name="connsiteY9" fmla="*/ 687690 h 1057984"/>
                <a:gd name="connsiteX10" fmla="*/ 7772 w 1095984"/>
                <a:gd name="connsiteY10" fmla="*/ 717918 h 1057984"/>
                <a:gd name="connsiteX11" fmla="*/ 215 w 1095984"/>
                <a:gd name="connsiteY11" fmla="*/ 740589 h 1057984"/>
                <a:gd name="connsiteX12" fmla="*/ 7772 w 1095984"/>
                <a:gd name="connsiteY12" fmla="*/ 823716 h 1057984"/>
                <a:gd name="connsiteX13" fmla="*/ 45558 w 1095984"/>
                <a:gd name="connsiteY13" fmla="*/ 861501 h 1057984"/>
                <a:gd name="connsiteX14" fmla="*/ 98457 w 1095984"/>
                <a:gd name="connsiteY14" fmla="*/ 876615 h 1057984"/>
                <a:gd name="connsiteX15" fmla="*/ 128685 w 1095984"/>
                <a:gd name="connsiteY15" fmla="*/ 899286 h 1057984"/>
                <a:gd name="connsiteX16" fmla="*/ 143799 w 1095984"/>
                <a:gd name="connsiteY16" fmla="*/ 944629 h 1057984"/>
                <a:gd name="connsiteX17" fmla="*/ 158913 w 1095984"/>
                <a:gd name="connsiteY17" fmla="*/ 967300 h 1057984"/>
                <a:gd name="connsiteX18" fmla="*/ 166470 w 1095984"/>
                <a:gd name="connsiteY18" fmla="*/ 989971 h 1057984"/>
                <a:gd name="connsiteX19" fmla="*/ 189141 w 1095984"/>
                <a:gd name="connsiteY19" fmla="*/ 1005085 h 1057984"/>
                <a:gd name="connsiteX20" fmla="*/ 211812 w 1095984"/>
                <a:gd name="connsiteY20" fmla="*/ 1035313 h 1057984"/>
                <a:gd name="connsiteX21" fmla="*/ 234483 w 1095984"/>
                <a:gd name="connsiteY21" fmla="*/ 1042870 h 1057984"/>
                <a:gd name="connsiteX22" fmla="*/ 294939 w 1095984"/>
                <a:gd name="connsiteY22" fmla="*/ 1057984 h 1057984"/>
                <a:gd name="connsiteX23" fmla="*/ 748361 w 1095984"/>
                <a:gd name="connsiteY23" fmla="*/ 1050427 h 1057984"/>
                <a:gd name="connsiteX24" fmla="*/ 793703 w 1095984"/>
                <a:gd name="connsiteY24" fmla="*/ 1027756 h 1057984"/>
                <a:gd name="connsiteX25" fmla="*/ 839045 w 1095984"/>
                <a:gd name="connsiteY25" fmla="*/ 1012642 h 1057984"/>
                <a:gd name="connsiteX26" fmla="*/ 899501 w 1095984"/>
                <a:gd name="connsiteY26" fmla="*/ 967300 h 1057984"/>
                <a:gd name="connsiteX27" fmla="*/ 944843 w 1095984"/>
                <a:gd name="connsiteY27" fmla="*/ 944629 h 1057984"/>
                <a:gd name="connsiteX28" fmla="*/ 967515 w 1095984"/>
                <a:gd name="connsiteY28" fmla="*/ 937072 h 1057984"/>
                <a:gd name="connsiteX29" fmla="*/ 1027971 w 1095984"/>
                <a:gd name="connsiteY29" fmla="*/ 914400 h 1057984"/>
                <a:gd name="connsiteX30" fmla="*/ 1043085 w 1095984"/>
                <a:gd name="connsiteY30" fmla="*/ 891729 h 1057984"/>
                <a:gd name="connsiteX31" fmla="*/ 1058199 w 1095984"/>
                <a:gd name="connsiteY31" fmla="*/ 846387 h 1057984"/>
                <a:gd name="connsiteX32" fmla="*/ 1073313 w 1095984"/>
                <a:gd name="connsiteY32" fmla="*/ 823716 h 1057984"/>
                <a:gd name="connsiteX33" fmla="*/ 1095984 w 1095984"/>
                <a:gd name="connsiteY33" fmla="*/ 770817 h 1057984"/>
                <a:gd name="connsiteX0" fmla="*/ 22886 w 1073314"/>
                <a:gd name="connsiteY0" fmla="*/ 0 h 1057984"/>
                <a:gd name="connsiteX1" fmla="*/ 45558 w 1073314"/>
                <a:gd name="connsiteY1" fmla="*/ 249382 h 1057984"/>
                <a:gd name="connsiteX2" fmla="*/ 38000 w 1073314"/>
                <a:gd name="connsiteY2" fmla="*/ 294724 h 1057984"/>
                <a:gd name="connsiteX3" fmla="*/ 22886 w 1073314"/>
                <a:gd name="connsiteY3" fmla="*/ 317395 h 1057984"/>
                <a:gd name="connsiteX4" fmla="*/ 53115 w 1073314"/>
                <a:gd name="connsiteY4" fmla="*/ 377852 h 1057984"/>
                <a:gd name="connsiteX5" fmla="*/ 68229 w 1073314"/>
                <a:gd name="connsiteY5" fmla="*/ 559220 h 1057984"/>
                <a:gd name="connsiteX6" fmla="*/ 75786 w 1073314"/>
                <a:gd name="connsiteY6" fmla="*/ 581891 h 1057984"/>
                <a:gd name="connsiteX7" fmla="*/ 68229 w 1073314"/>
                <a:gd name="connsiteY7" fmla="*/ 627233 h 1057984"/>
                <a:gd name="connsiteX8" fmla="*/ 38000 w 1073314"/>
                <a:gd name="connsiteY8" fmla="*/ 657462 h 1057984"/>
                <a:gd name="connsiteX9" fmla="*/ 15329 w 1073314"/>
                <a:gd name="connsiteY9" fmla="*/ 687690 h 1057984"/>
                <a:gd name="connsiteX10" fmla="*/ 7772 w 1073314"/>
                <a:gd name="connsiteY10" fmla="*/ 717918 h 1057984"/>
                <a:gd name="connsiteX11" fmla="*/ 215 w 1073314"/>
                <a:gd name="connsiteY11" fmla="*/ 740589 h 1057984"/>
                <a:gd name="connsiteX12" fmla="*/ 7772 w 1073314"/>
                <a:gd name="connsiteY12" fmla="*/ 823716 h 1057984"/>
                <a:gd name="connsiteX13" fmla="*/ 45558 w 1073314"/>
                <a:gd name="connsiteY13" fmla="*/ 861501 h 1057984"/>
                <a:gd name="connsiteX14" fmla="*/ 98457 w 1073314"/>
                <a:gd name="connsiteY14" fmla="*/ 876615 h 1057984"/>
                <a:gd name="connsiteX15" fmla="*/ 128685 w 1073314"/>
                <a:gd name="connsiteY15" fmla="*/ 899286 h 1057984"/>
                <a:gd name="connsiteX16" fmla="*/ 143799 w 1073314"/>
                <a:gd name="connsiteY16" fmla="*/ 944629 h 1057984"/>
                <a:gd name="connsiteX17" fmla="*/ 158913 w 1073314"/>
                <a:gd name="connsiteY17" fmla="*/ 967300 h 1057984"/>
                <a:gd name="connsiteX18" fmla="*/ 166470 w 1073314"/>
                <a:gd name="connsiteY18" fmla="*/ 989971 h 1057984"/>
                <a:gd name="connsiteX19" fmla="*/ 189141 w 1073314"/>
                <a:gd name="connsiteY19" fmla="*/ 1005085 h 1057984"/>
                <a:gd name="connsiteX20" fmla="*/ 211812 w 1073314"/>
                <a:gd name="connsiteY20" fmla="*/ 1035313 h 1057984"/>
                <a:gd name="connsiteX21" fmla="*/ 234483 w 1073314"/>
                <a:gd name="connsiteY21" fmla="*/ 1042870 h 1057984"/>
                <a:gd name="connsiteX22" fmla="*/ 294939 w 1073314"/>
                <a:gd name="connsiteY22" fmla="*/ 1057984 h 1057984"/>
                <a:gd name="connsiteX23" fmla="*/ 748361 w 1073314"/>
                <a:gd name="connsiteY23" fmla="*/ 1050427 h 1057984"/>
                <a:gd name="connsiteX24" fmla="*/ 793703 w 1073314"/>
                <a:gd name="connsiteY24" fmla="*/ 1027756 h 1057984"/>
                <a:gd name="connsiteX25" fmla="*/ 839045 w 1073314"/>
                <a:gd name="connsiteY25" fmla="*/ 1012642 h 1057984"/>
                <a:gd name="connsiteX26" fmla="*/ 899501 w 1073314"/>
                <a:gd name="connsiteY26" fmla="*/ 967300 h 1057984"/>
                <a:gd name="connsiteX27" fmla="*/ 944843 w 1073314"/>
                <a:gd name="connsiteY27" fmla="*/ 944629 h 1057984"/>
                <a:gd name="connsiteX28" fmla="*/ 967515 w 1073314"/>
                <a:gd name="connsiteY28" fmla="*/ 937072 h 1057984"/>
                <a:gd name="connsiteX29" fmla="*/ 1027971 w 1073314"/>
                <a:gd name="connsiteY29" fmla="*/ 914400 h 1057984"/>
                <a:gd name="connsiteX30" fmla="*/ 1043085 w 1073314"/>
                <a:gd name="connsiteY30" fmla="*/ 891729 h 1057984"/>
                <a:gd name="connsiteX31" fmla="*/ 1058199 w 1073314"/>
                <a:gd name="connsiteY31" fmla="*/ 846387 h 1057984"/>
                <a:gd name="connsiteX32" fmla="*/ 1073313 w 1073314"/>
                <a:gd name="connsiteY32" fmla="*/ 823716 h 10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73314" h="1057984">
                  <a:moveTo>
                    <a:pt x="22886" y="0"/>
                  </a:moveTo>
                  <a:cubicBezTo>
                    <a:pt x="30443" y="83127"/>
                    <a:pt x="41283" y="166021"/>
                    <a:pt x="45558" y="249382"/>
                  </a:cubicBezTo>
                  <a:cubicBezTo>
                    <a:pt x="46343" y="264684"/>
                    <a:pt x="42846" y="280188"/>
                    <a:pt x="38000" y="294724"/>
                  </a:cubicBezTo>
                  <a:cubicBezTo>
                    <a:pt x="35128" y="303340"/>
                    <a:pt x="27924" y="309838"/>
                    <a:pt x="22886" y="317395"/>
                  </a:cubicBezTo>
                  <a:cubicBezTo>
                    <a:pt x="40253" y="369497"/>
                    <a:pt x="26734" y="351473"/>
                    <a:pt x="53115" y="377852"/>
                  </a:cubicBezTo>
                  <a:cubicBezTo>
                    <a:pt x="78613" y="454345"/>
                    <a:pt x="52357" y="368759"/>
                    <a:pt x="68229" y="559220"/>
                  </a:cubicBezTo>
                  <a:cubicBezTo>
                    <a:pt x="68891" y="567158"/>
                    <a:pt x="73267" y="574334"/>
                    <a:pt x="75786" y="581891"/>
                  </a:cubicBezTo>
                  <a:cubicBezTo>
                    <a:pt x="73267" y="597005"/>
                    <a:pt x="75081" y="613528"/>
                    <a:pt x="68229" y="627233"/>
                  </a:cubicBezTo>
                  <a:cubicBezTo>
                    <a:pt x="61856" y="639979"/>
                    <a:pt x="46550" y="646062"/>
                    <a:pt x="38000" y="657462"/>
                  </a:cubicBezTo>
                  <a:lnTo>
                    <a:pt x="15329" y="687690"/>
                  </a:lnTo>
                  <a:cubicBezTo>
                    <a:pt x="12810" y="697766"/>
                    <a:pt x="10625" y="707932"/>
                    <a:pt x="7772" y="717918"/>
                  </a:cubicBezTo>
                  <a:cubicBezTo>
                    <a:pt x="5584" y="725577"/>
                    <a:pt x="215" y="732623"/>
                    <a:pt x="215" y="740589"/>
                  </a:cubicBezTo>
                  <a:cubicBezTo>
                    <a:pt x="215" y="768412"/>
                    <a:pt x="-1998" y="797664"/>
                    <a:pt x="7772" y="823716"/>
                  </a:cubicBezTo>
                  <a:cubicBezTo>
                    <a:pt x="14026" y="840394"/>
                    <a:pt x="28278" y="857181"/>
                    <a:pt x="45558" y="861501"/>
                  </a:cubicBezTo>
                  <a:cubicBezTo>
                    <a:pt x="83514" y="870990"/>
                    <a:pt x="65933" y="865774"/>
                    <a:pt x="98457" y="876615"/>
                  </a:cubicBezTo>
                  <a:cubicBezTo>
                    <a:pt x="108533" y="884172"/>
                    <a:pt x="121699" y="888806"/>
                    <a:pt x="128685" y="899286"/>
                  </a:cubicBezTo>
                  <a:cubicBezTo>
                    <a:pt x="137522" y="912542"/>
                    <a:pt x="134962" y="931373"/>
                    <a:pt x="143799" y="944629"/>
                  </a:cubicBezTo>
                  <a:cubicBezTo>
                    <a:pt x="148837" y="952186"/>
                    <a:pt x="154851" y="959176"/>
                    <a:pt x="158913" y="967300"/>
                  </a:cubicBezTo>
                  <a:cubicBezTo>
                    <a:pt x="162475" y="974425"/>
                    <a:pt x="161494" y="983751"/>
                    <a:pt x="166470" y="989971"/>
                  </a:cubicBezTo>
                  <a:cubicBezTo>
                    <a:pt x="172144" y="997063"/>
                    <a:pt x="182719" y="998663"/>
                    <a:pt x="189141" y="1005085"/>
                  </a:cubicBezTo>
                  <a:cubicBezTo>
                    <a:pt x="198047" y="1013991"/>
                    <a:pt x="202136" y="1027250"/>
                    <a:pt x="211812" y="1035313"/>
                  </a:cubicBezTo>
                  <a:cubicBezTo>
                    <a:pt x="217931" y="1040413"/>
                    <a:pt x="226798" y="1040774"/>
                    <a:pt x="234483" y="1042870"/>
                  </a:cubicBezTo>
                  <a:cubicBezTo>
                    <a:pt x="254523" y="1048336"/>
                    <a:pt x="294939" y="1057984"/>
                    <a:pt x="294939" y="1057984"/>
                  </a:cubicBezTo>
                  <a:lnTo>
                    <a:pt x="748361" y="1050427"/>
                  </a:lnTo>
                  <a:cubicBezTo>
                    <a:pt x="770621" y="1049720"/>
                    <a:pt x="774696" y="1036203"/>
                    <a:pt x="793703" y="1027756"/>
                  </a:cubicBezTo>
                  <a:cubicBezTo>
                    <a:pt x="808261" y="1021286"/>
                    <a:pt x="839045" y="1012642"/>
                    <a:pt x="839045" y="1012642"/>
                  </a:cubicBezTo>
                  <a:cubicBezTo>
                    <a:pt x="859197" y="997528"/>
                    <a:pt x="875604" y="975266"/>
                    <a:pt x="899501" y="967300"/>
                  </a:cubicBezTo>
                  <a:cubicBezTo>
                    <a:pt x="956489" y="948304"/>
                    <a:pt x="886241" y="973929"/>
                    <a:pt x="944843" y="944629"/>
                  </a:cubicBezTo>
                  <a:cubicBezTo>
                    <a:pt x="951968" y="941067"/>
                    <a:pt x="960056" y="939869"/>
                    <a:pt x="967515" y="937072"/>
                  </a:cubicBezTo>
                  <a:cubicBezTo>
                    <a:pt x="1039815" y="909959"/>
                    <a:pt x="976506" y="931555"/>
                    <a:pt x="1027971" y="914400"/>
                  </a:cubicBezTo>
                  <a:cubicBezTo>
                    <a:pt x="1033009" y="906843"/>
                    <a:pt x="1039396" y="900029"/>
                    <a:pt x="1043085" y="891729"/>
                  </a:cubicBezTo>
                  <a:cubicBezTo>
                    <a:pt x="1049555" y="877171"/>
                    <a:pt x="1049362" y="859643"/>
                    <a:pt x="1058199" y="846387"/>
                  </a:cubicBezTo>
                  <a:cubicBezTo>
                    <a:pt x="1063237" y="838830"/>
                    <a:pt x="1069624" y="832016"/>
                    <a:pt x="1073313" y="823716"/>
                  </a:cubicBez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35" name="Freeform 34"/>
            <p:cNvSpPr/>
            <p:nvPr/>
          </p:nvSpPr>
          <p:spPr>
            <a:xfrm>
              <a:off x="523261" y="2109870"/>
              <a:ext cx="149315" cy="76066"/>
            </a:xfrm>
            <a:custGeom>
              <a:avLst/>
              <a:gdLst>
                <a:gd name="connsiteX0" fmla="*/ 0 w 400522"/>
                <a:gd name="connsiteY0" fmla="*/ 0 h 204039"/>
                <a:gd name="connsiteX1" fmla="*/ 120913 w 400522"/>
                <a:gd name="connsiteY1" fmla="*/ 98241 h 204039"/>
                <a:gd name="connsiteX2" fmla="*/ 173812 w 400522"/>
                <a:gd name="connsiteY2" fmla="*/ 120912 h 204039"/>
                <a:gd name="connsiteX3" fmla="*/ 188926 w 400522"/>
                <a:gd name="connsiteY3" fmla="*/ 143583 h 204039"/>
                <a:gd name="connsiteX4" fmla="*/ 234268 w 400522"/>
                <a:gd name="connsiteY4" fmla="*/ 166254 h 204039"/>
                <a:gd name="connsiteX5" fmla="*/ 256939 w 400522"/>
                <a:gd name="connsiteY5" fmla="*/ 188925 h 204039"/>
                <a:gd name="connsiteX6" fmla="*/ 279610 w 400522"/>
                <a:gd name="connsiteY6" fmla="*/ 196482 h 204039"/>
                <a:gd name="connsiteX7" fmla="*/ 355180 w 400522"/>
                <a:gd name="connsiteY7" fmla="*/ 204039 h 204039"/>
                <a:gd name="connsiteX8" fmla="*/ 400522 w 400522"/>
                <a:gd name="connsiteY8" fmla="*/ 196482 h 204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0522" h="204039">
                  <a:moveTo>
                    <a:pt x="0" y="0"/>
                  </a:moveTo>
                  <a:cubicBezTo>
                    <a:pt x="8368" y="7532"/>
                    <a:pt x="90629" y="88146"/>
                    <a:pt x="120913" y="98241"/>
                  </a:cubicBezTo>
                  <a:cubicBezTo>
                    <a:pt x="154271" y="109360"/>
                    <a:pt x="136459" y="102236"/>
                    <a:pt x="173812" y="120912"/>
                  </a:cubicBezTo>
                  <a:cubicBezTo>
                    <a:pt x="178850" y="128469"/>
                    <a:pt x="182504" y="137161"/>
                    <a:pt x="188926" y="143583"/>
                  </a:cubicBezTo>
                  <a:cubicBezTo>
                    <a:pt x="203575" y="158232"/>
                    <a:pt x="215829" y="160108"/>
                    <a:pt x="234268" y="166254"/>
                  </a:cubicBezTo>
                  <a:cubicBezTo>
                    <a:pt x="241825" y="173811"/>
                    <a:pt x="248047" y="182997"/>
                    <a:pt x="256939" y="188925"/>
                  </a:cubicBezTo>
                  <a:cubicBezTo>
                    <a:pt x="263567" y="193344"/>
                    <a:pt x="271737" y="195271"/>
                    <a:pt x="279610" y="196482"/>
                  </a:cubicBezTo>
                  <a:cubicBezTo>
                    <a:pt x="304631" y="200331"/>
                    <a:pt x="329990" y="201520"/>
                    <a:pt x="355180" y="204039"/>
                  </a:cubicBezTo>
                  <a:lnTo>
                    <a:pt x="400522" y="196482"/>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36" name="Freeform 35"/>
            <p:cNvSpPr/>
            <p:nvPr/>
          </p:nvSpPr>
          <p:spPr>
            <a:xfrm>
              <a:off x="337322" y="2318348"/>
              <a:ext cx="249885" cy="118325"/>
            </a:xfrm>
            <a:custGeom>
              <a:avLst/>
              <a:gdLst>
                <a:gd name="connsiteX0" fmla="*/ 0 w 670293"/>
                <a:gd name="connsiteY0" fmla="*/ 317395 h 317395"/>
                <a:gd name="connsiteX1" fmla="*/ 22671 w 670293"/>
                <a:gd name="connsiteY1" fmla="*/ 279610 h 317395"/>
                <a:gd name="connsiteX2" fmla="*/ 37785 w 670293"/>
                <a:gd name="connsiteY2" fmla="*/ 249381 h 317395"/>
                <a:gd name="connsiteX3" fmla="*/ 68013 w 670293"/>
                <a:gd name="connsiteY3" fmla="*/ 226710 h 317395"/>
                <a:gd name="connsiteX4" fmla="*/ 83127 w 670293"/>
                <a:gd name="connsiteY4" fmla="*/ 204039 h 317395"/>
                <a:gd name="connsiteX5" fmla="*/ 196482 w 670293"/>
                <a:gd name="connsiteY5" fmla="*/ 166254 h 317395"/>
                <a:gd name="connsiteX6" fmla="*/ 264495 w 670293"/>
                <a:gd name="connsiteY6" fmla="*/ 143583 h 317395"/>
                <a:gd name="connsiteX7" fmla="*/ 287166 w 670293"/>
                <a:gd name="connsiteY7" fmla="*/ 136026 h 317395"/>
                <a:gd name="connsiteX8" fmla="*/ 309838 w 670293"/>
                <a:gd name="connsiteY8" fmla="*/ 128469 h 317395"/>
                <a:gd name="connsiteX9" fmla="*/ 665018 w 670293"/>
                <a:gd name="connsiteY9" fmla="*/ 128469 h 317395"/>
                <a:gd name="connsiteX10" fmla="*/ 657461 w 670293"/>
                <a:gd name="connsiteY10" fmla="*/ 90684 h 317395"/>
                <a:gd name="connsiteX11" fmla="*/ 634790 w 670293"/>
                <a:gd name="connsiteY11" fmla="*/ 83127 h 317395"/>
                <a:gd name="connsiteX12" fmla="*/ 634790 w 670293"/>
                <a:gd name="connsiteY12" fmla="*/ 0 h 317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0293" h="317395">
                  <a:moveTo>
                    <a:pt x="0" y="317395"/>
                  </a:moveTo>
                  <a:cubicBezTo>
                    <a:pt x="7557" y="304800"/>
                    <a:pt x="15538" y="292450"/>
                    <a:pt x="22671" y="279610"/>
                  </a:cubicBezTo>
                  <a:cubicBezTo>
                    <a:pt x="28142" y="269762"/>
                    <a:pt x="30454" y="257935"/>
                    <a:pt x="37785" y="249381"/>
                  </a:cubicBezTo>
                  <a:cubicBezTo>
                    <a:pt x="45982" y="239818"/>
                    <a:pt x="59107" y="235616"/>
                    <a:pt x="68013" y="226710"/>
                  </a:cubicBezTo>
                  <a:cubicBezTo>
                    <a:pt x="74435" y="220288"/>
                    <a:pt x="75570" y="209077"/>
                    <a:pt x="83127" y="204039"/>
                  </a:cubicBezTo>
                  <a:cubicBezTo>
                    <a:pt x="121952" y="178156"/>
                    <a:pt x="153327" y="180639"/>
                    <a:pt x="196482" y="166254"/>
                  </a:cubicBezTo>
                  <a:lnTo>
                    <a:pt x="264495" y="143583"/>
                  </a:lnTo>
                  <a:lnTo>
                    <a:pt x="287166" y="136026"/>
                  </a:lnTo>
                  <a:lnTo>
                    <a:pt x="309838" y="128469"/>
                  </a:lnTo>
                  <a:cubicBezTo>
                    <a:pt x="421754" y="135930"/>
                    <a:pt x="559778" y="148838"/>
                    <a:pt x="665018" y="128469"/>
                  </a:cubicBezTo>
                  <a:cubicBezTo>
                    <a:pt x="677628" y="126028"/>
                    <a:pt x="664586" y="101371"/>
                    <a:pt x="657461" y="90684"/>
                  </a:cubicBezTo>
                  <a:cubicBezTo>
                    <a:pt x="653042" y="84056"/>
                    <a:pt x="636722" y="90855"/>
                    <a:pt x="634790" y="83127"/>
                  </a:cubicBezTo>
                  <a:cubicBezTo>
                    <a:pt x="628070" y="56245"/>
                    <a:pt x="634790" y="27709"/>
                    <a:pt x="634790" y="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37" name="Freeform 36"/>
            <p:cNvSpPr/>
            <p:nvPr/>
          </p:nvSpPr>
          <p:spPr>
            <a:xfrm>
              <a:off x="513460" y="2232735"/>
              <a:ext cx="163343" cy="156240"/>
            </a:xfrm>
            <a:custGeom>
              <a:avLst/>
              <a:gdLst>
                <a:gd name="connsiteX0" fmla="*/ 0 w 438150"/>
                <a:gd name="connsiteY0" fmla="*/ 0 h 419100"/>
                <a:gd name="connsiteX1" fmla="*/ 57150 w 438150"/>
                <a:gd name="connsiteY1" fmla="*/ 146050 h 419100"/>
                <a:gd name="connsiteX2" fmla="*/ 63500 w 438150"/>
                <a:gd name="connsiteY2" fmla="*/ 165100 h 419100"/>
                <a:gd name="connsiteX3" fmla="*/ 101600 w 438150"/>
                <a:gd name="connsiteY3" fmla="*/ 190500 h 419100"/>
                <a:gd name="connsiteX4" fmla="*/ 127000 w 438150"/>
                <a:gd name="connsiteY4" fmla="*/ 209550 h 419100"/>
                <a:gd name="connsiteX5" fmla="*/ 152400 w 438150"/>
                <a:gd name="connsiteY5" fmla="*/ 215900 h 419100"/>
                <a:gd name="connsiteX6" fmla="*/ 190500 w 438150"/>
                <a:gd name="connsiteY6" fmla="*/ 247650 h 419100"/>
                <a:gd name="connsiteX7" fmla="*/ 209550 w 438150"/>
                <a:gd name="connsiteY7" fmla="*/ 254000 h 419100"/>
                <a:gd name="connsiteX8" fmla="*/ 247650 w 438150"/>
                <a:gd name="connsiteY8" fmla="*/ 285750 h 419100"/>
                <a:gd name="connsiteX9" fmla="*/ 260350 w 438150"/>
                <a:gd name="connsiteY9" fmla="*/ 304800 h 419100"/>
                <a:gd name="connsiteX10" fmla="*/ 323850 w 438150"/>
                <a:gd name="connsiteY10" fmla="*/ 336550 h 419100"/>
                <a:gd name="connsiteX11" fmla="*/ 374650 w 438150"/>
                <a:gd name="connsiteY11" fmla="*/ 374650 h 419100"/>
                <a:gd name="connsiteX12" fmla="*/ 406400 w 438150"/>
                <a:gd name="connsiteY12" fmla="*/ 393700 h 419100"/>
                <a:gd name="connsiteX13" fmla="*/ 419100 w 438150"/>
                <a:gd name="connsiteY13" fmla="*/ 412750 h 419100"/>
                <a:gd name="connsiteX14" fmla="*/ 438150 w 438150"/>
                <a:gd name="connsiteY14" fmla="*/ 419100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8150" h="419100">
                  <a:moveTo>
                    <a:pt x="0" y="0"/>
                  </a:moveTo>
                  <a:cubicBezTo>
                    <a:pt x="19050" y="48683"/>
                    <a:pt x="38383" y="97257"/>
                    <a:pt x="57150" y="146050"/>
                  </a:cubicBezTo>
                  <a:cubicBezTo>
                    <a:pt x="59553" y="152297"/>
                    <a:pt x="58767" y="160367"/>
                    <a:pt x="63500" y="165100"/>
                  </a:cubicBezTo>
                  <a:cubicBezTo>
                    <a:pt x="74293" y="175893"/>
                    <a:pt x="89389" y="181342"/>
                    <a:pt x="101600" y="190500"/>
                  </a:cubicBezTo>
                  <a:cubicBezTo>
                    <a:pt x="110067" y="196850"/>
                    <a:pt x="117534" y="204817"/>
                    <a:pt x="127000" y="209550"/>
                  </a:cubicBezTo>
                  <a:cubicBezTo>
                    <a:pt x="134806" y="213453"/>
                    <a:pt x="143933" y="213783"/>
                    <a:pt x="152400" y="215900"/>
                  </a:cubicBezTo>
                  <a:cubicBezTo>
                    <a:pt x="166444" y="229944"/>
                    <a:pt x="172819" y="238809"/>
                    <a:pt x="190500" y="247650"/>
                  </a:cubicBezTo>
                  <a:cubicBezTo>
                    <a:pt x="196487" y="250643"/>
                    <a:pt x="203200" y="251883"/>
                    <a:pt x="209550" y="254000"/>
                  </a:cubicBezTo>
                  <a:cubicBezTo>
                    <a:pt x="222250" y="264583"/>
                    <a:pt x="235960" y="274060"/>
                    <a:pt x="247650" y="285750"/>
                  </a:cubicBezTo>
                  <a:cubicBezTo>
                    <a:pt x="253046" y="291146"/>
                    <a:pt x="254000" y="300567"/>
                    <a:pt x="260350" y="304800"/>
                  </a:cubicBezTo>
                  <a:cubicBezTo>
                    <a:pt x="280041" y="317927"/>
                    <a:pt x="302969" y="325414"/>
                    <a:pt x="323850" y="336550"/>
                  </a:cubicBezTo>
                  <a:cubicBezTo>
                    <a:pt x="395211" y="374609"/>
                    <a:pt x="323654" y="336403"/>
                    <a:pt x="374650" y="374650"/>
                  </a:cubicBezTo>
                  <a:cubicBezTo>
                    <a:pt x="384524" y="382055"/>
                    <a:pt x="395817" y="387350"/>
                    <a:pt x="406400" y="393700"/>
                  </a:cubicBezTo>
                  <a:cubicBezTo>
                    <a:pt x="410633" y="400050"/>
                    <a:pt x="413141" y="407982"/>
                    <a:pt x="419100" y="412750"/>
                  </a:cubicBezTo>
                  <a:cubicBezTo>
                    <a:pt x="424327" y="416931"/>
                    <a:pt x="438150" y="419100"/>
                    <a:pt x="438150" y="41910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38" name="Freeform 37"/>
            <p:cNvSpPr/>
            <p:nvPr/>
          </p:nvSpPr>
          <p:spPr>
            <a:xfrm>
              <a:off x="511093" y="2474198"/>
              <a:ext cx="246198" cy="35509"/>
            </a:xfrm>
            <a:custGeom>
              <a:avLst/>
              <a:gdLst>
                <a:gd name="connsiteX0" fmla="*/ 0 w 660400"/>
                <a:gd name="connsiteY0" fmla="*/ 19050 h 95250"/>
                <a:gd name="connsiteX1" fmla="*/ 88900 w 660400"/>
                <a:gd name="connsiteY1" fmla="*/ 57150 h 95250"/>
                <a:gd name="connsiteX2" fmla="*/ 120650 w 660400"/>
                <a:gd name="connsiteY2" fmla="*/ 63500 h 95250"/>
                <a:gd name="connsiteX3" fmla="*/ 171450 w 660400"/>
                <a:gd name="connsiteY3" fmla="*/ 88900 h 95250"/>
                <a:gd name="connsiteX4" fmla="*/ 190500 w 660400"/>
                <a:gd name="connsiteY4" fmla="*/ 95250 h 95250"/>
                <a:gd name="connsiteX5" fmla="*/ 304800 w 660400"/>
                <a:gd name="connsiteY5" fmla="*/ 88900 h 95250"/>
                <a:gd name="connsiteX6" fmla="*/ 323850 w 660400"/>
                <a:gd name="connsiteY6" fmla="*/ 76200 h 95250"/>
                <a:gd name="connsiteX7" fmla="*/ 342900 w 660400"/>
                <a:gd name="connsiteY7" fmla="*/ 69850 h 95250"/>
                <a:gd name="connsiteX8" fmla="*/ 361950 w 660400"/>
                <a:gd name="connsiteY8" fmla="*/ 57150 h 95250"/>
                <a:gd name="connsiteX9" fmla="*/ 406400 w 660400"/>
                <a:gd name="connsiteY9" fmla="*/ 44450 h 95250"/>
                <a:gd name="connsiteX10" fmla="*/ 425450 w 660400"/>
                <a:gd name="connsiteY10" fmla="*/ 38100 h 95250"/>
                <a:gd name="connsiteX11" fmla="*/ 450850 w 660400"/>
                <a:gd name="connsiteY11" fmla="*/ 12700 h 95250"/>
                <a:gd name="connsiteX12" fmla="*/ 539750 w 660400"/>
                <a:gd name="connsiteY12" fmla="*/ 6350 h 95250"/>
                <a:gd name="connsiteX13" fmla="*/ 660400 w 660400"/>
                <a:gd name="connsiteY13"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0400" h="95250">
                  <a:moveTo>
                    <a:pt x="0" y="19050"/>
                  </a:moveTo>
                  <a:cubicBezTo>
                    <a:pt x="29633" y="31750"/>
                    <a:pt x="58648" y="46004"/>
                    <a:pt x="88900" y="57150"/>
                  </a:cubicBezTo>
                  <a:cubicBezTo>
                    <a:pt x="99027" y="60881"/>
                    <a:pt x="110576" y="59626"/>
                    <a:pt x="120650" y="63500"/>
                  </a:cubicBezTo>
                  <a:cubicBezTo>
                    <a:pt x="138320" y="70296"/>
                    <a:pt x="153489" y="82913"/>
                    <a:pt x="171450" y="88900"/>
                  </a:cubicBezTo>
                  <a:lnTo>
                    <a:pt x="190500" y="95250"/>
                  </a:lnTo>
                  <a:cubicBezTo>
                    <a:pt x="228600" y="93133"/>
                    <a:pt x="267025" y="94296"/>
                    <a:pt x="304800" y="88900"/>
                  </a:cubicBezTo>
                  <a:cubicBezTo>
                    <a:pt x="312355" y="87821"/>
                    <a:pt x="317024" y="79613"/>
                    <a:pt x="323850" y="76200"/>
                  </a:cubicBezTo>
                  <a:cubicBezTo>
                    <a:pt x="329837" y="73207"/>
                    <a:pt x="336913" y="72843"/>
                    <a:pt x="342900" y="69850"/>
                  </a:cubicBezTo>
                  <a:cubicBezTo>
                    <a:pt x="349726" y="66437"/>
                    <a:pt x="355124" y="60563"/>
                    <a:pt x="361950" y="57150"/>
                  </a:cubicBezTo>
                  <a:cubicBezTo>
                    <a:pt x="372100" y="52075"/>
                    <a:pt x="396905" y="47163"/>
                    <a:pt x="406400" y="44450"/>
                  </a:cubicBezTo>
                  <a:cubicBezTo>
                    <a:pt x="412836" y="42611"/>
                    <a:pt x="419100" y="40217"/>
                    <a:pt x="425450" y="38100"/>
                  </a:cubicBezTo>
                  <a:cubicBezTo>
                    <a:pt x="433917" y="29633"/>
                    <a:pt x="439313" y="15905"/>
                    <a:pt x="450850" y="12700"/>
                  </a:cubicBezTo>
                  <a:cubicBezTo>
                    <a:pt x="479475" y="4749"/>
                    <a:pt x="510099" y="8203"/>
                    <a:pt x="539750" y="6350"/>
                  </a:cubicBezTo>
                  <a:cubicBezTo>
                    <a:pt x="643229" y="-117"/>
                    <a:pt x="616609" y="0"/>
                    <a:pt x="660400" y="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39" name="Freeform 38"/>
            <p:cNvSpPr/>
            <p:nvPr/>
          </p:nvSpPr>
          <p:spPr>
            <a:xfrm>
              <a:off x="556071" y="2471830"/>
              <a:ext cx="201219" cy="269870"/>
            </a:xfrm>
            <a:custGeom>
              <a:avLst/>
              <a:gdLst>
                <a:gd name="connsiteX0" fmla="*/ 0 w 539750"/>
                <a:gd name="connsiteY0" fmla="*/ 723900 h 723900"/>
                <a:gd name="connsiteX1" fmla="*/ 31750 w 539750"/>
                <a:gd name="connsiteY1" fmla="*/ 692150 h 723900"/>
                <a:gd name="connsiteX2" fmla="*/ 44450 w 539750"/>
                <a:gd name="connsiteY2" fmla="*/ 673100 h 723900"/>
                <a:gd name="connsiteX3" fmla="*/ 69850 w 539750"/>
                <a:gd name="connsiteY3" fmla="*/ 647700 h 723900"/>
                <a:gd name="connsiteX4" fmla="*/ 82550 w 539750"/>
                <a:gd name="connsiteY4" fmla="*/ 628650 h 723900"/>
                <a:gd name="connsiteX5" fmla="*/ 107950 w 539750"/>
                <a:gd name="connsiteY5" fmla="*/ 609600 h 723900"/>
                <a:gd name="connsiteX6" fmla="*/ 133350 w 539750"/>
                <a:gd name="connsiteY6" fmla="*/ 571500 h 723900"/>
                <a:gd name="connsiteX7" fmla="*/ 146050 w 539750"/>
                <a:gd name="connsiteY7" fmla="*/ 552450 h 723900"/>
                <a:gd name="connsiteX8" fmla="*/ 184150 w 539750"/>
                <a:gd name="connsiteY8" fmla="*/ 508000 h 723900"/>
                <a:gd name="connsiteX9" fmla="*/ 190500 w 539750"/>
                <a:gd name="connsiteY9" fmla="*/ 488950 h 723900"/>
                <a:gd name="connsiteX10" fmla="*/ 228600 w 539750"/>
                <a:gd name="connsiteY10" fmla="*/ 285750 h 723900"/>
                <a:gd name="connsiteX11" fmla="*/ 247650 w 539750"/>
                <a:gd name="connsiteY11" fmla="*/ 273050 h 723900"/>
                <a:gd name="connsiteX12" fmla="*/ 260350 w 539750"/>
                <a:gd name="connsiteY12" fmla="*/ 234950 h 723900"/>
                <a:gd name="connsiteX13" fmla="*/ 298450 w 539750"/>
                <a:gd name="connsiteY13" fmla="*/ 209550 h 723900"/>
                <a:gd name="connsiteX14" fmla="*/ 317500 w 539750"/>
                <a:gd name="connsiteY14" fmla="*/ 196850 h 723900"/>
                <a:gd name="connsiteX15" fmla="*/ 336550 w 539750"/>
                <a:gd name="connsiteY15" fmla="*/ 177800 h 723900"/>
                <a:gd name="connsiteX16" fmla="*/ 355600 w 539750"/>
                <a:gd name="connsiteY16" fmla="*/ 171450 h 723900"/>
                <a:gd name="connsiteX17" fmla="*/ 463550 w 539750"/>
                <a:gd name="connsiteY17" fmla="*/ 114300 h 723900"/>
                <a:gd name="connsiteX18" fmla="*/ 508000 w 539750"/>
                <a:gd name="connsiteY18" fmla="*/ 57150 h 723900"/>
                <a:gd name="connsiteX19" fmla="*/ 533400 w 539750"/>
                <a:gd name="connsiteY19" fmla="*/ 12700 h 723900"/>
                <a:gd name="connsiteX20" fmla="*/ 539750 w 539750"/>
                <a:gd name="connsiteY20"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39750" h="723900">
                  <a:moveTo>
                    <a:pt x="0" y="723900"/>
                  </a:moveTo>
                  <a:cubicBezTo>
                    <a:pt x="10583" y="713317"/>
                    <a:pt x="21894" y="703414"/>
                    <a:pt x="31750" y="692150"/>
                  </a:cubicBezTo>
                  <a:cubicBezTo>
                    <a:pt x="36776" y="686407"/>
                    <a:pt x="39483" y="678894"/>
                    <a:pt x="44450" y="673100"/>
                  </a:cubicBezTo>
                  <a:cubicBezTo>
                    <a:pt x="52242" y="664009"/>
                    <a:pt x="62058" y="656791"/>
                    <a:pt x="69850" y="647700"/>
                  </a:cubicBezTo>
                  <a:cubicBezTo>
                    <a:pt x="74817" y="641906"/>
                    <a:pt x="77154" y="634046"/>
                    <a:pt x="82550" y="628650"/>
                  </a:cubicBezTo>
                  <a:cubicBezTo>
                    <a:pt x="90034" y="621166"/>
                    <a:pt x="100919" y="617510"/>
                    <a:pt x="107950" y="609600"/>
                  </a:cubicBezTo>
                  <a:cubicBezTo>
                    <a:pt x="118091" y="598192"/>
                    <a:pt x="124883" y="584200"/>
                    <a:pt x="133350" y="571500"/>
                  </a:cubicBezTo>
                  <a:cubicBezTo>
                    <a:pt x="137583" y="565150"/>
                    <a:pt x="140654" y="557846"/>
                    <a:pt x="146050" y="552450"/>
                  </a:cubicBezTo>
                  <a:cubicBezTo>
                    <a:pt x="161674" y="536826"/>
                    <a:pt x="174479" y="527342"/>
                    <a:pt x="184150" y="508000"/>
                  </a:cubicBezTo>
                  <a:cubicBezTo>
                    <a:pt x="187143" y="502013"/>
                    <a:pt x="188383" y="495300"/>
                    <a:pt x="190500" y="488950"/>
                  </a:cubicBezTo>
                  <a:cubicBezTo>
                    <a:pt x="190684" y="486564"/>
                    <a:pt x="176368" y="320571"/>
                    <a:pt x="228600" y="285750"/>
                  </a:cubicBezTo>
                  <a:lnTo>
                    <a:pt x="247650" y="273050"/>
                  </a:lnTo>
                  <a:cubicBezTo>
                    <a:pt x="251883" y="260350"/>
                    <a:pt x="249211" y="242376"/>
                    <a:pt x="260350" y="234950"/>
                  </a:cubicBezTo>
                  <a:lnTo>
                    <a:pt x="298450" y="209550"/>
                  </a:lnTo>
                  <a:cubicBezTo>
                    <a:pt x="304800" y="205317"/>
                    <a:pt x="312104" y="202246"/>
                    <a:pt x="317500" y="196850"/>
                  </a:cubicBezTo>
                  <a:cubicBezTo>
                    <a:pt x="323850" y="190500"/>
                    <a:pt x="329078" y="182781"/>
                    <a:pt x="336550" y="177800"/>
                  </a:cubicBezTo>
                  <a:cubicBezTo>
                    <a:pt x="342119" y="174087"/>
                    <a:pt x="349523" y="174255"/>
                    <a:pt x="355600" y="171450"/>
                  </a:cubicBezTo>
                  <a:cubicBezTo>
                    <a:pt x="406796" y="147821"/>
                    <a:pt x="418432" y="140082"/>
                    <a:pt x="463550" y="114300"/>
                  </a:cubicBezTo>
                  <a:cubicBezTo>
                    <a:pt x="527747" y="18005"/>
                    <a:pt x="458262" y="116836"/>
                    <a:pt x="508000" y="57150"/>
                  </a:cubicBezTo>
                  <a:cubicBezTo>
                    <a:pt x="519219" y="43687"/>
                    <a:pt x="525636" y="28227"/>
                    <a:pt x="533400" y="12700"/>
                  </a:cubicBezTo>
                  <a:lnTo>
                    <a:pt x="539750"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40" name="Freeform 39"/>
            <p:cNvSpPr/>
            <p:nvPr/>
          </p:nvSpPr>
          <p:spPr>
            <a:xfrm>
              <a:off x="854189" y="2471830"/>
              <a:ext cx="92483" cy="423817"/>
            </a:xfrm>
            <a:custGeom>
              <a:avLst/>
              <a:gdLst>
                <a:gd name="connsiteX0" fmla="*/ 197278 w 248078"/>
                <a:gd name="connsiteY0" fmla="*/ 0 h 1136849"/>
                <a:gd name="connsiteX1" fmla="*/ 178228 w 248078"/>
                <a:gd name="connsiteY1" fmla="*/ 114300 h 1136849"/>
                <a:gd name="connsiteX2" fmla="*/ 140128 w 248078"/>
                <a:gd name="connsiteY2" fmla="*/ 184150 h 1136849"/>
                <a:gd name="connsiteX3" fmla="*/ 127428 w 248078"/>
                <a:gd name="connsiteY3" fmla="*/ 209550 h 1136849"/>
                <a:gd name="connsiteX4" fmla="*/ 108378 w 248078"/>
                <a:gd name="connsiteY4" fmla="*/ 228600 h 1136849"/>
                <a:gd name="connsiteX5" fmla="*/ 82978 w 248078"/>
                <a:gd name="connsiteY5" fmla="*/ 279400 h 1136849"/>
                <a:gd name="connsiteX6" fmla="*/ 44878 w 248078"/>
                <a:gd name="connsiteY6" fmla="*/ 336550 h 1136849"/>
                <a:gd name="connsiteX7" fmla="*/ 32178 w 248078"/>
                <a:gd name="connsiteY7" fmla="*/ 355600 h 1136849"/>
                <a:gd name="connsiteX8" fmla="*/ 19478 w 248078"/>
                <a:gd name="connsiteY8" fmla="*/ 381000 h 1136849"/>
                <a:gd name="connsiteX9" fmla="*/ 13128 w 248078"/>
                <a:gd name="connsiteY9" fmla="*/ 412750 h 1136849"/>
                <a:gd name="connsiteX10" fmla="*/ 428 w 248078"/>
                <a:gd name="connsiteY10" fmla="*/ 431800 h 1136849"/>
                <a:gd name="connsiteX11" fmla="*/ 6778 w 248078"/>
                <a:gd name="connsiteY11" fmla="*/ 635000 h 1136849"/>
                <a:gd name="connsiteX12" fmla="*/ 13128 w 248078"/>
                <a:gd name="connsiteY12" fmla="*/ 698500 h 1136849"/>
                <a:gd name="connsiteX13" fmla="*/ 32178 w 248078"/>
                <a:gd name="connsiteY13" fmla="*/ 742950 h 1136849"/>
                <a:gd name="connsiteX14" fmla="*/ 38528 w 248078"/>
                <a:gd name="connsiteY14" fmla="*/ 768350 h 1136849"/>
                <a:gd name="connsiteX15" fmla="*/ 82978 w 248078"/>
                <a:gd name="connsiteY15" fmla="*/ 819150 h 1136849"/>
                <a:gd name="connsiteX16" fmla="*/ 102028 w 248078"/>
                <a:gd name="connsiteY16" fmla="*/ 876300 h 1136849"/>
                <a:gd name="connsiteX17" fmla="*/ 133778 w 248078"/>
                <a:gd name="connsiteY17" fmla="*/ 927100 h 1136849"/>
                <a:gd name="connsiteX18" fmla="*/ 171878 w 248078"/>
                <a:gd name="connsiteY18" fmla="*/ 965200 h 1136849"/>
                <a:gd name="connsiteX19" fmla="*/ 178228 w 248078"/>
                <a:gd name="connsiteY19" fmla="*/ 984250 h 1136849"/>
                <a:gd name="connsiteX20" fmla="*/ 190928 w 248078"/>
                <a:gd name="connsiteY20" fmla="*/ 1003300 h 1136849"/>
                <a:gd name="connsiteX21" fmla="*/ 209978 w 248078"/>
                <a:gd name="connsiteY21" fmla="*/ 1060450 h 1136849"/>
                <a:gd name="connsiteX22" fmla="*/ 216328 w 248078"/>
                <a:gd name="connsiteY22" fmla="*/ 1079500 h 1136849"/>
                <a:gd name="connsiteX23" fmla="*/ 222678 w 248078"/>
                <a:gd name="connsiteY23" fmla="*/ 1117600 h 1136849"/>
                <a:gd name="connsiteX24" fmla="*/ 248078 w 248078"/>
                <a:gd name="connsiteY24" fmla="*/ 1136650 h 113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8078" h="1136849">
                  <a:moveTo>
                    <a:pt x="197278" y="0"/>
                  </a:moveTo>
                  <a:cubicBezTo>
                    <a:pt x="190928" y="38100"/>
                    <a:pt x="188270" y="77003"/>
                    <a:pt x="178228" y="114300"/>
                  </a:cubicBezTo>
                  <a:cubicBezTo>
                    <a:pt x="167236" y="155129"/>
                    <a:pt x="156146" y="156119"/>
                    <a:pt x="140128" y="184150"/>
                  </a:cubicBezTo>
                  <a:cubicBezTo>
                    <a:pt x="135432" y="192369"/>
                    <a:pt x="132930" y="201847"/>
                    <a:pt x="127428" y="209550"/>
                  </a:cubicBezTo>
                  <a:cubicBezTo>
                    <a:pt x="122208" y="216858"/>
                    <a:pt x="114127" y="221701"/>
                    <a:pt x="108378" y="228600"/>
                  </a:cubicBezTo>
                  <a:cubicBezTo>
                    <a:pt x="87418" y="253752"/>
                    <a:pt x="101406" y="245615"/>
                    <a:pt x="82978" y="279400"/>
                  </a:cubicBezTo>
                  <a:lnTo>
                    <a:pt x="44878" y="336550"/>
                  </a:lnTo>
                  <a:cubicBezTo>
                    <a:pt x="40645" y="342900"/>
                    <a:pt x="35591" y="348774"/>
                    <a:pt x="32178" y="355600"/>
                  </a:cubicBezTo>
                  <a:lnTo>
                    <a:pt x="19478" y="381000"/>
                  </a:lnTo>
                  <a:cubicBezTo>
                    <a:pt x="17361" y="391583"/>
                    <a:pt x="16918" y="402644"/>
                    <a:pt x="13128" y="412750"/>
                  </a:cubicBezTo>
                  <a:cubicBezTo>
                    <a:pt x="10448" y="419896"/>
                    <a:pt x="646" y="424171"/>
                    <a:pt x="428" y="431800"/>
                  </a:cubicBezTo>
                  <a:cubicBezTo>
                    <a:pt x="-1507" y="499539"/>
                    <a:pt x="3555" y="567310"/>
                    <a:pt x="6778" y="635000"/>
                  </a:cubicBezTo>
                  <a:cubicBezTo>
                    <a:pt x="7790" y="656248"/>
                    <a:pt x="8256" y="677793"/>
                    <a:pt x="13128" y="698500"/>
                  </a:cubicBezTo>
                  <a:cubicBezTo>
                    <a:pt x="16820" y="714192"/>
                    <a:pt x="26669" y="727800"/>
                    <a:pt x="32178" y="742950"/>
                  </a:cubicBezTo>
                  <a:cubicBezTo>
                    <a:pt x="35160" y="751152"/>
                    <a:pt x="34625" y="760544"/>
                    <a:pt x="38528" y="768350"/>
                  </a:cubicBezTo>
                  <a:cubicBezTo>
                    <a:pt x="57049" y="805392"/>
                    <a:pt x="56784" y="801688"/>
                    <a:pt x="82978" y="819150"/>
                  </a:cubicBezTo>
                  <a:cubicBezTo>
                    <a:pt x="109376" y="858748"/>
                    <a:pt x="83362" y="814080"/>
                    <a:pt x="102028" y="876300"/>
                  </a:cubicBezTo>
                  <a:cubicBezTo>
                    <a:pt x="106789" y="892171"/>
                    <a:pt x="123216" y="915364"/>
                    <a:pt x="133778" y="927100"/>
                  </a:cubicBezTo>
                  <a:cubicBezTo>
                    <a:pt x="145793" y="940450"/>
                    <a:pt x="171878" y="965200"/>
                    <a:pt x="171878" y="965200"/>
                  </a:cubicBezTo>
                  <a:cubicBezTo>
                    <a:pt x="173995" y="971550"/>
                    <a:pt x="175235" y="978263"/>
                    <a:pt x="178228" y="984250"/>
                  </a:cubicBezTo>
                  <a:cubicBezTo>
                    <a:pt x="181641" y="991076"/>
                    <a:pt x="187993" y="996255"/>
                    <a:pt x="190928" y="1003300"/>
                  </a:cubicBezTo>
                  <a:cubicBezTo>
                    <a:pt x="198651" y="1021836"/>
                    <a:pt x="203628" y="1041400"/>
                    <a:pt x="209978" y="1060450"/>
                  </a:cubicBezTo>
                  <a:cubicBezTo>
                    <a:pt x="212095" y="1066800"/>
                    <a:pt x="215228" y="1072898"/>
                    <a:pt x="216328" y="1079500"/>
                  </a:cubicBezTo>
                  <a:cubicBezTo>
                    <a:pt x="218445" y="1092200"/>
                    <a:pt x="218607" y="1105386"/>
                    <a:pt x="222678" y="1117600"/>
                  </a:cubicBezTo>
                  <a:cubicBezTo>
                    <a:pt x="230202" y="1140172"/>
                    <a:pt x="231920" y="1136650"/>
                    <a:pt x="248078" y="113665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41" name="Freeform 40"/>
            <p:cNvSpPr/>
            <p:nvPr/>
          </p:nvSpPr>
          <p:spPr>
            <a:xfrm>
              <a:off x="717046" y="2791413"/>
              <a:ext cx="184648" cy="87590"/>
            </a:xfrm>
            <a:custGeom>
              <a:avLst/>
              <a:gdLst>
                <a:gd name="connsiteX0" fmla="*/ 0 w 495300"/>
                <a:gd name="connsiteY0" fmla="*/ 234950 h 234950"/>
                <a:gd name="connsiteX1" fmla="*/ 31750 w 495300"/>
                <a:gd name="connsiteY1" fmla="*/ 203200 h 234950"/>
                <a:gd name="connsiteX2" fmla="*/ 50800 w 495300"/>
                <a:gd name="connsiteY2" fmla="*/ 177800 h 234950"/>
                <a:gd name="connsiteX3" fmla="*/ 76200 w 495300"/>
                <a:gd name="connsiteY3" fmla="*/ 158750 h 234950"/>
                <a:gd name="connsiteX4" fmla="*/ 95250 w 495300"/>
                <a:gd name="connsiteY4" fmla="*/ 139700 h 234950"/>
                <a:gd name="connsiteX5" fmla="*/ 133350 w 495300"/>
                <a:gd name="connsiteY5" fmla="*/ 120650 h 234950"/>
                <a:gd name="connsiteX6" fmla="*/ 152400 w 495300"/>
                <a:gd name="connsiteY6" fmla="*/ 101600 h 234950"/>
                <a:gd name="connsiteX7" fmla="*/ 171450 w 495300"/>
                <a:gd name="connsiteY7" fmla="*/ 95250 h 234950"/>
                <a:gd name="connsiteX8" fmla="*/ 190500 w 495300"/>
                <a:gd name="connsiteY8" fmla="*/ 82550 h 234950"/>
                <a:gd name="connsiteX9" fmla="*/ 209550 w 495300"/>
                <a:gd name="connsiteY9" fmla="*/ 76200 h 234950"/>
                <a:gd name="connsiteX10" fmla="*/ 254000 w 495300"/>
                <a:gd name="connsiteY10" fmla="*/ 63500 h 234950"/>
                <a:gd name="connsiteX11" fmla="*/ 273050 w 495300"/>
                <a:gd name="connsiteY11" fmla="*/ 50800 h 234950"/>
                <a:gd name="connsiteX12" fmla="*/ 400050 w 495300"/>
                <a:gd name="connsiteY12" fmla="*/ 25400 h 234950"/>
                <a:gd name="connsiteX13" fmla="*/ 457200 w 495300"/>
                <a:gd name="connsiteY13" fmla="*/ 12700 h 234950"/>
                <a:gd name="connsiteX14" fmla="*/ 495300 w 495300"/>
                <a:gd name="connsiteY14" fmla="*/ 0 h 23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5300" h="234950">
                  <a:moveTo>
                    <a:pt x="0" y="234950"/>
                  </a:moveTo>
                  <a:cubicBezTo>
                    <a:pt x="10583" y="224367"/>
                    <a:pt x="21806" y="214387"/>
                    <a:pt x="31750" y="203200"/>
                  </a:cubicBezTo>
                  <a:cubicBezTo>
                    <a:pt x="38781" y="195290"/>
                    <a:pt x="43316" y="185284"/>
                    <a:pt x="50800" y="177800"/>
                  </a:cubicBezTo>
                  <a:cubicBezTo>
                    <a:pt x="58284" y="170316"/>
                    <a:pt x="68165" y="165638"/>
                    <a:pt x="76200" y="158750"/>
                  </a:cubicBezTo>
                  <a:cubicBezTo>
                    <a:pt x="83018" y="152906"/>
                    <a:pt x="88351" y="145449"/>
                    <a:pt x="95250" y="139700"/>
                  </a:cubicBezTo>
                  <a:cubicBezTo>
                    <a:pt x="111663" y="126023"/>
                    <a:pt x="114257" y="127014"/>
                    <a:pt x="133350" y="120650"/>
                  </a:cubicBezTo>
                  <a:cubicBezTo>
                    <a:pt x="139700" y="114300"/>
                    <a:pt x="144928" y="106581"/>
                    <a:pt x="152400" y="101600"/>
                  </a:cubicBezTo>
                  <a:cubicBezTo>
                    <a:pt x="157969" y="97887"/>
                    <a:pt x="165463" y="98243"/>
                    <a:pt x="171450" y="95250"/>
                  </a:cubicBezTo>
                  <a:cubicBezTo>
                    <a:pt x="178276" y="91837"/>
                    <a:pt x="183674" y="85963"/>
                    <a:pt x="190500" y="82550"/>
                  </a:cubicBezTo>
                  <a:cubicBezTo>
                    <a:pt x="196487" y="79557"/>
                    <a:pt x="203139" y="78123"/>
                    <a:pt x="209550" y="76200"/>
                  </a:cubicBezTo>
                  <a:cubicBezTo>
                    <a:pt x="224310" y="71772"/>
                    <a:pt x="239183" y="67733"/>
                    <a:pt x="254000" y="63500"/>
                  </a:cubicBezTo>
                  <a:cubicBezTo>
                    <a:pt x="260350" y="59267"/>
                    <a:pt x="266424" y="54586"/>
                    <a:pt x="273050" y="50800"/>
                  </a:cubicBezTo>
                  <a:cubicBezTo>
                    <a:pt x="320029" y="23955"/>
                    <a:pt x="321321" y="35241"/>
                    <a:pt x="400050" y="25400"/>
                  </a:cubicBezTo>
                  <a:cubicBezTo>
                    <a:pt x="454554" y="7232"/>
                    <a:pt x="367795" y="35051"/>
                    <a:pt x="457200" y="12700"/>
                  </a:cubicBezTo>
                  <a:cubicBezTo>
                    <a:pt x="470187" y="9453"/>
                    <a:pt x="495300" y="0"/>
                    <a:pt x="495300" y="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bg1"/>
                </a:solidFill>
                <a:ea typeface="楷体" panose="02010609060101010101" pitchFamily="49" charset="-122"/>
              </a:endParaRPr>
            </a:p>
          </p:txBody>
        </p:sp>
        <p:sp>
          <p:nvSpPr>
            <p:cNvPr id="42" name="Freeform 41"/>
            <p:cNvSpPr/>
            <p:nvPr/>
          </p:nvSpPr>
          <p:spPr>
            <a:xfrm>
              <a:off x="747821" y="2630438"/>
              <a:ext cx="111262" cy="66284"/>
            </a:xfrm>
            <a:custGeom>
              <a:avLst/>
              <a:gdLst>
                <a:gd name="connsiteX0" fmla="*/ 0 w 298450"/>
                <a:gd name="connsiteY0" fmla="*/ 177800 h 177800"/>
                <a:gd name="connsiteX1" fmla="*/ 127000 w 298450"/>
                <a:gd name="connsiteY1" fmla="*/ 165100 h 177800"/>
                <a:gd name="connsiteX2" fmla="*/ 165100 w 298450"/>
                <a:gd name="connsiteY2" fmla="*/ 146050 h 177800"/>
                <a:gd name="connsiteX3" fmla="*/ 190500 w 298450"/>
                <a:gd name="connsiteY3" fmla="*/ 107950 h 177800"/>
                <a:gd name="connsiteX4" fmla="*/ 247650 w 298450"/>
                <a:gd name="connsiteY4" fmla="*/ 82550 h 177800"/>
                <a:gd name="connsiteX5" fmla="*/ 260350 w 298450"/>
                <a:gd name="connsiteY5" fmla="*/ 63500 h 177800"/>
                <a:gd name="connsiteX6" fmla="*/ 285750 w 298450"/>
                <a:gd name="connsiteY6" fmla="*/ 38100 h 177800"/>
                <a:gd name="connsiteX7" fmla="*/ 298450 w 298450"/>
                <a:gd name="connsiteY7" fmla="*/ 0 h 17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450" h="177800">
                  <a:moveTo>
                    <a:pt x="0" y="177800"/>
                  </a:moveTo>
                  <a:cubicBezTo>
                    <a:pt x="42333" y="173567"/>
                    <a:pt x="85221" y="173134"/>
                    <a:pt x="127000" y="165100"/>
                  </a:cubicBezTo>
                  <a:cubicBezTo>
                    <a:pt x="140944" y="162419"/>
                    <a:pt x="154546" y="155549"/>
                    <a:pt x="165100" y="146050"/>
                  </a:cubicBezTo>
                  <a:cubicBezTo>
                    <a:pt x="176445" y="135839"/>
                    <a:pt x="176020" y="112777"/>
                    <a:pt x="190500" y="107950"/>
                  </a:cubicBezTo>
                  <a:cubicBezTo>
                    <a:pt x="235840" y="92837"/>
                    <a:pt x="217461" y="102676"/>
                    <a:pt x="247650" y="82550"/>
                  </a:cubicBezTo>
                  <a:cubicBezTo>
                    <a:pt x="251883" y="76200"/>
                    <a:pt x="255383" y="69294"/>
                    <a:pt x="260350" y="63500"/>
                  </a:cubicBezTo>
                  <a:cubicBezTo>
                    <a:pt x="268142" y="54409"/>
                    <a:pt x="279590" y="48367"/>
                    <a:pt x="285750" y="38100"/>
                  </a:cubicBezTo>
                  <a:cubicBezTo>
                    <a:pt x="292638" y="26621"/>
                    <a:pt x="298450" y="0"/>
                    <a:pt x="298450" y="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43" name="Freeform 42"/>
            <p:cNvSpPr/>
            <p:nvPr/>
          </p:nvSpPr>
          <p:spPr>
            <a:xfrm>
              <a:off x="1057934" y="2561787"/>
              <a:ext cx="324318" cy="217808"/>
            </a:xfrm>
            <a:custGeom>
              <a:avLst/>
              <a:gdLst>
                <a:gd name="connsiteX0" fmla="*/ 0 w 869950"/>
                <a:gd name="connsiteY0" fmla="*/ 0 h 584250"/>
                <a:gd name="connsiteX1" fmla="*/ 184150 w 869950"/>
                <a:gd name="connsiteY1" fmla="*/ 44450 h 584250"/>
                <a:gd name="connsiteX2" fmla="*/ 311150 w 869950"/>
                <a:gd name="connsiteY2" fmla="*/ 50800 h 584250"/>
                <a:gd name="connsiteX3" fmla="*/ 330200 w 869950"/>
                <a:gd name="connsiteY3" fmla="*/ 63500 h 584250"/>
                <a:gd name="connsiteX4" fmla="*/ 355600 w 869950"/>
                <a:gd name="connsiteY4" fmla="*/ 82550 h 584250"/>
                <a:gd name="connsiteX5" fmla="*/ 361950 w 869950"/>
                <a:gd name="connsiteY5" fmla="*/ 107950 h 584250"/>
                <a:gd name="connsiteX6" fmla="*/ 381000 w 869950"/>
                <a:gd name="connsiteY6" fmla="*/ 120650 h 584250"/>
                <a:gd name="connsiteX7" fmla="*/ 400050 w 869950"/>
                <a:gd name="connsiteY7" fmla="*/ 146050 h 584250"/>
                <a:gd name="connsiteX8" fmla="*/ 406400 w 869950"/>
                <a:gd name="connsiteY8" fmla="*/ 209550 h 584250"/>
                <a:gd name="connsiteX9" fmla="*/ 412750 w 869950"/>
                <a:gd name="connsiteY9" fmla="*/ 285750 h 584250"/>
                <a:gd name="connsiteX10" fmla="*/ 463550 w 869950"/>
                <a:gd name="connsiteY10" fmla="*/ 387350 h 584250"/>
                <a:gd name="connsiteX11" fmla="*/ 520700 w 869950"/>
                <a:gd name="connsiteY11" fmla="*/ 438150 h 584250"/>
                <a:gd name="connsiteX12" fmla="*/ 539750 w 869950"/>
                <a:gd name="connsiteY12" fmla="*/ 450850 h 584250"/>
                <a:gd name="connsiteX13" fmla="*/ 558800 w 869950"/>
                <a:gd name="connsiteY13" fmla="*/ 457200 h 584250"/>
                <a:gd name="connsiteX14" fmla="*/ 590550 w 869950"/>
                <a:gd name="connsiteY14" fmla="*/ 476250 h 584250"/>
                <a:gd name="connsiteX15" fmla="*/ 609600 w 869950"/>
                <a:gd name="connsiteY15" fmla="*/ 482600 h 584250"/>
                <a:gd name="connsiteX16" fmla="*/ 666750 w 869950"/>
                <a:gd name="connsiteY16" fmla="*/ 520700 h 584250"/>
                <a:gd name="connsiteX17" fmla="*/ 723900 w 869950"/>
                <a:gd name="connsiteY17" fmla="*/ 546100 h 584250"/>
                <a:gd name="connsiteX18" fmla="*/ 742950 w 869950"/>
                <a:gd name="connsiteY18" fmla="*/ 558800 h 584250"/>
                <a:gd name="connsiteX19" fmla="*/ 787400 w 869950"/>
                <a:gd name="connsiteY19" fmla="*/ 565150 h 584250"/>
                <a:gd name="connsiteX20" fmla="*/ 812800 w 869950"/>
                <a:gd name="connsiteY20" fmla="*/ 577850 h 584250"/>
                <a:gd name="connsiteX21" fmla="*/ 869950 w 869950"/>
                <a:gd name="connsiteY21" fmla="*/ 584200 h 584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9950" h="584250">
                  <a:moveTo>
                    <a:pt x="0" y="0"/>
                  </a:moveTo>
                  <a:cubicBezTo>
                    <a:pt x="61383" y="14817"/>
                    <a:pt x="121829" y="34275"/>
                    <a:pt x="184150" y="44450"/>
                  </a:cubicBezTo>
                  <a:cubicBezTo>
                    <a:pt x="225982" y="51280"/>
                    <a:pt x="269120" y="45318"/>
                    <a:pt x="311150" y="50800"/>
                  </a:cubicBezTo>
                  <a:cubicBezTo>
                    <a:pt x="318718" y="51787"/>
                    <a:pt x="323990" y="59064"/>
                    <a:pt x="330200" y="63500"/>
                  </a:cubicBezTo>
                  <a:cubicBezTo>
                    <a:pt x="338812" y="69651"/>
                    <a:pt x="347133" y="76200"/>
                    <a:pt x="355600" y="82550"/>
                  </a:cubicBezTo>
                  <a:cubicBezTo>
                    <a:pt x="357717" y="91017"/>
                    <a:pt x="357109" y="100688"/>
                    <a:pt x="361950" y="107950"/>
                  </a:cubicBezTo>
                  <a:cubicBezTo>
                    <a:pt x="366183" y="114300"/>
                    <a:pt x="375604" y="115254"/>
                    <a:pt x="381000" y="120650"/>
                  </a:cubicBezTo>
                  <a:cubicBezTo>
                    <a:pt x="388484" y="128134"/>
                    <a:pt x="393700" y="137583"/>
                    <a:pt x="400050" y="146050"/>
                  </a:cubicBezTo>
                  <a:cubicBezTo>
                    <a:pt x="402167" y="167217"/>
                    <a:pt x="404474" y="188365"/>
                    <a:pt x="406400" y="209550"/>
                  </a:cubicBezTo>
                  <a:cubicBezTo>
                    <a:pt x="408708" y="234933"/>
                    <a:pt x="404950" y="261485"/>
                    <a:pt x="412750" y="285750"/>
                  </a:cubicBezTo>
                  <a:cubicBezTo>
                    <a:pt x="424337" y="321798"/>
                    <a:pt x="445303" y="354173"/>
                    <a:pt x="463550" y="387350"/>
                  </a:cubicBezTo>
                  <a:cubicBezTo>
                    <a:pt x="479881" y="417043"/>
                    <a:pt x="490924" y="418299"/>
                    <a:pt x="520700" y="438150"/>
                  </a:cubicBezTo>
                  <a:cubicBezTo>
                    <a:pt x="527050" y="442383"/>
                    <a:pt x="532510" y="448437"/>
                    <a:pt x="539750" y="450850"/>
                  </a:cubicBezTo>
                  <a:cubicBezTo>
                    <a:pt x="546100" y="452967"/>
                    <a:pt x="552813" y="454207"/>
                    <a:pt x="558800" y="457200"/>
                  </a:cubicBezTo>
                  <a:cubicBezTo>
                    <a:pt x="569839" y="462720"/>
                    <a:pt x="579511" y="470730"/>
                    <a:pt x="590550" y="476250"/>
                  </a:cubicBezTo>
                  <a:cubicBezTo>
                    <a:pt x="596537" y="479243"/>
                    <a:pt x="603818" y="479227"/>
                    <a:pt x="609600" y="482600"/>
                  </a:cubicBezTo>
                  <a:cubicBezTo>
                    <a:pt x="629376" y="494136"/>
                    <a:pt x="645492" y="512197"/>
                    <a:pt x="666750" y="520700"/>
                  </a:cubicBezTo>
                  <a:cubicBezTo>
                    <a:pt x="689430" y="529772"/>
                    <a:pt x="703136" y="534235"/>
                    <a:pt x="723900" y="546100"/>
                  </a:cubicBezTo>
                  <a:cubicBezTo>
                    <a:pt x="730526" y="549886"/>
                    <a:pt x="735640" y="556607"/>
                    <a:pt x="742950" y="558800"/>
                  </a:cubicBezTo>
                  <a:cubicBezTo>
                    <a:pt x="757286" y="563101"/>
                    <a:pt x="772583" y="563033"/>
                    <a:pt x="787400" y="565150"/>
                  </a:cubicBezTo>
                  <a:cubicBezTo>
                    <a:pt x="795867" y="569383"/>
                    <a:pt x="803733" y="575130"/>
                    <a:pt x="812800" y="577850"/>
                  </a:cubicBezTo>
                  <a:cubicBezTo>
                    <a:pt x="837446" y="585244"/>
                    <a:pt x="847749" y="584200"/>
                    <a:pt x="869950" y="58420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44" name="Freeform 43"/>
            <p:cNvSpPr/>
            <p:nvPr/>
          </p:nvSpPr>
          <p:spPr>
            <a:xfrm>
              <a:off x="1540860" y="2085963"/>
              <a:ext cx="724388" cy="274605"/>
            </a:xfrm>
            <a:custGeom>
              <a:avLst/>
              <a:gdLst>
                <a:gd name="connsiteX0" fmla="*/ 0 w 2082800"/>
                <a:gd name="connsiteY0" fmla="*/ 0 h 812800"/>
                <a:gd name="connsiteX1" fmla="*/ 139700 w 2082800"/>
                <a:gd name="connsiteY1" fmla="*/ 133350 h 812800"/>
                <a:gd name="connsiteX2" fmla="*/ 171450 w 2082800"/>
                <a:gd name="connsiteY2" fmla="*/ 139700 h 812800"/>
                <a:gd name="connsiteX3" fmla="*/ 203200 w 2082800"/>
                <a:gd name="connsiteY3" fmla="*/ 165100 h 812800"/>
                <a:gd name="connsiteX4" fmla="*/ 222250 w 2082800"/>
                <a:gd name="connsiteY4" fmla="*/ 171450 h 812800"/>
                <a:gd name="connsiteX5" fmla="*/ 241300 w 2082800"/>
                <a:gd name="connsiteY5" fmla="*/ 190500 h 812800"/>
                <a:gd name="connsiteX6" fmla="*/ 260350 w 2082800"/>
                <a:gd name="connsiteY6" fmla="*/ 203200 h 812800"/>
                <a:gd name="connsiteX7" fmla="*/ 304800 w 2082800"/>
                <a:gd name="connsiteY7" fmla="*/ 234950 h 812800"/>
                <a:gd name="connsiteX8" fmla="*/ 330200 w 2082800"/>
                <a:gd name="connsiteY8" fmla="*/ 254000 h 812800"/>
                <a:gd name="connsiteX9" fmla="*/ 349250 w 2082800"/>
                <a:gd name="connsiteY9" fmla="*/ 273050 h 812800"/>
                <a:gd name="connsiteX10" fmla="*/ 400050 w 2082800"/>
                <a:gd name="connsiteY10" fmla="*/ 311150 h 812800"/>
                <a:gd name="connsiteX11" fmla="*/ 431800 w 2082800"/>
                <a:gd name="connsiteY11" fmla="*/ 342900 h 812800"/>
                <a:gd name="connsiteX12" fmla="*/ 457200 w 2082800"/>
                <a:gd name="connsiteY12" fmla="*/ 393700 h 812800"/>
                <a:gd name="connsiteX13" fmla="*/ 482600 w 2082800"/>
                <a:gd name="connsiteY13" fmla="*/ 431800 h 812800"/>
                <a:gd name="connsiteX14" fmla="*/ 488950 w 2082800"/>
                <a:gd name="connsiteY14" fmla="*/ 450850 h 812800"/>
                <a:gd name="connsiteX15" fmla="*/ 501650 w 2082800"/>
                <a:gd name="connsiteY15" fmla="*/ 482600 h 812800"/>
                <a:gd name="connsiteX16" fmla="*/ 508000 w 2082800"/>
                <a:gd name="connsiteY16" fmla="*/ 508000 h 812800"/>
                <a:gd name="connsiteX17" fmla="*/ 527050 w 2082800"/>
                <a:gd name="connsiteY17" fmla="*/ 546100 h 812800"/>
                <a:gd name="connsiteX18" fmla="*/ 533400 w 2082800"/>
                <a:gd name="connsiteY18" fmla="*/ 565150 h 812800"/>
                <a:gd name="connsiteX19" fmla="*/ 539750 w 2082800"/>
                <a:gd name="connsiteY19" fmla="*/ 615950 h 812800"/>
                <a:gd name="connsiteX20" fmla="*/ 546100 w 2082800"/>
                <a:gd name="connsiteY20" fmla="*/ 635000 h 812800"/>
                <a:gd name="connsiteX21" fmla="*/ 552450 w 2082800"/>
                <a:gd name="connsiteY21" fmla="*/ 698500 h 812800"/>
                <a:gd name="connsiteX22" fmla="*/ 577850 w 2082800"/>
                <a:gd name="connsiteY22" fmla="*/ 742950 h 812800"/>
                <a:gd name="connsiteX23" fmla="*/ 596900 w 2082800"/>
                <a:gd name="connsiteY23" fmla="*/ 762000 h 812800"/>
                <a:gd name="connsiteX24" fmla="*/ 609600 w 2082800"/>
                <a:gd name="connsiteY24" fmla="*/ 781050 h 812800"/>
                <a:gd name="connsiteX25" fmla="*/ 666750 w 2082800"/>
                <a:gd name="connsiteY25" fmla="*/ 812800 h 812800"/>
                <a:gd name="connsiteX26" fmla="*/ 717550 w 2082800"/>
                <a:gd name="connsiteY26" fmla="*/ 806450 h 812800"/>
                <a:gd name="connsiteX27" fmla="*/ 742950 w 2082800"/>
                <a:gd name="connsiteY27" fmla="*/ 787400 h 812800"/>
                <a:gd name="connsiteX28" fmla="*/ 774700 w 2082800"/>
                <a:gd name="connsiteY28" fmla="*/ 774700 h 812800"/>
                <a:gd name="connsiteX29" fmla="*/ 793750 w 2082800"/>
                <a:gd name="connsiteY29" fmla="*/ 768350 h 812800"/>
                <a:gd name="connsiteX30" fmla="*/ 920750 w 2082800"/>
                <a:gd name="connsiteY30" fmla="*/ 755650 h 812800"/>
                <a:gd name="connsiteX31" fmla="*/ 958850 w 2082800"/>
                <a:gd name="connsiteY31" fmla="*/ 736600 h 812800"/>
                <a:gd name="connsiteX32" fmla="*/ 977900 w 2082800"/>
                <a:gd name="connsiteY32" fmla="*/ 723900 h 812800"/>
                <a:gd name="connsiteX33" fmla="*/ 1016000 w 2082800"/>
                <a:gd name="connsiteY33" fmla="*/ 711200 h 812800"/>
                <a:gd name="connsiteX34" fmla="*/ 1028700 w 2082800"/>
                <a:gd name="connsiteY34" fmla="*/ 692150 h 812800"/>
                <a:gd name="connsiteX35" fmla="*/ 1079500 w 2082800"/>
                <a:gd name="connsiteY35" fmla="*/ 666750 h 812800"/>
                <a:gd name="connsiteX36" fmla="*/ 1092200 w 2082800"/>
                <a:gd name="connsiteY36" fmla="*/ 647700 h 812800"/>
                <a:gd name="connsiteX37" fmla="*/ 1104900 w 2082800"/>
                <a:gd name="connsiteY37" fmla="*/ 596900 h 812800"/>
                <a:gd name="connsiteX38" fmla="*/ 1111250 w 2082800"/>
                <a:gd name="connsiteY38" fmla="*/ 571500 h 812800"/>
                <a:gd name="connsiteX39" fmla="*/ 1117600 w 2082800"/>
                <a:gd name="connsiteY39" fmla="*/ 527050 h 812800"/>
                <a:gd name="connsiteX40" fmla="*/ 1123950 w 2082800"/>
                <a:gd name="connsiteY40" fmla="*/ 488950 h 812800"/>
                <a:gd name="connsiteX41" fmla="*/ 1130300 w 2082800"/>
                <a:gd name="connsiteY41" fmla="*/ 425450 h 812800"/>
                <a:gd name="connsiteX42" fmla="*/ 1168400 w 2082800"/>
                <a:gd name="connsiteY42" fmla="*/ 368300 h 812800"/>
                <a:gd name="connsiteX43" fmla="*/ 1181100 w 2082800"/>
                <a:gd name="connsiteY43" fmla="*/ 349250 h 812800"/>
                <a:gd name="connsiteX44" fmla="*/ 1212850 w 2082800"/>
                <a:gd name="connsiteY44" fmla="*/ 285750 h 812800"/>
                <a:gd name="connsiteX45" fmla="*/ 1231900 w 2082800"/>
                <a:gd name="connsiteY45" fmla="*/ 273050 h 812800"/>
                <a:gd name="connsiteX46" fmla="*/ 1327150 w 2082800"/>
                <a:gd name="connsiteY46" fmla="*/ 273050 h 812800"/>
                <a:gd name="connsiteX47" fmla="*/ 1365250 w 2082800"/>
                <a:gd name="connsiteY47" fmla="*/ 234950 h 812800"/>
                <a:gd name="connsiteX48" fmla="*/ 1384300 w 2082800"/>
                <a:gd name="connsiteY48" fmla="*/ 215900 h 812800"/>
                <a:gd name="connsiteX49" fmla="*/ 1403350 w 2082800"/>
                <a:gd name="connsiteY49" fmla="*/ 196850 h 812800"/>
                <a:gd name="connsiteX50" fmla="*/ 1606550 w 2082800"/>
                <a:gd name="connsiteY50" fmla="*/ 171450 h 812800"/>
                <a:gd name="connsiteX51" fmla="*/ 1606550 w 2082800"/>
                <a:gd name="connsiteY51" fmla="*/ 171450 h 812800"/>
                <a:gd name="connsiteX52" fmla="*/ 1752600 w 2082800"/>
                <a:gd name="connsiteY52" fmla="*/ 146050 h 812800"/>
                <a:gd name="connsiteX53" fmla="*/ 1816100 w 2082800"/>
                <a:gd name="connsiteY53" fmla="*/ 120650 h 812800"/>
                <a:gd name="connsiteX54" fmla="*/ 1866900 w 2082800"/>
                <a:gd name="connsiteY54" fmla="*/ 114300 h 812800"/>
                <a:gd name="connsiteX55" fmla="*/ 1911350 w 2082800"/>
                <a:gd name="connsiteY55" fmla="*/ 82550 h 812800"/>
                <a:gd name="connsiteX56" fmla="*/ 1936750 w 2082800"/>
                <a:gd name="connsiteY56" fmla="*/ 76200 h 812800"/>
                <a:gd name="connsiteX57" fmla="*/ 2063750 w 2082800"/>
                <a:gd name="connsiteY57" fmla="*/ 82550 h 812800"/>
                <a:gd name="connsiteX58" fmla="*/ 2082800 w 2082800"/>
                <a:gd name="connsiteY58" fmla="*/ 88900 h 812800"/>
                <a:gd name="connsiteX0" fmla="*/ 0 w 1943100"/>
                <a:gd name="connsiteY0" fmla="*/ 57150 h 736600"/>
                <a:gd name="connsiteX1" fmla="*/ 31750 w 1943100"/>
                <a:gd name="connsiteY1" fmla="*/ 63500 h 736600"/>
                <a:gd name="connsiteX2" fmla="*/ 63500 w 1943100"/>
                <a:gd name="connsiteY2" fmla="*/ 88900 h 736600"/>
                <a:gd name="connsiteX3" fmla="*/ 82550 w 1943100"/>
                <a:gd name="connsiteY3" fmla="*/ 95250 h 736600"/>
                <a:gd name="connsiteX4" fmla="*/ 101600 w 1943100"/>
                <a:gd name="connsiteY4" fmla="*/ 114300 h 736600"/>
                <a:gd name="connsiteX5" fmla="*/ 120650 w 1943100"/>
                <a:gd name="connsiteY5" fmla="*/ 127000 h 736600"/>
                <a:gd name="connsiteX6" fmla="*/ 165100 w 1943100"/>
                <a:gd name="connsiteY6" fmla="*/ 158750 h 736600"/>
                <a:gd name="connsiteX7" fmla="*/ 190500 w 1943100"/>
                <a:gd name="connsiteY7" fmla="*/ 177800 h 736600"/>
                <a:gd name="connsiteX8" fmla="*/ 209550 w 1943100"/>
                <a:gd name="connsiteY8" fmla="*/ 196850 h 736600"/>
                <a:gd name="connsiteX9" fmla="*/ 260350 w 1943100"/>
                <a:gd name="connsiteY9" fmla="*/ 234950 h 736600"/>
                <a:gd name="connsiteX10" fmla="*/ 292100 w 1943100"/>
                <a:gd name="connsiteY10" fmla="*/ 266700 h 736600"/>
                <a:gd name="connsiteX11" fmla="*/ 317500 w 1943100"/>
                <a:gd name="connsiteY11" fmla="*/ 317500 h 736600"/>
                <a:gd name="connsiteX12" fmla="*/ 342900 w 1943100"/>
                <a:gd name="connsiteY12" fmla="*/ 355600 h 736600"/>
                <a:gd name="connsiteX13" fmla="*/ 349250 w 1943100"/>
                <a:gd name="connsiteY13" fmla="*/ 374650 h 736600"/>
                <a:gd name="connsiteX14" fmla="*/ 361950 w 1943100"/>
                <a:gd name="connsiteY14" fmla="*/ 406400 h 736600"/>
                <a:gd name="connsiteX15" fmla="*/ 368300 w 1943100"/>
                <a:gd name="connsiteY15" fmla="*/ 431800 h 736600"/>
                <a:gd name="connsiteX16" fmla="*/ 387350 w 1943100"/>
                <a:gd name="connsiteY16" fmla="*/ 469900 h 736600"/>
                <a:gd name="connsiteX17" fmla="*/ 393700 w 1943100"/>
                <a:gd name="connsiteY17" fmla="*/ 488950 h 736600"/>
                <a:gd name="connsiteX18" fmla="*/ 400050 w 1943100"/>
                <a:gd name="connsiteY18" fmla="*/ 539750 h 736600"/>
                <a:gd name="connsiteX19" fmla="*/ 406400 w 1943100"/>
                <a:gd name="connsiteY19" fmla="*/ 558800 h 736600"/>
                <a:gd name="connsiteX20" fmla="*/ 412750 w 1943100"/>
                <a:gd name="connsiteY20" fmla="*/ 622300 h 736600"/>
                <a:gd name="connsiteX21" fmla="*/ 438150 w 1943100"/>
                <a:gd name="connsiteY21" fmla="*/ 666750 h 736600"/>
                <a:gd name="connsiteX22" fmla="*/ 457200 w 1943100"/>
                <a:gd name="connsiteY22" fmla="*/ 685800 h 736600"/>
                <a:gd name="connsiteX23" fmla="*/ 469900 w 1943100"/>
                <a:gd name="connsiteY23" fmla="*/ 704850 h 736600"/>
                <a:gd name="connsiteX24" fmla="*/ 527050 w 1943100"/>
                <a:gd name="connsiteY24" fmla="*/ 736600 h 736600"/>
                <a:gd name="connsiteX25" fmla="*/ 577850 w 1943100"/>
                <a:gd name="connsiteY25" fmla="*/ 730250 h 736600"/>
                <a:gd name="connsiteX26" fmla="*/ 603250 w 1943100"/>
                <a:gd name="connsiteY26" fmla="*/ 711200 h 736600"/>
                <a:gd name="connsiteX27" fmla="*/ 635000 w 1943100"/>
                <a:gd name="connsiteY27" fmla="*/ 698500 h 736600"/>
                <a:gd name="connsiteX28" fmla="*/ 654050 w 1943100"/>
                <a:gd name="connsiteY28" fmla="*/ 692150 h 736600"/>
                <a:gd name="connsiteX29" fmla="*/ 781050 w 1943100"/>
                <a:gd name="connsiteY29" fmla="*/ 679450 h 736600"/>
                <a:gd name="connsiteX30" fmla="*/ 819150 w 1943100"/>
                <a:gd name="connsiteY30" fmla="*/ 660400 h 736600"/>
                <a:gd name="connsiteX31" fmla="*/ 838200 w 1943100"/>
                <a:gd name="connsiteY31" fmla="*/ 647700 h 736600"/>
                <a:gd name="connsiteX32" fmla="*/ 876300 w 1943100"/>
                <a:gd name="connsiteY32" fmla="*/ 635000 h 736600"/>
                <a:gd name="connsiteX33" fmla="*/ 889000 w 1943100"/>
                <a:gd name="connsiteY33" fmla="*/ 615950 h 736600"/>
                <a:gd name="connsiteX34" fmla="*/ 939800 w 1943100"/>
                <a:gd name="connsiteY34" fmla="*/ 590550 h 736600"/>
                <a:gd name="connsiteX35" fmla="*/ 952500 w 1943100"/>
                <a:gd name="connsiteY35" fmla="*/ 571500 h 736600"/>
                <a:gd name="connsiteX36" fmla="*/ 965200 w 1943100"/>
                <a:gd name="connsiteY36" fmla="*/ 520700 h 736600"/>
                <a:gd name="connsiteX37" fmla="*/ 971550 w 1943100"/>
                <a:gd name="connsiteY37" fmla="*/ 495300 h 736600"/>
                <a:gd name="connsiteX38" fmla="*/ 977900 w 1943100"/>
                <a:gd name="connsiteY38" fmla="*/ 450850 h 736600"/>
                <a:gd name="connsiteX39" fmla="*/ 984250 w 1943100"/>
                <a:gd name="connsiteY39" fmla="*/ 412750 h 736600"/>
                <a:gd name="connsiteX40" fmla="*/ 990600 w 1943100"/>
                <a:gd name="connsiteY40" fmla="*/ 349250 h 736600"/>
                <a:gd name="connsiteX41" fmla="*/ 1028700 w 1943100"/>
                <a:gd name="connsiteY41" fmla="*/ 292100 h 736600"/>
                <a:gd name="connsiteX42" fmla="*/ 1041400 w 1943100"/>
                <a:gd name="connsiteY42" fmla="*/ 273050 h 736600"/>
                <a:gd name="connsiteX43" fmla="*/ 1073150 w 1943100"/>
                <a:gd name="connsiteY43" fmla="*/ 209550 h 736600"/>
                <a:gd name="connsiteX44" fmla="*/ 1092200 w 1943100"/>
                <a:gd name="connsiteY44" fmla="*/ 196850 h 736600"/>
                <a:gd name="connsiteX45" fmla="*/ 1187450 w 1943100"/>
                <a:gd name="connsiteY45" fmla="*/ 196850 h 736600"/>
                <a:gd name="connsiteX46" fmla="*/ 1225550 w 1943100"/>
                <a:gd name="connsiteY46" fmla="*/ 158750 h 736600"/>
                <a:gd name="connsiteX47" fmla="*/ 1244600 w 1943100"/>
                <a:gd name="connsiteY47" fmla="*/ 139700 h 736600"/>
                <a:gd name="connsiteX48" fmla="*/ 1263650 w 1943100"/>
                <a:gd name="connsiteY48" fmla="*/ 120650 h 736600"/>
                <a:gd name="connsiteX49" fmla="*/ 1466850 w 1943100"/>
                <a:gd name="connsiteY49" fmla="*/ 95250 h 736600"/>
                <a:gd name="connsiteX50" fmla="*/ 1466850 w 1943100"/>
                <a:gd name="connsiteY50" fmla="*/ 95250 h 736600"/>
                <a:gd name="connsiteX51" fmla="*/ 1612900 w 1943100"/>
                <a:gd name="connsiteY51" fmla="*/ 69850 h 736600"/>
                <a:gd name="connsiteX52" fmla="*/ 1676400 w 1943100"/>
                <a:gd name="connsiteY52" fmla="*/ 44450 h 736600"/>
                <a:gd name="connsiteX53" fmla="*/ 1727200 w 1943100"/>
                <a:gd name="connsiteY53" fmla="*/ 38100 h 736600"/>
                <a:gd name="connsiteX54" fmla="*/ 1771650 w 1943100"/>
                <a:gd name="connsiteY54" fmla="*/ 6350 h 736600"/>
                <a:gd name="connsiteX55" fmla="*/ 1797050 w 1943100"/>
                <a:gd name="connsiteY55" fmla="*/ 0 h 736600"/>
                <a:gd name="connsiteX56" fmla="*/ 1924050 w 1943100"/>
                <a:gd name="connsiteY56" fmla="*/ 6350 h 736600"/>
                <a:gd name="connsiteX57" fmla="*/ 1943100 w 1943100"/>
                <a:gd name="connsiteY57" fmla="*/ 12700 h 73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943100" h="736600">
                  <a:moveTo>
                    <a:pt x="0" y="57150"/>
                  </a:moveTo>
                  <a:cubicBezTo>
                    <a:pt x="10143" y="60838"/>
                    <a:pt x="21167" y="61383"/>
                    <a:pt x="31750" y="63500"/>
                  </a:cubicBezTo>
                  <a:cubicBezTo>
                    <a:pt x="42333" y="71967"/>
                    <a:pt x="52007" y="81717"/>
                    <a:pt x="63500" y="88900"/>
                  </a:cubicBezTo>
                  <a:cubicBezTo>
                    <a:pt x="69176" y="92448"/>
                    <a:pt x="76981" y="91537"/>
                    <a:pt x="82550" y="95250"/>
                  </a:cubicBezTo>
                  <a:cubicBezTo>
                    <a:pt x="90022" y="100231"/>
                    <a:pt x="94701" y="108551"/>
                    <a:pt x="101600" y="114300"/>
                  </a:cubicBezTo>
                  <a:cubicBezTo>
                    <a:pt x="107463" y="119186"/>
                    <a:pt x="114856" y="122033"/>
                    <a:pt x="120650" y="127000"/>
                  </a:cubicBezTo>
                  <a:cubicBezTo>
                    <a:pt x="159001" y="159872"/>
                    <a:pt x="130097" y="147082"/>
                    <a:pt x="165100" y="158750"/>
                  </a:cubicBezTo>
                  <a:cubicBezTo>
                    <a:pt x="173567" y="165100"/>
                    <a:pt x="182465" y="170912"/>
                    <a:pt x="190500" y="177800"/>
                  </a:cubicBezTo>
                  <a:cubicBezTo>
                    <a:pt x="197318" y="183644"/>
                    <a:pt x="202651" y="191101"/>
                    <a:pt x="209550" y="196850"/>
                  </a:cubicBezTo>
                  <a:cubicBezTo>
                    <a:pt x="244723" y="226161"/>
                    <a:pt x="214034" y="188634"/>
                    <a:pt x="260350" y="234950"/>
                  </a:cubicBezTo>
                  <a:cubicBezTo>
                    <a:pt x="302683" y="277283"/>
                    <a:pt x="241300" y="232833"/>
                    <a:pt x="292100" y="266700"/>
                  </a:cubicBezTo>
                  <a:cubicBezTo>
                    <a:pt x="300567" y="283633"/>
                    <a:pt x="306998" y="301748"/>
                    <a:pt x="317500" y="317500"/>
                  </a:cubicBezTo>
                  <a:cubicBezTo>
                    <a:pt x="325967" y="330200"/>
                    <a:pt x="338073" y="341120"/>
                    <a:pt x="342900" y="355600"/>
                  </a:cubicBezTo>
                  <a:cubicBezTo>
                    <a:pt x="345017" y="361950"/>
                    <a:pt x="346900" y="368383"/>
                    <a:pt x="349250" y="374650"/>
                  </a:cubicBezTo>
                  <a:cubicBezTo>
                    <a:pt x="353252" y="385323"/>
                    <a:pt x="358345" y="395586"/>
                    <a:pt x="361950" y="406400"/>
                  </a:cubicBezTo>
                  <a:cubicBezTo>
                    <a:pt x="364710" y="414679"/>
                    <a:pt x="365059" y="423697"/>
                    <a:pt x="368300" y="431800"/>
                  </a:cubicBezTo>
                  <a:cubicBezTo>
                    <a:pt x="373573" y="444983"/>
                    <a:pt x="381583" y="456925"/>
                    <a:pt x="387350" y="469900"/>
                  </a:cubicBezTo>
                  <a:cubicBezTo>
                    <a:pt x="390068" y="476017"/>
                    <a:pt x="391583" y="482600"/>
                    <a:pt x="393700" y="488950"/>
                  </a:cubicBezTo>
                  <a:cubicBezTo>
                    <a:pt x="395817" y="505883"/>
                    <a:pt x="396997" y="522960"/>
                    <a:pt x="400050" y="539750"/>
                  </a:cubicBezTo>
                  <a:cubicBezTo>
                    <a:pt x="401247" y="546336"/>
                    <a:pt x="405382" y="552184"/>
                    <a:pt x="406400" y="558800"/>
                  </a:cubicBezTo>
                  <a:cubicBezTo>
                    <a:pt x="409635" y="579825"/>
                    <a:pt x="408293" y="601500"/>
                    <a:pt x="412750" y="622300"/>
                  </a:cubicBezTo>
                  <a:cubicBezTo>
                    <a:pt x="414542" y="630661"/>
                    <a:pt x="431746" y="659065"/>
                    <a:pt x="438150" y="666750"/>
                  </a:cubicBezTo>
                  <a:cubicBezTo>
                    <a:pt x="443899" y="673649"/>
                    <a:pt x="451451" y="678901"/>
                    <a:pt x="457200" y="685800"/>
                  </a:cubicBezTo>
                  <a:cubicBezTo>
                    <a:pt x="462086" y="691663"/>
                    <a:pt x="464157" y="699824"/>
                    <a:pt x="469900" y="704850"/>
                  </a:cubicBezTo>
                  <a:cubicBezTo>
                    <a:pt x="496773" y="728364"/>
                    <a:pt x="500885" y="727878"/>
                    <a:pt x="527050" y="736600"/>
                  </a:cubicBezTo>
                  <a:cubicBezTo>
                    <a:pt x="543983" y="734483"/>
                    <a:pt x="561661" y="735646"/>
                    <a:pt x="577850" y="730250"/>
                  </a:cubicBezTo>
                  <a:cubicBezTo>
                    <a:pt x="587890" y="726903"/>
                    <a:pt x="593999" y="716340"/>
                    <a:pt x="603250" y="711200"/>
                  </a:cubicBezTo>
                  <a:cubicBezTo>
                    <a:pt x="613214" y="705664"/>
                    <a:pt x="624327" y="702502"/>
                    <a:pt x="635000" y="698500"/>
                  </a:cubicBezTo>
                  <a:cubicBezTo>
                    <a:pt x="641267" y="696150"/>
                    <a:pt x="647413" y="693016"/>
                    <a:pt x="654050" y="692150"/>
                  </a:cubicBezTo>
                  <a:cubicBezTo>
                    <a:pt x="696237" y="686647"/>
                    <a:pt x="738717" y="683683"/>
                    <a:pt x="781050" y="679450"/>
                  </a:cubicBezTo>
                  <a:cubicBezTo>
                    <a:pt x="835645" y="643054"/>
                    <a:pt x="766570" y="686690"/>
                    <a:pt x="819150" y="660400"/>
                  </a:cubicBezTo>
                  <a:cubicBezTo>
                    <a:pt x="825976" y="656987"/>
                    <a:pt x="831226" y="650800"/>
                    <a:pt x="838200" y="647700"/>
                  </a:cubicBezTo>
                  <a:cubicBezTo>
                    <a:pt x="850433" y="642263"/>
                    <a:pt x="876300" y="635000"/>
                    <a:pt x="876300" y="635000"/>
                  </a:cubicBezTo>
                  <a:cubicBezTo>
                    <a:pt x="880533" y="628650"/>
                    <a:pt x="883206" y="620917"/>
                    <a:pt x="889000" y="615950"/>
                  </a:cubicBezTo>
                  <a:cubicBezTo>
                    <a:pt x="908086" y="599591"/>
                    <a:pt x="919022" y="597476"/>
                    <a:pt x="939800" y="590550"/>
                  </a:cubicBezTo>
                  <a:cubicBezTo>
                    <a:pt x="944033" y="584200"/>
                    <a:pt x="949087" y="578326"/>
                    <a:pt x="952500" y="571500"/>
                  </a:cubicBezTo>
                  <a:cubicBezTo>
                    <a:pt x="959308" y="557883"/>
                    <a:pt x="962302" y="533742"/>
                    <a:pt x="965200" y="520700"/>
                  </a:cubicBezTo>
                  <a:cubicBezTo>
                    <a:pt x="967093" y="512181"/>
                    <a:pt x="969989" y="503886"/>
                    <a:pt x="971550" y="495300"/>
                  </a:cubicBezTo>
                  <a:cubicBezTo>
                    <a:pt x="974227" y="480574"/>
                    <a:pt x="975624" y="465643"/>
                    <a:pt x="977900" y="450850"/>
                  </a:cubicBezTo>
                  <a:cubicBezTo>
                    <a:pt x="979858" y="438125"/>
                    <a:pt x="982653" y="425526"/>
                    <a:pt x="984250" y="412750"/>
                  </a:cubicBezTo>
                  <a:cubicBezTo>
                    <a:pt x="986888" y="391642"/>
                    <a:pt x="983246" y="369211"/>
                    <a:pt x="990600" y="349250"/>
                  </a:cubicBezTo>
                  <a:cubicBezTo>
                    <a:pt x="998515" y="327766"/>
                    <a:pt x="1016000" y="311150"/>
                    <a:pt x="1028700" y="292100"/>
                  </a:cubicBezTo>
                  <a:cubicBezTo>
                    <a:pt x="1032933" y="285750"/>
                    <a:pt x="1038987" y="280290"/>
                    <a:pt x="1041400" y="273050"/>
                  </a:cubicBezTo>
                  <a:cubicBezTo>
                    <a:pt x="1051737" y="242038"/>
                    <a:pt x="1050582" y="232118"/>
                    <a:pt x="1073150" y="209550"/>
                  </a:cubicBezTo>
                  <a:cubicBezTo>
                    <a:pt x="1078546" y="204154"/>
                    <a:pt x="1085850" y="201083"/>
                    <a:pt x="1092200" y="196850"/>
                  </a:cubicBezTo>
                  <a:cubicBezTo>
                    <a:pt x="1126223" y="208191"/>
                    <a:pt x="1139640" y="215443"/>
                    <a:pt x="1187450" y="196850"/>
                  </a:cubicBezTo>
                  <a:cubicBezTo>
                    <a:pt x="1204189" y="190340"/>
                    <a:pt x="1212850" y="171450"/>
                    <a:pt x="1225550" y="158750"/>
                  </a:cubicBezTo>
                  <a:lnTo>
                    <a:pt x="1244600" y="139700"/>
                  </a:lnTo>
                  <a:cubicBezTo>
                    <a:pt x="1250950" y="133350"/>
                    <a:pt x="1254938" y="122828"/>
                    <a:pt x="1263650" y="120650"/>
                  </a:cubicBezTo>
                  <a:cubicBezTo>
                    <a:pt x="1346876" y="99843"/>
                    <a:pt x="1280372" y="115230"/>
                    <a:pt x="1466850" y="95250"/>
                  </a:cubicBezTo>
                  <a:lnTo>
                    <a:pt x="1466850" y="95250"/>
                  </a:lnTo>
                  <a:lnTo>
                    <a:pt x="1612900" y="69850"/>
                  </a:lnTo>
                  <a:cubicBezTo>
                    <a:pt x="1634067" y="61383"/>
                    <a:pt x="1654434" y="50552"/>
                    <a:pt x="1676400" y="44450"/>
                  </a:cubicBezTo>
                  <a:cubicBezTo>
                    <a:pt x="1692843" y="39883"/>
                    <a:pt x="1711355" y="44438"/>
                    <a:pt x="1727200" y="38100"/>
                  </a:cubicBezTo>
                  <a:cubicBezTo>
                    <a:pt x="1744106" y="31338"/>
                    <a:pt x="1755665" y="15069"/>
                    <a:pt x="1771650" y="6350"/>
                  </a:cubicBezTo>
                  <a:cubicBezTo>
                    <a:pt x="1779312" y="2171"/>
                    <a:pt x="1788583" y="2117"/>
                    <a:pt x="1797050" y="0"/>
                  </a:cubicBezTo>
                  <a:cubicBezTo>
                    <a:pt x="1839383" y="2117"/>
                    <a:pt x="1881823" y="2678"/>
                    <a:pt x="1924050" y="6350"/>
                  </a:cubicBezTo>
                  <a:cubicBezTo>
                    <a:pt x="1930718" y="6930"/>
                    <a:pt x="1943100" y="12700"/>
                    <a:pt x="1943100" y="12700"/>
                  </a:cubicBez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45" name="Freeform 44"/>
            <p:cNvSpPr/>
            <p:nvPr/>
          </p:nvSpPr>
          <p:spPr>
            <a:xfrm>
              <a:off x="1978807" y="2166450"/>
              <a:ext cx="274605" cy="137302"/>
            </a:xfrm>
            <a:custGeom>
              <a:avLst/>
              <a:gdLst>
                <a:gd name="connsiteX0" fmla="*/ 0 w 736600"/>
                <a:gd name="connsiteY0" fmla="*/ 0 h 368300"/>
                <a:gd name="connsiteX1" fmla="*/ 107950 w 736600"/>
                <a:gd name="connsiteY1" fmla="*/ 95250 h 368300"/>
                <a:gd name="connsiteX2" fmla="*/ 127000 w 736600"/>
                <a:gd name="connsiteY2" fmla="*/ 120650 h 368300"/>
                <a:gd name="connsiteX3" fmla="*/ 146050 w 736600"/>
                <a:gd name="connsiteY3" fmla="*/ 139700 h 368300"/>
                <a:gd name="connsiteX4" fmla="*/ 152400 w 736600"/>
                <a:gd name="connsiteY4" fmla="*/ 158750 h 368300"/>
                <a:gd name="connsiteX5" fmla="*/ 196850 w 736600"/>
                <a:gd name="connsiteY5" fmla="*/ 171450 h 368300"/>
                <a:gd name="connsiteX6" fmla="*/ 266700 w 736600"/>
                <a:gd name="connsiteY6" fmla="*/ 196850 h 368300"/>
                <a:gd name="connsiteX7" fmla="*/ 323850 w 736600"/>
                <a:gd name="connsiteY7" fmla="*/ 209550 h 368300"/>
                <a:gd name="connsiteX8" fmla="*/ 469900 w 736600"/>
                <a:gd name="connsiteY8" fmla="*/ 247650 h 368300"/>
                <a:gd name="connsiteX9" fmla="*/ 514350 w 736600"/>
                <a:gd name="connsiteY9" fmla="*/ 273050 h 368300"/>
                <a:gd name="connsiteX10" fmla="*/ 533400 w 736600"/>
                <a:gd name="connsiteY10" fmla="*/ 285750 h 368300"/>
                <a:gd name="connsiteX11" fmla="*/ 565150 w 736600"/>
                <a:gd name="connsiteY11" fmla="*/ 298450 h 368300"/>
                <a:gd name="connsiteX12" fmla="*/ 622300 w 736600"/>
                <a:gd name="connsiteY12" fmla="*/ 330200 h 368300"/>
                <a:gd name="connsiteX13" fmla="*/ 654050 w 736600"/>
                <a:gd name="connsiteY13" fmla="*/ 336550 h 368300"/>
                <a:gd name="connsiteX14" fmla="*/ 685800 w 736600"/>
                <a:gd name="connsiteY14" fmla="*/ 349250 h 368300"/>
                <a:gd name="connsiteX15" fmla="*/ 704850 w 736600"/>
                <a:gd name="connsiteY15" fmla="*/ 355600 h 368300"/>
                <a:gd name="connsiteX16" fmla="*/ 736600 w 736600"/>
                <a:gd name="connsiteY16" fmla="*/ 368300 h 36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6600" h="368300">
                  <a:moveTo>
                    <a:pt x="0" y="0"/>
                  </a:moveTo>
                  <a:cubicBezTo>
                    <a:pt x="35983" y="31750"/>
                    <a:pt x="73159" y="62198"/>
                    <a:pt x="107950" y="95250"/>
                  </a:cubicBezTo>
                  <a:cubicBezTo>
                    <a:pt x="115623" y="102539"/>
                    <a:pt x="120112" y="112615"/>
                    <a:pt x="127000" y="120650"/>
                  </a:cubicBezTo>
                  <a:cubicBezTo>
                    <a:pt x="132844" y="127468"/>
                    <a:pt x="139700" y="133350"/>
                    <a:pt x="146050" y="139700"/>
                  </a:cubicBezTo>
                  <a:cubicBezTo>
                    <a:pt x="148167" y="146050"/>
                    <a:pt x="147667" y="154017"/>
                    <a:pt x="152400" y="158750"/>
                  </a:cubicBezTo>
                  <a:cubicBezTo>
                    <a:pt x="155449" y="161799"/>
                    <a:pt x="196615" y="171379"/>
                    <a:pt x="196850" y="171450"/>
                  </a:cubicBezTo>
                  <a:cubicBezTo>
                    <a:pt x="300622" y="202582"/>
                    <a:pt x="175810" y="166553"/>
                    <a:pt x="266700" y="196850"/>
                  </a:cubicBezTo>
                  <a:cubicBezTo>
                    <a:pt x="282768" y="202206"/>
                    <a:pt x="308032" y="205955"/>
                    <a:pt x="323850" y="209550"/>
                  </a:cubicBezTo>
                  <a:cubicBezTo>
                    <a:pt x="330117" y="210974"/>
                    <a:pt x="438274" y="233053"/>
                    <a:pt x="469900" y="247650"/>
                  </a:cubicBezTo>
                  <a:cubicBezTo>
                    <a:pt x="485394" y="254801"/>
                    <a:pt x="499717" y="264270"/>
                    <a:pt x="514350" y="273050"/>
                  </a:cubicBezTo>
                  <a:cubicBezTo>
                    <a:pt x="520894" y="276977"/>
                    <a:pt x="526574" y="282337"/>
                    <a:pt x="533400" y="285750"/>
                  </a:cubicBezTo>
                  <a:cubicBezTo>
                    <a:pt x="543595" y="290848"/>
                    <a:pt x="554955" y="293352"/>
                    <a:pt x="565150" y="298450"/>
                  </a:cubicBezTo>
                  <a:cubicBezTo>
                    <a:pt x="581426" y="306588"/>
                    <a:pt x="603954" y="324085"/>
                    <a:pt x="622300" y="330200"/>
                  </a:cubicBezTo>
                  <a:cubicBezTo>
                    <a:pt x="632539" y="333613"/>
                    <a:pt x="643712" y="333449"/>
                    <a:pt x="654050" y="336550"/>
                  </a:cubicBezTo>
                  <a:cubicBezTo>
                    <a:pt x="664968" y="339825"/>
                    <a:pt x="675127" y="345248"/>
                    <a:pt x="685800" y="349250"/>
                  </a:cubicBezTo>
                  <a:cubicBezTo>
                    <a:pt x="692067" y="351600"/>
                    <a:pt x="698414" y="353761"/>
                    <a:pt x="704850" y="355600"/>
                  </a:cubicBezTo>
                  <a:cubicBezTo>
                    <a:pt x="734569" y="364091"/>
                    <a:pt x="723593" y="355293"/>
                    <a:pt x="736600" y="36830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46" name="Freeform 45"/>
            <p:cNvSpPr/>
            <p:nvPr/>
          </p:nvSpPr>
          <p:spPr>
            <a:xfrm>
              <a:off x="1952767" y="2175920"/>
              <a:ext cx="246198" cy="293543"/>
            </a:xfrm>
            <a:custGeom>
              <a:avLst/>
              <a:gdLst>
                <a:gd name="connsiteX0" fmla="*/ 0 w 660400"/>
                <a:gd name="connsiteY0" fmla="*/ 0 h 787400"/>
                <a:gd name="connsiteX1" fmla="*/ 31750 w 660400"/>
                <a:gd name="connsiteY1" fmla="*/ 241300 h 787400"/>
                <a:gd name="connsiteX2" fmla="*/ 38100 w 660400"/>
                <a:gd name="connsiteY2" fmla="*/ 260350 h 787400"/>
                <a:gd name="connsiteX3" fmla="*/ 44450 w 660400"/>
                <a:gd name="connsiteY3" fmla="*/ 292100 h 787400"/>
                <a:gd name="connsiteX4" fmla="*/ 50800 w 660400"/>
                <a:gd name="connsiteY4" fmla="*/ 342900 h 787400"/>
                <a:gd name="connsiteX5" fmla="*/ 63500 w 660400"/>
                <a:gd name="connsiteY5" fmla="*/ 361950 h 787400"/>
                <a:gd name="connsiteX6" fmla="*/ 76200 w 660400"/>
                <a:gd name="connsiteY6" fmla="*/ 387350 h 787400"/>
                <a:gd name="connsiteX7" fmla="*/ 95250 w 660400"/>
                <a:gd name="connsiteY7" fmla="*/ 400050 h 787400"/>
                <a:gd name="connsiteX8" fmla="*/ 152400 w 660400"/>
                <a:gd name="connsiteY8" fmla="*/ 438150 h 787400"/>
                <a:gd name="connsiteX9" fmla="*/ 165100 w 660400"/>
                <a:gd name="connsiteY9" fmla="*/ 457200 h 787400"/>
                <a:gd name="connsiteX10" fmla="*/ 273050 w 660400"/>
                <a:gd name="connsiteY10" fmla="*/ 571500 h 787400"/>
                <a:gd name="connsiteX11" fmla="*/ 311150 w 660400"/>
                <a:gd name="connsiteY11" fmla="*/ 615950 h 787400"/>
                <a:gd name="connsiteX12" fmla="*/ 330200 w 660400"/>
                <a:gd name="connsiteY12" fmla="*/ 641350 h 787400"/>
                <a:gd name="connsiteX13" fmla="*/ 355600 w 660400"/>
                <a:gd name="connsiteY13" fmla="*/ 660400 h 787400"/>
                <a:gd name="connsiteX14" fmla="*/ 425450 w 660400"/>
                <a:gd name="connsiteY14" fmla="*/ 698500 h 787400"/>
                <a:gd name="connsiteX15" fmla="*/ 444500 w 660400"/>
                <a:gd name="connsiteY15" fmla="*/ 704850 h 787400"/>
                <a:gd name="connsiteX16" fmla="*/ 488950 w 660400"/>
                <a:gd name="connsiteY16" fmla="*/ 736600 h 787400"/>
                <a:gd name="connsiteX17" fmla="*/ 527050 w 660400"/>
                <a:gd name="connsiteY17" fmla="*/ 742950 h 787400"/>
                <a:gd name="connsiteX18" fmla="*/ 565150 w 660400"/>
                <a:gd name="connsiteY18" fmla="*/ 755650 h 787400"/>
                <a:gd name="connsiteX19" fmla="*/ 584200 w 660400"/>
                <a:gd name="connsiteY19" fmla="*/ 762000 h 787400"/>
                <a:gd name="connsiteX20" fmla="*/ 647700 w 660400"/>
                <a:gd name="connsiteY20" fmla="*/ 781050 h 787400"/>
                <a:gd name="connsiteX21" fmla="*/ 660400 w 660400"/>
                <a:gd name="connsiteY21" fmla="*/ 787400 h 78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60400" h="787400">
                  <a:moveTo>
                    <a:pt x="0" y="0"/>
                  </a:moveTo>
                  <a:cubicBezTo>
                    <a:pt x="10583" y="80433"/>
                    <a:pt x="20003" y="161028"/>
                    <a:pt x="31750" y="241300"/>
                  </a:cubicBezTo>
                  <a:cubicBezTo>
                    <a:pt x="32719" y="247923"/>
                    <a:pt x="36477" y="253856"/>
                    <a:pt x="38100" y="260350"/>
                  </a:cubicBezTo>
                  <a:cubicBezTo>
                    <a:pt x="40718" y="270821"/>
                    <a:pt x="42809" y="281433"/>
                    <a:pt x="44450" y="292100"/>
                  </a:cubicBezTo>
                  <a:cubicBezTo>
                    <a:pt x="47045" y="308967"/>
                    <a:pt x="46310" y="326436"/>
                    <a:pt x="50800" y="342900"/>
                  </a:cubicBezTo>
                  <a:cubicBezTo>
                    <a:pt x="52808" y="350263"/>
                    <a:pt x="59714" y="355324"/>
                    <a:pt x="63500" y="361950"/>
                  </a:cubicBezTo>
                  <a:cubicBezTo>
                    <a:pt x="68196" y="370169"/>
                    <a:pt x="70140" y="380078"/>
                    <a:pt x="76200" y="387350"/>
                  </a:cubicBezTo>
                  <a:cubicBezTo>
                    <a:pt x="81086" y="393213"/>
                    <a:pt x="89040" y="395614"/>
                    <a:pt x="95250" y="400050"/>
                  </a:cubicBezTo>
                  <a:cubicBezTo>
                    <a:pt x="141547" y="433119"/>
                    <a:pt x="98720" y="405942"/>
                    <a:pt x="152400" y="438150"/>
                  </a:cubicBezTo>
                  <a:cubicBezTo>
                    <a:pt x="156633" y="444500"/>
                    <a:pt x="159980" y="451541"/>
                    <a:pt x="165100" y="457200"/>
                  </a:cubicBezTo>
                  <a:cubicBezTo>
                    <a:pt x="200260" y="496061"/>
                    <a:pt x="249613" y="524626"/>
                    <a:pt x="273050" y="571500"/>
                  </a:cubicBezTo>
                  <a:cubicBezTo>
                    <a:pt x="297856" y="621112"/>
                    <a:pt x="269934" y="574734"/>
                    <a:pt x="311150" y="615950"/>
                  </a:cubicBezTo>
                  <a:cubicBezTo>
                    <a:pt x="318634" y="623434"/>
                    <a:pt x="322716" y="633866"/>
                    <a:pt x="330200" y="641350"/>
                  </a:cubicBezTo>
                  <a:cubicBezTo>
                    <a:pt x="337684" y="648834"/>
                    <a:pt x="346671" y="654718"/>
                    <a:pt x="355600" y="660400"/>
                  </a:cubicBezTo>
                  <a:cubicBezTo>
                    <a:pt x="366610" y="667407"/>
                    <a:pt x="407894" y="690976"/>
                    <a:pt x="425450" y="698500"/>
                  </a:cubicBezTo>
                  <a:cubicBezTo>
                    <a:pt x="431602" y="701137"/>
                    <a:pt x="438150" y="702733"/>
                    <a:pt x="444500" y="704850"/>
                  </a:cubicBezTo>
                  <a:cubicBezTo>
                    <a:pt x="459317" y="715433"/>
                    <a:pt x="472418" y="728970"/>
                    <a:pt x="488950" y="736600"/>
                  </a:cubicBezTo>
                  <a:cubicBezTo>
                    <a:pt x="500640" y="741995"/>
                    <a:pt x="514559" y="739827"/>
                    <a:pt x="527050" y="742950"/>
                  </a:cubicBezTo>
                  <a:cubicBezTo>
                    <a:pt x="540037" y="746197"/>
                    <a:pt x="552450" y="751417"/>
                    <a:pt x="565150" y="755650"/>
                  </a:cubicBezTo>
                  <a:cubicBezTo>
                    <a:pt x="571500" y="757767"/>
                    <a:pt x="577706" y="760377"/>
                    <a:pt x="584200" y="762000"/>
                  </a:cubicBezTo>
                  <a:cubicBezTo>
                    <a:pt x="602430" y="766558"/>
                    <a:pt x="632240" y="773320"/>
                    <a:pt x="647700" y="781050"/>
                  </a:cubicBezTo>
                  <a:lnTo>
                    <a:pt x="660400" y="78740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47" name="Freeform 46"/>
            <p:cNvSpPr/>
            <p:nvPr/>
          </p:nvSpPr>
          <p:spPr>
            <a:xfrm>
              <a:off x="1573961" y="2104901"/>
              <a:ext cx="340930" cy="106527"/>
            </a:xfrm>
            <a:custGeom>
              <a:avLst/>
              <a:gdLst>
                <a:gd name="connsiteX0" fmla="*/ 482600 w 482600"/>
                <a:gd name="connsiteY0" fmla="*/ 286399 h 286399"/>
                <a:gd name="connsiteX1" fmla="*/ 450850 w 482600"/>
                <a:gd name="connsiteY1" fmla="*/ 280049 h 286399"/>
                <a:gd name="connsiteX2" fmla="*/ 387350 w 482600"/>
                <a:gd name="connsiteY2" fmla="*/ 273699 h 286399"/>
                <a:gd name="connsiteX3" fmla="*/ 349250 w 482600"/>
                <a:gd name="connsiteY3" fmla="*/ 254649 h 286399"/>
                <a:gd name="connsiteX4" fmla="*/ 292100 w 482600"/>
                <a:gd name="connsiteY4" fmla="*/ 235599 h 286399"/>
                <a:gd name="connsiteX5" fmla="*/ 241300 w 482600"/>
                <a:gd name="connsiteY5" fmla="*/ 222899 h 286399"/>
                <a:gd name="connsiteX6" fmla="*/ 222250 w 482600"/>
                <a:gd name="connsiteY6" fmla="*/ 216549 h 286399"/>
                <a:gd name="connsiteX7" fmla="*/ 203200 w 482600"/>
                <a:gd name="connsiteY7" fmla="*/ 203849 h 286399"/>
                <a:gd name="connsiteX8" fmla="*/ 196850 w 482600"/>
                <a:gd name="connsiteY8" fmla="*/ 184799 h 286399"/>
                <a:gd name="connsiteX9" fmla="*/ 158750 w 482600"/>
                <a:gd name="connsiteY9" fmla="*/ 140349 h 286399"/>
                <a:gd name="connsiteX10" fmla="*/ 146050 w 482600"/>
                <a:gd name="connsiteY10" fmla="*/ 121299 h 286399"/>
                <a:gd name="connsiteX11" fmla="*/ 57150 w 482600"/>
                <a:gd name="connsiteY11" fmla="*/ 649 h 286399"/>
                <a:gd name="connsiteX12" fmla="*/ 0 w 482600"/>
                <a:gd name="connsiteY12" fmla="*/ 649 h 286399"/>
                <a:gd name="connsiteX0" fmla="*/ 914509 w 914509"/>
                <a:gd name="connsiteY0" fmla="*/ 285750 h 285750"/>
                <a:gd name="connsiteX1" fmla="*/ 882759 w 914509"/>
                <a:gd name="connsiteY1" fmla="*/ 279400 h 285750"/>
                <a:gd name="connsiteX2" fmla="*/ 819259 w 914509"/>
                <a:gd name="connsiteY2" fmla="*/ 273050 h 285750"/>
                <a:gd name="connsiteX3" fmla="*/ 781159 w 914509"/>
                <a:gd name="connsiteY3" fmla="*/ 254000 h 285750"/>
                <a:gd name="connsiteX4" fmla="*/ 724009 w 914509"/>
                <a:gd name="connsiteY4" fmla="*/ 234950 h 285750"/>
                <a:gd name="connsiteX5" fmla="*/ 673209 w 914509"/>
                <a:gd name="connsiteY5" fmla="*/ 222250 h 285750"/>
                <a:gd name="connsiteX6" fmla="*/ 654159 w 914509"/>
                <a:gd name="connsiteY6" fmla="*/ 215900 h 285750"/>
                <a:gd name="connsiteX7" fmla="*/ 635109 w 914509"/>
                <a:gd name="connsiteY7" fmla="*/ 203200 h 285750"/>
                <a:gd name="connsiteX8" fmla="*/ 628759 w 914509"/>
                <a:gd name="connsiteY8" fmla="*/ 184150 h 285750"/>
                <a:gd name="connsiteX9" fmla="*/ 590659 w 914509"/>
                <a:gd name="connsiteY9" fmla="*/ 139700 h 285750"/>
                <a:gd name="connsiteX10" fmla="*/ 577959 w 914509"/>
                <a:gd name="connsiteY10" fmla="*/ 120650 h 285750"/>
                <a:gd name="connsiteX11" fmla="*/ 489059 w 914509"/>
                <a:gd name="connsiteY11" fmla="*/ 0 h 285750"/>
                <a:gd name="connsiteX12" fmla="*/ 0 w 914509"/>
                <a:gd name="connsiteY12" fmla="*/ 5279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509" h="285750">
                  <a:moveTo>
                    <a:pt x="914509" y="285750"/>
                  </a:moveTo>
                  <a:cubicBezTo>
                    <a:pt x="903926" y="283633"/>
                    <a:pt x="893457" y="280826"/>
                    <a:pt x="882759" y="279400"/>
                  </a:cubicBezTo>
                  <a:cubicBezTo>
                    <a:pt x="861673" y="276589"/>
                    <a:pt x="840284" y="276285"/>
                    <a:pt x="819259" y="273050"/>
                  </a:cubicBezTo>
                  <a:cubicBezTo>
                    <a:pt x="790384" y="268608"/>
                    <a:pt x="808726" y="265486"/>
                    <a:pt x="781159" y="254000"/>
                  </a:cubicBezTo>
                  <a:cubicBezTo>
                    <a:pt x="762623" y="246277"/>
                    <a:pt x="743274" y="240616"/>
                    <a:pt x="724009" y="234950"/>
                  </a:cubicBezTo>
                  <a:cubicBezTo>
                    <a:pt x="707264" y="230025"/>
                    <a:pt x="690048" y="226843"/>
                    <a:pt x="673209" y="222250"/>
                  </a:cubicBezTo>
                  <a:cubicBezTo>
                    <a:pt x="666751" y="220489"/>
                    <a:pt x="660146" y="218893"/>
                    <a:pt x="654159" y="215900"/>
                  </a:cubicBezTo>
                  <a:cubicBezTo>
                    <a:pt x="647333" y="212487"/>
                    <a:pt x="641459" y="207433"/>
                    <a:pt x="635109" y="203200"/>
                  </a:cubicBezTo>
                  <a:cubicBezTo>
                    <a:pt x="632992" y="196850"/>
                    <a:pt x="632080" y="189962"/>
                    <a:pt x="628759" y="184150"/>
                  </a:cubicBezTo>
                  <a:cubicBezTo>
                    <a:pt x="611464" y="153883"/>
                    <a:pt x="611132" y="164267"/>
                    <a:pt x="590659" y="139700"/>
                  </a:cubicBezTo>
                  <a:cubicBezTo>
                    <a:pt x="585773" y="133837"/>
                    <a:pt x="581745" y="127276"/>
                    <a:pt x="577959" y="120650"/>
                  </a:cubicBezTo>
                  <a:cubicBezTo>
                    <a:pt x="543164" y="59758"/>
                    <a:pt x="585385" y="11310"/>
                    <a:pt x="489059" y="0"/>
                  </a:cubicBezTo>
                  <a:lnTo>
                    <a:pt x="0" y="5279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48" name="Freeform 47"/>
            <p:cNvSpPr/>
            <p:nvPr/>
          </p:nvSpPr>
          <p:spPr>
            <a:xfrm>
              <a:off x="1421880" y="2282284"/>
              <a:ext cx="272962" cy="395500"/>
            </a:xfrm>
            <a:custGeom>
              <a:avLst/>
              <a:gdLst>
                <a:gd name="connsiteX0" fmla="*/ 693801 w 693801"/>
                <a:gd name="connsiteY0" fmla="*/ 0 h 1003300"/>
                <a:gd name="connsiteX1" fmla="*/ 643001 w 693801"/>
                <a:gd name="connsiteY1" fmla="*/ 38100 h 1003300"/>
                <a:gd name="connsiteX2" fmla="*/ 623951 w 693801"/>
                <a:gd name="connsiteY2" fmla="*/ 63500 h 1003300"/>
                <a:gd name="connsiteX3" fmla="*/ 611251 w 693801"/>
                <a:gd name="connsiteY3" fmla="*/ 82550 h 1003300"/>
                <a:gd name="connsiteX4" fmla="*/ 592201 w 693801"/>
                <a:gd name="connsiteY4" fmla="*/ 88900 h 1003300"/>
                <a:gd name="connsiteX5" fmla="*/ 509651 w 693801"/>
                <a:gd name="connsiteY5" fmla="*/ 107950 h 1003300"/>
                <a:gd name="connsiteX6" fmla="*/ 484251 w 693801"/>
                <a:gd name="connsiteY6" fmla="*/ 120650 h 1003300"/>
                <a:gd name="connsiteX7" fmla="*/ 427101 w 693801"/>
                <a:gd name="connsiteY7" fmla="*/ 190500 h 1003300"/>
                <a:gd name="connsiteX8" fmla="*/ 408051 w 693801"/>
                <a:gd name="connsiteY8" fmla="*/ 209550 h 1003300"/>
                <a:gd name="connsiteX9" fmla="*/ 401701 w 693801"/>
                <a:gd name="connsiteY9" fmla="*/ 228600 h 1003300"/>
                <a:gd name="connsiteX10" fmla="*/ 363601 w 693801"/>
                <a:gd name="connsiteY10" fmla="*/ 279400 h 1003300"/>
                <a:gd name="connsiteX11" fmla="*/ 357251 w 693801"/>
                <a:gd name="connsiteY11" fmla="*/ 298450 h 1003300"/>
                <a:gd name="connsiteX12" fmla="*/ 344551 w 693801"/>
                <a:gd name="connsiteY12" fmla="*/ 323850 h 1003300"/>
                <a:gd name="connsiteX13" fmla="*/ 331851 w 693801"/>
                <a:gd name="connsiteY13" fmla="*/ 342900 h 1003300"/>
                <a:gd name="connsiteX14" fmla="*/ 319151 w 693801"/>
                <a:gd name="connsiteY14" fmla="*/ 381000 h 1003300"/>
                <a:gd name="connsiteX15" fmla="*/ 312801 w 693801"/>
                <a:gd name="connsiteY15" fmla="*/ 400050 h 1003300"/>
                <a:gd name="connsiteX16" fmla="*/ 300101 w 693801"/>
                <a:gd name="connsiteY16" fmla="*/ 425450 h 1003300"/>
                <a:gd name="connsiteX17" fmla="*/ 293751 w 693801"/>
                <a:gd name="connsiteY17" fmla="*/ 488950 h 1003300"/>
                <a:gd name="connsiteX18" fmla="*/ 281051 w 693801"/>
                <a:gd name="connsiteY18" fmla="*/ 508000 h 1003300"/>
                <a:gd name="connsiteX19" fmla="*/ 268351 w 693801"/>
                <a:gd name="connsiteY19" fmla="*/ 546100 h 1003300"/>
                <a:gd name="connsiteX20" fmla="*/ 242951 w 693801"/>
                <a:gd name="connsiteY20" fmla="*/ 584200 h 1003300"/>
                <a:gd name="connsiteX21" fmla="*/ 223901 w 693801"/>
                <a:gd name="connsiteY21" fmla="*/ 622300 h 1003300"/>
                <a:gd name="connsiteX22" fmla="*/ 185801 w 693801"/>
                <a:gd name="connsiteY22" fmla="*/ 692150 h 1003300"/>
                <a:gd name="connsiteX23" fmla="*/ 166751 w 693801"/>
                <a:gd name="connsiteY23" fmla="*/ 736600 h 1003300"/>
                <a:gd name="connsiteX24" fmla="*/ 141351 w 693801"/>
                <a:gd name="connsiteY24" fmla="*/ 755650 h 1003300"/>
                <a:gd name="connsiteX25" fmla="*/ 103251 w 693801"/>
                <a:gd name="connsiteY25" fmla="*/ 806450 h 1003300"/>
                <a:gd name="connsiteX26" fmla="*/ 103251 w 693801"/>
                <a:gd name="connsiteY26" fmla="*/ 806450 h 1003300"/>
                <a:gd name="connsiteX27" fmla="*/ 77851 w 693801"/>
                <a:gd name="connsiteY27" fmla="*/ 844550 h 1003300"/>
                <a:gd name="connsiteX28" fmla="*/ 58801 w 693801"/>
                <a:gd name="connsiteY28" fmla="*/ 889000 h 1003300"/>
                <a:gd name="connsiteX29" fmla="*/ 27051 w 693801"/>
                <a:gd name="connsiteY29" fmla="*/ 933450 h 1003300"/>
                <a:gd name="connsiteX30" fmla="*/ 20701 w 693801"/>
                <a:gd name="connsiteY30" fmla="*/ 952500 h 1003300"/>
                <a:gd name="connsiteX31" fmla="*/ 1651 w 693801"/>
                <a:gd name="connsiteY31" fmla="*/ 971550 h 1003300"/>
                <a:gd name="connsiteX32" fmla="*/ 1651 w 693801"/>
                <a:gd name="connsiteY32" fmla="*/ 1003300 h 1003300"/>
                <a:gd name="connsiteX0" fmla="*/ 732193 w 732193"/>
                <a:gd name="connsiteY0" fmla="*/ 0 h 1060888"/>
                <a:gd name="connsiteX1" fmla="*/ 643001 w 732193"/>
                <a:gd name="connsiteY1" fmla="*/ 95688 h 1060888"/>
                <a:gd name="connsiteX2" fmla="*/ 623951 w 732193"/>
                <a:gd name="connsiteY2" fmla="*/ 121088 h 1060888"/>
                <a:gd name="connsiteX3" fmla="*/ 611251 w 732193"/>
                <a:gd name="connsiteY3" fmla="*/ 140138 h 1060888"/>
                <a:gd name="connsiteX4" fmla="*/ 592201 w 732193"/>
                <a:gd name="connsiteY4" fmla="*/ 146488 h 1060888"/>
                <a:gd name="connsiteX5" fmla="*/ 509651 w 732193"/>
                <a:gd name="connsiteY5" fmla="*/ 165538 h 1060888"/>
                <a:gd name="connsiteX6" fmla="*/ 484251 w 732193"/>
                <a:gd name="connsiteY6" fmla="*/ 178238 h 1060888"/>
                <a:gd name="connsiteX7" fmla="*/ 427101 w 732193"/>
                <a:gd name="connsiteY7" fmla="*/ 248088 h 1060888"/>
                <a:gd name="connsiteX8" fmla="*/ 408051 w 732193"/>
                <a:gd name="connsiteY8" fmla="*/ 267138 h 1060888"/>
                <a:gd name="connsiteX9" fmla="*/ 401701 w 732193"/>
                <a:gd name="connsiteY9" fmla="*/ 286188 h 1060888"/>
                <a:gd name="connsiteX10" fmla="*/ 363601 w 732193"/>
                <a:gd name="connsiteY10" fmla="*/ 336988 h 1060888"/>
                <a:gd name="connsiteX11" fmla="*/ 357251 w 732193"/>
                <a:gd name="connsiteY11" fmla="*/ 356038 h 1060888"/>
                <a:gd name="connsiteX12" fmla="*/ 344551 w 732193"/>
                <a:gd name="connsiteY12" fmla="*/ 381438 h 1060888"/>
                <a:gd name="connsiteX13" fmla="*/ 331851 w 732193"/>
                <a:gd name="connsiteY13" fmla="*/ 400488 h 1060888"/>
                <a:gd name="connsiteX14" fmla="*/ 319151 w 732193"/>
                <a:gd name="connsiteY14" fmla="*/ 438588 h 1060888"/>
                <a:gd name="connsiteX15" fmla="*/ 312801 w 732193"/>
                <a:gd name="connsiteY15" fmla="*/ 457638 h 1060888"/>
                <a:gd name="connsiteX16" fmla="*/ 300101 w 732193"/>
                <a:gd name="connsiteY16" fmla="*/ 483038 h 1060888"/>
                <a:gd name="connsiteX17" fmla="*/ 293751 w 732193"/>
                <a:gd name="connsiteY17" fmla="*/ 546538 h 1060888"/>
                <a:gd name="connsiteX18" fmla="*/ 281051 w 732193"/>
                <a:gd name="connsiteY18" fmla="*/ 565588 h 1060888"/>
                <a:gd name="connsiteX19" fmla="*/ 268351 w 732193"/>
                <a:gd name="connsiteY19" fmla="*/ 603688 h 1060888"/>
                <a:gd name="connsiteX20" fmla="*/ 242951 w 732193"/>
                <a:gd name="connsiteY20" fmla="*/ 641788 h 1060888"/>
                <a:gd name="connsiteX21" fmla="*/ 223901 w 732193"/>
                <a:gd name="connsiteY21" fmla="*/ 679888 h 1060888"/>
                <a:gd name="connsiteX22" fmla="*/ 185801 w 732193"/>
                <a:gd name="connsiteY22" fmla="*/ 749738 h 1060888"/>
                <a:gd name="connsiteX23" fmla="*/ 166751 w 732193"/>
                <a:gd name="connsiteY23" fmla="*/ 794188 h 1060888"/>
                <a:gd name="connsiteX24" fmla="*/ 141351 w 732193"/>
                <a:gd name="connsiteY24" fmla="*/ 813238 h 1060888"/>
                <a:gd name="connsiteX25" fmla="*/ 103251 w 732193"/>
                <a:gd name="connsiteY25" fmla="*/ 864038 h 1060888"/>
                <a:gd name="connsiteX26" fmla="*/ 103251 w 732193"/>
                <a:gd name="connsiteY26" fmla="*/ 864038 h 1060888"/>
                <a:gd name="connsiteX27" fmla="*/ 77851 w 732193"/>
                <a:gd name="connsiteY27" fmla="*/ 902138 h 1060888"/>
                <a:gd name="connsiteX28" fmla="*/ 58801 w 732193"/>
                <a:gd name="connsiteY28" fmla="*/ 946588 h 1060888"/>
                <a:gd name="connsiteX29" fmla="*/ 27051 w 732193"/>
                <a:gd name="connsiteY29" fmla="*/ 991038 h 1060888"/>
                <a:gd name="connsiteX30" fmla="*/ 20701 w 732193"/>
                <a:gd name="connsiteY30" fmla="*/ 1010088 h 1060888"/>
                <a:gd name="connsiteX31" fmla="*/ 1651 w 732193"/>
                <a:gd name="connsiteY31" fmla="*/ 1029138 h 1060888"/>
                <a:gd name="connsiteX32" fmla="*/ 1651 w 732193"/>
                <a:gd name="connsiteY32" fmla="*/ 1060888 h 1060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32193" h="1060888">
                  <a:moveTo>
                    <a:pt x="732193" y="0"/>
                  </a:moveTo>
                  <a:cubicBezTo>
                    <a:pt x="715260" y="12700"/>
                    <a:pt x="661041" y="75507"/>
                    <a:pt x="643001" y="95688"/>
                  </a:cubicBezTo>
                  <a:cubicBezTo>
                    <a:pt x="624961" y="115869"/>
                    <a:pt x="630102" y="112476"/>
                    <a:pt x="623951" y="121088"/>
                  </a:cubicBezTo>
                  <a:cubicBezTo>
                    <a:pt x="619515" y="127298"/>
                    <a:pt x="617210" y="135370"/>
                    <a:pt x="611251" y="140138"/>
                  </a:cubicBezTo>
                  <a:cubicBezTo>
                    <a:pt x="606024" y="144319"/>
                    <a:pt x="598468" y="144138"/>
                    <a:pt x="592201" y="146488"/>
                  </a:cubicBezTo>
                  <a:cubicBezTo>
                    <a:pt x="539847" y="166121"/>
                    <a:pt x="578887" y="156883"/>
                    <a:pt x="509651" y="165538"/>
                  </a:cubicBezTo>
                  <a:cubicBezTo>
                    <a:pt x="501184" y="169771"/>
                    <a:pt x="491954" y="172736"/>
                    <a:pt x="484251" y="178238"/>
                  </a:cubicBezTo>
                  <a:cubicBezTo>
                    <a:pt x="462725" y="193613"/>
                    <a:pt x="441146" y="234043"/>
                    <a:pt x="427101" y="248088"/>
                  </a:cubicBezTo>
                  <a:lnTo>
                    <a:pt x="408051" y="267138"/>
                  </a:lnTo>
                  <a:cubicBezTo>
                    <a:pt x="405934" y="273488"/>
                    <a:pt x="405249" y="280512"/>
                    <a:pt x="401701" y="286188"/>
                  </a:cubicBezTo>
                  <a:cubicBezTo>
                    <a:pt x="390019" y="304880"/>
                    <a:pt x="373410" y="317370"/>
                    <a:pt x="363601" y="336988"/>
                  </a:cubicBezTo>
                  <a:cubicBezTo>
                    <a:pt x="360608" y="342975"/>
                    <a:pt x="359888" y="349886"/>
                    <a:pt x="357251" y="356038"/>
                  </a:cubicBezTo>
                  <a:cubicBezTo>
                    <a:pt x="353522" y="364739"/>
                    <a:pt x="349247" y="373219"/>
                    <a:pt x="344551" y="381438"/>
                  </a:cubicBezTo>
                  <a:cubicBezTo>
                    <a:pt x="340765" y="388064"/>
                    <a:pt x="334951" y="393514"/>
                    <a:pt x="331851" y="400488"/>
                  </a:cubicBezTo>
                  <a:cubicBezTo>
                    <a:pt x="326414" y="412721"/>
                    <a:pt x="323384" y="425888"/>
                    <a:pt x="319151" y="438588"/>
                  </a:cubicBezTo>
                  <a:cubicBezTo>
                    <a:pt x="317034" y="444938"/>
                    <a:pt x="315794" y="451651"/>
                    <a:pt x="312801" y="457638"/>
                  </a:cubicBezTo>
                  <a:lnTo>
                    <a:pt x="300101" y="483038"/>
                  </a:lnTo>
                  <a:cubicBezTo>
                    <a:pt x="297984" y="504205"/>
                    <a:pt x="298534" y="525811"/>
                    <a:pt x="293751" y="546538"/>
                  </a:cubicBezTo>
                  <a:cubicBezTo>
                    <a:pt x="292035" y="553974"/>
                    <a:pt x="284151" y="558614"/>
                    <a:pt x="281051" y="565588"/>
                  </a:cubicBezTo>
                  <a:cubicBezTo>
                    <a:pt x="275614" y="577821"/>
                    <a:pt x="275777" y="592549"/>
                    <a:pt x="268351" y="603688"/>
                  </a:cubicBezTo>
                  <a:cubicBezTo>
                    <a:pt x="259884" y="616388"/>
                    <a:pt x="247778" y="627308"/>
                    <a:pt x="242951" y="641788"/>
                  </a:cubicBezTo>
                  <a:cubicBezTo>
                    <a:pt x="234188" y="668078"/>
                    <a:pt x="240314" y="655269"/>
                    <a:pt x="223901" y="679888"/>
                  </a:cubicBezTo>
                  <a:cubicBezTo>
                    <a:pt x="208634" y="740955"/>
                    <a:pt x="225165" y="720215"/>
                    <a:pt x="185801" y="749738"/>
                  </a:cubicBezTo>
                  <a:cubicBezTo>
                    <a:pt x="181502" y="762636"/>
                    <a:pt x="175311" y="784201"/>
                    <a:pt x="166751" y="794188"/>
                  </a:cubicBezTo>
                  <a:cubicBezTo>
                    <a:pt x="159863" y="802223"/>
                    <a:pt x="148470" y="805407"/>
                    <a:pt x="141351" y="813238"/>
                  </a:cubicBezTo>
                  <a:cubicBezTo>
                    <a:pt x="127113" y="828900"/>
                    <a:pt x="115951" y="847105"/>
                    <a:pt x="103251" y="864038"/>
                  </a:cubicBezTo>
                  <a:lnTo>
                    <a:pt x="103251" y="864038"/>
                  </a:lnTo>
                  <a:cubicBezTo>
                    <a:pt x="94784" y="876738"/>
                    <a:pt x="82678" y="887658"/>
                    <a:pt x="77851" y="902138"/>
                  </a:cubicBezTo>
                  <a:cubicBezTo>
                    <a:pt x="70727" y="923510"/>
                    <a:pt x="71356" y="924617"/>
                    <a:pt x="58801" y="946588"/>
                  </a:cubicBezTo>
                  <a:cubicBezTo>
                    <a:pt x="51373" y="959587"/>
                    <a:pt x="35228" y="980135"/>
                    <a:pt x="27051" y="991038"/>
                  </a:cubicBezTo>
                  <a:cubicBezTo>
                    <a:pt x="24934" y="997388"/>
                    <a:pt x="24414" y="1004519"/>
                    <a:pt x="20701" y="1010088"/>
                  </a:cubicBezTo>
                  <a:cubicBezTo>
                    <a:pt x="15720" y="1017560"/>
                    <a:pt x="4804" y="1020730"/>
                    <a:pt x="1651" y="1029138"/>
                  </a:cubicBezTo>
                  <a:cubicBezTo>
                    <a:pt x="-2065" y="1039047"/>
                    <a:pt x="1651" y="1050305"/>
                    <a:pt x="1651" y="1060888"/>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49" name="Freeform 48"/>
            <p:cNvSpPr/>
            <p:nvPr/>
          </p:nvSpPr>
          <p:spPr>
            <a:xfrm>
              <a:off x="1510085" y="2533379"/>
              <a:ext cx="165710" cy="312483"/>
            </a:xfrm>
            <a:custGeom>
              <a:avLst/>
              <a:gdLst>
                <a:gd name="connsiteX0" fmla="*/ 0 w 444500"/>
                <a:gd name="connsiteY0" fmla="*/ 0 h 838205"/>
                <a:gd name="connsiteX1" fmla="*/ 107950 w 444500"/>
                <a:gd name="connsiteY1" fmla="*/ 273050 h 838205"/>
                <a:gd name="connsiteX2" fmla="*/ 114300 w 444500"/>
                <a:gd name="connsiteY2" fmla="*/ 323850 h 838205"/>
                <a:gd name="connsiteX3" fmla="*/ 133350 w 444500"/>
                <a:gd name="connsiteY3" fmla="*/ 374650 h 838205"/>
                <a:gd name="connsiteX4" fmla="*/ 158750 w 444500"/>
                <a:gd name="connsiteY4" fmla="*/ 412750 h 838205"/>
                <a:gd name="connsiteX5" fmla="*/ 228600 w 444500"/>
                <a:gd name="connsiteY5" fmla="*/ 457200 h 838205"/>
                <a:gd name="connsiteX6" fmla="*/ 254000 w 444500"/>
                <a:gd name="connsiteY6" fmla="*/ 476250 h 838205"/>
                <a:gd name="connsiteX7" fmla="*/ 279400 w 444500"/>
                <a:gd name="connsiteY7" fmla="*/ 514350 h 838205"/>
                <a:gd name="connsiteX8" fmla="*/ 298450 w 444500"/>
                <a:gd name="connsiteY8" fmla="*/ 546100 h 838205"/>
                <a:gd name="connsiteX9" fmla="*/ 304800 w 444500"/>
                <a:gd name="connsiteY9" fmla="*/ 679450 h 838205"/>
                <a:gd name="connsiteX10" fmla="*/ 317500 w 444500"/>
                <a:gd name="connsiteY10" fmla="*/ 698500 h 838205"/>
                <a:gd name="connsiteX11" fmla="*/ 323850 w 444500"/>
                <a:gd name="connsiteY11" fmla="*/ 717550 h 838205"/>
                <a:gd name="connsiteX12" fmla="*/ 330200 w 444500"/>
                <a:gd name="connsiteY12" fmla="*/ 762000 h 838205"/>
                <a:gd name="connsiteX13" fmla="*/ 349250 w 444500"/>
                <a:gd name="connsiteY13" fmla="*/ 774700 h 838205"/>
                <a:gd name="connsiteX14" fmla="*/ 355600 w 444500"/>
                <a:gd name="connsiteY14" fmla="*/ 793750 h 838205"/>
                <a:gd name="connsiteX15" fmla="*/ 381000 w 444500"/>
                <a:gd name="connsiteY15" fmla="*/ 812800 h 838205"/>
                <a:gd name="connsiteX16" fmla="*/ 400050 w 444500"/>
                <a:gd name="connsiteY16" fmla="*/ 825500 h 838205"/>
                <a:gd name="connsiteX17" fmla="*/ 444500 w 444500"/>
                <a:gd name="connsiteY17" fmla="*/ 838200 h 838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4500" h="838205">
                  <a:moveTo>
                    <a:pt x="0" y="0"/>
                  </a:moveTo>
                  <a:cubicBezTo>
                    <a:pt x="35983" y="91017"/>
                    <a:pt x="75376" y="180758"/>
                    <a:pt x="107950" y="273050"/>
                  </a:cubicBezTo>
                  <a:cubicBezTo>
                    <a:pt x="113630" y="289142"/>
                    <a:pt x="111495" y="307017"/>
                    <a:pt x="114300" y="323850"/>
                  </a:cubicBezTo>
                  <a:cubicBezTo>
                    <a:pt x="117778" y="344718"/>
                    <a:pt x="122352" y="356321"/>
                    <a:pt x="133350" y="374650"/>
                  </a:cubicBezTo>
                  <a:cubicBezTo>
                    <a:pt x="141203" y="387738"/>
                    <a:pt x="145662" y="404897"/>
                    <a:pt x="158750" y="412750"/>
                  </a:cubicBezTo>
                  <a:cubicBezTo>
                    <a:pt x="181860" y="426616"/>
                    <a:pt x="207103" y="441077"/>
                    <a:pt x="228600" y="457200"/>
                  </a:cubicBezTo>
                  <a:lnTo>
                    <a:pt x="254000" y="476250"/>
                  </a:lnTo>
                  <a:cubicBezTo>
                    <a:pt x="266735" y="514456"/>
                    <a:pt x="250860" y="476297"/>
                    <a:pt x="279400" y="514350"/>
                  </a:cubicBezTo>
                  <a:cubicBezTo>
                    <a:pt x="286805" y="524224"/>
                    <a:pt x="292100" y="535517"/>
                    <a:pt x="298450" y="546100"/>
                  </a:cubicBezTo>
                  <a:cubicBezTo>
                    <a:pt x="300567" y="590550"/>
                    <a:pt x="299280" y="635293"/>
                    <a:pt x="304800" y="679450"/>
                  </a:cubicBezTo>
                  <a:cubicBezTo>
                    <a:pt x="305747" y="687023"/>
                    <a:pt x="314087" y="691674"/>
                    <a:pt x="317500" y="698500"/>
                  </a:cubicBezTo>
                  <a:cubicBezTo>
                    <a:pt x="320493" y="704487"/>
                    <a:pt x="321733" y="711200"/>
                    <a:pt x="323850" y="717550"/>
                  </a:cubicBezTo>
                  <a:cubicBezTo>
                    <a:pt x="325967" y="732367"/>
                    <a:pt x="324121" y="748323"/>
                    <a:pt x="330200" y="762000"/>
                  </a:cubicBezTo>
                  <a:cubicBezTo>
                    <a:pt x="333300" y="768974"/>
                    <a:pt x="344482" y="768741"/>
                    <a:pt x="349250" y="774700"/>
                  </a:cubicBezTo>
                  <a:cubicBezTo>
                    <a:pt x="353431" y="779927"/>
                    <a:pt x="351315" y="788608"/>
                    <a:pt x="355600" y="793750"/>
                  </a:cubicBezTo>
                  <a:cubicBezTo>
                    <a:pt x="362375" y="801880"/>
                    <a:pt x="372388" y="806649"/>
                    <a:pt x="381000" y="812800"/>
                  </a:cubicBezTo>
                  <a:cubicBezTo>
                    <a:pt x="387210" y="817236"/>
                    <a:pt x="393076" y="822400"/>
                    <a:pt x="400050" y="825500"/>
                  </a:cubicBezTo>
                  <a:cubicBezTo>
                    <a:pt x="430131" y="838869"/>
                    <a:pt x="426348" y="838200"/>
                    <a:pt x="444500" y="83820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50" name="Freeform 49"/>
            <p:cNvSpPr/>
            <p:nvPr/>
          </p:nvSpPr>
          <p:spPr>
            <a:xfrm>
              <a:off x="1476924" y="2696721"/>
              <a:ext cx="111281" cy="187015"/>
            </a:xfrm>
            <a:custGeom>
              <a:avLst/>
              <a:gdLst>
                <a:gd name="connsiteX0" fmla="*/ 298501 w 298501"/>
                <a:gd name="connsiteY0" fmla="*/ 0 h 501650"/>
                <a:gd name="connsiteX1" fmla="*/ 235001 w 298501"/>
                <a:gd name="connsiteY1" fmla="*/ 19050 h 501650"/>
                <a:gd name="connsiteX2" fmla="*/ 177851 w 298501"/>
                <a:gd name="connsiteY2" fmla="*/ 95250 h 501650"/>
                <a:gd name="connsiteX3" fmla="*/ 165151 w 298501"/>
                <a:gd name="connsiteY3" fmla="*/ 120650 h 501650"/>
                <a:gd name="connsiteX4" fmla="*/ 152451 w 298501"/>
                <a:gd name="connsiteY4" fmla="*/ 139700 h 501650"/>
                <a:gd name="connsiteX5" fmla="*/ 120701 w 298501"/>
                <a:gd name="connsiteY5" fmla="*/ 203200 h 501650"/>
                <a:gd name="connsiteX6" fmla="*/ 101651 w 298501"/>
                <a:gd name="connsiteY6" fmla="*/ 266700 h 501650"/>
                <a:gd name="connsiteX7" fmla="*/ 88951 w 298501"/>
                <a:gd name="connsiteY7" fmla="*/ 285750 h 501650"/>
                <a:gd name="connsiteX8" fmla="*/ 63551 w 298501"/>
                <a:gd name="connsiteY8" fmla="*/ 304800 h 501650"/>
                <a:gd name="connsiteX9" fmla="*/ 44501 w 298501"/>
                <a:gd name="connsiteY9" fmla="*/ 311150 h 501650"/>
                <a:gd name="connsiteX10" fmla="*/ 25451 w 298501"/>
                <a:gd name="connsiteY10" fmla="*/ 355600 h 501650"/>
                <a:gd name="connsiteX11" fmla="*/ 6401 w 298501"/>
                <a:gd name="connsiteY11" fmla="*/ 387350 h 501650"/>
                <a:gd name="connsiteX12" fmla="*/ 51 w 298501"/>
                <a:gd name="connsiteY12" fmla="*/ 501650 h 50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8501" h="501650">
                  <a:moveTo>
                    <a:pt x="298501" y="0"/>
                  </a:moveTo>
                  <a:cubicBezTo>
                    <a:pt x="277334" y="6350"/>
                    <a:pt x="253055" y="6306"/>
                    <a:pt x="235001" y="19050"/>
                  </a:cubicBezTo>
                  <a:cubicBezTo>
                    <a:pt x="232904" y="20530"/>
                    <a:pt x="189063" y="75629"/>
                    <a:pt x="177851" y="95250"/>
                  </a:cubicBezTo>
                  <a:cubicBezTo>
                    <a:pt x="173155" y="103469"/>
                    <a:pt x="169847" y="112431"/>
                    <a:pt x="165151" y="120650"/>
                  </a:cubicBezTo>
                  <a:cubicBezTo>
                    <a:pt x="161365" y="127276"/>
                    <a:pt x="156069" y="132980"/>
                    <a:pt x="152451" y="139700"/>
                  </a:cubicBezTo>
                  <a:cubicBezTo>
                    <a:pt x="141231" y="160536"/>
                    <a:pt x="126441" y="180242"/>
                    <a:pt x="120701" y="203200"/>
                  </a:cubicBezTo>
                  <a:cubicBezTo>
                    <a:pt x="117151" y="217399"/>
                    <a:pt x="107835" y="257424"/>
                    <a:pt x="101651" y="266700"/>
                  </a:cubicBezTo>
                  <a:cubicBezTo>
                    <a:pt x="97418" y="273050"/>
                    <a:pt x="94347" y="280354"/>
                    <a:pt x="88951" y="285750"/>
                  </a:cubicBezTo>
                  <a:cubicBezTo>
                    <a:pt x="81467" y="293234"/>
                    <a:pt x="72740" y="299549"/>
                    <a:pt x="63551" y="304800"/>
                  </a:cubicBezTo>
                  <a:cubicBezTo>
                    <a:pt x="57739" y="308121"/>
                    <a:pt x="50851" y="309033"/>
                    <a:pt x="44501" y="311150"/>
                  </a:cubicBezTo>
                  <a:cubicBezTo>
                    <a:pt x="10226" y="362562"/>
                    <a:pt x="52788" y="294093"/>
                    <a:pt x="25451" y="355600"/>
                  </a:cubicBezTo>
                  <a:cubicBezTo>
                    <a:pt x="20438" y="366878"/>
                    <a:pt x="12751" y="376767"/>
                    <a:pt x="6401" y="387350"/>
                  </a:cubicBezTo>
                  <a:cubicBezTo>
                    <a:pt x="-1004" y="476206"/>
                    <a:pt x="51" y="438062"/>
                    <a:pt x="51" y="50165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51" name="Freeform 50"/>
            <p:cNvSpPr/>
            <p:nvPr/>
          </p:nvSpPr>
          <p:spPr>
            <a:xfrm>
              <a:off x="1704202" y="2336895"/>
              <a:ext cx="345623" cy="300645"/>
            </a:xfrm>
            <a:custGeom>
              <a:avLst/>
              <a:gdLst>
                <a:gd name="connsiteX0" fmla="*/ 0 w 927100"/>
                <a:gd name="connsiteY0" fmla="*/ 0 h 806450"/>
                <a:gd name="connsiteX1" fmla="*/ 50800 w 927100"/>
                <a:gd name="connsiteY1" fmla="*/ 82550 h 806450"/>
                <a:gd name="connsiteX2" fmla="*/ 57150 w 927100"/>
                <a:gd name="connsiteY2" fmla="*/ 114300 h 806450"/>
                <a:gd name="connsiteX3" fmla="*/ 95250 w 927100"/>
                <a:gd name="connsiteY3" fmla="*/ 165100 h 806450"/>
                <a:gd name="connsiteX4" fmla="*/ 114300 w 927100"/>
                <a:gd name="connsiteY4" fmla="*/ 203200 h 806450"/>
                <a:gd name="connsiteX5" fmla="*/ 133350 w 927100"/>
                <a:gd name="connsiteY5" fmla="*/ 222250 h 806450"/>
                <a:gd name="connsiteX6" fmla="*/ 152400 w 927100"/>
                <a:gd name="connsiteY6" fmla="*/ 260350 h 806450"/>
                <a:gd name="connsiteX7" fmla="*/ 171450 w 927100"/>
                <a:gd name="connsiteY7" fmla="*/ 279400 h 806450"/>
                <a:gd name="connsiteX8" fmla="*/ 190500 w 927100"/>
                <a:gd name="connsiteY8" fmla="*/ 317500 h 806450"/>
                <a:gd name="connsiteX9" fmla="*/ 203200 w 927100"/>
                <a:gd name="connsiteY9" fmla="*/ 349250 h 806450"/>
                <a:gd name="connsiteX10" fmla="*/ 228600 w 927100"/>
                <a:gd name="connsiteY10" fmla="*/ 374650 h 806450"/>
                <a:gd name="connsiteX11" fmla="*/ 260350 w 927100"/>
                <a:gd name="connsiteY11" fmla="*/ 412750 h 806450"/>
                <a:gd name="connsiteX12" fmla="*/ 311150 w 927100"/>
                <a:gd name="connsiteY12" fmla="*/ 425450 h 806450"/>
                <a:gd name="connsiteX13" fmla="*/ 342900 w 927100"/>
                <a:gd name="connsiteY13" fmla="*/ 438150 h 806450"/>
                <a:gd name="connsiteX14" fmla="*/ 387350 w 927100"/>
                <a:gd name="connsiteY14" fmla="*/ 457200 h 806450"/>
                <a:gd name="connsiteX15" fmla="*/ 425450 w 927100"/>
                <a:gd name="connsiteY15" fmla="*/ 482600 h 806450"/>
                <a:gd name="connsiteX16" fmla="*/ 444500 w 927100"/>
                <a:gd name="connsiteY16" fmla="*/ 495300 h 806450"/>
                <a:gd name="connsiteX17" fmla="*/ 501650 w 927100"/>
                <a:gd name="connsiteY17" fmla="*/ 533400 h 806450"/>
                <a:gd name="connsiteX18" fmla="*/ 533400 w 927100"/>
                <a:gd name="connsiteY18" fmla="*/ 552450 h 806450"/>
                <a:gd name="connsiteX19" fmla="*/ 571500 w 927100"/>
                <a:gd name="connsiteY19" fmla="*/ 584200 h 806450"/>
                <a:gd name="connsiteX20" fmla="*/ 635000 w 927100"/>
                <a:gd name="connsiteY20" fmla="*/ 666750 h 806450"/>
                <a:gd name="connsiteX21" fmla="*/ 666750 w 927100"/>
                <a:gd name="connsiteY21" fmla="*/ 723900 h 806450"/>
                <a:gd name="connsiteX22" fmla="*/ 673100 w 927100"/>
                <a:gd name="connsiteY22" fmla="*/ 742950 h 806450"/>
                <a:gd name="connsiteX23" fmla="*/ 711200 w 927100"/>
                <a:gd name="connsiteY23" fmla="*/ 768350 h 806450"/>
                <a:gd name="connsiteX24" fmla="*/ 730250 w 927100"/>
                <a:gd name="connsiteY24" fmla="*/ 781050 h 806450"/>
                <a:gd name="connsiteX25" fmla="*/ 781050 w 927100"/>
                <a:gd name="connsiteY25" fmla="*/ 793750 h 806450"/>
                <a:gd name="connsiteX26" fmla="*/ 819150 w 927100"/>
                <a:gd name="connsiteY26" fmla="*/ 806450 h 806450"/>
                <a:gd name="connsiteX27" fmla="*/ 927100 w 927100"/>
                <a:gd name="connsiteY27" fmla="*/ 806450 h 80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27100" h="806450">
                  <a:moveTo>
                    <a:pt x="0" y="0"/>
                  </a:moveTo>
                  <a:cubicBezTo>
                    <a:pt x="16933" y="27517"/>
                    <a:pt x="36351" y="53651"/>
                    <a:pt x="50800" y="82550"/>
                  </a:cubicBezTo>
                  <a:cubicBezTo>
                    <a:pt x="55627" y="92203"/>
                    <a:pt x="53142" y="104279"/>
                    <a:pt x="57150" y="114300"/>
                  </a:cubicBezTo>
                  <a:cubicBezTo>
                    <a:pt x="71520" y="150226"/>
                    <a:pt x="74240" y="139887"/>
                    <a:pt x="95250" y="165100"/>
                  </a:cubicBezTo>
                  <a:cubicBezTo>
                    <a:pt x="145209" y="225051"/>
                    <a:pt x="76115" y="145922"/>
                    <a:pt x="114300" y="203200"/>
                  </a:cubicBezTo>
                  <a:cubicBezTo>
                    <a:pt x="119281" y="210672"/>
                    <a:pt x="127000" y="215900"/>
                    <a:pt x="133350" y="222250"/>
                  </a:cubicBezTo>
                  <a:cubicBezTo>
                    <a:pt x="139714" y="241343"/>
                    <a:pt x="138723" y="243937"/>
                    <a:pt x="152400" y="260350"/>
                  </a:cubicBezTo>
                  <a:cubicBezTo>
                    <a:pt x="158149" y="267249"/>
                    <a:pt x="166469" y="271928"/>
                    <a:pt x="171450" y="279400"/>
                  </a:cubicBezTo>
                  <a:cubicBezTo>
                    <a:pt x="179326" y="291214"/>
                    <a:pt x="184624" y="304574"/>
                    <a:pt x="190500" y="317500"/>
                  </a:cubicBezTo>
                  <a:cubicBezTo>
                    <a:pt x="195217" y="327877"/>
                    <a:pt x="196877" y="339766"/>
                    <a:pt x="203200" y="349250"/>
                  </a:cubicBezTo>
                  <a:cubicBezTo>
                    <a:pt x="209842" y="359213"/>
                    <a:pt x="220133" y="366183"/>
                    <a:pt x="228600" y="374650"/>
                  </a:cubicBezTo>
                  <a:cubicBezTo>
                    <a:pt x="235787" y="396211"/>
                    <a:pt x="233564" y="401589"/>
                    <a:pt x="260350" y="412750"/>
                  </a:cubicBezTo>
                  <a:cubicBezTo>
                    <a:pt x="276462" y="419463"/>
                    <a:pt x="294944" y="418968"/>
                    <a:pt x="311150" y="425450"/>
                  </a:cubicBezTo>
                  <a:cubicBezTo>
                    <a:pt x="321733" y="429683"/>
                    <a:pt x="332227" y="434148"/>
                    <a:pt x="342900" y="438150"/>
                  </a:cubicBezTo>
                  <a:cubicBezTo>
                    <a:pt x="366257" y="446909"/>
                    <a:pt x="362572" y="442333"/>
                    <a:pt x="387350" y="457200"/>
                  </a:cubicBezTo>
                  <a:cubicBezTo>
                    <a:pt x="400438" y="465053"/>
                    <a:pt x="412750" y="474133"/>
                    <a:pt x="425450" y="482600"/>
                  </a:cubicBezTo>
                  <a:cubicBezTo>
                    <a:pt x="431800" y="486833"/>
                    <a:pt x="439104" y="489904"/>
                    <a:pt x="444500" y="495300"/>
                  </a:cubicBezTo>
                  <a:cubicBezTo>
                    <a:pt x="482421" y="533221"/>
                    <a:pt x="461730" y="523420"/>
                    <a:pt x="501650" y="533400"/>
                  </a:cubicBezTo>
                  <a:cubicBezTo>
                    <a:pt x="512233" y="539750"/>
                    <a:pt x="522934" y="545909"/>
                    <a:pt x="533400" y="552450"/>
                  </a:cubicBezTo>
                  <a:cubicBezTo>
                    <a:pt x="547773" y="561433"/>
                    <a:pt x="561349" y="569989"/>
                    <a:pt x="571500" y="584200"/>
                  </a:cubicBezTo>
                  <a:cubicBezTo>
                    <a:pt x="631396" y="668054"/>
                    <a:pt x="589849" y="636649"/>
                    <a:pt x="635000" y="666750"/>
                  </a:cubicBezTo>
                  <a:cubicBezTo>
                    <a:pt x="667121" y="747053"/>
                    <a:pt x="626478" y="653424"/>
                    <a:pt x="666750" y="723900"/>
                  </a:cubicBezTo>
                  <a:cubicBezTo>
                    <a:pt x="670071" y="729712"/>
                    <a:pt x="668367" y="738217"/>
                    <a:pt x="673100" y="742950"/>
                  </a:cubicBezTo>
                  <a:cubicBezTo>
                    <a:pt x="683893" y="753743"/>
                    <a:pt x="698500" y="759883"/>
                    <a:pt x="711200" y="768350"/>
                  </a:cubicBezTo>
                  <a:cubicBezTo>
                    <a:pt x="717550" y="772583"/>
                    <a:pt x="723010" y="778637"/>
                    <a:pt x="730250" y="781050"/>
                  </a:cubicBezTo>
                  <a:cubicBezTo>
                    <a:pt x="788052" y="800317"/>
                    <a:pt x="696760" y="770762"/>
                    <a:pt x="781050" y="793750"/>
                  </a:cubicBezTo>
                  <a:cubicBezTo>
                    <a:pt x="793965" y="797272"/>
                    <a:pt x="805763" y="806450"/>
                    <a:pt x="819150" y="806450"/>
                  </a:cubicBezTo>
                  <a:lnTo>
                    <a:pt x="927100" y="806450"/>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52" name="Freeform 51"/>
            <p:cNvSpPr/>
            <p:nvPr/>
          </p:nvSpPr>
          <p:spPr>
            <a:xfrm>
              <a:off x="1763384" y="2488401"/>
              <a:ext cx="234569" cy="307747"/>
            </a:xfrm>
            <a:custGeom>
              <a:avLst/>
              <a:gdLst>
                <a:gd name="connsiteX0" fmla="*/ 114300 w 629208"/>
                <a:gd name="connsiteY0" fmla="*/ 0 h 825500"/>
                <a:gd name="connsiteX1" fmla="*/ 63500 w 629208"/>
                <a:gd name="connsiteY1" fmla="*/ 133350 h 825500"/>
                <a:gd name="connsiteX2" fmla="*/ 44450 w 629208"/>
                <a:gd name="connsiteY2" fmla="*/ 177800 h 825500"/>
                <a:gd name="connsiteX3" fmla="*/ 38100 w 629208"/>
                <a:gd name="connsiteY3" fmla="*/ 222250 h 825500"/>
                <a:gd name="connsiteX4" fmla="*/ 25400 w 629208"/>
                <a:gd name="connsiteY4" fmla="*/ 247650 h 825500"/>
                <a:gd name="connsiteX5" fmla="*/ 6350 w 629208"/>
                <a:gd name="connsiteY5" fmla="*/ 311150 h 825500"/>
                <a:gd name="connsiteX6" fmla="*/ 0 w 629208"/>
                <a:gd name="connsiteY6" fmla="*/ 330200 h 825500"/>
                <a:gd name="connsiteX7" fmla="*/ 12700 w 629208"/>
                <a:gd name="connsiteY7" fmla="*/ 431800 h 825500"/>
                <a:gd name="connsiteX8" fmla="*/ 25400 w 629208"/>
                <a:gd name="connsiteY8" fmla="*/ 450850 h 825500"/>
                <a:gd name="connsiteX9" fmla="*/ 31750 w 629208"/>
                <a:gd name="connsiteY9" fmla="*/ 469900 h 825500"/>
                <a:gd name="connsiteX10" fmla="*/ 44450 w 629208"/>
                <a:gd name="connsiteY10" fmla="*/ 501650 h 825500"/>
                <a:gd name="connsiteX11" fmla="*/ 57150 w 629208"/>
                <a:gd name="connsiteY11" fmla="*/ 552450 h 825500"/>
                <a:gd name="connsiteX12" fmla="*/ 69850 w 629208"/>
                <a:gd name="connsiteY12" fmla="*/ 577850 h 825500"/>
                <a:gd name="connsiteX13" fmla="*/ 120650 w 629208"/>
                <a:gd name="connsiteY13" fmla="*/ 647700 h 825500"/>
                <a:gd name="connsiteX14" fmla="*/ 158750 w 629208"/>
                <a:gd name="connsiteY14" fmla="*/ 692150 h 825500"/>
                <a:gd name="connsiteX15" fmla="*/ 177800 w 629208"/>
                <a:gd name="connsiteY15" fmla="*/ 698500 h 825500"/>
                <a:gd name="connsiteX16" fmla="*/ 234950 w 629208"/>
                <a:gd name="connsiteY16" fmla="*/ 711200 h 825500"/>
                <a:gd name="connsiteX17" fmla="*/ 260350 w 629208"/>
                <a:gd name="connsiteY17" fmla="*/ 730250 h 825500"/>
                <a:gd name="connsiteX18" fmla="*/ 406400 w 629208"/>
                <a:gd name="connsiteY18" fmla="*/ 730250 h 825500"/>
                <a:gd name="connsiteX19" fmla="*/ 425450 w 629208"/>
                <a:gd name="connsiteY19" fmla="*/ 717550 h 825500"/>
                <a:gd name="connsiteX20" fmla="*/ 558800 w 629208"/>
                <a:gd name="connsiteY20" fmla="*/ 717550 h 825500"/>
                <a:gd name="connsiteX21" fmla="*/ 577850 w 629208"/>
                <a:gd name="connsiteY21" fmla="*/ 730250 h 825500"/>
                <a:gd name="connsiteX22" fmla="*/ 622300 w 629208"/>
                <a:gd name="connsiteY22" fmla="*/ 774700 h 825500"/>
                <a:gd name="connsiteX23" fmla="*/ 628650 w 629208"/>
                <a:gd name="connsiteY23" fmla="*/ 825500 h 82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29208" h="825500">
                  <a:moveTo>
                    <a:pt x="114300" y="0"/>
                  </a:moveTo>
                  <a:cubicBezTo>
                    <a:pt x="97367" y="44450"/>
                    <a:pt x="81166" y="89186"/>
                    <a:pt x="63500" y="133350"/>
                  </a:cubicBezTo>
                  <a:cubicBezTo>
                    <a:pt x="32113" y="211817"/>
                    <a:pt x="64890" y="116479"/>
                    <a:pt x="44450" y="177800"/>
                  </a:cubicBezTo>
                  <a:cubicBezTo>
                    <a:pt x="42333" y="192617"/>
                    <a:pt x="42038" y="207810"/>
                    <a:pt x="38100" y="222250"/>
                  </a:cubicBezTo>
                  <a:cubicBezTo>
                    <a:pt x="35609" y="231382"/>
                    <a:pt x="28916" y="238861"/>
                    <a:pt x="25400" y="247650"/>
                  </a:cubicBezTo>
                  <a:cubicBezTo>
                    <a:pt x="10310" y="285376"/>
                    <a:pt x="15706" y="278404"/>
                    <a:pt x="6350" y="311150"/>
                  </a:cubicBezTo>
                  <a:cubicBezTo>
                    <a:pt x="4511" y="317586"/>
                    <a:pt x="2117" y="323850"/>
                    <a:pt x="0" y="330200"/>
                  </a:cubicBezTo>
                  <a:cubicBezTo>
                    <a:pt x="659" y="336786"/>
                    <a:pt x="7073" y="414919"/>
                    <a:pt x="12700" y="431800"/>
                  </a:cubicBezTo>
                  <a:cubicBezTo>
                    <a:pt x="15113" y="439040"/>
                    <a:pt x="21987" y="444024"/>
                    <a:pt x="25400" y="450850"/>
                  </a:cubicBezTo>
                  <a:cubicBezTo>
                    <a:pt x="28393" y="456837"/>
                    <a:pt x="29400" y="463633"/>
                    <a:pt x="31750" y="469900"/>
                  </a:cubicBezTo>
                  <a:cubicBezTo>
                    <a:pt x="35752" y="480573"/>
                    <a:pt x="41098" y="490755"/>
                    <a:pt x="44450" y="501650"/>
                  </a:cubicBezTo>
                  <a:cubicBezTo>
                    <a:pt x="49583" y="518333"/>
                    <a:pt x="49344" y="536838"/>
                    <a:pt x="57150" y="552450"/>
                  </a:cubicBezTo>
                  <a:cubicBezTo>
                    <a:pt x="61383" y="560917"/>
                    <a:pt x="65154" y="569631"/>
                    <a:pt x="69850" y="577850"/>
                  </a:cubicBezTo>
                  <a:cubicBezTo>
                    <a:pt x="79506" y="594748"/>
                    <a:pt x="118978" y="645610"/>
                    <a:pt x="120650" y="647700"/>
                  </a:cubicBezTo>
                  <a:cubicBezTo>
                    <a:pt x="132841" y="662938"/>
                    <a:pt x="144165" y="679185"/>
                    <a:pt x="158750" y="692150"/>
                  </a:cubicBezTo>
                  <a:cubicBezTo>
                    <a:pt x="163753" y="696597"/>
                    <a:pt x="171266" y="697048"/>
                    <a:pt x="177800" y="698500"/>
                  </a:cubicBezTo>
                  <a:cubicBezTo>
                    <a:pt x="244854" y="713401"/>
                    <a:pt x="192066" y="696905"/>
                    <a:pt x="234950" y="711200"/>
                  </a:cubicBezTo>
                  <a:cubicBezTo>
                    <a:pt x="243417" y="717550"/>
                    <a:pt x="250679" y="725952"/>
                    <a:pt x="260350" y="730250"/>
                  </a:cubicBezTo>
                  <a:cubicBezTo>
                    <a:pt x="295702" y="745962"/>
                    <a:pt x="400879" y="730557"/>
                    <a:pt x="406400" y="730250"/>
                  </a:cubicBezTo>
                  <a:cubicBezTo>
                    <a:pt x="412750" y="726017"/>
                    <a:pt x="418364" y="720384"/>
                    <a:pt x="425450" y="717550"/>
                  </a:cubicBezTo>
                  <a:cubicBezTo>
                    <a:pt x="483265" y="694424"/>
                    <a:pt x="484595" y="706949"/>
                    <a:pt x="558800" y="717550"/>
                  </a:cubicBezTo>
                  <a:cubicBezTo>
                    <a:pt x="565150" y="721783"/>
                    <a:pt x="572454" y="724854"/>
                    <a:pt x="577850" y="730250"/>
                  </a:cubicBezTo>
                  <a:cubicBezTo>
                    <a:pt x="630643" y="783043"/>
                    <a:pt x="579233" y="745988"/>
                    <a:pt x="622300" y="774700"/>
                  </a:cubicBezTo>
                  <a:cubicBezTo>
                    <a:pt x="631997" y="803790"/>
                    <a:pt x="628650" y="787057"/>
                    <a:pt x="628650" y="825500"/>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53" name="Freeform 52"/>
            <p:cNvSpPr/>
            <p:nvPr/>
          </p:nvSpPr>
          <p:spPr>
            <a:xfrm>
              <a:off x="1898319" y="2502291"/>
              <a:ext cx="338521" cy="97533"/>
            </a:xfrm>
            <a:custGeom>
              <a:avLst/>
              <a:gdLst>
                <a:gd name="connsiteX0" fmla="*/ 0 w 908050"/>
                <a:gd name="connsiteY0" fmla="*/ 102441 h 261623"/>
                <a:gd name="connsiteX1" fmla="*/ 139700 w 908050"/>
                <a:gd name="connsiteY1" fmla="*/ 38941 h 261623"/>
                <a:gd name="connsiteX2" fmla="*/ 158750 w 908050"/>
                <a:gd name="connsiteY2" fmla="*/ 19891 h 261623"/>
                <a:gd name="connsiteX3" fmla="*/ 171450 w 908050"/>
                <a:gd name="connsiteY3" fmla="*/ 841 h 261623"/>
                <a:gd name="connsiteX4" fmla="*/ 222250 w 908050"/>
                <a:gd name="connsiteY4" fmla="*/ 7191 h 261623"/>
                <a:gd name="connsiteX5" fmla="*/ 266700 w 908050"/>
                <a:gd name="connsiteY5" fmla="*/ 32591 h 261623"/>
                <a:gd name="connsiteX6" fmla="*/ 285750 w 908050"/>
                <a:gd name="connsiteY6" fmla="*/ 45291 h 261623"/>
                <a:gd name="connsiteX7" fmla="*/ 304800 w 908050"/>
                <a:gd name="connsiteY7" fmla="*/ 51641 h 261623"/>
                <a:gd name="connsiteX8" fmla="*/ 323850 w 908050"/>
                <a:gd name="connsiteY8" fmla="*/ 64341 h 261623"/>
                <a:gd name="connsiteX9" fmla="*/ 381000 w 908050"/>
                <a:gd name="connsiteY9" fmla="*/ 70691 h 261623"/>
                <a:gd name="connsiteX10" fmla="*/ 457200 w 908050"/>
                <a:gd name="connsiteY10" fmla="*/ 96091 h 261623"/>
                <a:gd name="connsiteX11" fmla="*/ 495300 w 908050"/>
                <a:gd name="connsiteY11" fmla="*/ 127841 h 261623"/>
                <a:gd name="connsiteX12" fmla="*/ 501650 w 908050"/>
                <a:gd name="connsiteY12" fmla="*/ 153241 h 261623"/>
                <a:gd name="connsiteX13" fmla="*/ 520700 w 908050"/>
                <a:gd name="connsiteY13" fmla="*/ 159591 h 261623"/>
                <a:gd name="connsiteX14" fmla="*/ 584200 w 908050"/>
                <a:gd name="connsiteY14" fmla="*/ 165941 h 261623"/>
                <a:gd name="connsiteX15" fmla="*/ 635000 w 908050"/>
                <a:gd name="connsiteY15" fmla="*/ 197691 h 261623"/>
                <a:gd name="connsiteX16" fmla="*/ 660400 w 908050"/>
                <a:gd name="connsiteY16" fmla="*/ 210391 h 261623"/>
                <a:gd name="connsiteX17" fmla="*/ 736600 w 908050"/>
                <a:gd name="connsiteY17" fmla="*/ 216741 h 261623"/>
                <a:gd name="connsiteX18" fmla="*/ 787400 w 908050"/>
                <a:gd name="connsiteY18" fmla="*/ 235791 h 261623"/>
                <a:gd name="connsiteX19" fmla="*/ 831850 w 908050"/>
                <a:gd name="connsiteY19" fmla="*/ 254841 h 261623"/>
                <a:gd name="connsiteX20" fmla="*/ 908050 w 908050"/>
                <a:gd name="connsiteY20" fmla="*/ 261191 h 261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08050" h="261623">
                  <a:moveTo>
                    <a:pt x="0" y="102441"/>
                  </a:moveTo>
                  <a:cubicBezTo>
                    <a:pt x="126699" y="42426"/>
                    <a:pt x="78433" y="59363"/>
                    <a:pt x="139700" y="38941"/>
                  </a:cubicBezTo>
                  <a:cubicBezTo>
                    <a:pt x="146050" y="32591"/>
                    <a:pt x="153001" y="26790"/>
                    <a:pt x="158750" y="19891"/>
                  </a:cubicBezTo>
                  <a:cubicBezTo>
                    <a:pt x="163636" y="14028"/>
                    <a:pt x="163966" y="2338"/>
                    <a:pt x="171450" y="841"/>
                  </a:cubicBezTo>
                  <a:cubicBezTo>
                    <a:pt x="188184" y="-2506"/>
                    <a:pt x="205317" y="5074"/>
                    <a:pt x="222250" y="7191"/>
                  </a:cubicBezTo>
                  <a:cubicBezTo>
                    <a:pt x="268662" y="38133"/>
                    <a:pt x="210304" y="365"/>
                    <a:pt x="266700" y="32591"/>
                  </a:cubicBezTo>
                  <a:cubicBezTo>
                    <a:pt x="273326" y="36377"/>
                    <a:pt x="278924" y="41878"/>
                    <a:pt x="285750" y="45291"/>
                  </a:cubicBezTo>
                  <a:cubicBezTo>
                    <a:pt x="291737" y="48284"/>
                    <a:pt x="298813" y="48648"/>
                    <a:pt x="304800" y="51641"/>
                  </a:cubicBezTo>
                  <a:cubicBezTo>
                    <a:pt x="311626" y="55054"/>
                    <a:pt x="316446" y="62490"/>
                    <a:pt x="323850" y="64341"/>
                  </a:cubicBezTo>
                  <a:cubicBezTo>
                    <a:pt x="342445" y="68990"/>
                    <a:pt x="361950" y="68574"/>
                    <a:pt x="381000" y="70691"/>
                  </a:cubicBezTo>
                  <a:cubicBezTo>
                    <a:pt x="424708" y="99830"/>
                    <a:pt x="371067" y="67380"/>
                    <a:pt x="457200" y="96091"/>
                  </a:cubicBezTo>
                  <a:cubicBezTo>
                    <a:pt x="470461" y="100511"/>
                    <a:pt x="486458" y="118999"/>
                    <a:pt x="495300" y="127841"/>
                  </a:cubicBezTo>
                  <a:cubicBezTo>
                    <a:pt x="497417" y="136308"/>
                    <a:pt x="496198" y="146426"/>
                    <a:pt x="501650" y="153241"/>
                  </a:cubicBezTo>
                  <a:cubicBezTo>
                    <a:pt x="505831" y="158468"/>
                    <a:pt x="514084" y="158573"/>
                    <a:pt x="520700" y="159591"/>
                  </a:cubicBezTo>
                  <a:cubicBezTo>
                    <a:pt x="541725" y="162826"/>
                    <a:pt x="563033" y="163824"/>
                    <a:pt x="584200" y="165941"/>
                  </a:cubicBezTo>
                  <a:cubicBezTo>
                    <a:pt x="637743" y="208775"/>
                    <a:pt x="594911" y="180510"/>
                    <a:pt x="635000" y="197691"/>
                  </a:cubicBezTo>
                  <a:cubicBezTo>
                    <a:pt x="643701" y="201420"/>
                    <a:pt x="651096" y="208647"/>
                    <a:pt x="660400" y="210391"/>
                  </a:cubicBezTo>
                  <a:cubicBezTo>
                    <a:pt x="685451" y="215088"/>
                    <a:pt x="711200" y="214624"/>
                    <a:pt x="736600" y="216741"/>
                  </a:cubicBezTo>
                  <a:cubicBezTo>
                    <a:pt x="757546" y="223723"/>
                    <a:pt x="764621" y="225667"/>
                    <a:pt x="787400" y="235791"/>
                  </a:cubicBezTo>
                  <a:cubicBezTo>
                    <a:pt x="810766" y="246176"/>
                    <a:pt x="809492" y="249251"/>
                    <a:pt x="831850" y="254841"/>
                  </a:cubicBezTo>
                  <a:cubicBezTo>
                    <a:pt x="868873" y="264097"/>
                    <a:pt x="865514" y="261191"/>
                    <a:pt x="908050" y="261191"/>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55" name="Freeform 54"/>
            <p:cNvSpPr/>
            <p:nvPr/>
          </p:nvSpPr>
          <p:spPr>
            <a:xfrm>
              <a:off x="1131320" y="1685893"/>
              <a:ext cx="300645" cy="222534"/>
            </a:xfrm>
            <a:custGeom>
              <a:avLst/>
              <a:gdLst>
                <a:gd name="connsiteX0" fmla="*/ 0 w 806450"/>
                <a:gd name="connsiteY0" fmla="*/ 539750 h 596927"/>
                <a:gd name="connsiteX1" fmla="*/ 184150 w 806450"/>
                <a:gd name="connsiteY1" fmla="*/ 596900 h 596927"/>
                <a:gd name="connsiteX2" fmla="*/ 508000 w 806450"/>
                <a:gd name="connsiteY2" fmla="*/ 533400 h 596927"/>
                <a:gd name="connsiteX3" fmla="*/ 711200 w 806450"/>
                <a:gd name="connsiteY3" fmla="*/ 355600 h 596927"/>
                <a:gd name="connsiteX4" fmla="*/ 787400 w 806450"/>
                <a:gd name="connsiteY4" fmla="*/ 88900 h 596927"/>
                <a:gd name="connsiteX5" fmla="*/ 806450 w 806450"/>
                <a:gd name="connsiteY5" fmla="*/ 0 h 59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6450" h="596927">
                  <a:moveTo>
                    <a:pt x="0" y="539750"/>
                  </a:moveTo>
                  <a:cubicBezTo>
                    <a:pt x="49741" y="568854"/>
                    <a:pt x="99483" y="597958"/>
                    <a:pt x="184150" y="596900"/>
                  </a:cubicBezTo>
                  <a:cubicBezTo>
                    <a:pt x="268817" y="595842"/>
                    <a:pt x="420159" y="573617"/>
                    <a:pt x="508000" y="533400"/>
                  </a:cubicBezTo>
                  <a:cubicBezTo>
                    <a:pt x="595841" y="493183"/>
                    <a:pt x="664633" y="429683"/>
                    <a:pt x="711200" y="355600"/>
                  </a:cubicBezTo>
                  <a:cubicBezTo>
                    <a:pt x="757767" y="281517"/>
                    <a:pt x="771525" y="148167"/>
                    <a:pt x="787400" y="88900"/>
                  </a:cubicBezTo>
                  <a:cubicBezTo>
                    <a:pt x="803275" y="29633"/>
                    <a:pt x="804862" y="14816"/>
                    <a:pt x="806450" y="0"/>
                  </a:cubicBezTo>
                </a:path>
              </a:pathLst>
            </a:cu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56" name="Freeform 55"/>
            <p:cNvSpPr/>
            <p:nvPr/>
          </p:nvSpPr>
          <p:spPr>
            <a:xfrm>
              <a:off x="1154993" y="1898948"/>
              <a:ext cx="131706" cy="241463"/>
            </a:xfrm>
            <a:custGeom>
              <a:avLst/>
              <a:gdLst>
                <a:gd name="connsiteX0" fmla="*/ 0 w 353287"/>
                <a:gd name="connsiteY0" fmla="*/ 0 h 647700"/>
                <a:gd name="connsiteX1" fmla="*/ 234950 w 353287"/>
                <a:gd name="connsiteY1" fmla="*/ 127000 h 647700"/>
                <a:gd name="connsiteX2" fmla="*/ 342900 w 353287"/>
                <a:gd name="connsiteY2" fmla="*/ 463550 h 647700"/>
                <a:gd name="connsiteX3" fmla="*/ 342900 w 353287"/>
                <a:gd name="connsiteY3" fmla="*/ 647700 h 647700"/>
              </a:gdLst>
              <a:ahLst/>
              <a:cxnLst>
                <a:cxn ang="0">
                  <a:pos x="connsiteX0" y="connsiteY0"/>
                </a:cxn>
                <a:cxn ang="0">
                  <a:pos x="connsiteX1" y="connsiteY1"/>
                </a:cxn>
                <a:cxn ang="0">
                  <a:pos x="connsiteX2" y="connsiteY2"/>
                </a:cxn>
                <a:cxn ang="0">
                  <a:pos x="connsiteX3" y="connsiteY3"/>
                </a:cxn>
              </a:cxnLst>
              <a:rect l="l" t="t" r="r" b="b"/>
              <a:pathLst>
                <a:path w="353287" h="647700">
                  <a:moveTo>
                    <a:pt x="0" y="0"/>
                  </a:moveTo>
                  <a:cubicBezTo>
                    <a:pt x="88900" y="24871"/>
                    <a:pt x="177800" y="49742"/>
                    <a:pt x="234950" y="127000"/>
                  </a:cubicBezTo>
                  <a:cubicBezTo>
                    <a:pt x="292100" y="204258"/>
                    <a:pt x="324908" y="376767"/>
                    <a:pt x="342900" y="463550"/>
                  </a:cubicBezTo>
                  <a:cubicBezTo>
                    <a:pt x="360892" y="550333"/>
                    <a:pt x="351896" y="599016"/>
                    <a:pt x="342900" y="647700"/>
                  </a:cubicBezTo>
                </a:path>
              </a:pathLst>
            </a:cu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57" name="Freeform 56"/>
            <p:cNvSpPr/>
            <p:nvPr/>
          </p:nvSpPr>
          <p:spPr>
            <a:xfrm>
              <a:off x="1287561" y="2055666"/>
              <a:ext cx="255666" cy="63438"/>
            </a:xfrm>
            <a:custGeom>
              <a:avLst/>
              <a:gdLst>
                <a:gd name="connsiteX0" fmla="*/ 0 w 552450"/>
                <a:gd name="connsiteY0" fmla="*/ 185640 h 185640"/>
                <a:gd name="connsiteX1" fmla="*/ 203200 w 552450"/>
                <a:gd name="connsiteY1" fmla="*/ 26890 h 185640"/>
                <a:gd name="connsiteX2" fmla="*/ 552450 w 552450"/>
                <a:gd name="connsiteY2" fmla="*/ 1490 h 185640"/>
                <a:gd name="connsiteX0" fmla="*/ 0 w 685800"/>
                <a:gd name="connsiteY0" fmla="*/ 158908 h 158908"/>
                <a:gd name="connsiteX1" fmla="*/ 203200 w 685800"/>
                <a:gd name="connsiteY1" fmla="*/ 158 h 158908"/>
                <a:gd name="connsiteX2" fmla="*/ 685800 w 685800"/>
                <a:gd name="connsiteY2" fmla="*/ 127158 h 158908"/>
                <a:gd name="connsiteX0" fmla="*/ 0 w 685800"/>
                <a:gd name="connsiteY0" fmla="*/ 170167 h 170167"/>
                <a:gd name="connsiteX1" fmla="*/ 203200 w 685800"/>
                <a:gd name="connsiteY1" fmla="*/ 11417 h 170167"/>
                <a:gd name="connsiteX2" fmla="*/ 685800 w 685800"/>
                <a:gd name="connsiteY2" fmla="*/ 138417 h 170167"/>
              </a:gdLst>
              <a:ahLst/>
              <a:cxnLst>
                <a:cxn ang="0">
                  <a:pos x="connsiteX0" y="connsiteY0"/>
                </a:cxn>
                <a:cxn ang="0">
                  <a:pos x="connsiteX1" y="connsiteY1"/>
                </a:cxn>
                <a:cxn ang="0">
                  <a:pos x="connsiteX2" y="connsiteY2"/>
                </a:cxn>
              </a:cxnLst>
              <a:rect l="l" t="t" r="r" b="b"/>
              <a:pathLst>
                <a:path w="685800" h="170167">
                  <a:moveTo>
                    <a:pt x="0" y="170167"/>
                  </a:moveTo>
                  <a:cubicBezTo>
                    <a:pt x="55562" y="106138"/>
                    <a:pt x="88900" y="16709"/>
                    <a:pt x="203200" y="11417"/>
                  </a:cubicBezTo>
                  <a:cubicBezTo>
                    <a:pt x="317500" y="6125"/>
                    <a:pt x="519112" y="-48379"/>
                    <a:pt x="685800" y="138417"/>
                  </a:cubicBezTo>
                </a:path>
              </a:pathLst>
            </a:cu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58" name="Freeform 57"/>
            <p:cNvSpPr/>
            <p:nvPr/>
          </p:nvSpPr>
          <p:spPr>
            <a:xfrm>
              <a:off x="1491460" y="1965670"/>
              <a:ext cx="146460" cy="105620"/>
            </a:xfrm>
            <a:custGeom>
              <a:avLst/>
              <a:gdLst>
                <a:gd name="connsiteX0" fmla="*/ 2186 w 421286"/>
                <a:gd name="connsiteY0" fmla="*/ 240125 h 240125"/>
                <a:gd name="connsiteX1" fmla="*/ 52986 w 421286"/>
                <a:gd name="connsiteY1" fmla="*/ 151225 h 240125"/>
                <a:gd name="connsiteX2" fmla="*/ 357786 w 421286"/>
                <a:gd name="connsiteY2" fmla="*/ 11525 h 240125"/>
                <a:gd name="connsiteX3" fmla="*/ 421286 w 421286"/>
                <a:gd name="connsiteY3" fmla="*/ 17875 h 240125"/>
                <a:gd name="connsiteX0" fmla="*/ 21756 w 392864"/>
                <a:gd name="connsiteY0" fmla="*/ 283316 h 283316"/>
                <a:gd name="connsiteX1" fmla="*/ 24564 w 392864"/>
                <a:gd name="connsiteY1" fmla="*/ 151225 h 283316"/>
                <a:gd name="connsiteX2" fmla="*/ 329364 w 392864"/>
                <a:gd name="connsiteY2" fmla="*/ 11525 h 283316"/>
                <a:gd name="connsiteX3" fmla="*/ 392864 w 392864"/>
                <a:gd name="connsiteY3" fmla="*/ 17875 h 283316"/>
              </a:gdLst>
              <a:ahLst/>
              <a:cxnLst>
                <a:cxn ang="0">
                  <a:pos x="connsiteX0" y="connsiteY0"/>
                </a:cxn>
                <a:cxn ang="0">
                  <a:pos x="connsiteX1" y="connsiteY1"/>
                </a:cxn>
                <a:cxn ang="0">
                  <a:pos x="connsiteX2" y="connsiteY2"/>
                </a:cxn>
                <a:cxn ang="0">
                  <a:pos x="connsiteX3" y="connsiteY3"/>
                </a:cxn>
              </a:cxnLst>
              <a:rect l="l" t="t" r="r" b="b"/>
              <a:pathLst>
                <a:path w="392864" h="283316">
                  <a:moveTo>
                    <a:pt x="21756" y="283316"/>
                  </a:moveTo>
                  <a:cubicBezTo>
                    <a:pt x="17522" y="257916"/>
                    <a:pt x="-26704" y="196523"/>
                    <a:pt x="24564" y="151225"/>
                  </a:cubicBezTo>
                  <a:cubicBezTo>
                    <a:pt x="75832" y="105927"/>
                    <a:pt x="267981" y="33750"/>
                    <a:pt x="329364" y="11525"/>
                  </a:cubicBezTo>
                  <a:cubicBezTo>
                    <a:pt x="390747" y="-10700"/>
                    <a:pt x="391805" y="3587"/>
                    <a:pt x="392864" y="17875"/>
                  </a:cubicBez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59" name="Freeform 58"/>
            <p:cNvSpPr/>
            <p:nvPr/>
          </p:nvSpPr>
          <p:spPr>
            <a:xfrm>
              <a:off x="1424863" y="1719034"/>
              <a:ext cx="215422" cy="253299"/>
            </a:xfrm>
            <a:custGeom>
              <a:avLst/>
              <a:gdLst>
                <a:gd name="connsiteX0" fmla="*/ 0 w 577850"/>
                <a:gd name="connsiteY0" fmla="*/ 0 h 679450"/>
                <a:gd name="connsiteX1" fmla="*/ 50800 w 577850"/>
                <a:gd name="connsiteY1" fmla="*/ 234950 h 679450"/>
                <a:gd name="connsiteX2" fmla="*/ 203200 w 577850"/>
                <a:gd name="connsiteY2" fmla="*/ 469900 h 679450"/>
                <a:gd name="connsiteX3" fmla="*/ 387350 w 577850"/>
                <a:gd name="connsiteY3" fmla="*/ 615950 h 679450"/>
                <a:gd name="connsiteX4" fmla="*/ 577850 w 577850"/>
                <a:gd name="connsiteY4" fmla="*/ 679450 h 679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850" h="679450">
                  <a:moveTo>
                    <a:pt x="0" y="0"/>
                  </a:moveTo>
                  <a:cubicBezTo>
                    <a:pt x="8466" y="78316"/>
                    <a:pt x="16933" y="156633"/>
                    <a:pt x="50800" y="234950"/>
                  </a:cubicBezTo>
                  <a:cubicBezTo>
                    <a:pt x="84667" y="313267"/>
                    <a:pt x="147108" y="406400"/>
                    <a:pt x="203200" y="469900"/>
                  </a:cubicBezTo>
                  <a:cubicBezTo>
                    <a:pt x="259292" y="533400"/>
                    <a:pt x="324908" y="581025"/>
                    <a:pt x="387350" y="615950"/>
                  </a:cubicBezTo>
                  <a:cubicBezTo>
                    <a:pt x="449792" y="650875"/>
                    <a:pt x="513821" y="665162"/>
                    <a:pt x="577850" y="679450"/>
                  </a:cubicBezTo>
                </a:path>
              </a:pathLst>
            </a:cu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60" name="Freeform 59"/>
            <p:cNvSpPr/>
            <p:nvPr/>
          </p:nvSpPr>
          <p:spPr>
            <a:xfrm>
              <a:off x="2182393" y="2219714"/>
              <a:ext cx="333787" cy="685328"/>
            </a:xfrm>
            <a:custGeom>
              <a:avLst/>
              <a:gdLst>
                <a:gd name="connsiteX0" fmla="*/ 895350 w 895350"/>
                <a:gd name="connsiteY0" fmla="*/ 0 h 1838325"/>
                <a:gd name="connsiteX1" fmla="*/ 857250 w 895350"/>
                <a:gd name="connsiteY1" fmla="*/ 76200 h 1838325"/>
                <a:gd name="connsiteX2" fmla="*/ 838200 w 895350"/>
                <a:gd name="connsiteY2" fmla="*/ 114300 h 1838325"/>
                <a:gd name="connsiteX3" fmla="*/ 819150 w 895350"/>
                <a:gd name="connsiteY3" fmla="*/ 171450 h 1838325"/>
                <a:gd name="connsiteX4" fmla="*/ 800100 w 895350"/>
                <a:gd name="connsiteY4" fmla="*/ 200025 h 1838325"/>
                <a:gd name="connsiteX5" fmla="*/ 781050 w 895350"/>
                <a:gd name="connsiteY5" fmla="*/ 238125 h 1838325"/>
                <a:gd name="connsiteX6" fmla="*/ 762000 w 895350"/>
                <a:gd name="connsiteY6" fmla="*/ 323850 h 1838325"/>
                <a:gd name="connsiteX7" fmla="*/ 733425 w 895350"/>
                <a:gd name="connsiteY7" fmla="*/ 381000 h 1838325"/>
                <a:gd name="connsiteX8" fmla="*/ 723900 w 895350"/>
                <a:gd name="connsiteY8" fmla="*/ 409575 h 1838325"/>
                <a:gd name="connsiteX9" fmla="*/ 685800 w 895350"/>
                <a:gd name="connsiteY9" fmla="*/ 466725 h 1838325"/>
                <a:gd name="connsiteX10" fmla="*/ 666750 w 895350"/>
                <a:gd name="connsiteY10" fmla="*/ 542925 h 1838325"/>
                <a:gd name="connsiteX11" fmla="*/ 647700 w 895350"/>
                <a:gd name="connsiteY11" fmla="*/ 571500 h 1838325"/>
                <a:gd name="connsiteX12" fmla="*/ 619125 w 895350"/>
                <a:gd name="connsiteY12" fmla="*/ 619125 h 1838325"/>
                <a:gd name="connsiteX13" fmla="*/ 600075 w 895350"/>
                <a:gd name="connsiteY13" fmla="*/ 647700 h 1838325"/>
                <a:gd name="connsiteX14" fmla="*/ 571500 w 895350"/>
                <a:gd name="connsiteY14" fmla="*/ 666750 h 1838325"/>
                <a:gd name="connsiteX15" fmla="*/ 561975 w 895350"/>
                <a:gd name="connsiteY15" fmla="*/ 695325 h 1838325"/>
                <a:gd name="connsiteX16" fmla="*/ 504825 w 895350"/>
                <a:gd name="connsiteY16" fmla="*/ 771525 h 1838325"/>
                <a:gd name="connsiteX17" fmla="*/ 495300 w 895350"/>
                <a:gd name="connsiteY17" fmla="*/ 809625 h 1838325"/>
                <a:gd name="connsiteX18" fmla="*/ 457200 w 895350"/>
                <a:gd name="connsiteY18" fmla="*/ 876300 h 1838325"/>
                <a:gd name="connsiteX19" fmla="*/ 428625 w 895350"/>
                <a:gd name="connsiteY19" fmla="*/ 981075 h 1838325"/>
                <a:gd name="connsiteX20" fmla="*/ 419100 w 895350"/>
                <a:gd name="connsiteY20" fmla="*/ 1009650 h 1838325"/>
                <a:gd name="connsiteX21" fmla="*/ 381000 w 895350"/>
                <a:gd name="connsiteY21" fmla="*/ 1085850 h 1838325"/>
                <a:gd name="connsiteX22" fmla="*/ 352425 w 895350"/>
                <a:gd name="connsiteY22" fmla="*/ 1181100 h 1838325"/>
                <a:gd name="connsiteX23" fmla="*/ 333375 w 895350"/>
                <a:gd name="connsiteY23" fmla="*/ 1238250 h 1838325"/>
                <a:gd name="connsiteX24" fmla="*/ 276225 w 895350"/>
                <a:gd name="connsiteY24" fmla="*/ 1323975 h 1838325"/>
                <a:gd name="connsiteX25" fmla="*/ 257175 w 895350"/>
                <a:gd name="connsiteY25" fmla="*/ 1352550 h 1838325"/>
                <a:gd name="connsiteX26" fmla="*/ 200025 w 895350"/>
                <a:gd name="connsiteY26" fmla="*/ 1428750 h 1838325"/>
                <a:gd name="connsiteX27" fmla="*/ 190500 w 895350"/>
                <a:gd name="connsiteY27" fmla="*/ 1466850 h 1838325"/>
                <a:gd name="connsiteX28" fmla="*/ 152400 w 895350"/>
                <a:gd name="connsiteY28" fmla="*/ 1533525 h 1838325"/>
                <a:gd name="connsiteX29" fmla="*/ 114300 w 895350"/>
                <a:gd name="connsiteY29" fmla="*/ 1609725 h 1838325"/>
                <a:gd name="connsiteX30" fmla="*/ 85725 w 895350"/>
                <a:gd name="connsiteY30" fmla="*/ 1676400 h 1838325"/>
                <a:gd name="connsiteX31" fmla="*/ 76200 w 895350"/>
                <a:gd name="connsiteY31" fmla="*/ 1714500 h 1838325"/>
                <a:gd name="connsiteX32" fmla="*/ 38100 w 895350"/>
                <a:gd name="connsiteY32" fmla="*/ 1743075 h 1838325"/>
                <a:gd name="connsiteX33" fmla="*/ 9525 w 895350"/>
                <a:gd name="connsiteY33" fmla="*/ 1809750 h 1838325"/>
                <a:gd name="connsiteX34" fmla="*/ 0 w 895350"/>
                <a:gd name="connsiteY34" fmla="*/ 1838325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95350" h="1838325">
                  <a:moveTo>
                    <a:pt x="895350" y="0"/>
                  </a:moveTo>
                  <a:cubicBezTo>
                    <a:pt x="833251" y="103498"/>
                    <a:pt x="888009" y="4429"/>
                    <a:pt x="857250" y="76200"/>
                  </a:cubicBezTo>
                  <a:cubicBezTo>
                    <a:pt x="851657" y="89251"/>
                    <a:pt x="843473" y="101117"/>
                    <a:pt x="838200" y="114300"/>
                  </a:cubicBezTo>
                  <a:cubicBezTo>
                    <a:pt x="830742" y="132944"/>
                    <a:pt x="827305" y="153100"/>
                    <a:pt x="819150" y="171450"/>
                  </a:cubicBezTo>
                  <a:cubicBezTo>
                    <a:pt x="814501" y="181911"/>
                    <a:pt x="805780" y="190086"/>
                    <a:pt x="800100" y="200025"/>
                  </a:cubicBezTo>
                  <a:cubicBezTo>
                    <a:pt x="793055" y="212353"/>
                    <a:pt x="786643" y="225074"/>
                    <a:pt x="781050" y="238125"/>
                  </a:cubicBezTo>
                  <a:cubicBezTo>
                    <a:pt x="766205" y="272762"/>
                    <a:pt x="771660" y="280378"/>
                    <a:pt x="762000" y="323850"/>
                  </a:cubicBezTo>
                  <a:cubicBezTo>
                    <a:pt x="752423" y="366944"/>
                    <a:pt x="753976" y="339899"/>
                    <a:pt x="733425" y="381000"/>
                  </a:cubicBezTo>
                  <a:cubicBezTo>
                    <a:pt x="728935" y="389980"/>
                    <a:pt x="728776" y="400798"/>
                    <a:pt x="723900" y="409575"/>
                  </a:cubicBezTo>
                  <a:cubicBezTo>
                    <a:pt x="712781" y="429589"/>
                    <a:pt x="685800" y="466725"/>
                    <a:pt x="685800" y="466725"/>
                  </a:cubicBezTo>
                  <a:cubicBezTo>
                    <a:pt x="682177" y="484839"/>
                    <a:pt x="676513" y="523399"/>
                    <a:pt x="666750" y="542925"/>
                  </a:cubicBezTo>
                  <a:cubicBezTo>
                    <a:pt x="661630" y="553164"/>
                    <a:pt x="653767" y="561792"/>
                    <a:pt x="647700" y="571500"/>
                  </a:cubicBezTo>
                  <a:cubicBezTo>
                    <a:pt x="637888" y="587199"/>
                    <a:pt x="628937" y="603426"/>
                    <a:pt x="619125" y="619125"/>
                  </a:cubicBezTo>
                  <a:cubicBezTo>
                    <a:pt x="613058" y="628833"/>
                    <a:pt x="608170" y="639605"/>
                    <a:pt x="600075" y="647700"/>
                  </a:cubicBezTo>
                  <a:cubicBezTo>
                    <a:pt x="591980" y="655795"/>
                    <a:pt x="581025" y="660400"/>
                    <a:pt x="571500" y="666750"/>
                  </a:cubicBezTo>
                  <a:cubicBezTo>
                    <a:pt x="568325" y="676275"/>
                    <a:pt x="567365" y="686854"/>
                    <a:pt x="561975" y="695325"/>
                  </a:cubicBezTo>
                  <a:cubicBezTo>
                    <a:pt x="544929" y="722111"/>
                    <a:pt x="504825" y="771525"/>
                    <a:pt x="504825" y="771525"/>
                  </a:cubicBezTo>
                  <a:cubicBezTo>
                    <a:pt x="501650" y="784225"/>
                    <a:pt x="499897" y="797368"/>
                    <a:pt x="495300" y="809625"/>
                  </a:cubicBezTo>
                  <a:cubicBezTo>
                    <a:pt x="484942" y="837247"/>
                    <a:pt x="472991" y="852613"/>
                    <a:pt x="457200" y="876300"/>
                  </a:cubicBezTo>
                  <a:cubicBezTo>
                    <a:pt x="443737" y="943616"/>
                    <a:pt x="452795" y="908566"/>
                    <a:pt x="428625" y="981075"/>
                  </a:cubicBezTo>
                  <a:cubicBezTo>
                    <a:pt x="425450" y="990600"/>
                    <a:pt x="424669" y="1001296"/>
                    <a:pt x="419100" y="1009650"/>
                  </a:cubicBezTo>
                  <a:cubicBezTo>
                    <a:pt x="393686" y="1047771"/>
                    <a:pt x="399641" y="1034587"/>
                    <a:pt x="381000" y="1085850"/>
                  </a:cubicBezTo>
                  <a:cubicBezTo>
                    <a:pt x="342513" y="1191689"/>
                    <a:pt x="376793" y="1099874"/>
                    <a:pt x="352425" y="1181100"/>
                  </a:cubicBezTo>
                  <a:cubicBezTo>
                    <a:pt x="346655" y="1200334"/>
                    <a:pt x="344514" y="1221542"/>
                    <a:pt x="333375" y="1238250"/>
                  </a:cubicBezTo>
                  <a:lnTo>
                    <a:pt x="276225" y="1323975"/>
                  </a:lnTo>
                  <a:cubicBezTo>
                    <a:pt x="269875" y="1333500"/>
                    <a:pt x="264044" y="1343392"/>
                    <a:pt x="257175" y="1352550"/>
                  </a:cubicBezTo>
                  <a:lnTo>
                    <a:pt x="200025" y="1428750"/>
                  </a:lnTo>
                  <a:cubicBezTo>
                    <a:pt x="196850" y="1441450"/>
                    <a:pt x="195097" y="1454593"/>
                    <a:pt x="190500" y="1466850"/>
                  </a:cubicBezTo>
                  <a:cubicBezTo>
                    <a:pt x="172307" y="1515365"/>
                    <a:pt x="174508" y="1492994"/>
                    <a:pt x="152400" y="1533525"/>
                  </a:cubicBezTo>
                  <a:cubicBezTo>
                    <a:pt x="138802" y="1558456"/>
                    <a:pt x="125487" y="1583623"/>
                    <a:pt x="114300" y="1609725"/>
                  </a:cubicBezTo>
                  <a:cubicBezTo>
                    <a:pt x="104775" y="1631950"/>
                    <a:pt x="93988" y="1653676"/>
                    <a:pt x="85725" y="1676400"/>
                  </a:cubicBezTo>
                  <a:cubicBezTo>
                    <a:pt x="81251" y="1688703"/>
                    <a:pt x="83809" y="1703848"/>
                    <a:pt x="76200" y="1714500"/>
                  </a:cubicBezTo>
                  <a:cubicBezTo>
                    <a:pt x="66973" y="1727418"/>
                    <a:pt x="50800" y="1733550"/>
                    <a:pt x="38100" y="1743075"/>
                  </a:cubicBezTo>
                  <a:cubicBezTo>
                    <a:pt x="15762" y="1810088"/>
                    <a:pt x="44835" y="1727360"/>
                    <a:pt x="9525" y="1809750"/>
                  </a:cubicBezTo>
                  <a:cubicBezTo>
                    <a:pt x="5570" y="1818978"/>
                    <a:pt x="0" y="1838325"/>
                    <a:pt x="0" y="1838325"/>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ea typeface="楷体" panose="02010609060101010101" pitchFamily="49" charset="-122"/>
              </a:endParaRPr>
            </a:p>
          </p:txBody>
        </p:sp>
        <p:sp>
          <p:nvSpPr>
            <p:cNvPr id="61" name="Oval 60"/>
            <p:cNvSpPr/>
            <p:nvPr/>
          </p:nvSpPr>
          <p:spPr>
            <a:xfrm>
              <a:off x="1342278" y="1905349"/>
              <a:ext cx="103142" cy="115987"/>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ea typeface="楷体" panose="02010609060101010101" pitchFamily="49" charset="-122"/>
              </a:endParaRPr>
            </a:p>
          </p:txBody>
        </p:sp>
        <p:cxnSp>
          <p:nvCxnSpPr>
            <p:cNvPr id="63" name="Straight Connector 62"/>
            <p:cNvCxnSpPr>
              <a:stCxn id="59" idx="4"/>
            </p:cNvCxnSpPr>
            <p:nvPr/>
          </p:nvCxnSpPr>
          <p:spPr>
            <a:xfrm flipV="1">
              <a:off x="1640285" y="1971156"/>
              <a:ext cx="1616982" cy="1178"/>
            </a:xfrm>
            <a:prstGeom prst="lin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sp>
          <p:nvSpPr>
            <p:cNvPr id="67" name="TextBox 66"/>
            <p:cNvSpPr txBox="1"/>
            <p:nvPr/>
          </p:nvSpPr>
          <p:spPr>
            <a:xfrm>
              <a:off x="663913" y="1895009"/>
              <a:ext cx="480526" cy="132820"/>
            </a:xfrm>
            <a:prstGeom prst="rect">
              <a:avLst/>
            </a:prstGeom>
            <a:ln>
              <a:noFill/>
            </a:ln>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000" dirty="0">
                  <a:solidFill>
                    <a:srgbClr val="FFCA21"/>
                  </a:solidFill>
                  <a:ea typeface="楷体" panose="02010609060101010101" pitchFamily="49" charset="-122"/>
                  <a:cs typeface="SimSun"/>
                </a:rPr>
                <a:t>细胞核</a:t>
              </a:r>
            </a:p>
          </p:txBody>
        </p:sp>
        <p:cxnSp>
          <p:nvCxnSpPr>
            <p:cNvPr id="117765" name="Straight Arrow Connector 117764"/>
            <p:cNvCxnSpPr/>
            <p:nvPr/>
          </p:nvCxnSpPr>
          <p:spPr>
            <a:xfrm>
              <a:off x="1165646" y="1980670"/>
              <a:ext cx="192048" cy="0"/>
            </a:xfrm>
            <a:prstGeom prst="straightConnector1">
              <a:avLst/>
            </a:prstGeom>
            <a:ln>
              <a:solidFill>
                <a:srgbClr val="FFCA21"/>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1617929" y="1748386"/>
              <a:ext cx="770175" cy="132820"/>
            </a:xfrm>
            <a:prstGeom prst="rect">
              <a:avLst/>
            </a:prstGeom>
            <a:ln>
              <a:noFill/>
            </a:ln>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000" dirty="0">
                  <a:solidFill>
                    <a:srgbClr val="FFCA21"/>
                  </a:solidFill>
                  <a:ea typeface="楷体" panose="02010609060101010101" pitchFamily="49" charset="-122"/>
                  <a:cs typeface="SimSun"/>
                </a:rPr>
                <a:t>细胞体</a:t>
              </a:r>
            </a:p>
          </p:txBody>
        </p:sp>
        <p:cxnSp>
          <p:nvCxnSpPr>
            <p:cNvPr id="73" name="Straight Arrow Connector 72"/>
            <p:cNvCxnSpPr>
              <a:endCxn id="61" idx="7"/>
            </p:cNvCxnSpPr>
            <p:nvPr/>
          </p:nvCxnSpPr>
          <p:spPr>
            <a:xfrm flipH="1">
              <a:off x="1430315" y="1821584"/>
              <a:ext cx="154083" cy="100751"/>
            </a:xfrm>
            <a:prstGeom prst="straightConnector1">
              <a:avLst/>
            </a:prstGeom>
            <a:ln>
              <a:solidFill>
                <a:srgbClr val="FFCA21"/>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2911986" y="2203892"/>
              <a:ext cx="397129" cy="132820"/>
            </a:xfrm>
            <a:prstGeom prst="rect">
              <a:avLst/>
            </a:prstGeom>
            <a:ln>
              <a:noFill/>
            </a:ln>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zh-CN" sz="1000" dirty="0">
                  <a:solidFill>
                    <a:srgbClr val="FFCA21"/>
                  </a:solidFill>
                  <a:ea typeface="楷体" panose="02010609060101010101" pitchFamily="49" charset="-122"/>
                  <a:cs typeface="SimSun"/>
                </a:rPr>
                <a:t>轴突</a:t>
              </a:r>
            </a:p>
          </p:txBody>
        </p:sp>
        <p:cxnSp>
          <p:nvCxnSpPr>
            <p:cNvPr id="78" name="Straight Arrow Connector 77"/>
            <p:cNvCxnSpPr/>
            <p:nvPr/>
          </p:nvCxnSpPr>
          <p:spPr>
            <a:xfrm rot="16200000">
              <a:off x="2997647" y="2097573"/>
              <a:ext cx="192048" cy="0"/>
            </a:xfrm>
            <a:prstGeom prst="straightConnector1">
              <a:avLst/>
            </a:prstGeom>
            <a:ln>
              <a:solidFill>
                <a:srgbClr val="FFCA21"/>
              </a:solidFill>
              <a:tailEnd type="triangle"/>
            </a:ln>
          </p:spPr>
          <p:style>
            <a:lnRef idx="1">
              <a:schemeClr val="accent1"/>
            </a:lnRef>
            <a:fillRef idx="0">
              <a:schemeClr val="accent1"/>
            </a:fillRef>
            <a:effectRef idx="0">
              <a:schemeClr val="accent1"/>
            </a:effectRef>
            <a:fontRef idx="minor">
              <a:schemeClr val="tx1"/>
            </a:fontRef>
          </p:style>
        </p:cxnSp>
        <p:sp>
          <p:nvSpPr>
            <p:cNvPr id="79" name="TextBox 78"/>
            <p:cNvSpPr txBox="1"/>
            <p:nvPr/>
          </p:nvSpPr>
          <p:spPr>
            <a:xfrm>
              <a:off x="2594157" y="2543497"/>
              <a:ext cx="568486" cy="132820"/>
            </a:xfrm>
            <a:prstGeom prst="rect">
              <a:avLst/>
            </a:prstGeom>
            <a:ln>
              <a:noFill/>
            </a:ln>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000" dirty="0">
                  <a:solidFill>
                    <a:srgbClr val="FFCA21"/>
                  </a:solidFill>
                  <a:ea typeface="楷体" panose="02010609060101010101" pitchFamily="49" charset="-122"/>
                  <a:cs typeface="SimSun"/>
                </a:rPr>
                <a:t>树突</a:t>
              </a:r>
            </a:p>
          </p:txBody>
        </p:sp>
        <p:cxnSp>
          <p:nvCxnSpPr>
            <p:cNvPr id="80" name="Straight Arrow Connector 79"/>
            <p:cNvCxnSpPr/>
            <p:nvPr/>
          </p:nvCxnSpPr>
          <p:spPr>
            <a:xfrm rot="10800000">
              <a:off x="2363921" y="2599825"/>
              <a:ext cx="192048" cy="0"/>
            </a:xfrm>
            <a:prstGeom prst="straightConnector1">
              <a:avLst/>
            </a:prstGeom>
            <a:ln>
              <a:solidFill>
                <a:srgbClr val="FFCA21"/>
              </a:solidFill>
              <a:tailEnd type="triangle"/>
            </a:ln>
          </p:spPr>
          <p:style>
            <a:lnRef idx="1">
              <a:schemeClr val="accent1"/>
            </a:lnRef>
            <a:fillRef idx="0">
              <a:schemeClr val="accent1"/>
            </a:fillRef>
            <a:effectRef idx="0">
              <a:schemeClr val="accent1"/>
            </a:effectRef>
            <a:fontRef idx="minor">
              <a:schemeClr val="tx1"/>
            </a:fontRef>
          </p:style>
        </p:cxnSp>
      </p:grpSp>
      <p:sp>
        <p:nvSpPr>
          <p:cNvPr id="9" name="TextBox 8"/>
          <p:cNvSpPr txBox="1">
            <a:spLocks/>
          </p:cNvSpPr>
          <p:nvPr/>
        </p:nvSpPr>
        <p:spPr>
          <a:xfrm>
            <a:off x="5045715" y="968438"/>
            <a:ext cx="3691885"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600" dirty="0">
                <a:solidFill>
                  <a:srgbClr val="FFCA21"/>
                </a:solidFill>
                <a:ea typeface="楷体" panose="02010609060101010101" pitchFamily="49" charset="-122"/>
                <a:cs typeface="SimSun"/>
              </a:rPr>
              <a:t>神经系统技术</a:t>
            </a:r>
          </a:p>
        </p:txBody>
      </p:sp>
      <p:grpSp>
        <p:nvGrpSpPr>
          <p:cNvPr id="117788" name="Group 117787"/>
          <p:cNvGrpSpPr/>
          <p:nvPr/>
        </p:nvGrpSpPr>
        <p:grpSpPr>
          <a:xfrm>
            <a:off x="5045715" y="1338012"/>
            <a:ext cx="3691885" cy="1715560"/>
            <a:chOff x="5045715" y="1338012"/>
            <a:chExt cx="3691885" cy="1715560"/>
          </a:xfrm>
        </p:grpSpPr>
        <p:sp>
          <p:nvSpPr>
            <p:cNvPr id="117770" name="Oval 117769"/>
            <p:cNvSpPr/>
            <p:nvPr/>
          </p:nvSpPr>
          <p:spPr>
            <a:xfrm rot="5400000">
              <a:off x="8025567" y="1338012"/>
              <a:ext cx="202310" cy="202310"/>
            </a:xfrm>
            <a:prstGeom prst="ellipse">
              <a:avLst/>
            </a:prstGeom>
            <a:solidFill>
              <a:srgbClr val="FF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ea typeface="楷体" panose="02010609060101010101" pitchFamily="49" charset="-122"/>
              </a:endParaRPr>
            </a:p>
          </p:txBody>
        </p:sp>
        <p:sp>
          <p:nvSpPr>
            <p:cNvPr id="83" name="Oval 82"/>
            <p:cNvSpPr/>
            <p:nvPr/>
          </p:nvSpPr>
          <p:spPr>
            <a:xfrm rot="5400000">
              <a:off x="7006123" y="1338012"/>
              <a:ext cx="202310" cy="202310"/>
            </a:xfrm>
            <a:prstGeom prst="ellipse">
              <a:avLst/>
            </a:prstGeom>
            <a:solidFill>
              <a:srgbClr val="FF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ea typeface="楷体" panose="02010609060101010101" pitchFamily="49" charset="-122"/>
              </a:endParaRPr>
            </a:p>
          </p:txBody>
        </p:sp>
        <p:sp>
          <p:nvSpPr>
            <p:cNvPr id="84" name="Oval 83"/>
            <p:cNvSpPr/>
            <p:nvPr/>
          </p:nvSpPr>
          <p:spPr>
            <a:xfrm rot="5400000">
              <a:off x="5986679" y="1338012"/>
              <a:ext cx="202310" cy="202310"/>
            </a:xfrm>
            <a:prstGeom prst="ellipse">
              <a:avLst/>
            </a:prstGeom>
            <a:solidFill>
              <a:srgbClr val="FF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ea typeface="楷体" panose="02010609060101010101" pitchFamily="49" charset="-122"/>
              </a:endParaRPr>
            </a:p>
          </p:txBody>
        </p:sp>
        <p:grpSp>
          <p:nvGrpSpPr>
            <p:cNvPr id="117782" name="Group 117781"/>
            <p:cNvGrpSpPr/>
            <p:nvPr/>
          </p:nvGrpSpPr>
          <p:grpSpPr>
            <a:xfrm>
              <a:off x="5476957" y="2094637"/>
              <a:ext cx="3260643" cy="202310"/>
              <a:chOff x="4959279" y="2025245"/>
              <a:chExt cx="3260643" cy="202310"/>
            </a:xfrm>
          </p:grpSpPr>
          <p:sp>
            <p:nvSpPr>
              <p:cNvPr id="85" name="Oval 84"/>
              <p:cNvSpPr/>
              <p:nvPr/>
            </p:nvSpPr>
            <p:spPr>
              <a:xfrm rot="5400000">
                <a:off x="8017612" y="2025245"/>
                <a:ext cx="202310" cy="20231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ea typeface="楷体" panose="02010609060101010101" pitchFamily="49" charset="-122"/>
                </a:endParaRPr>
              </a:p>
            </p:txBody>
          </p:sp>
          <p:sp>
            <p:nvSpPr>
              <p:cNvPr id="86" name="Oval 85"/>
              <p:cNvSpPr/>
              <p:nvPr/>
            </p:nvSpPr>
            <p:spPr>
              <a:xfrm rot="5400000">
                <a:off x="6998167" y="2025245"/>
                <a:ext cx="202310" cy="20231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ea typeface="楷体" panose="02010609060101010101" pitchFamily="49" charset="-122"/>
                </a:endParaRPr>
              </a:p>
            </p:txBody>
          </p:sp>
          <p:sp>
            <p:nvSpPr>
              <p:cNvPr id="87" name="Oval 86"/>
              <p:cNvSpPr/>
              <p:nvPr/>
            </p:nvSpPr>
            <p:spPr>
              <a:xfrm rot="5400000">
                <a:off x="5965479" y="2025245"/>
                <a:ext cx="202310" cy="20231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ea typeface="楷体" panose="02010609060101010101" pitchFamily="49" charset="-122"/>
                </a:endParaRPr>
              </a:p>
            </p:txBody>
          </p:sp>
          <p:sp>
            <p:nvSpPr>
              <p:cNvPr id="88" name="Oval 87"/>
              <p:cNvSpPr/>
              <p:nvPr/>
            </p:nvSpPr>
            <p:spPr>
              <a:xfrm rot="5400000">
                <a:off x="4959279" y="2025245"/>
                <a:ext cx="202310" cy="20231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ea typeface="楷体" panose="02010609060101010101" pitchFamily="49" charset="-122"/>
                </a:endParaRPr>
              </a:p>
            </p:txBody>
          </p:sp>
        </p:grpSp>
        <p:sp>
          <p:nvSpPr>
            <p:cNvPr id="89" name="Oval 88"/>
            <p:cNvSpPr/>
            <p:nvPr/>
          </p:nvSpPr>
          <p:spPr>
            <a:xfrm rot="5400000">
              <a:off x="7515845" y="2851262"/>
              <a:ext cx="202310" cy="202310"/>
            </a:xfrm>
            <a:prstGeom prst="ellipse">
              <a:avLst/>
            </a:prstGeom>
            <a:solidFill>
              <a:srgbClr val="00B0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ea typeface="楷体" panose="02010609060101010101" pitchFamily="49" charset="-122"/>
              </a:endParaRPr>
            </a:p>
          </p:txBody>
        </p:sp>
        <p:sp>
          <p:nvSpPr>
            <p:cNvPr id="90" name="Oval 89"/>
            <p:cNvSpPr/>
            <p:nvPr/>
          </p:nvSpPr>
          <p:spPr>
            <a:xfrm rot="5400000">
              <a:off x="6483157" y="2851262"/>
              <a:ext cx="202310" cy="202310"/>
            </a:xfrm>
            <a:prstGeom prst="ellipse">
              <a:avLst/>
            </a:prstGeom>
            <a:solidFill>
              <a:srgbClr val="00B0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ea typeface="楷体" panose="02010609060101010101" pitchFamily="49" charset="-122"/>
              </a:endParaRPr>
            </a:p>
          </p:txBody>
        </p:sp>
        <p:cxnSp>
          <p:nvCxnSpPr>
            <p:cNvPr id="91" name="Straight Arrow Connector 90"/>
            <p:cNvCxnSpPr>
              <a:stCxn id="117770" idx="7"/>
              <a:endCxn id="85" idx="2"/>
            </p:cNvCxnSpPr>
            <p:nvPr/>
          </p:nvCxnSpPr>
          <p:spPr>
            <a:xfrm>
              <a:off x="8198249" y="1510694"/>
              <a:ext cx="438196" cy="583943"/>
            </a:xfrm>
            <a:prstGeom prst="straightConnector1">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a:stCxn id="83" idx="0"/>
              <a:endCxn id="85" idx="3"/>
            </p:cNvCxnSpPr>
            <p:nvPr/>
          </p:nvCxnSpPr>
          <p:spPr>
            <a:xfrm>
              <a:off x="7208433" y="1439167"/>
              <a:ext cx="1356485" cy="685098"/>
            </a:xfrm>
            <a:prstGeom prst="straightConnector1">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stCxn id="84" idx="0"/>
              <a:endCxn id="85" idx="4"/>
            </p:cNvCxnSpPr>
            <p:nvPr/>
          </p:nvCxnSpPr>
          <p:spPr>
            <a:xfrm>
              <a:off x="6188989" y="1439167"/>
              <a:ext cx="2346301" cy="756625"/>
            </a:xfrm>
            <a:prstGeom prst="straightConnector1">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stCxn id="117770" idx="6"/>
              <a:endCxn id="86" idx="1"/>
            </p:cNvCxnSpPr>
            <p:nvPr/>
          </p:nvCxnSpPr>
          <p:spPr>
            <a:xfrm flipH="1">
              <a:off x="7688527" y="1540322"/>
              <a:ext cx="438195" cy="583943"/>
            </a:xfrm>
            <a:prstGeom prst="straightConnector1">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a:stCxn id="117770" idx="5"/>
              <a:endCxn id="87" idx="1"/>
            </p:cNvCxnSpPr>
            <p:nvPr/>
          </p:nvCxnSpPr>
          <p:spPr>
            <a:xfrm flipH="1">
              <a:off x="6655839" y="1510694"/>
              <a:ext cx="1399356" cy="613571"/>
            </a:xfrm>
            <a:prstGeom prst="straightConnector1">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a:stCxn id="117770" idx="4"/>
              <a:endCxn id="88" idx="0"/>
            </p:cNvCxnSpPr>
            <p:nvPr/>
          </p:nvCxnSpPr>
          <p:spPr>
            <a:xfrm flipH="1">
              <a:off x="5679267" y="1439167"/>
              <a:ext cx="2346300" cy="756625"/>
            </a:xfrm>
            <a:prstGeom prst="straightConnector1">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a:stCxn id="83" idx="7"/>
              <a:endCxn id="86" idx="3"/>
            </p:cNvCxnSpPr>
            <p:nvPr/>
          </p:nvCxnSpPr>
          <p:spPr>
            <a:xfrm>
              <a:off x="7178805" y="1510694"/>
              <a:ext cx="366668" cy="613571"/>
            </a:xfrm>
            <a:prstGeom prst="straightConnector1">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a:stCxn id="83" idx="5"/>
              <a:endCxn id="87" idx="2"/>
            </p:cNvCxnSpPr>
            <p:nvPr/>
          </p:nvCxnSpPr>
          <p:spPr>
            <a:xfrm flipH="1">
              <a:off x="6584312" y="1510694"/>
              <a:ext cx="451439" cy="583943"/>
            </a:xfrm>
            <a:prstGeom prst="straightConnector1">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a:stCxn id="83" idx="4"/>
              <a:endCxn id="88" idx="1"/>
            </p:cNvCxnSpPr>
            <p:nvPr/>
          </p:nvCxnSpPr>
          <p:spPr>
            <a:xfrm flipH="1">
              <a:off x="5649639" y="1439167"/>
              <a:ext cx="1356484" cy="685098"/>
            </a:xfrm>
            <a:prstGeom prst="straightConnector1">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a:stCxn id="84" idx="7"/>
              <a:endCxn id="86" idx="4"/>
            </p:cNvCxnSpPr>
            <p:nvPr/>
          </p:nvCxnSpPr>
          <p:spPr>
            <a:xfrm>
              <a:off x="6159361" y="1510694"/>
              <a:ext cx="1356484" cy="685098"/>
            </a:xfrm>
            <a:prstGeom prst="straightConnector1">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a:stCxn id="84" idx="6"/>
              <a:endCxn id="87" idx="3"/>
            </p:cNvCxnSpPr>
            <p:nvPr/>
          </p:nvCxnSpPr>
          <p:spPr>
            <a:xfrm>
              <a:off x="6087834" y="1540322"/>
              <a:ext cx="424951" cy="583943"/>
            </a:xfrm>
            <a:prstGeom prst="straightConnector1">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a:stCxn id="85" idx="6"/>
              <a:endCxn id="89" idx="1"/>
            </p:cNvCxnSpPr>
            <p:nvPr/>
          </p:nvCxnSpPr>
          <p:spPr>
            <a:xfrm flipH="1">
              <a:off x="7688527" y="2296947"/>
              <a:ext cx="947918" cy="583943"/>
            </a:xfrm>
            <a:prstGeom prst="straightConnector1">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5" name="Straight Arrow Connector 114"/>
            <p:cNvCxnSpPr>
              <a:stCxn id="85" idx="5"/>
              <a:endCxn id="90" idx="0"/>
            </p:cNvCxnSpPr>
            <p:nvPr/>
          </p:nvCxnSpPr>
          <p:spPr>
            <a:xfrm flipH="1">
              <a:off x="6685467" y="2267319"/>
              <a:ext cx="1879451" cy="685098"/>
            </a:xfrm>
            <a:prstGeom prst="straightConnector1">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a:stCxn id="86" idx="6"/>
              <a:endCxn id="89" idx="2"/>
            </p:cNvCxnSpPr>
            <p:nvPr/>
          </p:nvCxnSpPr>
          <p:spPr>
            <a:xfrm>
              <a:off x="7617000" y="2296947"/>
              <a:ext cx="0" cy="554315"/>
            </a:xfrm>
            <a:prstGeom prst="straightConnector1">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a:stCxn id="87" idx="7"/>
              <a:endCxn id="89" idx="3"/>
            </p:cNvCxnSpPr>
            <p:nvPr/>
          </p:nvCxnSpPr>
          <p:spPr>
            <a:xfrm>
              <a:off x="6655839" y="2267319"/>
              <a:ext cx="889634" cy="613571"/>
            </a:xfrm>
            <a:prstGeom prst="straightConnector1">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a:stCxn id="88" idx="7"/>
              <a:endCxn id="89" idx="4"/>
            </p:cNvCxnSpPr>
            <p:nvPr/>
          </p:nvCxnSpPr>
          <p:spPr>
            <a:xfrm>
              <a:off x="5649639" y="2267319"/>
              <a:ext cx="1866206" cy="685098"/>
            </a:xfrm>
            <a:prstGeom prst="straightConnector1">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a:stCxn id="87" idx="6"/>
              <a:endCxn id="90" idx="2"/>
            </p:cNvCxnSpPr>
            <p:nvPr/>
          </p:nvCxnSpPr>
          <p:spPr>
            <a:xfrm>
              <a:off x="6584312" y="2296947"/>
              <a:ext cx="0" cy="554315"/>
            </a:xfrm>
            <a:prstGeom prst="straightConnector1">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a:stCxn id="88" idx="6"/>
              <a:endCxn id="90" idx="3"/>
            </p:cNvCxnSpPr>
            <p:nvPr/>
          </p:nvCxnSpPr>
          <p:spPr>
            <a:xfrm>
              <a:off x="5578112" y="2296947"/>
              <a:ext cx="934673" cy="583943"/>
            </a:xfrm>
            <a:prstGeom prst="straightConnector1">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a:stCxn id="84" idx="5"/>
              <a:endCxn id="88" idx="2"/>
            </p:cNvCxnSpPr>
            <p:nvPr/>
          </p:nvCxnSpPr>
          <p:spPr>
            <a:xfrm flipH="1">
              <a:off x="5578112" y="1510694"/>
              <a:ext cx="438195" cy="583943"/>
            </a:xfrm>
            <a:prstGeom prst="straightConnector1">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28" name="Straight Arrow Connector 127"/>
            <p:cNvCxnSpPr>
              <a:stCxn id="86" idx="5"/>
              <a:endCxn id="90" idx="1"/>
            </p:cNvCxnSpPr>
            <p:nvPr/>
          </p:nvCxnSpPr>
          <p:spPr>
            <a:xfrm flipH="1">
              <a:off x="6655839" y="2267319"/>
              <a:ext cx="889634" cy="613571"/>
            </a:xfrm>
            <a:prstGeom prst="straightConnector1">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sp>
          <p:nvSpPr>
            <p:cNvPr id="130" name="TextBox 129"/>
            <p:cNvSpPr txBox="1">
              <a:spLocks/>
            </p:cNvSpPr>
            <p:nvPr/>
          </p:nvSpPr>
          <p:spPr>
            <a:xfrm>
              <a:off x="5665220" y="1362223"/>
              <a:ext cx="320394" cy="153888"/>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000">
                  <a:solidFill>
                    <a:schemeClr val="bg1"/>
                  </a:solidFill>
                  <a:ea typeface="楷体" panose="02010609060101010101" pitchFamily="49" charset="-122"/>
                  <a:cs typeface="SimSun"/>
                </a:rPr>
                <a:t>输入</a:t>
              </a:r>
              <a:endParaRPr lang="zh-CN" sz="1000" dirty="0">
                <a:solidFill>
                  <a:schemeClr val="bg1"/>
                </a:solidFill>
                <a:ea typeface="楷体" panose="02010609060101010101" pitchFamily="49" charset="-122"/>
              </a:endParaRPr>
            </a:p>
          </p:txBody>
        </p:sp>
        <p:sp>
          <p:nvSpPr>
            <p:cNvPr id="131" name="TextBox 130"/>
            <p:cNvSpPr txBox="1">
              <a:spLocks/>
            </p:cNvSpPr>
            <p:nvPr/>
          </p:nvSpPr>
          <p:spPr>
            <a:xfrm>
              <a:off x="5045715" y="2118848"/>
              <a:ext cx="423995" cy="153888"/>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000" dirty="0">
                  <a:solidFill>
                    <a:schemeClr val="bg1"/>
                  </a:solidFill>
                  <a:ea typeface="楷体" panose="02010609060101010101" pitchFamily="49" charset="-122"/>
                  <a:cs typeface="SimSun"/>
                </a:rPr>
                <a:t>隐藏</a:t>
              </a:r>
            </a:p>
          </p:txBody>
        </p:sp>
        <p:sp>
          <p:nvSpPr>
            <p:cNvPr id="132" name="TextBox 131"/>
            <p:cNvSpPr txBox="1">
              <a:spLocks/>
            </p:cNvSpPr>
            <p:nvPr/>
          </p:nvSpPr>
          <p:spPr>
            <a:xfrm>
              <a:off x="6051611" y="2875473"/>
              <a:ext cx="423995" cy="153888"/>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000">
                  <a:solidFill>
                    <a:schemeClr val="bg1"/>
                  </a:solidFill>
                  <a:ea typeface="楷体" panose="02010609060101010101" pitchFamily="49" charset="-122"/>
                  <a:cs typeface="SimSun"/>
                </a:rPr>
                <a:t>输出</a:t>
              </a:r>
              <a:endParaRPr lang="zh-CN" sz="1000" dirty="0">
                <a:solidFill>
                  <a:schemeClr val="bg1"/>
                </a:solidFill>
                <a:ea typeface="楷体" panose="02010609060101010101" pitchFamily="49" charset="-122"/>
              </a:endParaRPr>
            </a:p>
          </p:txBody>
        </p:sp>
      </p:grpSp>
      <p:cxnSp>
        <p:nvCxnSpPr>
          <p:cNvPr id="117796" name="Straight Connector 117795"/>
          <p:cNvCxnSpPr>
            <a:cxnSpLocks/>
          </p:cNvCxnSpPr>
          <p:nvPr/>
        </p:nvCxnSpPr>
        <p:spPr>
          <a:xfrm>
            <a:off x="4422653" y="722216"/>
            <a:ext cx="0" cy="2331356"/>
          </a:xfrm>
          <a:prstGeom prst="line">
            <a:avLst/>
          </a:prstGeom>
          <a:ln w="3175">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1" name="TextBox 10"/>
          <p:cNvSpPr txBox="1">
            <a:spLocks/>
          </p:cNvSpPr>
          <p:nvPr/>
        </p:nvSpPr>
        <p:spPr>
          <a:xfrm>
            <a:off x="4718175" y="4239385"/>
            <a:ext cx="4114905" cy="1408078"/>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300"/>
              </a:spcAft>
              <a:buClr>
                <a:schemeClr val="bg1"/>
              </a:buClr>
            </a:pPr>
            <a:r>
              <a:rPr lang="zh-CN" sz="1200" dirty="0">
                <a:solidFill>
                  <a:schemeClr val="bg1"/>
                </a:solidFill>
                <a:ea typeface="楷体" panose="02010609060101010101" pitchFamily="49" charset="-122"/>
                <a:cs typeface="SimSun"/>
              </a:rPr>
              <a:t>人工神经网络是我们对神经网络现有理解的一种计算机</a:t>
            </a:r>
            <a:r>
              <a:rPr lang="zh-CN" altLang="en-US" sz="1200" dirty="0">
                <a:solidFill>
                  <a:schemeClr val="bg1"/>
                </a:solidFill>
                <a:ea typeface="楷体" panose="02010609060101010101" pitchFamily="49" charset="-122"/>
                <a:cs typeface="SimSun"/>
              </a:rPr>
              <a:t>表现</a:t>
            </a:r>
            <a:endParaRPr lang="zh-CN" sz="1200" dirty="0">
              <a:solidFill>
                <a:schemeClr val="bg1"/>
              </a:solidFill>
              <a:ea typeface="楷体" panose="02010609060101010101" pitchFamily="49" charset="-122"/>
              <a:cs typeface="SimSun"/>
            </a:endParaRPr>
          </a:p>
          <a:p>
            <a:pPr lvl="1">
              <a:spcAft>
                <a:spcPts val="300"/>
              </a:spcAft>
              <a:buClr>
                <a:schemeClr val="bg1"/>
              </a:buClr>
            </a:pPr>
            <a:r>
              <a:rPr lang="zh-CN" sz="1200" dirty="0">
                <a:solidFill>
                  <a:schemeClr val="bg1"/>
                </a:solidFill>
                <a:ea typeface="楷体" panose="02010609060101010101" pitchFamily="49" charset="-122"/>
                <a:cs typeface="SimSun"/>
              </a:rPr>
              <a:t>每个网络由配合模型数据工作的</a:t>
            </a:r>
            <a:r>
              <a:rPr lang="zh-CN" altLang="en-US" sz="1200" dirty="0">
                <a:solidFill>
                  <a:schemeClr val="bg1"/>
                </a:solidFill>
                <a:ea typeface="楷体" panose="02010609060101010101" pitchFamily="49" charset="-122"/>
                <a:cs typeface="SimSun"/>
              </a:rPr>
              <a:t>被称为</a:t>
            </a:r>
            <a:r>
              <a:rPr lang="zh-CN" sz="1200" dirty="0">
                <a:solidFill>
                  <a:schemeClr val="bg1"/>
                </a:solidFill>
                <a:ea typeface="楷体" panose="02010609060101010101" pitchFamily="49" charset="-122"/>
                <a:cs typeface="SimSun"/>
              </a:rPr>
              <a:t>人工神经元的单元构成</a:t>
            </a:r>
          </a:p>
          <a:p>
            <a:pPr lvl="1">
              <a:spcAft>
                <a:spcPts val="300"/>
              </a:spcAft>
              <a:buClr>
                <a:schemeClr val="bg1"/>
              </a:buClr>
            </a:pPr>
            <a:r>
              <a:rPr lang="zh-CN" sz="1200" dirty="0">
                <a:solidFill>
                  <a:schemeClr val="bg1"/>
                </a:solidFill>
                <a:ea typeface="楷体" panose="02010609060101010101" pitchFamily="49" charset="-122"/>
                <a:cs typeface="SimSun"/>
              </a:rPr>
              <a:t>人工神经网络（ANN）</a:t>
            </a:r>
            <a:r>
              <a:rPr lang="zh-CN" altLang="en-US" sz="1200" dirty="0">
                <a:solidFill>
                  <a:schemeClr val="bg1"/>
                </a:solidFill>
                <a:ea typeface="楷体" panose="02010609060101010101" pitchFamily="49" charset="-122"/>
                <a:cs typeface="SimSun"/>
              </a:rPr>
              <a:t>初创于</a:t>
            </a:r>
            <a:r>
              <a:rPr lang="zh-CN" sz="1200" dirty="0">
                <a:solidFill>
                  <a:schemeClr val="bg1"/>
                </a:solidFill>
                <a:ea typeface="楷体" panose="02010609060101010101" pitchFamily="49" charset="-122"/>
                <a:cs typeface="SimSun"/>
              </a:rPr>
              <a:t>二十世纪50年代，</a:t>
            </a:r>
            <a:r>
              <a:rPr lang="zh-CN" altLang="en-US" sz="1200" dirty="0">
                <a:solidFill>
                  <a:schemeClr val="bg1"/>
                </a:solidFill>
                <a:ea typeface="楷体" panose="02010609060101010101" pitchFamily="49" charset="-122"/>
                <a:cs typeface="SimSun"/>
              </a:rPr>
              <a:t>并</a:t>
            </a:r>
            <a:r>
              <a:rPr lang="zh-CN" sz="1200" dirty="0">
                <a:solidFill>
                  <a:schemeClr val="bg1"/>
                </a:solidFill>
                <a:ea typeface="楷体" panose="02010609060101010101" pitchFamily="49" charset="-122"/>
                <a:cs typeface="SimSun"/>
              </a:rPr>
              <a:t>在随后的几十年取得</a:t>
            </a:r>
            <a:r>
              <a:rPr lang="zh-CN" altLang="en-US" sz="1200" dirty="0">
                <a:solidFill>
                  <a:schemeClr val="bg1"/>
                </a:solidFill>
                <a:ea typeface="楷体" panose="02010609060101010101" pitchFamily="49" charset="-122"/>
                <a:cs typeface="SimSun"/>
              </a:rPr>
              <a:t>长足</a:t>
            </a:r>
            <a:r>
              <a:rPr lang="zh-CN" sz="1200" dirty="0">
                <a:solidFill>
                  <a:schemeClr val="bg1"/>
                </a:solidFill>
                <a:ea typeface="楷体" panose="02010609060101010101" pitchFamily="49" charset="-122"/>
                <a:cs typeface="SimSun"/>
              </a:rPr>
              <a:t>发展</a:t>
            </a:r>
          </a:p>
          <a:p>
            <a:pPr lvl="1">
              <a:spcAft>
                <a:spcPts val="300"/>
              </a:spcAft>
              <a:buClr>
                <a:schemeClr val="bg1"/>
              </a:buClr>
            </a:pPr>
            <a:r>
              <a:rPr lang="zh-CN" sz="1200" dirty="0">
                <a:solidFill>
                  <a:schemeClr val="bg1"/>
                </a:solidFill>
                <a:ea typeface="楷体" panose="02010609060101010101" pitchFamily="49" charset="-122"/>
                <a:cs typeface="SimSun"/>
              </a:rPr>
              <a:t>ANN通常</a:t>
            </a:r>
            <a:r>
              <a:rPr lang="zh-CN" altLang="en-US" sz="1200" dirty="0">
                <a:solidFill>
                  <a:schemeClr val="bg1"/>
                </a:solidFill>
                <a:ea typeface="楷体" panose="02010609060101010101" pitchFamily="49" charset="-122"/>
                <a:cs typeface="SimSun"/>
              </a:rPr>
              <a:t>是指</a:t>
            </a:r>
            <a:r>
              <a:rPr lang="zh-CN" sz="1200" dirty="0">
                <a:solidFill>
                  <a:schemeClr val="bg1"/>
                </a:solidFill>
                <a:ea typeface="楷体" panose="02010609060101010101" pitchFamily="49" charset="-122"/>
                <a:cs typeface="SimSun"/>
              </a:rPr>
              <a:t>‘神经网络’</a:t>
            </a:r>
          </a:p>
        </p:txBody>
      </p:sp>
      <p:sp>
        <p:nvSpPr>
          <p:cNvPr id="20" name="TextBox 19"/>
          <p:cNvSpPr txBox="1"/>
          <p:nvPr/>
        </p:nvSpPr>
        <p:spPr>
          <a:xfrm>
            <a:off x="119063" y="3270110"/>
            <a:ext cx="7835034" cy="630942"/>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300"/>
              </a:spcAft>
              <a:buClr>
                <a:schemeClr val="bg1"/>
              </a:buClr>
            </a:pPr>
            <a:r>
              <a:rPr lang="zh-CN" sz="1200" dirty="0">
                <a:solidFill>
                  <a:schemeClr val="bg1"/>
                </a:solidFill>
                <a:ea typeface="楷体" panose="02010609060101010101" pitchFamily="49" charset="-122"/>
                <a:cs typeface="SimSun"/>
              </a:rPr>
              <a:t>神经元是传递电信号的特化细胞</a:t>
            </a:r>
          </a:p>
          <a:p>
            <a:pPr lvl="1">
              <a:spcAft>
                <a:spcPts val="300"/>
              </a:spcAft>
              <a:buClr>
                <a:schemeClr val="bg1"/>
              </a:buClr>
            </a:pPr>
            <a:r>
              <a:rPr lang="zh-CN" sz="1200" dirty="0">
                <a:solidFill>
                  <a:schemeClr val="bg1"/>
                </a:solidFill>
                <a:ea typeface="楷体" panose="02010609060101010101" pitchFamily="49" charset="-122"/>
                <a:cs typeface="SimSun"/>
              </a:rPr>
              <a:t>神经元有各种类型，它们相互连接，形成特化神经网络</a:t>
            </a:r>
          </a:p>
          <a:p>
            <a:pPr lvl="1">
              <a:spcAft>
                <a:spcPts val="300"/>
              </a:spcAft>
              <a:buClr>
                <a:schemeClr val="bg1"/>
              </a:buClr>
            </a:pPr>
            <a:r>
              <a:rPr lang="zh-CN" sz="1200" dirty="0">
                <a:solidFill>
                  <a:schemeClr val="bg1"/>
                </a:solidFill>
                <a:ea typeface="楷体" panose="02010609060101010101" pitchFamily="49" charset="-122"/>
                <a:cs typeface="SimSun"/>
              </a:rPr>
              <a:t>人类大脑是</a:t>
            </a:r>
            <a:r>
              <a:rPr lang="zh-CN" altLang="en-US" sz="1200" dirty="0">
                <a:solidFill>
                  <a:schemeClr val="bg1"/>
                </a:solidFill>
                <a:ea typeface="楷体" panose="02010609060101010101" pitchFamily="49" charset="-122"/>
                <a:cs typeface="SimSun"/>
              </a:rPr>
              <a:t>一个由</a:t>
            </a:r>
            <a:r>
              <a:rPr lang="zh-CN" sz="1200" dirty="0">
                <a:solidFill>
                  <a:schemeClr val="bg1"/>
                </a:solidFill>
                <a:ea typeface="楷体" panose="02010609060101010101" pitchFamily="49" charset="-122"/>
                <a:cs typeface="SimSun"/>
              </a:rPr>
              <a:t>数十亿个持续共同工作的神经元</a:t>
            </a:r>
            <a:r>
              <a:rPr lang="zh-CN" altLang="en-US" sz="1200" dirty="0">
                <a:solidFill>
                  <a:schemeClr val="bg1"/>
                </a:solidFill>
                <a:ea typeface="楷体" panose="02010609060101010101" pitchFamily="49" charset="-122"/>
                <a:cs typeface="SimSun"/>
              </a:rPr>
              <a:t>组成</a:t>
            </a:r>
            <a:r>
              <a:rPr lang="zh-CN" sz="1200" dirty="0">
                <a:solidFill>
                  <a:schemeClr val="bg1"/>
                </a:solidFill>
                <a:ea typeface="楷体" panose="02010609060101010101" pitchFamily="49" charset="-122"/>
                <a:cs typeface="SimSun"/>
              </a:rPr>
              <a:t>的集合</a:t>
            </a:r>
          </a:p>
        </p:txBody>
      </p:sp>
      <p:grpSp>
        <p:nvGrpSpPr>
          <p:cNvPr id="69" name="Group 68"/>
          <p:cNvGrpSpPr>
            <a:grpSpLocks/>
          </p:cNvGrpSpPr>
          <p:nvPr/>
        </p:nvGrpSpPr>
        <p:grpSpPr>
          <a:xfrm>
            <a:off x="128358" y="4186920"/>
            <a:ext cx="4211113" cy="2198522"/>
            <a:chOff x="4621967" y="4158345"/>
            <a:chExt cx="4211113" cy="2198522"/>
          </a:xfrm>
        </p:grpSpPr>
        <p:sp>
          <p:nvSpPr>
            <p:cNvPr id="137" name="TextBox 136"/>
            <p:cNvSpPr txBox="1">
              <a:spLocks/>
            </p:cNvSpPr>
            <p:nvPr/>
          </p:nvSpPr>
          <p:spPr>
            <a:xfrm>
              <a:off x="4621967" y="4158345"/>
              <a:ext cx="421111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600" dirty="0">
                  <a:solidFill>
                    <a:srgbClr val="FFCA21"/>
                  </a:solidFill>
                  <a:ea typeface="楷体" panose="02010609060101010101" pitchFamily="49" charset="-122"/>
                  <a:cs typeface="SimSun"/>
                </a:rPr>
                <a:t>已部署的神经网络模式示例</a:t>
              </a:r>
            </a:p>
          </p:txBody>
        </p:sp>
        <p:grpSp>
          <p:nvGrpSpPr>
            <p:cNvPr id="68" name="Group 67"/>
            <p:cNvGrpSpPr>
              <a:grpSpLocks/>
            </p:cNvGrpSpPr>
            <p:nvPr/>
          </p:nvGrpSpPr>
          <p:grpSpPr>
            <a:xfrm>
              <a:off x="4621967" y="4488581"/>
              <a:ext cx="4211113" cy="1868286"/>
              <a:chOff x="4634557" y="4631456"/>
              <a:chExt cx="4211113" cy="1868286"/>
            </a:xfrm>
          </p:grpSpPr>
          <p:sp>
            <p:nvSpPr>
              <p:cNvPr id="66" name="Rectangle 65"/>
              <p:cNvSpPr/>
              <p:nvPr/>
            </p:nvSpPr>
            <p:spPr>
              <a:xfrm>
                <a:off x="4634557" y="4631456"/>
                <a:ext cx="4211113" cy="18682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a typeface="楷体" panose="02010609060101010101" pitchFamily="49" charset="-122"/>
                </a:endParaRPr>
              </a:p>
            </p:txBody>
          </p:sp>
          <p:sp>
            <p:nvSpPr>
              <p:cNvPr id="346" name="Slide Number"/>
              <p:cNvSpPr txBox="1">
                <a:spLocks/>
              </p:cNvSpPr>
              <p:nvPr/>
            </p:nvSpPr>
            <p:spPr bwMode="auto">
              <a:xfrm>
                <a:off x="6711259" y="5504044"/>
                <a:ext cx="57708"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r>
                  <a:rPr lang="zh-CN" sz="800" baseline="0">
                    <a:solidFill>
                      <a:schemeClr val="bg1"/>
                    </a:solidFill>
                    <a:ea typeface="楷体" panose="02010609060101010101" pitchFamily="49" charset="-122"/>
                    <a:cs typeface="SimSun"/>
                  </a:rPr>
                  <a:t>4</a:t>
                </a:r>
                <a:endParaRPr lang="zh-CN" sz="800" baseline="0" dirty="0">
                  <a:solidFill>
                    <a:schemeClr val="bg1"/>
                  </a:solidFill>
                  <a:ea typeface="楷体" panose="02010609060101010101" pitchFamily="49" charset="-122"/>
                </a:endParaRPr>
              </a:p>
            </p:txBody>
          </p:sp>
          <p:sp>
            <p:nvSpPr>
              <p:cNvPr id="347" name="SlideLogoText"/>
              <p:cNvSpPr>
                <a:spLocks noChangeArrowheads="1"/>
              </p:cNvSpPr>
              <p:nvPr>
                <p:custDataLst>
                  <p:tags r:id="rId2"/>
                </p:custDataLst>
              </p:nvPr>
            </p:nvSpPr>
            <p:spPr bwMode="auto">
              <a:xfrm>
                <a:off x="6233564" y="5504044"/>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zh-CN" sz="800" baseline="0" dirty="0">
                    <a:solidFill>
                      <a:schemeClr val="bg1"/>
                    </a:solidFill>
                    <a:latin typeface="+mn-lt"/>
                    <a:ea typeface="楷体" panose="02010609060101010101" pitchFamily="49" charset="-122"/>
                    <a:cs typeface="SimSun"/>
                  </a:rPr>
                  <a:t>McKinsey &amp; Company</a:t>
                </a:r>
              </a:p>
            </p:txBody>
          </p:sp>
          <p:grpSp>
            <p:nvGrpSpPr>
              <p:cNvPr id="5" name="Group 4"/>
              <p:cNvGrpSpPr>
                <a:grpSpLocks/>
              </p:cNvGrpSpPr>
              <p:nvPr/>
            </p:nvGrpSpPr>
            <p:grpSpPr>
              <a:xfrm>
                <a:off x="4713034" y="4763486"/>
                <a:ext cx="4054159" cy="1604227"/>
                <a:chOff x="4075116" y="4409881"/>
                <a:chExt cx="4054159" cy="1604227"/>
              </a:xfrm>
            </p:grpSpPr>
            <p:sp>
              <p:nvSpPr>
                <p:cNvPr id="104" name="Rectangle 103"/>
                <p:cNvSpPr/>
                <p:nvPr/>
              </p:nvSpPr>
              <p:spPr>
                <a:xfrm>
                  <a:off x="5523191" y="4409881"/>
                  <a:ext cx="2606084" cy="1218506"/>
                </a:xfrm>
                <a:prstGeom prst="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a typeface="楷体" panose="02010609060101010101" pitchFamily="49" charset="-122"/>
                  </a:endParaRPr>
                </a:p>
              </p:txBody>
            </p:sp>
            <p:sp>
              <p:nvSpPr>
                <p:cNvPr id="106" name="Freeform 6"/>
                <p:cNvSpPr>
                  <a:spLocks noEditPoints="1"/>
                </p:cNvSpPr>
                <p:nvPr/>
              </p:nvSpPr>
              <p:spPr bwMode="auto">
                <a:xfrm>
                  <a:off x="4075116" y="4732617"/>
                  <a:ext cx="678555" cy="501353"/>
                </a:xfrm>
                <a:custGeom>
                  <a:avLst/>
                  <a:gdLst>
                    <a:gd name="T0" fmla="*/ 383 w 2287"/>
                    <a:gd name="T1" fmla="*/ 1667 h 1682"/>
                    <a:gd name="T2" fmla="*/ 14 w 2287"/>
                    <a:gd name="T3" fmla="*/ 1244 h 1682"/>
                    <a:gd name="T4" fmla="*/ 54 w 2287"/>
                    <a:gd name="T5" fmla="*/ 940 h 1682"/>
                    <a:gd name="T6" fmla="*/ 284 w 2287"/>
                    <a:gd name="T7" fmla="*/ 697 h 1682"/>
                    <a:gd name="T8" fmla="*/ 341 w 2287"/>
                    <a:gd name="T9" fmla="*/ 580 h 1682"/>
                    <a:gd name="T10" fmla="*/ 1098 w 2287"/>
                    <a:gd name="T11" fmla="*/ 91 h 1682"/>
                    <a:gd name="T12" fmla="*/ 1367 w 2287"/>
                    <a:gd name="T13" fmla="*/ 249 h 1682"/>
                    <a:gd name="T14" fmla="*/ 1487 w 2287"/>
                    <a:gd name="T15" fmla="*/ 314 h 1682"/>
                    <a:gd name="T16" fmla="*/ 1959 w 2287"/>
                    <a:gd name="T17" fmla="*/ 562 h 1682"/>
                    <a:gd name="T18" fmla="*/ 2037 w 2287"/>
                    <a:gd name="T19" fmla="*/ 794 h 1682"/>
                    <a:gd name="T20" fmla="*/ 2098 w 2287"/>
                    <a:gd name="T21" fmla="*/ 885 h 1682"/>
                    <a:gd name="T22" fmla="*/ 2265 w 2287"/>
                    <a:gd name="T23" fmla="*/ 1128 h 1682"/>
                    <a:gd name="T24" fmla="*/ 2240 w 2287"/>
                    <a:gd name="T25" fmla="*/ 1432 h 1682"/>
                    <a:gd name="T26" fmla="*/ 2024 w 2287"/>
                    <a:gd name="T27" fmla="*/ 1644 h 1682"/>
                    <a:gd name="T28" fmla="*/ 1950 w 2287"/>
                    <a:gd name="T29" fmla="*/ 1678 h 1682"/>
                    <a:gd name="T30" fmla="*/ 1190 w 2287"/>
                    <a:gd name="T31" fmla="*/ 1680 h 1682"/>
                    <a:gd name="T32" fmla="*/ 383 w 2287"/>
                    <a:gd name="T33" fmla="*/ 1667 h 1682"/>
                    <a:gd name="T34" fmla="*/ 1918 w 2287"/>
                    <a:gd name="T35" fmla="*/ 1517 h 1682"/>
                    <a:gd name="T36" fmla="*/ 2130 w 2287"/>
                    <a:gd name="T37" fmla="*/ 1245 h 1682"/>
                    <a:gd name="T38" fmla="*/ 1932 w 2287"/>
                    <a:gd name="T39" fmla="*/ 973 h 1682"/>
                    <a:gd name="T40" fmla="*/ 1875 w 2287"/>
                    <a:gd name="T41" fmla="*/ 930 h 1682"/>
                    <a:gd name="T42" fmla="*/ 1668 w 2287"/>
                    <a:gd name="T43" fmla="*/ 506 h 1682"/>
                    <a:gd name="T44" fmla="*/ 1498 w 2287"/>
                    <a:gd name="T45" fmla="*/ 475 h 1682"/>
                    <a:gd name="T46" fmla="*/ 1382 w 2287"/>
                    <a:gd name="T47" fmla="*/ 490 h 1682"/>
                    <a:gd name="T48" fmla="*/ 1325 w 2287"/>
                    <a:gd name="T49" fmla="*/ 440 h 1682"/>
                    <a:gd name="T50" fmla="*/ 1137 w 2287"/>
                    <a:gd name="T51" fmla="*/ 268 h 1682"/>
                    <a:gd name="T52" fmla="*/ 1015 w 2287"/>
                    <a:gd name="T53" fmla="*/ 231 h 1682"/>
                    <a:gd name="T54" fmla="*/ 529 w 2287"/>
                    <a:gd name="T55" fmla="*/ 486 h 1682"/>
                    <a:gd name="T56" fmla="*/ 497 w 2287"/>
                    <a:gd name="T57" fmla="*/ 669 h 1682"/>
                    <a:gd name="T58" fmla="*/ 464 w 2287"/>
                    <a:gd name="T59" fmla="*/ 799 h 1682"/>
                    <a:gd name="T60" fmla="*/ 256 w 2287"/>
                    <a:gd name="T61" fmla="*/ 915 h 1682"/>
                    <a:gd name="T62" fmla="*/ 165 w 2287"/>
                    <a:gd name="T63" fmla="*/ 1165 h 1682"/>
                    <a:gd name="T64" fmla="*/ 324 w 2287"/>
                    <a:gd name="T65" fmla="*/ 1466 h 1682"/>
                    <a:gd name="T66" fmla="*/ 1178 w 2287"/>
                    <a:gd name="T67" fmla="*/ 1537 h 1682"/>
                    <a:gd name="T68" fmla="*/ 1918 w 2287"/>
                    <a:gd name="T69" fmla="*/ 1517 h 1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87" h="1682">
                      <a:moveTo>
                        <a:pt x="383" y="1667"/>
                      </a:moveTo>
                      <a:cubicBezTo>
                        <a:pt x="187" y="1602"/>
                        <a:pt x="42" y="1437"/>
                        <a:pt x="14" y="1244"/>
                      </a:cubicBezTo>
                      <a:cubicBezTo>
                        <a:pt x="0" y="1151"/>
                        <a:pt x="18" y="1018"/>
                        <a:pt x="54" y="940"/>
                      </a:cubicBezTo>
                      <a:cubicBezTo>
                        <a:pt x="86" y="873"/>
                        <a:pt x="220" y="731"/>
                        <a:pt x="284" y="697"/>
                      </a:cubicBezTo>
                      <a:cubicBezTo>
                        <a:pt x="320" y="679"/>
                        <a:pt x="326" y="666"/>
                        <a:pt x="341" y="580"/>
                      </a:cubicBezTo>
                      <a:cubicBezTo>
                        <a:pt x="402" y="224"/>
                        <a:pt x="749" y="0"/>
                        <a:pt x="1098" y="91"/>
                      </a:cubicBezTo>
                      <a:cubicBezTo>
                        <a:pt x="1198" y="117"/>
                        <a:pt x="1281" y="166"/>
                        <a:pt x="1367" y="249"/>
                      </a:cubicBezTo>
                      <a:cubicBezTo>
                        <a:pt x="1429" y="309"/>
                        <a:pt x="1443" y="317"/>
                        <a:pt x="1487" y="314"/>
                      </a:cubicBezTo>
                      <a:cubicBezTo>
                        <a:pt x="1659" y="302"/>
                        <a:pt x="1865" y="411"/>
                        <a:pt x="1959" y="562"/>
                      </a:cubicBezTo>
                      <a:cubicBezTo>
                        <a:pt x="2000" y="627"/>
                        <a:pt x="2037" y="738"/>
                        <a:pt x="2037" y="794"/>
                      </a:cubicBezTo>
                      <a:cubicBezTo>
                        <a:pt x="2037" y="838"/>
                        <a:pt x="2044" y="849"/>
                        <a:pt x="2098" y="885"/>
                      </a:cubicBezTo>
                      <a:cubicBezTo>
                        <a:pt x="2170" y="935"/>
                        <a:pt x="2243" y="1041"/>
                        <a:pt x="2265" y="1128"/>
                      </a:cubicBezTo>
                      <a:cubicBezTo>
                        <a:pt x="2287" y="1219"/>
                        <a:pt x="2276" y="1359"/>
                        <a:pt x="2240" y="1432"/>
                      </a:cubicBezTo>
                      <a:cubicBezTo>
                        <a:pt x="2200" y="1516"/>
                        <a:pt x="2111" y="1602"/>
                        <a:pt x="2024" y="1644"/>
                      </a:cubicBezTo>
                      <a:lnTo>
                        <a:pt x="1950" y="1678"/>
                      </a:lnTo>
                      <a:lnTo>
                        <a:pt x="1190" y="1680"/>
                      </a:lnTo>
                      <a:cubicBezTo>
                        <a:pt x="646" y="1682"/>
                        <a:pt x="417" y="1678"/>
                        <a:pt x="383" y="1667"/>
                      </a:cubicBezTo>
                      <a:close/>
                      <a:moveTo>
                        <a:pt x="1918" y="1517"/>
                      </a:moveTo>
                      <a:cubicBezTo>
                        <a:pt x="2038" y="1481"/>
                        <a:pt x="2130" y="1364"/>
                        <a:pt x="2130" y="1245"/>
                      </a:cubicBezTo>
                      <a:cubicBezTo>
                        <a:pt x="2130" y="1131"/>
                        <a:pt x="2038" y="1005"/>
                        <a:pt x="1932" y="973"/>
                      </a:cubicBezTo>
                      <a:cubicBezTo>
                        <a:pt x="1884" y="959"/>
                        <a:pt x="1871" y="949"/>
                        <a:pt x="1875" y="930"/>
                      </a:cubicBezTo>
                      <a:cubicBezTo>
                        <a:pt x="1907" y="744"/>
                        <a:pt x="1828" y="581"/>
                        <a:pt x="1668" y="506"/>
                      </a:cubicBezTo>
                      <a:cubicBezTo>
                        <a:pt x="1603" y="475"/>
                        <a:pt x="1579" y="470"/>
                        <a:pt x="1498" y="475"/>
                      </a:cubicBezTo>
                      <a:cubicBezTo>
                        <a:pt x="1446" y="477"/>
                        <a:pt x="1394" y="484"/>
                        <a:pt x="1382" y="490"/>
                      </a:cubicBezTo>
                      <a:cubicBezTo>
                        <a:pt x="1366" y="497"/>
                        <a:pt x="1352" y="485"/>
                        <a:pt x="1325" y="440"/>
                      </a:cubicBezTo>
                      <a:cubicBezTo>
                        <a:pt x="1289" y="378"/>
                        <a:pt x="1208" y="304"/>
                        <a:pt x="1137" y="268"/>
                      </a:cubicBezTo>
                      <a:cubicBezTo>
                        <a:pt x="1115" y="257"/>
                        <a:pt x="1060" y="240"/>
                        <a:pt x="1015" y="231"/>
                      </a:cubicBezTo>
                      <a:cubicBezTo>
                        <a:pt x="826" y="194"/>
                        <a:pt x="628" y="298"/>
                        <a:pt x="529" y="486"/>
                      </a:cubicBezTo>
                      <a:cubicBezTo>
                        <a:pt x="503" y="535"/>
                        <a:pt x="498" y="566"/>
                        <a:pt x="497" y="669"/>
                      </a:cubicBezTo>
                      <a:cubicBezTo>
                        <a:pt x="497" y="790"/>
                        <a:pt x="496" y="793"/>
                        <a:pt x="464" y="799"/>
                      </a:cubicBezTo>
                      <a:cubicBezTo>
                        <a:pt x="404" y="811"/>
                        <a:pt x="290" y="874"/>
                        <a:pt x="256" y="915"/>
                      </a:cubicBezTo>
                      <a:cubicBezTo>
                        <a:pt x="188" y="997"/>
                        <a:pt x="165" y="1058"/>
                        <a:pt x="165" y="1165"/>
                      </a:cubicBezTo>
                      <a:cubicBezTo>
                        <a:pt x="165" y="1302"/>
                        <a:pt x="203" y="1374"/>
                        <a:pt x="324" y="1466"/>
                      </a:cubicBezTo>
                      <a:cubicBezTo>
                        <a:pt x="411" y="1532"/>
                        <a:pt x="456" y="1536"/>
                        <a:pt x="1178" y="1537"/>
                      </a:cubicBezTo>
                      <a:cubicBezTo>
                        <a:pt x="1754" y="1538"/>
                        <a:pt x="1856" y="1535"/>
                        <a:pt x="1918" y="1517"/>
                      </a:cubicBez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mn-lt"/>
                    <a:ea typeface="楷体" panose="02010609060101010101" pitchFamily="49" charset="-122"/>
                  </a:endParaRPr>
                </a:p>
              </p:txBody>
            </p:sp>
            <p:sp>
              <p:nvSpPr>
                <p:cNvPr id="108" name="TextBox 107"/>
                <p:cNvSpPr txBox="1"/>
                <p:nvPr/>
              </p:nvSpPr>
              <p:spPr bwMode="gray">
                <a:xfrm>
                  <a:off x="4142879" y="4952780"/>
                  <a:ext cx="543031" cy="161583"/>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None/>
                  </a:pPr>
                  <a:r>
                    <a:rPr lang="zh-CN" sz="1050" dirty="0">
                      <a:ea typeface="楷体" panose="02010609060101010101" pitchFamily="49" charset="-122"/>
                      <a:cs typeface="SimSun"/>
                    </a:rPr>
                    <a:t>世界</a:t>
                  </a:r>
                </a:p>
              </p:txBody>
            </p:sp>
            <p:sp>
              <p:nvSpPr>
                <p:cNvPr id="110" name="Rectangle 109"/>
                <p:cNvSpPr/>
                <p:nvPr/>
              </p:nvSpPr>
              <p:spPr>
                <a:xfrm>
                  <a:off x="4979065" y="4947858"/>
                  <a:ext cx="420027" cy="144827"/>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700" dirty="0">
                      <a:solidFill>
                        <a:schemeClr val="bg1"/>
                      </a:solidFill>
                      <a:ea typeface="楷体" panose="02010609060101010101" pitchFamily="49" charset="-122"/>
                      <a:cs typeface="SimSun"/>
                    </a:rPr>
                    <a:t>传感器</a:t>
                  </a:r>
                </a:p>
              </p:txBody>
            </p:sp>
            <p:sp>
              <p:nvSpPr>
                <p:cNvPr id="112" name="Rectangle 111"/>
                <p:cNvSpPr/>
                <p:nvPr/>
              </p:nvSpPr>
              <p:spPr>
                <a:xfrm>
                  <a:off x="4979065" y="5163099"/>
                  <a:ext cx="420027" cy="144827"/>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700" dirty="0">
                      <a:solidFill>
                        <a:schemeClr val="bg1"/>
                      </a:solidFill>
                      <a:ea typeface="楷体" panose="02010609060101010101" pitchFamily="49" charset="-122"/>
                      <a:cs typeface="SimSun"/>
                    </a:rPr>
                    <a:t>传感器</a:t>
                  </a:r>
                </a:p>
              </p:txBody>
            </p:sp>
            <p:sp>
              <p:nvSpPr>
                <p:cNvPr id="114" name="Rectangle 113"/>
                <p:cNvSpPr/>
                <p:nvPr/>
              </p:nvSpPr>
              <p:spPr>
                <a:xfrm>
                  <a:off x="4979065" y="4732617"/>
                  <a:ext cx="420027" cy="144827"/>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700" dirty="0">
                      <a:solidFill>
                        <a:schemeClr val="bg1"/>
                      </a:solidFill>
                      <a:ea typeface="楷体" panose="02010609060101010101" pitchFamily="49" charset="-122"/>
                      <a:cs typeface="SimSun"/>
                    </a:rPr>
                    <a:t>传感器</a:t>
                  </a:r>
                </a:p>
              </p:txBody>
            </p:sp>
            <p:sp>
              <p:nvSpPr>
                <p:cNvPr id="116" name="Rectangle 115"/>
                <p:cNvSpPr/>
                <p:nvPr/>
              </p:nvSpPr>
              <p:spPr>
                <a:xfrm>
                  <a:off x="4979065" y="5378339"/>
                  <a:ext cx="420027" cy="144827"/>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700" dirty="0">
                      <a:solidFill>
                        <a:schemeClr val="bg1"/>
                      </a:solidFill>
                      <a:ea typeface="楷体" panose="02010609060101010101" pitchFamily="49" charset="-122"/>
                      <a:cs typeface="SimSun"/>
                    </a:rPr>
                    <a:t>传感器</a:t>
                  </a:r>
                </a:p>
              </p:txBody>
            </p:sp>
            <p:sp>
              <p:nvSpPr>
                <p:cNvPr id="118" name="Rectangle 117"/>
                <p:cNvSpPr/>
                <p:nvPr/>
              </p:nvSpPr>
              <p:spPr>
                <a:xfrm>
                  <a:off x="6124596" y="4732617"/>
                  <a:ext cx="916424" cy="790548"/>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700" dirty="0">
                    <a:solidFill>
                      <a:schemeClr val="bg1"/>
                    </a:solidFill>
                    <a:ea typeface="楷体" panose="02010609060101010101" pitchFamily="49" charset="-122"/>
                  </a:endParaRPr>
                </a:p>
              </p:txBody>
            </p:sp>
            <p:sp>
              <p:nvSpPr>
                <p:cNvPr id="120" name="Rectangle 119"/>
                <p:cNvSpPr/>
                <p:nvPr/>
              </p:nvSpPr>
              <p:spPr>
                <a:xfrm>
                  <a:off x="6214194" y="4884458"/>
                  <a:ext cx="737225" cy="486868"/>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700" dirty="0">
                      <a:solidFill>
                        <a:schemeClr val="tx1"/>
                      </a:solidFill>
                      <a:ea typeface="楷体" panose="02010609060101010101" pitchFamily="49" charset="-122"/>
                      <a:cs typeface="SimSun"/>
                    </a:rPr>
                    <a:t>神经网络</a:t>
                  </a:r>
                </a:p>
              </p:txBody>
            </p:sp>
            <p:sp>
              <p:nvSpPr>
                <p:cNvPr id="122" name="Right Arrow 121"/>
                <p:cNvSpPr/>
                <p:nvPr/>
              </p:nvSpPr>
              <p:spPr>
                <a:xfrm>
                  <a:off x="7158346" y="4915112"/>
                  <a:ext cx="897333" cy="425559"/>
                </a:xfrm>
                <a:prstGeom prst="rightArrow">
                  <a:avLst>
                    <a:gd name="adj1" fmla="val 50000"/>
                    <a:gd name="adj2" fmla="val 145951"/>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a typeface="楷体" panose="02010609060101010101" pitchFamily="49" charset="-122"/>
                  </a:endParaRPr>
                </a:p>
              </p:txBody>
            </p:sp>
            <p:sp>
              <p:nvSpPr>
                <p:cNvPr id="125" name="TextBox 124"/>
                <p:cNvSpPr txBox="1"/>
                <p:nvPr/>
              </p:nvSpPr>
              <p:spPr bwMode="gray">
                <a:xfrm>
                  <a:off x="7177440" y="5078237"/>
                  <a:ext cx="690093" cy="107722"/>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None/>
                  </a:pPr>
                  <a:r>
                    <a:rPr lang="zh-CN" sz="700" dirty="0">
                      <a:solidFill>
                        <a:schemeClr val="bg1"/>
                      </a:solidFill>
                      <a:ea typeface="楷体" panose="02010609060101010101" pitchFamily="49" charset="-122"/>
                      <a:cs typeface="SimSun"/>
                    </a:rPr>
                    <a:t>分类</a:t>
                  </a:r>
                </a:p>
              </p:txBody>
            </p:sp>
            <p:cxnSp>
              <p:nvCxnSpPr>
                <p:cNvPr id="127" name="Straight Arrow Connector 126"/>
                <p:cNvCxnSpPr>
                  <a:stCxn id="114" idx="3"/>
                </p:cNvCxnSpPr>
                <p:nvPr/>
              </p:nvCxnSpPr>
              <p:spPr>
                <a:xfrm>
                  <a:off x="5399092" y="4805031"/>
                  <a:ext cx="725504"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p:nvPr/>
              </p:nvCxnSpPr>
              <p:spPr>
                <a:xfrm>
                  <a:off x="5399092" y="4960981"/>
                  <a:ext cx="725504"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p:nvPr/>
              </p:nvCxnSpPr>
              <p:spPr>
                <a:xfrm>
                  <a:off x="5399092" y="5205867"/>
                  <a:ext cx="725504"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p:nvPr/>
              </p:nvCxnSpPr>
              <p:spPr>
                <a:xfrm>
                  <a:off x="5399092" y="5450752"/>
                  <a:ext cx="725504"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35" name="TextBox 134"/>
                <p:cNvSpPr txBox="1"/>
                <p:nvPr/>
              </p:nvSpPr>
              <p:spPr bwMode="gray">
                <a:xfrm>
                  <a:off x="5599561" y="4478949"/>
                  <a:ext cx="725504" cy="161583"/>
                </a:xfrm>
                <a:prstGeom prst="rect">
                  <a:avLst/>
                </a:prstGeom>
                <a:ln w="12700">
                  <a:solidFill>
                    <a:schemeClr val="accent4"/>
                  </a:solidFill>
                </a:ln>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None/>
                  </a:pPr>
                  <a:r>
                    <a:rPr lang="zh-CN" sz="1050" dirty="0">
                      <a:ea typeface="楷体" panose="02010609060101010101" pitchFamily="49" charset="-122"/>
                      <a:cs typeface="SimSun"/>
                    </a:rPr>
                    <a:t>特征</a:t>
                  </a:r>
                </a:p>
              </p:txBody>
            </p:sp>
            <p:cxnSp>
              <p:nvCxnSpPr>
                <p:cNvPr id="138" name="Straight Arrow Connector 137"/>
                <p:cNvCxnSpPr/>
                <p:nvPr/>
              </p:nvCxnSpPr>
              <p:spPr>
                <a:xfrm>
                  <a:off x="5761844" y="4644467"/>
                  <a:ext cx="0" cy="161549"/>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39" name="TextBox 138"/>
                <p:cNvSpPr txBox="1"/>
                <p:nvPr/>
              </p:nvSpPr>
              <p:spPr bwMode="gray">
                <a:xfrm>
                  <a:off x="7644277" y="4430583"/>
                  <a:ext cx="454504" cy="161583"/>
                </a:xfrm>
                <a:prstGeom prst="rect">
                  <a:avLst/>
                </a:prstGeom>
                <a:ln w="12700">
                  <a:noFill/>
                </a:ln>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None/>
                  </a:pPr>
                  <a:r>
                    <a:rPr lang="zh-CN" sz="1050" dirty="0">
                      <a:solidFill>
                        <a:schemeClr val="accent2"/>
                      </a:solidFill>
                      <a:ea typeface="楷体" panose="02010609060101010101" pitchFamily="49" charset="-122"/>
                      <a:cs typeface="SimSun"/>
                    </a:rPr>
                    <a:t>任务</a:t>
                  </a:r>
                </a:p>
              </p:txBody>
            </p:sp>
            <p:sp>
              <p:nvSpPr>
                <p:cNvPr id="140" name="Freeform 139"/>
                <p:cNvSpPr/>
                <p:nvPr/>
              </p:nvSpPr>
              <p:spPr>
                <a:xfrm>
                  <a:off x="5074524" y="5522360"/>
                  <a:ext cx="1498736" cy="491748"/>
                </a:xfrm>
                <a:custGeom>
                  <a:avLst/>
                  <a:gdLst>
                    <a:gd name="connsiteX0" fmla="*/ 1176728 w 1176728"/>
                    <a:gd name="connsiteY0" fmla="*/ 0 h 457200"/>
                    <a:gd name="connsiteX1" fmla="*/ 1176728 w 1176728"/>
                    <a:gd name="connsiteY1" fmla="*/ 457200 h 457200"/>
                    <a:gd name="connsiteX2" fmla="*/ 0 w 1176728"/>
                    <a:gd name="connsiteY2" fmla="*/ 457200 h 457200"/>
                  </a:gdLst>
                  <a:ahLst/>
                  <a:cxnLst>
                    <a:cxn ang="0">
                      <a:pos x="connsiteX0" y="connsiteY0"/>
                    </a:cxn>
                    <a:cxn ang="0">
                      <a:pos x="connsiteX1" y="connsiteY1"/>
                    </a:cxn>
                    <a:cxn ang="0">
                      <a:pos x="connsiteX2" y="connsiteY2"/>
                    </a:cxn>
                  </a:cxnLst>
                  <a:rect l="l" t="t" r="r" b="b"/>
                  <a:pathLst>
                    <a:path w="1176728" h="457200">
                      <a:moveTo>
                        <a:pt x="1176728" y="0"/>
                      </a:moveTo>
                      <a:lnTo>
                        <a:pt x="1176728" y="457200"/>
                      </a:lnTo>
                      <a:lnTo>
                        <a:pt x="0" y="457200"/>
                      </a:lnTo>
                    </a:path>
                  </a:pathLst>
                </a:custGeom>
                <a:noFill/>
                <a:ln w="28575">
                  <a:solidFill>
                    <a:schemeClr val="accent4"/>
                  </a:solidFill>
                  <a:head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ea typeface="楷体" panose="02010609060101010101" pitchFamily="49" charset="-122"/>
                  </a:endParaRPr>
                </a:p>
              </p:txBody>
            </p:sp>
            <p:sp>
              <p:nvSpPr>
                <p:cNvPr id="141" name="TextBox 140"/>
                <p:cNvSpPr txBox="1"/>
                <p:nvPr/>
              </p:nvSpPr>
              <p:spPr bwMode="gray">
                <a:xfrm>
                  <a:off x="5449597" y="5842251"/>
                  <a:ext cx="690093" cy="12311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None/>
                  </a:pPr>
                  <a:r>
                    <a:rPr lang="zh-CN" sz="800" dirty="0">
                      <a:solidFill>
                        <a:schemeClr val="tx2"/>
                      </a:solidFill>
                      <a:ea typeface="楷体" panose="02010609060101010101" pitchFamily="49" charset="-122"/>
                      <a:cs typeface="SimSun"/>
                    </a:rPr>
                    <a:t>培训数据</a:t>
                  </a:r>
                </a:p>
              </p:txBody>
            </p:sp>
          </p:grpSp>
        </p:grpSp>
      </p:grpSp>
      <p:sp>
        <p:nvSpPr>
          <p:cNvPr id="348" name="Slide Number"/>
          <p:cNvSpPr txBox="1">
            <a:spLocks/>
          </p:cNvSpPr>
          <p:nvPr/>
        </p:nvSpPr>
        <p:spPr bwMode="auto">
          <a:xfrm>
            <a:off x="8564563" y="6508272"/>
            <a:ext cx="57708"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r>
              <a:rPr lang="zh-CN" sz="800" baseline="0" dirty="0">
                <a:solidFill>
                  <a:schemeClr val="bg1"/>
                </a:solidFill>
                <a:ea typeface="楷体" panose="02010609060101010101" pitchFamily="49" charset="-122"/>
                <a:cs typeface="SimSun"/>
              </a:rPr>
              <a:t>5</a:t>
            </a:r>
          </a:p>
        </p:txBody>
      </p:sp>
      <p:sp>
        <p:nvSpPr>
          <p:cNvPr id="349" name="SlideLogoText"/>
          <p:cNvSpPr>
            <a:spLocks noChangeArrowheads="1"/>
          </p:cNvSpPr>
          <p:nvPr>
            <p:custDataLst>
              <p:tags r:id="rId1"/>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zh-CN" sz="800" baseline="0" dirty="0">
                <a:solidFill>
                  <a:schemeClr val="bg1"/>
                </a:solidFill>
                <a:latin typeface="+mn-lt"/>
                <a:ea typeface="楷体" panose="02010609060101010101" pitchFamily="49" charset="-122"/>
                <a:cs typeface="SimSun"/>
              </a:rPr>
              <a:t>McKinsey &amp; Company</a:t>
            </a:r>
          </a:p>
        </p:txBody>
      </p:sp>
    </p:spTree>
    <p:extLst>
      <p:ext uri="{BB962C8B-B14F-4D97-AF65-F5344CB8AC3E}">
        <p14:creationId xmlns:p14="http://schemas.microsoft.com/office/powerpoint/2010/main" val="38216792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930868"/>
            <a:ext cx="8956360" cy="1480540"/>
          </a:xfrm>
          <a:prstGeom prst="rect">
            <a:avLst/>
          </a:prstGeom>
          <a:blipFill>
            <a:blip r:embed="rId2"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3" name="object 3"/>
          <p:cNvSpPr/>
          <p:nvPr/>
        </p:nvSpPr>
        <p:spPr>
          <a:xfrm>
            <a:off x="1" y="923251"/>
            <a:ext cx="8956995" cy="15232"/>
          </a:xfrm>
          <a:custGeom>
            <a:avLst/>
            <a:gdLst/>
            <a:ahLst/>
            <a:cxnLst/>
            <a:rect l="l" t="t" r="r" b="b"/>
            <a:pathLst>
              <a:path w="8961755" h="15240">
                <a:moveTo>
                  <a:pt x="0" y="15240"/>
                </a:moveTo>
                <a:lnTo>
                  <a:pt x="8961501" y="15240"/>
                </a:lnTo>
                <a:lnTo>
                  <a:pt x="8961501" y="0"/>
                </a:lnTo>
                <a:lnTo>
                  <a:pt x="0" y="0"/>
                </a:lnTo>
                <a:lnTo>
                  <a:pt x="0" y="15240"/>
                </a:lnTo>
                <a:close/>
              </a:path>
            </a:pathLst>
          </a:custGeom>
          <a:solidFill>
            <a:srgbClr val="0064BC"/>
          </a:solidFill>
        </p:spPr>
        <p:txBody>
          <a:bodyPr wrap="square" lIns="0" tIns="0" rIns="0" bIns="0" rtlCol="0"/>
          <a:lstStyle/>
          <a:p>
            <a:endParaRPr sz="1599">
              <a:latin typeface="+mn-lt"/>
              <a:ea typeface="楷体" panose="02010609060101010101" pitchFamily="49" charset="-122"/>
            </a:endParaRPr>
          </a:p>
        </p:txBody>
      </p:sp>
      <p:sp>
        <p:nvSpPr>
          <p:cNvPr id="6" name="object 6"/>
          <p:cNvSpPr txBox="1">
            <a:spLocks noGrp="1"/>
          </p:cNvSpPr>
          <p:nvPr>
            <p:ph type="title"/>
          </p:nvPr>
        </p:nvSpPr>
        <p:spPr>
          <a:xfrm>
            <a:off x="106420" y="210145"/>
            <a:ext cx="3328806" cy="320465"/>
          </a:xfrm>
          <a:prstGeom prst="rect">
            <a:avLst/>
          </a:prstGeom>
        </p:spPr>
        <p:txBody>
          <a:bodyPr vert="horz" wrap="square" lIns="0" tIns="12693" rIns="0" bIns="0" numCol="1" rtlCol="0" anchor="t" anchorCtr="0" compatLnSpc="1">
            <a:prstTxWarp prst="textNoShape">
              <a:avLst/>
            </a:prstTxWarp>
            <a:spAutoFit/>
          </a:bodyPr>
          <a:lstStyle/>
          <a:p>
            <a:pPr marL="12694">
              <a:spcBef>
                <a:spcPts val="100"/>
              </a:spcBef>
            </a:pPr>
            <a:r>
              <a:rPr lang="zh-CN" dirty="0">
                <a:latin typeface="+mn-lt"/>
                <a:ea typeface="楷体" panose="02010609060101010101" pitchFamily="49" charset="-122"/>
                <a:cs typeface="SimSun"/>
              </a:rPr>
              <a:t>Adaboost (adaptive boosting)</a:t>
            </a:r>
          </a:p>
        </p:txBody>
      </p:sp>
      <p:sp>
        <p:nvSpPr>
          <p:cNvPr id="7" name="object 7"/>
          <p:cNvSpPr/>
          <p:nvPr/>
        </p:nvSpPr>
        <p:spPr>
          <a:xfrm>
            <a:off x="248279" y="2554588"/>
            <a:ext cx="8461323" cy="0"/>
          </a:xfrm>
          <a:custGeom>
            <a:avLst/>
            <a:gdLst/>
            <a:ahLst/>
            <a:cxnLst/>
            <a:rect l="l" t="t" r="r" b="b"/>
            <a:pathLst>
              <a:path w="8465820">
                <a:moveTo>
                  <a:pt x="0" y="0"/>
                </a:moveTo>
                <a:lnTo>
                  <a:pt x="8465820" y="0"/>
                </a:lnTo>
              </a:path>
            </a:pathLst>
          </a:custGeom>
          <a:ln w="6096">
            <a:solidFill>
              <a:srgbClr val="808080"/>
            </a:solidFill>
            <a:prstDash val="sysDot"/>
          </a:ln>
        </p:spPr>
        <p:txBody>
          <a:bodyPr wrap="square" lIns="0" tIns="0" rIns="0" bIns="0" rtlCol="0"/>
          <a:lstStyle/>
          <a:p>
            <a:endParaRPr sz="1599">
              <a:latin typeface="+mn-lt"/>
              <a:ea typeface="楷体" panose="02010609060101010101" pitchFamily="49" charset="-122"/>
            </a:endParaRPr>
          </a:p>
        </p:txBody>
      </p:sp>
      <p:sp>
        <p:nvSpPr>
          <p:cNvPr id="8" name="object 8"/>
          <p:cNvSpPr/>
          <p:nvPr/>
        </p:nvSpPr>
        <p:spPr>
          <a:xfrm>
            <a:off x="248279" y="4234668"/>
            <a:ext cx="8461323" cy="0"/>
          </a:xfrm>
          <a:custGeom>
            <a:avLst/>
            <a:gdLst/>
            <a:ahLst/>
            <a:cxnLst/>
            <a:rect l="l" t="t" r="r" b="b"/>
            <a:pathLst>
              <a:path w="8465820">
                <a:moveTo>
                  <a:pt x="0" y="0"/>
                </a:moveTo>
                <a:lnTo>
                  <a:pt x="8465820" y="0"/>
                </a:lnTo>
              </a:path>
            </a:pathLst>
          </a:custGeom>
          <a:ln w="6096">
            <a:solidFill>
              <a:srgbClr val="808080"/>
            </a:solidFill>
            <a:prstDash val="sysDot"/>
          </a:ln>
        </p:spPr>
        <p:txBody>
          <a:bodyPr wrap="square" lIns="0" tIns="0" rIns="0" bIns="0" rtlCol="0"/>
          <a:lstStyle/>
          <a:p>
            <a:endParaRPr sz="1599">
              <a:latin typeface="+mn-lt"/>
              <a:ea typeface="楷体" panose="02010609060101010101" pitchFamily="49" charset="-122"/>
            </a:endParaRPr>
          </a:p>
        </p:txBody>
      </p:sp>
      <p:sp>
        <p:nvSpPr>
          <p:cNvPr id="9" name="object 9"/>
          <p:cNvSpPr txBox="1"/>
          <p:nvPr/>
        </p:nvSpPr>
        <p:spPr>
          <a:xfrm>
            <a:off x="1616486" y="1060720"/>
            <a:ext cx="6703942" cy="853048"/>
          </a:xfrm>
          <a:prstGeom prst="rect">
            <a:avLst/>
          </a:prstGeom>
        </p:spPr>
        <p:txBody>
          <a:bodyPr vert="horz" wrap="square" lIns="0" tIns="12059" rIns="0" bIns="0" rtlCol="0">
            <a:spAutoFit/>
          </a:bodyPr>
          <a:lstStyle/>
          <a:p>
            <a:pPr marL="12694">
              <a:spcBef>
                <a:spcPts val="95"/>
              </a:spcBef>
            </a:pPr>
            <a:r>
              <a:rPr lang="zh-CN" sz="1599" b="1" i="1" spc="-5" dirty="0">
                <a:solidFill>
                  <a:srgbClr val="F17E00"/>
                </a:solidFill>
                <a:latin typeface="+mn-lt"/>
                <a:ea typeface="楷体" panose="02010609060101010101" pitchFamily="49" charset="-122"/>
                <a:cs typeface="SimSun"/>
              </a:rPr>
              <a:t>是什么？</a:t>
            </a:r>
            <a:endParaRPr lang="zh-CN" sz="1599" dirty="0">
              <a:latin typeface="+mn-lt"/>
              <a:ea typeface="楷体" panose="02010609060101010101" pitchFamily="49" charset="-122"/>
              <a:cs typeface="SimSun"/>
            </a:endParaRPr>
          </a:p>
          <a:p>
            <a:pPr marL="206272" marR="5077" indent="-192309">
              <a:spcBef>
                <a:spcPts val="385"/>
              </a:spcBef>
              <a:buClr>
                <a:srgbClr val="00295F"/>
              </a:buClr>
              <a:buSzPct val="125000"/>
              <a:buChar char="▪"/>
              <a:tabLst>
                <a:tab pos="206906" algn="l"/>
              </a:tabLst>
            </a:pPr>
            <a:r>
              <a:rPr lang="zh-CN" sz="1599" spc="-5" dirty="0">
                <a:latin typeface="+mn-lt"/>
                <a:ea typeface="楷体" panose="02010609060101010101" pitchFamily="49" charset="-122"/>
                <a:cs typeface="SimSun"/>
              </a:rPr>
              <a:t>二进制分类或回归机器学习算法</a:t>
            </a:r>
          </a:p>
          <a:p>
            <a:pPr marL="206272" marR="5077" indent="-192309">
              <a:spcBef>
                <a:spcPts val="385"/>
              </a:spcBef>
              <a:buClr>
                <a:srgbClr val="00295F"/>
              </a:buClr>
              <a:buSzPct val="125000"/>
              <a:buChar char="▪"/>
              <a:tabLst>
                <a:tab pos="206906" algn="l"/>
              </a:tabLst>
            </a:pPr>
            <a:r>
              <a:rPr lang="zh-CN" sz="1599" spc="-5" dirty="0">
                <a:latin typeface="+mn-lt"/>
                <a:ea typeface="楷体" panose="02010609060101010101" pitchFamily="49" charset="-122"/>
                <a:cs typeface="SimSun"/>
              </a:rPr>
              <a:t>主要通过一个超平面分离数据。超平面的选择是基于两个类别的最大间隔</a:t>
            </a:r>
            <a:endParaRPr lang="zh-CN" sz="1599" dirty="0">
              <a:latin typeface="+mn-lt"/>
              <a:ea typeface="楷体" panose="02010609060101010101" pitchFamily="49" charset="-122"/>
              <a:cs typeface="SimSun"/>
            </a:endParaRPr>
          </a:p>
        </p:txBody>
      </p:sp>
      <p:sp>
        <p:nvSpPr>
          <p:cNvPr id="10" name="object 10"/>
          <p:cNvSpPr/>
          <p:nvPr/>
        </p:nvSpPr>
        <p:spPr>
          <a:xfrm>
            <a:off x="693051" y="1409149"/>
            <a:ext cx="394760" cy="761595"/>
          </a:xfrm>
          <a:custGeom>
            <a:avLst/>
            <a:gdLst/>
            <a:ahLst/>
            <a:cxnLst/>
            <a:rect l="l" t="t" r="r" b="b"/>
            <a:pathLst>
              <a:path w="394969" h="762000">
                <a:moveTo>
                  <a:pt x="0" y="762000"/>
                </a:moveTo>
                <a:lnTo>
                  <a:pt x="394716" y="762000"/>
                </a:lnTo>
                <a:lnTo>
                  <a:pt x="394716" y="0"/>
                </a:lnTo>
                <a:lnTo>
                  <a:pt x="0" y="0"/>
                </a:lnTo>
                <a:lnTo>
                  <a:pt x="0" y="762000"/>
                </a:lnTo>
                <a:close/>
              </a:path>
            </a:pathLst>
          </a:custGeom>
          <a:ln w="64008">
            <a:solidFill>
              <a:srgbClr val="FFFFFF"/>
            </a:solidFill>
            <a:prstDash val="lgDash"/>
          </a:ln>
        </p:spPr>
        <p:txBody>
          <a:bodyPr wrap="square" lIns="0" tIns="0" rIns="0" bIns="0" rtlCol="0"/>
          <a:lstStyle/>
          <a:p>
            <a:endParaRPr sz="1599">
              <a:latin typeface="+mn-lt"/>
              <a:ea typeface="楷体" panose="02010609060101010101" pitchFamily="49" charset="-122"/>
            </a:endParaRPr>
          </a:p>
        </p:txBody>
      </p:sp>
      <p:sp>
        <p:nvSpPr>
          <p:cNvPr id="11" name="object 11"/>
          <p:cNvSpPr txBox="1"/>
          <p:nvPr/>
        </p:nvSpPr>
        <p:spPr>
          <a:xfrm>
            <a:off x="1616486" y="2636334"/>
            <a:ext cx="5443502" cy="853048"/>
          </a:xfrm>
          <a:prstGeom prst="rect">
            <a:avLst/>
          </a:prstGeom>
        </p:spPr>
        <p:txBody>
          <a:bodyPr vert="horz" wrap="square" lIns="0" tIns="12059" rIns="0" bIns="0" rtlCol="0">
            <a:spAutoFit/>
          </a:bodyPr>
          <a:lstStyle/>
          <a:p>
            <a:pPr marL="12694">
              <a:spcBef>
                <a:spcPts val="95"/>
              </a:spcBef>
            </a:pPr>
            <a:r>
              <a:rPr lang="zh-CN" sz="1599" b="1" i="1" spc="-5" dirty="0">
                <a:solidFill>
                  <a:srgbClr val="F17E00"/>
                </a:solidFill>
                <a:latin typeface="+mn-lt"/>
                <a:ea typeface="楷体" panose="02010609060101010101" pitchFamily="49" charset="-122"/>
                <a:cs typeface="SimSun"/>
              </a:rPr>
              <a:t>为什么使用？</a:t>
            </a:r>
            <a:endParaRPr lang="zh-CN" sz="1599" dirty="0">
              <a:latin typeface="+mn-lt"/>
              <a:ea typeface="楷体" panose="02010609060101010101" pitchFamily="49" charset="-122"/>
              <a:cs typeface="SimSun"/>
            </a:endParaRPr>
          </a:p>
          <a:p>
            <a:pPr marL="206272" indent="-192309">
              <a:spcBef>
                <a:spcPts val="385"/>
              </a:spcBef>
              <a:buClr>
                <a:srgbClr val="00295F"/>
              </a:buClr>
              <a:buSzPct val="125000"/>
              <a:buChar char="▪"/>
              <a:tabLst>
                <a:tab pos="206906" algn="l"/>
              </a:tabLst>
            </a:pPr>
            <a:r>
              <a:rPr lang="zh-CN" sz="1599" spc="-5" dirty="0">
                <a:latin typeface="+mn-lt"/>
                <a:ea typeface="楷体" panose="02010609060101010101" pitchFamily="49" charset="-122"/>
                <a:cs typeface="SimSun"/>
              </a:rPr>
              <a:t>易于可视化呈现</a:t>
            </a:r>
          </a:p>
          <a:p>
            <a:pPr marL="206272" indent="-192309">
              <a:spcBef>
                <a:spcPts val="385"/>
              </a:spcBef>
              <a:buClr>
                <a:srgbClr val="00295F"/>
              </a:buClr>
              <a:buSzPct val="125000"/>
              <a:buChar char="▪"/>
              <a:tabLst>
                <a:tab pos="206906" algn="l"/>
              </a:tabLst>
            </a:pPr>
            <a:r>
              <a:rPr lang="zh-CN" sz="1599" spc="-5" dirty="0">
                <a:latin typeface="+mn-lt"/>
                <a:ea typeface="楷体" panose="02010609060101010101" pitchFamily="49" charset="-122"/>
                <a:cs typeface="SimSun"/>
              </a:rPr>
              <a:t>在人工神经网络广泛使用之前是性能最佳的模型</a:t>
            </a:r>
            <a:endParaRPr lang="zh-CN" sz="1599" dirty="0">
              <a:latin typeface="+mn-lt"/>
              <a:ea typeface="楷体" panose="02010609060101010101" pitchFamily="49" charset="-122"/>
              <a:cs typeface="SimSun"/>
            </a:endParaRPr>
          </a:p>
        </p:txBody>
      </p:sp>
      <p:sp>
        <p:nvSpPr>
          <p:cNvPr id="12" name="object 12"/>
          <p:cNvSpPr/>
          <p:nvPr/>
        </p:nvSpPr>
        <p:spPr>
          <a:xfrm>
            <a:off x="271128" y="2863796"/>
            <a:ext cx="1238354" cy="1244447"/>
          </a:xfrm>
          <a:prstGeom prst="rect">
            <a:avLst/>
          </a:prstGeom>
          <a:blipFill>
            <a:blip r:embed="rId3"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13" name="object 13"/>
          <p:cNvSpPr txBox="1"/>
          <p:nvPr/>
        </p:nvSpPr>
        <p:spPr>
          <a:xfrm>
            <a:off x="613034" y="2873646"/>
            <a:ext cx="555330" cy="1168414"/>
          </a:xfrm>
          <a:prstGeom prst="rect">
            <a:avLst/>
          </a:prstGeom>
        </p:spPr>
        <p:txBody>
          <a:bodyPr vert="horz" wrap="square" lIns="0" tIns="12693" rIns="0" bIns="0" rtlCol="0">
            <a:spAutoFit/>
          </a:bodyPr>
          <a:lstStyle/>
          <a:p>
            <a:pPr marL="12694">
              <a:spcBef>
                <a:spcPts val="100"/>
              </a:spcBef>
            </a:pPr>
            <a:r>
              <a:rPr lang="zh-CN" sz="7496" dirty="0">
                <a:solidFill>
                  <a:srgbClr val="FFFFFF"/>
                </a:solidFill>
                <a:latin typeface="+mn-lt"/>
                <a:ea typeface="楷体" panose="02010609060101010101" pitchFamily="49" charset="-122"/>
                <a:cs typeface="SimSun"/>
              </a:rPr>
              <a:t>？</a:t>
            </a:r>
            <a:endParaRPr lang="zh-CN" sz="7496">
              <a:latin typeface="+mn-lt"/>
              <a:ea typeface="楷体" panose="02010609060101010101" pitchFamily="49" charset="-122"/>
              <a:cs typeface="SimSun"/>
            </a:endParaRPr>
          </a:p>
        </p:txBody>
      </p:sp>
      <p:sp>
        <p:nvSpPr>
          <p:cNvPr id="14" name="object 14"/>
          <p:cNvSpPr txBox="1"/>
          <p:nvPr/>
        </p:nvSpPr>
        <p:spPr>
          <a:xfrm>
            <a:off x="1616485" y="4316666"/>
            <a:ext cx="7122185" cy="1396530"/>
          </a:xfrm>
          <a:prstGeom prst="rect">
            <a:avLst/>
          </a:prstGeom>
        </p:spPr>
        <p:txBody>
          <a:bodyPr vert="horz" wrap="square" lIns="0" tIns="12059" rIns="0" bIns="0" rtlCol="0">
            <a:spAutoFit/>
          </a:bodyPr>
          <a:lstStyle/>
          <a:p>
            <a:pPr marL="12694">
              <a:spcBef>
                <a:spcPts val="95"/>
              </a:spcBef>
            </a:pPr>
            <a:r>
              <a:rPr lang="zh-CN" sz="1599" b="1" i="1" spc="-5" dirty="0">
                <a:solidFill>
                  <a:srgbClr val="F17E00"/>
                </a:solidFill>
                <a:latin typeface="+mn-lt"/>
                <a:ea typeface="楷体" panose="02010609060101010101" pitchFamily="49" charset="-122"/>
                <a:cs typeface="SimSun"/>
              </a:rPr>
              <a:t>什么情况下使用？</a:t>
            </a:r>
            <a:endParaRPr lang="zh-CN" sz="1599" dirty="0">
              <a:latin typeface="+mn-lt"/>
              <a:ea typeface="楷体" panose="02010609060101010101" pitchFamily="49" charset="-122"/>
              <a:cs typeface="SimSun"/>
            </a:endParaRPr>
          </a:p>
          <a:p>
            <a:pPr marL="206272" marR="5077" indent="-192309">
              <a:spcBef>
                <a:spcPts val="385"/>
              </a:spcBef>
              <a:buClr>
                <a:srgbClr val="00295F"/>
              </a:buClr>
              <a:buSzPct val="125000"/>
              <a:buChar char="▪"/>
              <a:tabLst>
                <a:tab pos="206906" algn="l"/>
              </a:tabLst>
            </a:pPr>
            <a:r>
              <a:rPr lang="zh-CN" sz="1599" spc="-5" dirty="0">
                <a:latin typeface="+mn-lt"/>
                <a:ea typeface="楷体" panose="02010609060101010101" pitchFamily="49" charset="-122"/>
                <a:cs typeface="SimSun"/>
              </a:rPr>
              <a:t>如果数据维度性较高，该技术能有效降低维度</a:t>
            </a:r>
          </a:p>
          <a:p>
            <a:pPr marL="206272" marR="5077" indent="-192309">
              <a:spcBef>
                <a:spcPts val="385"/>
              </a:spcBef>
              <a:buClr>
                <a:srgbClr val="00295F"/>
              </a:buClr>
              <a:buSzPct val="125000"/>
              <a:buChar char="▪"/>
              <a:tabLst>
                <a:tab pos="206906" algn="l"/>
              </a:tabLst>
            </a:pPr>
            <a:r>
              <a:rPr lang="zh-CN" sz="1599" spc="-10" dirty="0">
                <a:latin typeface="+mn-lt"/>
                <a:ea typeface="楷体" panose="02010609060101010101" pitchFamily="49" charset="-122"/>
                <a:cs typeface="SimSun"/>
              </a:rPr>
              <a:t>如果数据较为复杂，比如文本或图像数据，该技术可提供某些参数转变选项以适应数据，比如选择不同的核函数</a:t>
            </a:r>
          </a:p>
          <a:p>
            <a:pPr marL="206272" marR="5077" indent="-192309">
              <a:spcBef>
                <a:spcPts val="385"/>
              </a:spcBef>
              <a:buClr>
                <a:srgbClr val="00295F"/>
              </a:buClr>
              <a:buSzPct val="125000"/>
              <a:buChar char="▪"/>
              <a:tabLst>
                <a:tab pos="206906" algn="l"/>
              </a:tabLst>
            </a:pPr>
            <a:endParaRPr lang="zh-CN" sz="1599" dirty="0">
              <a:latin typeface="+mn-lt"/>
              <a:ea typeface="楷体" panose="02010609060101010101" pitchFamily="49" charset="-122"/>
              <a:cs typeface="SimSun"/>
            </a:endParaRPr>
          </a:p>
        </p:txBody>
      </p:sp>
      <p:sp>
        <p:nvSpPr>
          <p:cNvPr id="15" name="object 15"/>
          <p:cNvSpPr/>
          <p:nvPr/>
        </p:nvSpPr>
        <p:spPr>
          <a:xfrm>
            <a:off x="271128" y="4607849"/>
            <a:ext cx="1238354" cy="1244447"/>
          </a:xfrm>
          <a:prstGeom prst="rect">
            <a:avLst/>
          </a:prstGeom>
          <a:blipFill>
            <a:blip r:embed="rId4" cstate="print"/>
            <a:stretch>
              <a:fillRect/>
            </a:stretch>
          </a:blipFill>
        </p:spPr>
        <p:txBody>
          <a:bodyPr wrap="square" lIns="0" tIns="0" rIns="0" bIns="0" rtlCol="0"/>
          <a:lstStyle/>
          <a:p>
            <a:endParaRPr sz="1599">
              <a:latin typeface="+mn-lt"/>
              <a:ea typeface="楷体" panose="02010609060101010101" pitchFamily="49" charset="-122"/>
            </a:endParaRPr>
          </a:p>
        </p:txBody>
      </p:sp>
      <p:sp>
        <p:nvSpPr>
          <p:cNvPr id="16" name="object 16"/>
          <p:cNvSpPr/>
          <p:nvPr/>
        </p:nvSpPr>
        <p:spPr>
          <a:xfrm>
            <a:off x="470667" y="4810434"/>
            <a:ext cx="839659" cy="839659"/>
          </a:xfrm>
          <a:custGeom>
            <a:avLst/>
            <a:gdLst/>
            <a:ahLst/>
            <a:cxnLst/>
            <a:rect l="l" t="t" r="r" b="b"/>
            <a:pathLst>
              <a:path w="840105" h="840104">
                <a:moveTo>
                  <a:pt x="0" y="419862"/>
                </a:moveTo>
                <a:lnTo>
                  <a:pt x="2824" y="370893"/>
                </a:lnTo>
                <a:lnTo>
                  <a:pt x="11088" y="323585"/>
                </a:lnTo>
                <a:lnTo>
                  <a:pt x="24476" y="278252"/>
                </a:lnTo>
                <a:lnTo>
                  <a:pt x="42674" y="235209"/>
                </a:lnTo>
                <a:lnTo>
                  <a:pt x="65366" y="194770"/>
                </a:lnTo>
                <a:lnTo>
                  <a:pt x="92237" y="157251"/>
                </a:lnTo>
                <a:lnTo>
                  <a:pt x="122972" y="122967"/>
                </a:lnTo>
                <a:lnTo>
                  <a:pt x="157257" y="92233"/>
                </a:lnTo>
                <a:lnTo>
                  <a:pt x="194776" y="65362"/>
                </a:lnTo>
                <a:lnTo>
                  <a:pt x="235214" y="42672"/>
                </a:lnTo>
                <a:lnTo>
                  <a:pt x="278257" y="24475"/>
                </a:lnTo>
                <a:lnTo>
                  <a:pt x="323589" y="11087"/>
                </a:lnTo>
                <a:lnTo>
                  <a:pt x="370896" y="2824"/>
                </a:lnTo>
                <a:lnTo>
                  <a:pt x="419862" y="0"/>
                </a:lnTo>
                <a:lnTo>
                  <a:pt x="468827" y="2824"/>
                </a:lnTo>
                <a:lnTo>
                  <a:pt x="516134" y="11087"/>
                </a:lnTo>
                <a:lnTo>
                  <a:pt x="561466" y="24475"/>
                </a:lnTo>
                <a:lnTo>
                  <a:pt x="604509" y="42672"/>
                </a:lnTo>
                <a:lnTo>
                  <a:pt x="644947" y="65362"/>
                </a:lnTo>
                <a:lnTo>
                  <a:pt x="682466" y="92233"/>
                </a:lnTo>
                <a:lnTo>
                  <a:pt x="716751" y="122967"/>
                </a:lnTo>
                <a:lnTo>
                  <a:pt x="747486" y="157251"/>
                </a:lnTo>
                <a:lnTo>
                  <a:pt x="774357" y="194770"/>
                </a:lnTo>
                <a:lnTo>
                  <a:pt x="797049" y="235209"/>
                </a:lnTo>
                <a:lnTo>
                  <a:pt x="815247" y="278252"/>
                </a:lnTo>
                <a:lnTo>
                  <a:pt x="828635" y="323585"/>
                </a:lnTo>
                <a:lnTo>
                  <a:pt x="836899" y="370893"/>
                </a:lnTo>
                <a:lnTo>
                  <a:pt x="839724" y="419862"/>
                </a:lnTo>
                <a:lnTo>
                  <a:pt x="836899" y="468827"/>
                </a:lnTo>
                <a:lnTo>
                  <a:pt x="828635" y="516134"/>
                </a:lnTo>
                <a:lnTo>
                  <a:pt x="815247" y="561466"/>
                </a:lnTo>
                <a:lnTo>
                  <a:pt x="797049" y="604509"/>
                </a:lnTo>
                <a:lnTo>
                  <a:pt x="774357" y="644947"/>
                </a:lnTo>
                <a:lnTo>
                  <a:pt x="747486" y="682466"/>
                </a:lnTo>
                <a:lnTo>
                  <a:pt x="716751" y="716751"/>
                </a:lnTo>
                <a:lnTo>
                  <a:pt x="682466" y="747486"/>
                </a:lnTo>
                <a:lnTo>
                  <a:pt x="644947" y="774357"/>
                </a:lnTo>
                <a:lnTo>
                  <a:pt x="604509" y="797049"/>
                </a:lnTo>
                <a:lnTo>
                  <a:pt x="561466" y="815247"/>
                </a:lnTo>
                <a:lnTo>
                  <a:pt x="516134" y="828635"/>
                </a:lnTo>
                <a:lnTo>
                  <a:pt x="468827" y="836899"/>
                </a:lnTo>
                <a:lnTo>
                  <a:pt x="419862" y="839724"/>
                </a:lnTo>
                <a:lnTo>
                  <a:pt x="370896" y="836899"/>
                </a:lnTo>
                <a:lnTo>
                  <a:pt x="323589" y="828635"/>
                </a:lnTo>
                <a:lnTo>
                  <a:pt x="278257" y="815247"/>
                </a:lnTo>
                <a:lnTo>
                  <a:pt x="235214" y="797049"/>
                </a:lnTo>
                <a:lnTo>
                  <a:pt x="194776" y="774357"/>
                </a:lnTo>
                <a:lnTo>
                  <a:pt x="157257" y="747486"/>
                </a:lnTo>
                <a:lnTo>
                  <a:pt x="122972" y="716751"/>
                </a:lnTo>
                <a:lnTo>
                  <a:pt x="92237" y="682466"/>
                </a:lnTo>
                <a:lnTo>
                  <a:pt x="65366" y="644947"/>
                </a:lnTo>
                <a:lnTo>
                  <a:pt x="42674" y="604509"/>
                </a:lnTo>
                <a:lnTo>
                  <a:pt x="24476" y="561466"/>
                </a:lnTo>
                <a:lnTo>
                  <a:pt x="11088" y="516134"/>
                </a:lnTo>
                <a:lnTo>
                  <a:pt x="2824" y="468827"/>
                </a:lnTo>
                <a:lnTo>
                  <a:pt x="0" y="419862"/>
                </a:lnTo>
                <a:close/>
              </a:path>
            </a:pathLst>
          </a:custGeom>
          <a:ln w="64008">
            <a:solidFill>
              <a:srgbClr val="FFFFFF"/>
            </a:solidFill>
          </a:ln>
        </p:spPr>
        <p:txBody>
          <a:bodyPr wrap="square" lIns="0" tIns="0" rIns="0" bIns="0" rtlCol="0"/>
          <a:lstStyle/>
          <a:p>
            <a:endParaRPr sz="1599">
              <a:latin typeface="+mn-lt"/>
              <a:ea typeface="楷体" panose="02010609060101010101" pitchFamily="49" charset="-122"/>
            </a:endParaRPr>
          </a:p>
        </p:txBody>
      </p:sp>
      <p:sp>
        <p:nvSpPr>
          <p:cNvPr id="17" name="object 17"/>
          <p:cNvSpPr/>
          <p:nvPr/>
        </p:nvSpPr>
        <p:spPr>
          <a:xfrm>
            <a:off x="888019" y="5098317"/>
            <a:ext cx="133279" cy="144703"/>
          </a:xfrm>
          <a:custGeom>
            <a:avLst/>
            <a:gdLst/>
            <a:ahLst/>
            <a:cxnLst/>
            <a:rect l="l" t="t" r="r" b="b"/>
            <a:pathLst>
              <a:path w="133350" h="144779">
                <a:moveTo>
                  <a:pt x="133350" y="0"/>
                </a:moveTo>
                <a:lnTo>
                  <a:pt x="0" y="144399"/>
                </a:lnTo>
              </a:path>
            </a:pathLst>
          </a:custGeom>
          <a:ln w="64008">
            <a:solidFill>
              <a:srgbClr val="FFFFFF"/>
            </a:solidFill>
          </a:ln>
        </p:spPr>
        <p:txBody>
          <a:bodyPr wrap="square" lIns="0" tIns="0" rIns="0" bIns="0" rtlCol="0"/>
          <a:lstStyle/>
          <a:p>
            <a:endParaRPr sz="1599">
              <a:latin typeface="+mn-lt"/>
              <a:ea typeface="楷体" panose="02010609060101010101" pitchFamily="49" charset="-122"/>
            </a:endParaRPr>
          </a:p>
        </p:txBody>
      </p:sp>
      <p:sp>
        <p:nvSpPr>
          <p:cNvPr id="18" name="object 18"/>
          <p:cNvSpPr/>
          <p:nvPr/>
        </p:nvSpPr>
        <p:spPr>
          <a:xfrm>
            <a:off x="778350" y="4909441"/>
            <a:ext cx="120586" cy="342718"/>
          </a:xfrm>
          <a:custGeom>
            <a:avLst/>
            <a:gdLst/>
            <a:ahLst/>
            <a:cxnLst/>
            <a:rect l="l" t="t" r="r" b="b"/>
            <a:pathLst>
              <a:path w="120650" h="342900">
                <a:moveTo>
                  <a:pt x="0" y="0"/>
                </a:moveTo>
                <a:lnTo>
                  <a:pt x="120649" y="342900"/>
                </a:lnTo>
              </a:path>
            </a:pathLst>
          </a:custGeom>
          <a:ln w="64008">
            <a:solidFill>
              <a:srgbClr val="FFFFFF"/>
            </a:solidFill>
          </a:ln>
        </p:spPr>
        <p:txBody>
          <a:bodyPr wrap="square" lIns="0" tIns="0" rIns="0" bIns="0" rtlCol="0"/>
          <a:lstStyle/>
          <a:p>
            <a:endParaRPr sz="1599">
              <a:latin typeface="+mn-lt"/>
              <a:ea typeface="楷体" panose="02010609060101010101" pitchFamily="49" charset="-122"/>
            </a:endParaRPr>
          </a:p>
        </p:txBody>
      </p:sp>
      <p:sp>
        <p:nvSpPr>
          <p:cNvPr id="19" name="object 19"/>
          <p:cNvSpPr txBox="1"/>
          <p:nvPr/>
        </p:nvSpPr>
        <p:spPr>
          <a:xfrm>
            <a:off x="106420" y="6473649"/>
            <a:ext cx="1447031" cy="153678"/>
          </a:xfrm>
          <a:prstGeom prst="rect">
            <a:avLst/>
          </a:prstGeom>
        </p:spPr>
        <p:txBody>
          <a:bodyPr vert="horz" wrap="square" lIns="0" tIns="0" rIns="0" bIns="0" rtlCol="0">
            <a:spAutoFit/>
          </a:bodyPr>
          <a:lstStyle/>
          <a:p>
            <a:pPr marL="12694"/>
            <a:r>
              <a:rPr lang="zh-CN" sz="999" spc="-5" dirty="0">
                <a:solidFill>
                  <a:srgbClr val="808080"/>
                </a:solidFill>
                <a:latin typeface="+mn-lt"/>
                <a:ea typeface="楷体" panose="02010609060101010101" pitchFamily="49" charset="-122"/>
                <a:cs typeface="SimSun"/>
              </a:rPr>
              <a:t>资料来源：小组分析</a:t>
            </a:r>
            <a:endParaRPr lang="zh-CN" sz="999" dirty="0">
              <a:latin typeface="+mn-lt"/>
              <a:ea typeface="楷体" panose="02010609060101010101" pitchFamily="49" charset="-122"/>
              <a:cs typeface="SimSun"/>
            </a:endParaRPr>
          </a:p>
        </p:txBody>
      </p:sp>
      <p:sp>
        <p:nvSpPr>
          <p:cNvPr id="20" name="object 20"/>
          <p:cNvSpPr txBox="1"/>
          <p:nvPr/>
        </p:nvSpPr>
        <p:spPr>
          <a:xfrm>
            <a:off x="7446116" y="6501195"/>
            <a:ext cx="1197609" cy="249425"/>
          </a:xfrm>
          <a:prstGeom prst="rect">
            <a:avLst/>
          </a:prstGeom>
        </p:spPr>
        <p:txBody>
          <a:bodyPr vert="horz" wrap="square" lIns="0" tIns="3173" rIns="0" bIns="0" rtlCol="0">
            <a:spAutoFit/>
          </a:bodyPr>
          <a:lstStyle/>
          <a:p>
            <a:pPr marL="12694">
              <a:spcBef>
                <a:spcPts val="25"/>
              </a:spcBef>
            </a:pPr>
            <a:r>
              <a:rPr lang="zh-CN" sz="800" dirty="0">
                <a:solidFill>
                  <a:srgbClr val="808080"/>
                </a:solidFill>
                <a:latin typeface="+mn-lt"/>
                <a:ea typeface="楷体" panose="02010609060101010101" pitchFamily="49" charset="-122"/>
                <a:cs typeface="SimSun"/>
              </a:rPr>
              <a:t>McKinsey &amp; Company</a:t>
            </a:r>
            <a:r>
              <a:rPr lang="zh-CN" dirty="0">
                <a:latin typeface="+mn-lt"/>
                <a:ea typeface="楷体" panose="02010609060101010101" pitchFamily="49" charset="-122"/>
                <a:cs typeface="SimSun"/>
              </a:rPr>
              <a:t> </a:t>
            </a:r>
            <a:fld id="{81D60167-4931-47E6-BA6A-407CBD079E47}" type="slidenum">
              <a:rPr sz="800" dirty="0">
                <a:solidFill>
                  <a:srgbClr val="808080"/>
                </a:solidFill>
                <a:latin typeface="+mn-lt"/>
                <a:ea typeface="楷体" panose="02010609060101010101" pitchFamily="49" charset="-122"/>
                <a:cs typeface="Arial"/>
              </a:rPr>
              <a:pPr marL="12694">
                <a:spcBef>
                  <a:spcPts val="25"/>
                </a:spcBef>
              </a:pPr>
              <a:t>30</a:t>
            </a:fld>
            <a:endParaRPr lang="zh-CN" sz="800">
              <a:latin typeface="+mn-lt"/>
              <a:ea typeface="楷体" panose="02010609060101010101" pitchFamily="49" charset="-122"/>
              <a:cs typeface="SimSun"/>
            </a:endParaRPr>
          </a:p>
        </p:txBody>
      </p:sp>
      <p:sp>
        <p:nvSpPr>
          <p:cNvPr id="21" name="object 7">
            <a:extLst>
              <a:ext uri="{FF2B5EF4-FFF2-40B4-BE49-F238E27FC236}">
                <a16:creationId xmlns:a16="http://schemas.microsoft.com/office/drawing/2014/main" id="{65ECEBEC-73CB-4797-8BCD-EA27ED9F47E4}"/>
              </a:ext>
            </a:extLst>
          </p:cNvPr>
          <p:cNvSpPr txBox="1">
            <a:spLocks/>
          </p:cNvSpPr>
          <p:nvPr/>
        </p:nvSpPr>
        <p:spPr bwMode="gray">
          <a:xfrm>
            <a:off x="106420" y="210145"/>
            <a:ext cx="8005193" cy="320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3" rIns="0" bIns="0" numCol="1" rtlCol="0"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99" b="0" i="0" baseline="0">
                <a:solidFill>
                  <a:schemeClr val="bg1"/>
                </a:solidFill>
                <a:latin typeface="Arial"/>
                <a:ea typeface="+mj-ea"/>
                <a:cs typeface="Arial"/>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12694">
              <a:spcBef>
                <a:spcPts val="100"/>
              </a:spcBef>
            </a:pPr>
            <a:r>
              <a:rPr lang="zh-CN" kern="0" dirty="0">
                <a:solidFill>
                  <a:schemeClr val="tx2"/>
                </a:solidFill>
                <a:latin typeface="+mn-lt"/>
                <a:ea typeface="楷体" panose="02010609060101010101" pitchFamily="49" charset="-122"/>
                <a:cs typeface="SimSun"/>
              </a:rPr>
              <a:t>支持向量机</a:t>
            </a:r>
          </a:p>
        </p:txBody>
      </p:sp>
    </p:spTree>
    <p:extLst>
      <p:ext uri="{BB962C8B-B14F-4D97-AF65-F5344CB8AC3E}">
        <p14:creationId xmlns:p14="http://schemas.microsoft.com/office/powerpoint/2010/main" val="32370279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a:grpSpLocks/>
          </p:cNvGrpSpPr>
          <p:nvPr/>
        </p:nvGrpSpPr>
        <p:grpSpPr>
          <a:xfrm>
            <a:off x="0" y="-1"/>
            <a:ext cx="8961438" cy="6721475"/>
            <a:chOff x="749301" y="-1"/>
            <a:chExt cx="8961438" cy="6721475"/>
          </a:xfrm>
        </p:grpSpPr>
        <p:grpSp>
          <p:nvGrpSpPr>
            <p:cNvPr id="38" name="Group 37"/>
            <p:cNvGrpSpPr>
              <a:grpSpLocks/>
            </p:cNvGrpSpPr>
            <p:nvPr/>
          </p:nvGrpSpPr>
          <p:grpSpPr>
            <a:xfrm>
              <a:off x="749301" y="-1"/>
              <a:ext cx="8961438" cy="6721475"/>
              <a:chOff x="-12625388" y="-4110038"/>
              <a:chExt cx="11771313" cy="11769726"/>
            </a:xfrm>
          </p:grpSpPr>
          <p:sp>
            <p:nvSpPr>
              <p:cNvPr id="40" name="Freeform 305"/>
              <p:cNvSpPr>
                <a:spLocks noEditPoints="1"/>
              </p:cNvSpPr>
              <p:nvPr/>
            </p:nvSpPr>
            <p:spPr bwMode="auto">
              <a:xfrm>
                <a:off x="-12625388" y="-4110038"/>
                <a:ext cx="11771313" cy="11769725"/>
              </a:xfrm>
              <a:custGeom>
                <a:avLst/>
                <a:gdLst>
                  <a:gd name="T0" fmla="*/ 15360 w 15446"/>
                  <a:gd name="T1" fmla="*/ 14351 h 15446"/>
                  <a:gd name="T2" fmla="*/ 11037 w 15446"/>
                  <a:gd name="T3" fmla="*/ 13656 h 15446"/>
                  <a:gd name="T4" fmla="*/ 5936 w 15446"/>
                  <a:gd name="T5" fmla="*/ 12632 h 15446"/>
                  <a:gd name="T6" fmla="*/ 13164 w 15446"/>
                  <a:gd name="T7" fmla="*/ 15446 h 15446"/>
                  <a:gd name="T8" fmla="*/ 7984 w 15446"/>
                  <a:gd name="T9" fmla="*/ 14465 h 15446"/>
                  <a:gd name="T10" fmla="*/ 4300 w 15446"/>
                  <a:gd name="T11" fmla="*/ 15446 h 15446"/>
                  <a:gd name="T12" fmla="*/ 750 w 15446"/>
                  <a:gd name="T13" fmla="*/ 12746 h 15446"/>
                  <a:gd name="T14" fmla="*/ 750 w 15446"/>
                  <a:gd name="T15" fmla="*/ 12746 h 15446"/>
                  <a:gd name="T16" fmla="*/ 750 w 15446"/>
                  <a:gd name="T17" fmla="*/ 12746 h 15446"/>
                  <a:gd name="T18" fmla="*/ 371 w 15446"/>
                  <a:gd name="T19" fmla="*/ 15010 h 15446"/>
                  <a:gd name="T20" fmla="*/ 14542 w 15446"/>
                  <a:gd name="T21" fmla="*/ 0 h 15446"/>
                  <a:gd name="T22" fmla="*/ 7468 w 15446"/>
                  <a:gd name="T23" fmla="*/ 1574 h 15446"/>
                  <a:gd name="T24" fmla="*/ 7468 w 15446"/>
                  <a:gd name="T25" fmla="*/ 1574 h 15446"/>
                  <a:gd name="T26" fmla="*/ 3502 w 15446"/>
                  <a:gd name="T27" fmla="*/ 2789 h 15446"/>
                  <a:gd name="T28" fmla="*/ 1065 w 15446"/>
                  <a:gd name="T29" fmla="*/ 1273 h 15446"/>
                  <a:gd name="T30" fmla="*/ 120 w 15446"/>
                  <a:gd name="T31" fmla="*/ 3894 h 15446"/>
                  <a:gd name="T32" fmla="*/ 1145 w 15446"/>
                  <a:gd name="T33" fmla="*/ 6872 h 15446"/>
                  <a:gd name="T34" fmla="*/ 0 w 15446"/>
                  <a:gd name="T35" fmla="*/ 7970 h 15446"/>
                  <a:gd name="T36" fmla="*/ 2324 w 15446"/>
                  <a:gd name="T37" fmla="*/ 8914 h 15446"/>
                  <a:gd name="T38" fmla="*/ 3502 w 15446"/>
                  <a:gd name="T39" fmla="*/ 10955 h 15446"/>
                  <a:gd name="T40" fmla="*/ 2324 w 15446"/>
                  <a:gd name="T41" fmla="*/ 8914 h 15446"/>
                  <a:gd name="T42" fmla="*/ 586 w 15446"/>
                  <a:gd name="T43" fmla="*/ 11428 h 15446"/>
                  <a:gd name="T44" fmla="*/ 3502 w 15446"/>
                  <a:gd name="T45" fmla="*/ 10956 h 15446"/>
                  <a:gd name="T46" fmla="*/ 4943 w 15446"/>
                  <a:gd name="T47" fmla="*/ 15446 h 15446"/>
                  <a:gd name="T48" fmla="*/ 901 w 15446"/>
                  <a:gd name="T49" fmla="*/ 1246 h 15446"/>
                  <a:gd name="T50" fmla="*/ 2324 w 15446"/>
                  <a:gd name="T51" fmla="*/ 748 h 15446"/>
                  <a:gd name="T52" fmla="*/ 45 w 15446"/>
                  <a:gd name="T53" fmla="*/ 0 h 15446"/>
                  <a:gd name="T54" fmla="*/ 3737 w 15446"/>
                  <a:gd name="T55" fmla="*/ 15446 h 15446"/>
                  <a:gd name="T56" fmla="*/ 11037 w 15446"/>
                  <a:gd name="T57" fmla="*/ 13656 h 15446"/>
                  <a:gd name="T58" fmla="*/ 8413 w 15446"/>
                  <a:gd name="T59" fmla="*/ 8879 h 15446"/>
                  <a:gd name="T60" fmla="*/ 10777 w 15446"/>
                  <a:gd name="T61" fmla="*/ 9480 h 15446"/>
                  <a:gd name="T62" fmla="*/ 14110 w 15446"/>
                  <a:gd name="T63" fmla="*/ 8914 h 15446"/>
                  <a:gd name="T64" fmla="*/ 12931 w 15446"/>
                  <a:gd name="T65" fmla="*/ 10955 h 15446"/>
                  <a:gd name="T66" fmla="*/ 14110 w 15446"/>
                  <a:gd name="T67" fmla="*/ 12997 h 15446"/>
                  <a:gd name="T68" fmla="*/ 2324 w 15446"/>
                  <a:gd name="T69" fmla="*/ 12997 h 15446"/>
                  <a:gd name="T70" fmla="*/ 5935 w 15446"/>
                  <a:gd name="T71" fmla="*/ 12631 h 15446"/>
                  <a:gd name="T72" fmla="*/ 5936 w 15446"/>
                  <a:gd name="T73" fmla="*/ 12632 h 15446"/>
                  <a:gd name="T74" fmla="*/ 12931 w 15446"/>
                  <a:gd name="T75" fmla="*/ 6872 h 15446"/>
                  <a:gd name="T76" fmla="*/ 12931 w 15446"/>
                  <a:gd name="T77" fmla="*/ 6872 h 15446"/>
                  <a:gd name="T78" fmla="*/ 5860 w 15446"/>
                  <a:gd name="T79" fmla="*/ 6872 h 15446"/>
                  <a:gd name="T80" fmla="*/ 7038 w 15446"/>
                  <a:gd name="T81" fmla="*/ 8914 h 15446"/>
                  <a:gd name="T82" fmla="*/ 15446 w 15446"/>
                  <a:gd name="T83" fmla="*/ 8914 h 15446"/>
                  <a:gd name="T84" fmla="*/ 8217 w 15446"/>
                  <a:gd name="T85" fmla="*/ 6872 h 15446"/>
                  <a:gd name="T86" fmla="*/ 4159 w 15446"/>
                  <a:gd name="T87" fmla="*/ 4109 h 15446"/>
                  <a:gd name="T88" fmla="*/ 4159 w 15446"/>
                  <a:gd name="T89" fmla="*/ 4109 h 15446"/>
                  <a:gd name="T90" fmla="*/ 2557 w 15446"/>
                  <a:gd name="T91" fmla="*/ 7302 h 15446"/>
                  <a:gd name="T92" fmla="*/ 5860 w 15446"/>
                  <a:gd name="T93" fmla="*/ 6872 h 15446"/>
                  <a:gd name="T94" fmla="*/ 15446 w 15446"/>
                  <a:gd name="T95" fmla="*/ 7072 h 15446"/>
                  <a:gd name="T96" fmla="*/ 10574 w 15446"/>
                  <a:gd name="T97" fmla="*/ 6872 h 15446"/>
                  <a:gd name="T98" fmla="*/ 10574 w 15446"/>
                  <a:gd name="T99" fmla="*/ 6872 h 15446"/>
                  <a:gd name="T100" fmla="*/ 9316 w 15446"/>
                  <a:gd name="T101" fmla="*/ 6257 h 15446"/>
                  <a:gd name="T102" fmla="*/ 12655 w 15446"/>
                  <a:gd name="T103" fmla="*/ 5604 h 15446"/>
                  <a:gd name="T104" fmla="*/ 9316 w 15446"/>
                  <a:gd name="T105" fmla="*/ 6257 h 15446"/>
                  <a:gd name="T106" fmla="*/ 12655 w 15446"/>
                  <a:gd name="T107" fmla="*/ 5604 h 15446"/>
                  <a:gd name="T108" fmla="*/ 8410 w 15446"/>
                  <a:gd name="T109" fmla="*/ 2581 h 15446"/>
                  <a:gd name="T110" fmla="*/ 7038 w 15446"/>
                  <a:gd name="T111" fmla="*/ 4831 h 15446"/>
                  <a:gd name="T112" fmla="*/ 14110 w 15446"/>
                  <a:gd name="T113" fmla="*/ 4831 h 15446"/>
                  <a:gd name="T114" fmla="*/ 14110 w 15446"/>
                  <a:gd name="T115" fmla="*/ 4831 h 15446"/>
                  <a:gd name="T116" fmla="*/ 4603 w 15446"/>
                  <a:gd name="T117" fmla="*/ 3765 h 15446"/>
                  <a:gd name="T118" fmla="*/ 9396 w 15446"/>
                  <a:gd name="T119" fmla="*/ 748 h 15446"/>
                  <a:gd name="T120" fmla="*/ 5859 w 15446"/>
                  <a:gd name="T121" fmla="*/ 2790 h 15446"/>
                  <a:gd name="T122" fmla="*/ 15446 w 15446"/>
                  <a:gd name="T123" fmla="*/ 1876 h 15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46" h="15446">
                    <a:moveTo>
                      <a:pt x="14929" y="15446"/>
                    </a:moveTo>
                    <a:lnTo>
                      <a:pt x="14929" y="15446"/>
                    </a:lnTo>
                    <a:lnTo>
                      <a:pt x="15360" y="14351"/>
                    </a:lnTo>
                    <a:lnTo>
                      <a:pt x="13552" y="15446"/>
                    </a:lnTo>
                    <a:lnTo>
                      <a:pt x="15360" y="14351"/>
                    </a:lnTo>
                    <a:lnTo>
                      <a:pt x="14710" y="13647"/>
                    </a:lnTo>
                    <a:lnTo>
                      <a:pt x="15360" y="14351"/>
                    </a:lnTo>
                    <a:lnTo>
                      <a:pt x="15446" y="14344"/>
                    </a:lnTo>
                    <a:lnTo>
                      <a:pt x="15446" y="14344"/>
                    </a:lnTo>
                    <a:lnTo>
                      <a:pt x="15360" y="14351"/>
                    </a:lnTo>
                    <a:lnTo>
                      <a:pt x="14929" y="15446"/>
                    </a:lnTo>
                    <a:moveTo>
                      <a:pt x="13164" y="15446"/>
                    </a:moveTo>
                    <a:lnTo>
                      <a:pt x="13164" y="15446"/>
                    </a:lnTo>
                    <a:lnTo>
                      <a:pt x="11037" y="13656"/>
                    </a:lnTo>
                    <a:lnTo>
                      <a:pt x="11394" y="15446"/>
                    </a:lnTo>
                    <a:lnTo>
                      <a:pt x="11394" y="15446"/>
                    </a:lnTo>
                    <a:lnTo>
                      <a:pt x="11037" y="13656"/>
                    </a:lnTo>
                    <a:lnTo>
                      <a:pt x="9396" y="12997"/>
                    </a:lnTo>
                    <a:lnTo>
                      <a:pt x="9395" y="12997"/>
                    </a:lnTo>
                    <a:lnTo>
                      <a:pt x="9396" y="12997"/>
                    </a:lnTo>
                    <a:lnTo>
                      <a:pt x="5936" y="12632"/>
                    </a:lnTo>
                    <a:lnTo>
                      <a:pt x="9395" y="12997"/>
                    </a:lnTo>
                    <a:lnTo>
                      <a:pt x="9395" y="12997"/>
                    </a:lnTo>
                    <a:lnTo>
                      <a:pt x="11037" y="13656"/>
                    </a:lnTo>
                    <a:lnTo>
                      <a:pt x="11037" y="13656"/>
                    </a:lnTo>
                    <a:lnTo>
                      <a:pt x="11037" y="13656"/>
                    </a:lnTo>
                    <a:lnTo>
                      <a:pt x="11037" y="13656"/>
                    </a:lnTo>
                    <a:lnTo>
                      <a:pt x="13164" y="15446"/>
                    </a:lnTo>
                    <a:moveTo>
                      <a:pt x="8513" y="15446"/>
                    </a:moveTo>
                    <a:lnTo>
                      <a:pt x="6538" y="15446"/>
                    </a:lnTo>
                    <a:lnTo>
                      <a:pt x="7984" y="14465"/>
                    </a:lnTo>
                    <a:lnTo>
                      <a:pt x="6538" y="15446"/>
                    </a:lnTo>
                    <a:lnTo>
                      <a:pt x="7984" y="14465"/>
                    </a:lnTo>
                    <a:lnTo>
                      <a:pt x="7376" y="13922"/>
                    </a:lnTo>
                    <a:lnTo>
                      <a:pt x="7984" y="14465"/>
                    </a:lnTo>
                    <a:lnTo>
                      <a:pt x="8513" y="15446"/>
                    </a:lnTo>
                    <a:moveTo>
                      <a:pt x="4943" y="15446"/>
                    </a:moveTo>
                    <a:lnTo>
                      <a:pt x="4943" y="15446"/>
                    </a:lnTo>
                    <a:lnTo>
                      <a:pt x="3564" y="14028"/>
                    </a:lnTo>
                    <a:lnTo>
                      <a:pt x="3502" y="15039"/>
                    </a:lnTo>
                    <a:lnTo>
                      <a:pt x="4300" y="15446"/>
                    </a:lnTo>
                    <a:lnTo>
                      <a:pt x="4300" y="15446"/>
                    </a:lnTo>
                    <a:lnTo>
                      <a:pt x="3502" y="15039"/>
                    </a:lnTo>
                    <a:lnTo>
                      <a:pt x="3502" y="15039"/>
                    </a:lnTo>
                    <a:lnTo>
                      <a:pt x="3502" y="15039"/>
                    </a:lnTo>
                    <a:lnTo>
                      <a:pt x="3564" y="14028"/>
                    </a:lnTo>
                    <a:lnTo>
                      <a:pt x="2324" y="12997"/>
                    </a:lnTo>
                    <a:lnTo>
                      <a:pt x="2324" y="12997"/>
                    </a:lnTo>
                    <a:lnTo>
                      <a:pt x="750" y="12746"/>
                    </a:lnTo>
                    <a:lnTo>
                      <a:pt x="750" y="12746"/>
                    </a:lnTo>
                    <a:lnTo>
                      <a:pt x="750" y="12746"/>
                    </a:lnTo>
                    <a:lnTo>
                      <a:pt x="750" y="12746"/>
                    </a:lnTo>
                    <a:lnTo>
                      <a:pt x="586" y="11428"/>
                    </a:lnTo>
                    <a:lnTo>
                      <a:pt x="0" y="11274"/>
                    </a:lnTo>
                    <a:lnTo>
                      <a:pt x="0" y="12062"/>
                    </a:lnTo>
                    <a:lnTo>
                      <a:pt x="750" y="12746"/>
                    </a:lnTo>
                    <a:lnTo>
                      <a:pt x="750" y="12746"/>
                    </a:lnTo>
                    <a:lnTo>
                      <a:pt x="0" y="12062"/>
                    </a:lnTo>
                    <a:lnTo>
                      <a:pt x="750" y="12746"/>
                    </a:lnTo>
                    <a:lnTo>
                      <a:pt x="0" y="13667"/>
                    </a:lnTo>
                    <a:lnTo>
                      <a:pt x="0" y="15111"/>
                    </a:lnTo>
                    <a:lnTo>
                      <a:pt x="371" y="15010"/>
                    </a:lnTo>
                    <a:lnTo>
                      <a:pt x="750" y="12746"/>
                    </a:lnTo>
                    <a:lnTo>
                      <a:pt x="750" y="12746"/>
                    </a:lnTo>
                    <a:lnTo>
                      <a:pt x="372" y="15010"/>
                    </a:lnTo>
                    <a:lnTo>
                      <a:pt x="1152" y="14205"/>
                    </a:lnTo>
                    <a:lnTo>
                      <a:pt x="372" y="15010"/>
                    </a:lnTo>
                    <a:lnTo>
                      <a:pt x="482" y="15446"/>
                    </a:lnTo>
                    <a:lnTo>
                      <a:pt x="482" y="15446"/>
                    </a:lnTo>
                    <a:lnTo>
                      <a:pt x="371" y="15010"/>
                    </a:lnTo>
                    <a:lnTo>
                      <a:pt x="0" y="15111"/>
                    </a:lnTo>
                    <a:lnTo>
                      <a:pt x="0" y="15446"/>
                    </a:lnTo>
                    <a:lnTo>
                      <a:pt x="0" y="0"/>
                    </a:lnTo>
                    <a:lnTo>
                      <a:pt x="15446" y="0"/>
                    </a:lnTo>
                    <a:lnTo>
                      <a:pt x="14542" y="0"/>
                    </a:lnTo>
                    <a:lnTo>
                      <a:pt x="14110" y="748"/>
                    </a:lnTo>
                    <a:lnTo>
                      <a:pt x="14542" y="0"/>
                    </a:lnTo>
                    <a:lnTo>
                      <a:pt x="8964" y="0"/>
                    </a:lnTo>
                    <a:lnTo>
                      <a:pt x="9395" y="747"/>
                    </a:lnTo>
                    <a:lnTo>
                      <a:pt x="9395" y="747"/>
                    </a:lnTo>
                    <a:lnTo>
                      <a:pt x="8964" y="0"/>
                    </a:lnTo>
                    <a:lnTo>
                      <a:pt x="7879" y="0"/>
                    </a:lnTo>
                    <a:lnTo>
                      <a:pt x="7468" y="1574"/>
                    </a:lnTo>
                    <a:lnTo>
                      <a:pt x="7468" y="1574"/>
                    </a:lnTo>
                    <a:lnTo>
                      <a:pt x="7879" y="0"/>
                    </a:lnTo>
                    <a:lnTo>
                      <a:pt x="6111" y="0"/>
                    </a:lnTo>
                    <a:lnTo>
                      <a:pt x="7468" y="1574"/>
                    </a:lnTo>
                    <a:lnTo>
                      <a:pt x="6111" y="0"/>
                    </a:lnTo>
                    <a:lnTo>
                      <a:pt x="4249" y="0"/>
                    </a:lnTo>
                    <a:lnTo>
                      <a:pt x="4681" y="748"/>
                    </a:lnTo>
                    <a:lnTo>
                      <a:pt x="7468" y="1574"/>
                    </a:lnTo>
                    <a:lnTo>
                      <a:pt x="7468" y="1574"/>
                    </a:lnTo>
                    <a:lnTo>
                      <a:pt x="4681" y="748"/>
                    </a:lnTo>
                    <a:lnTo>
                      <a:pt x="5860" y="2789"/>
                    </a:lnTo>
                    <a:lnTo>
                      <a:pt x="5859" y="2789"/>
                    </a:lnTo>
                    <a:lnTo>
                      <a:pt x="4681" y="748"/>
                    </a:lnTo>
                    <a:lnTo>
                      <a:pt x="3502" y="2790"/>
                    </a:lnTo>
                    <a:lnTo>
                      <a:pt x="3502" y="2789"/>
                    </a:lnTo>
                    <a:lnTo>
                      <a:pt x="4681" y="748"/>
                    </a:lnTo>
                    <a:lnTo>
                      <a:pt x="2324" y="748"/>
                    </a:lnTo>
                    <a:lnTo>
                      <a:pt x="3502" y="2789"/>
                    </a:lnTo>
                    <a:lnTo>
                      <a:pt x="3502" y="2789"/>
                    </a:lnTo>
                    <a:lnTo>
                      <a:pt x="2324" y="748"/>
                    </a:lnTo>
                    <a:lnTo>
                      <a:pt x="1065" y="1273"/>
                    </a:lnTo>
                    <a:lnTo>
                      <a:pt x="1065" y="1273"/>
                    </a:lnTo>
                    <a:lnTo>
                      <a:pt x="1065" y="1273"/>
                    </a:lnTo>
                    <a:lnTo>
                      <a:pt x="1065" y="1273"/>
                    </a:lnTo>
                    <a:lnTo>
                      <a:pt x="120" y="3894"/>
                    </a:lnTo>
                    <a:lnTo>
                      <a:pt x="2324" y="4831"/>
                    </a:lnTo>
                    <a:lnTo>
                      <a:pt x="2324" y="4831"/>
                    </a:lnTo>
                    <a:lnTo>
                      <a:pt x="120" y="3894"/>
                    </a:lnTo>
                    <a:lnTo>
                      <a:pt x="120" y="3894"/>
                    </a:lnTo>
                    <a:lnTo>
                      <a:pt x="1065" y="1273"/>
                    </a:lnTo>
                    <a:lnTo>
                      <a:pt x="0" y="1982"/>
                    </a:lnTo>
                    <a:lnTo>
                      <a:pt x="0" y="3795"/>
                    </a:lnTo>
                    <a:lnTo>
                      <a:pt x="120" y="3894"/>
                    </a:lnTo>
                    <a:lnTo>
                      <a:pt x="120" y="3894"/>
                    </a:lnTo>
                    <a:lnTo>
                      <a:pt x="270" y="4331"/>
                    </a:lnTo>
                    <a:lnTo>
                      <a:pt x="1145" y="6872"/>
                    </a:lnTo>
                    <a:lnTo>
                      <a:pt x="270" y="4331"/>
                    </a:lnTo>
                    <a:lnTo>
                      <a:pt x="1145" y="6872"/>
                    </a:lnTo>
                    <a:lnTo>
                      <a:pt x="2088" y="5239"/>
                    </a:lnTo>
                    <a:lnTo>
                      <a:pt x="1145" y="6872"/>
                    </a:lnTo>
                    <a:lnTo>
                      <a:pt x="1145" y="6872"/>
                    </a:lnTo>
                    <a:lnTo>
                      <a:pt x="1109" y="6907"/>
                    </a:lnTo>
                    <a:lnTo>
                      <a:pt x="0" y="7970"/>
                    </a:lnTo>
                    <a:lnTo>
                      <a:pt x="1109" y="6907"/>
                    </a:lnTo>
                    <a:lnTo>
                      <a:pt x="0" y="7970"/>
                    </a:lnTo>
                    <a:lnTo>
                      <a:pt x="0" y="8978"/>
                    </a:lnTo>
                    <a:lnTo>
                      <a:pt x="2324" y="8914"/>
                    </a:lnTo>
                    <a:lnTo>
                      <a:pt x="1145" y="6872"/>
                    </a:lnTo>
                    <a:lnTo>
                      <a:pt x="2324" y="8914"/>
                    </a:lnTo>
                    <a:lnTo>
                      <a:pt x="2324" y="8914"/>
                    </a:lnTo>
                    <a:lnTo>
                      <a:pt x="4116" y="9609"/>
                    </a:lnTo>
                    <a:lnTo>
                      <a:pt x="3114" y="8126"/>
                    </a:lnTo>
                    <a:lnTo>
                      <a:pt x="4116" y="9609"/>
                    </a:lnTo>
                    <a:lnTo>
                      <a:pt x="5860" y="10955"/>
                    </a:lnTo>
                    <a:lnTo>
                      <a:pt x="5859" y="10955"/>
                    </a:lnTo>
                    <a:lnTo>
                      <a:pt x="4116" y="9609"/>
                    </a:lnTo>
                    <a:lnTo>
                      <a:pt x="3502" y="10955"/>
                    </a:lnTo>
                    <a:lnTo>
                      <a:pt x="3502" y="10955"/>
                    </a:lnTo>
                    <a:lnTo>
                      <a:pt x="3502" y="10955"/>
                    </a:lnTo>
                    <a:lnTo>
                      <a:pt x="3502" y="10955"/>
                    </a:lnTo>
                    <a:lnTo>
                      <a:pt x="4116" y="9609"/>
                    </a:lnTo>
                    <a:lnTo>
                      <a:pt x="2324" y="8914"/>
                    </a:lnTo>
                    <a:lnTo>
                      <a:pt x="2324" y="8914"/>
                    </a:lnTo>
                    <a:lnTo>
                      <a:pt x="2324" y="8914"/>
                    </a:lnTo>
                    <a:lnTo>
                      <a:pt x="2324" y="8914"/>
                    </a:lnTo>
                    <a:lnTo>
                      <a:pt x="2324" y="8914"/>
                    </a:lnTo>
                    <a:lnTo>
                      <a:pt x="0" y="8978"/>
                    </a:lnTo>
                    <a:lnTo>
                      <a:pt x="0" y="11274"/>
                    </a:lnTo>
                    <a:lnTo>
                      <a:pt x="586" y="11428"/>
                    </a:lnTo>
                    <a:lnTo>
                      <a:pt x="1542" y="10045"/>
                    </a:lnTo>
                    <a:lnTo>
                      <a:pt x="586" y="11428"/>
                    </a:lnTo>
                    <a:lnTo>
                      <a:pt x="3502" y="10955"/>
                    </a:lnTo>
                    <a:lnTo>
                      <a:pt x="586" y="11428"/>
                    </a:lnTo>
                    <a:lnTo>
                      <a:pt x="750" y="12746"/>
                    </a:lnTo>
                    <a:lnTo>
                      <a:pt x="2324" y="12997"/>
                    </a:lnTo>
                    <a:lnTo>
                      <a:pt x="2324" y="12997"/>
                    </a:lnTo>
                    <a:lnTo>
                      <a:pt x="3564" y="14028"/>
                    </a:lnTo>
                    <a:lnTo>
                      <a:pt x="3502" y="10956"/>
                    </a:lnTo>
                    <a:lnTo>
                      <a:pt x="3564" y="14028"/>
                    </a:lnTo>
                    <a:lnTo>
                      <a:pt x="5860" y="10956"/>
                    </a:lnTo>
                    <a:lnTo>
                      <a:pt x="5860" y="10956"/>
                    </a:lnTo>
                    <a:lnTo>
                      <a:pt x="3564" y="14028"/>
                    </a:lnTo>
                    <a:lnTo>
                      <a:pt x="3564" y="14028"/>
                    </a:lnTo>
                    <a:lnTo>
                      <a:pt x="3564" y="14028"/>
                    </a:lnTo>
                    <a:lnTo>
                      <a:pt x="4943" y="15446"/>
                    </a:lnTo>
                    <a:moveTo>
                      <a:pt x="0" y="3795"/>
                    </a:moveTo>
                    <a:lnTo>
                      <a:pt x="120" y="3894"/>
                    </a:lnTo>
                    <a:lnTo>
                      <a:pt x="0" y="3795"/>
                    </a:lnTo>
                    <a:moveTo>
                      <a:pt x="0" y="1099"/>
                    </a:moveTo>
                    <a:lnTo>
                      <a:pt x="0" y="1982"/>
                    </a:lnTo>
                    <a:lnTo>
                      <a:pt x="1065" y="1273"/>
                    </a:lnTo>
                    <a:lnTo>
                      <a:pt x="901" y="1246"/>
                    </a:lnTo>
                    <a:lnTo>
                      <a:pt x="1065" y="1273"/>
                    </a:lnTo>
                    <a:lnTo>
                      <a:pt x="2324" y="748"/>
                    </a:lnTo>
                    <a:lnTo>
                      <a:pt x="0" y="916"/>
                    </a:lnTo>
                    <a:lnTo>
                      <a:pt x="0" y="1099"/>
                    </a:lnTo>
                    <a:moveTo>
                      <a:pt x="0" y="52"/>
                    </a:moveTo>
                    <a:lnTo>
                      <a:pt x="0" y="916"/>
                    </a:lnTo>
                    <a:lnTo>
                      <a:pt x="2324" y="748"/>
                    </a:lnTo>
                    <a:lnTo>
                      <a:pt x="4681" y="748"/>
                    </a:lnTo>
                    <a:lnTo>
                      <a:pt x="4249" y="0"/>
                    </a:lnTo>
                    <a:lnTo>
                      <a:pt x="1892" y="0"/>
                    </a:lnTo>
                    <a:lnTo>
                      <a:pt x="2324" y="748"/>
                    </a:lnTo>
                    <a:lnTo>
                      <a:pt x="2324" y="748"/>
                    </a:lnTo>
                    <a:lnTo>
                      <a:pt x="1892" y="0"/>
                    </a:lnTo>
                    <a:lnTo>
                      <a:pt x="45" y="0"/>
                    </a:lnTo>
                    <a:lnTo>
                      <a:pt x="0" y="52"/>
                    </a:lnTo>
                    <a:moveTo>
                      <a:pt x="0" y="0"/>
                    </a:moveTo>
                    <a:lnTo>
                      <a:pt x="0" y="52"/>
                    </a:lnTo>
                    <a:lnTo>
                      <a:pt x="44" y="0"/>
                    </a:lnTo>
                    <a:lnTo>
                      <a:pt x="0" y="0"/>
                    </a:lnTo>
                    <a:moveTo>
                      <a:pt x="3737" y="15446"/>
                    </a:moveTo>
                    <a:lnTo>
                      <a:pt x="3737" y="15446"/>
                    </a:lnTo>
                    <a:lnTo>
                      <a:pt x="3502" y="15039"/>
                    </a:lnTo>
                    <a:lnTo>
                      <a:pt x="3737" y="15446"/>
                    </a:lnTo>
                    <a:moveTo>
                      <a:pt x="1074" y="15446"/>
                    </a:moveTo>
                    <a:lnTo>
                      <a:pt x="1074" y="15446"/>
                    </a:lnTo>
                    <a:lnTo>
                      <a:pt x="800" y="15275"/>
                    </a:lnTo>
                    <a:lnTo>
                      <a:pt x="1074" y="15446"/>
                    </a:lnTo>
                    <a:moveTo>
                      <a:pt x="11037" y="13656"/>
                    </a:moveTo>
                    <a:lnTo>
                      <a:pt x="12931" y="10955"/>
                    </a:lnTo>
                    <a:lnTo>
                      <a:pt x="10777" y="9480"/>
                    </a:lnTo>
                    <a:lnTo>
                      <a:pt x="10433" y="11715"/>
                    </a:lnTo>
                    <a:lnTo>
                      <a:pt x="10433" y="11715"/>
                    </a:lnTo>
                    <a:lnTo>
                      <a:pt x="10433" y="11715"/>
                    </a:lnTo>
                    <a:lnTo>
                      <a:pt x="10777" y="9480"/>
                    </a:lnTo>
                    <a:lnTo>
                      <a:pt x="8413" y="8879"/>
                    </a:lnTo>
                    <a:lnTo>
                      <a:pt x="8413" y="8879"/>
                    </a:lnTo>
                    <a:lnTo>
                      <a:pt x="8413" y="8879"/>
                    </a:lnTo>
                    <a:lnTo>
                      <a:pt x="8413" y="8879"/>
                    </a:lnTo>
                    <a:lnTo>
                      <a:pt x="7038" y="8914"/>
                    </a:lnTo>
                    <a:lnTo>
                      <a:pt x="7038" y="8914"/>
                    </a:lnTo>
                    <a:lnTo>
                      <a:pt x="8413" y="8879"/>
                    </a:lnTo>
                    <a:lnTo>
                      <a:pt x="10777" y="9480"/>
                    </a:lnTo>
                    <a:lnTo>
                      <a:pt x="10777" y="9480"/>
                    </a:lnTo>
                    <a:lnTo>
                      <a:pt x="10777" y="9480"/>
                    </a:lnTo>
                    <a:lnTo>
                      <a:pt x="10777" y="9480"/>
                    </a:lnTo>
                    <a:lnTo>
                      <a:pt x="12931" y="10955"/>
                    </a:lnTo>
                    <a:lnTo>
                      <a:pt x="13871" y="11844"/>
                    </a:lnTo>
                    <a:lnTo>
                      <a:pt x="14110" y="8914"/>
                    </a:lnTo>
                    <a:lnTo>
                      <a:pt x="14110" y="8914"/>
                    </a:lnTo>
                    <a:lnTo>
                      <a:pt x="13871" y="11844"/>
                    </a:lnTo>
                    <a:lnTo>
                      <a:pt x="15446" y="11473"/>
                    </a:lnTo>
                    <a:lnTo>
                      <a:pt x="15446" y="11473"/>
                    </a:lnTo>
                    <a:lnTo>
                      <a:pt x="13871" y="11844"/>
                    </a:lnTo>
                    <a:lnTo>
                      <a:pt x="14069" y="12799"/>
                    </a:lnTo>
                    <a:lnTo>
                      <a:pt x="13871" y="11844"/>
                    </a:lnTo>
                    <a:lnTo>
                      <a:pt x="12931" y="10955"/>
                    </a:lnTo>
                    <a:lnTo>
                      <a:pt x="14110" y="12997"/>
                    </a:lnTo>
                    <a:lnTo>
                      <a:pt x="14110" y="12997"/>
                    </a:lnTo>
                    <a:lnTo>
                      <a:pt x="14110" y="12997"/>
                    </a:lnTo>
                    <a:lnTo>
                      <a:pt x="12931" y="10955"/>
                    </a:lnTo>
                    <a:lnTo>
                      <a:pt x="11037" y="13656"/>
                    </a:lnTo>
                    <a:moveTo>
                      <a:pt x="15446" y="12997"/>
                    </a:moveTo>
                    <a:lnTo>
                      <a:pt x="14110" y="12997"/>
                    </a:lnTo>
                    <a:lnTo>
                      <a:pt x="14110" y="12997"/>
                    </a:lnTo>
                    <a:lnTo>
                      <a:pt x="15446" y="12997"/>
                    </a:lnTo>
                    <a:lnTo>
                      <a:pt x="15446" y="12997"/>
                    </a:lnTo>
                    <a:moveTo>
                      <a:pt x="2324" y="12997"/>
                    </a:moveTo>
                    <a:lnTo>
                      <a:pt x="586" y="11428"/>
                    </a:lnTo>
                    <a:lnTo>
                      <a:pt x="2324" y="12997"/>
                    </a:lnTo>
                    <a:lnTo>
                      <a:pt x="2324" y="12997"/>
                    </a:lnTo>
                    <a:moveTo>
                      <a:pt x="750" y="12746"/>
                    </a:moveTo>
                    <a:lnTo>
                      <a:pt x="750" y="12746"/>
                    </a:lnTo>
                    <a:lnTo>
                      <a:pt x="750" y="12746"/>
                    </a:lnTo>
                    <a:lnTo>
                      <a:pt x="750" y="12746"/>
                    </a:lnTo>
                    <a:lnTo>
                      <a:pt x="750" y="12746"/>
                    </a:lnTo>
                    <a:moveTo>
                      <a:pt x="5936" y="12632"/>
                    </a:moveTo>
                    <a:lnTo>
                      <a:pt x="5935" y="12631"/>
                    </a:lnTo>
                    <a:lnTo>
                      <a:pt x="7357" y="11428"/>
                    </a:lnTo>
                    <a:lnTo>
                      <a:pt x="5860" y="10955"/>
                    </a:lnTo>
                    <a:lnTo>
                      <a:pt x="5860" y="10955"/>
                    </a:lnTo>
                    <a:lnTo>
                      <a:pt x="7357" y="11428"/>
                    </a:lnTo>
                    <a:lnTo>
                      <a:pt x="7093" y="9346"/>
                    </a:lnTo>
                    <a:lnTo>
                      <a:pt x="7357" y="11428"/>
                    </a:lnTo>
                    <a:lnTo>
                      <a:pt x="5936" y="12632"/>
                    </a:lnTo>
                    <a:moveTo>
                      <a:pt x="5935" y="12632"/>
                    </a:moveTo>
                    <a:lnTo>
                      <a:pt x="5927" y="12440"/>
                    </a:lnTo>
                    <a:lnTo>
                      <a:pt x="5935" y="12631"/>
                    </a:lnTo>
                    <a:moveTo>
                      <a:pt x="10777" y="9480"/>
                    </a:moveTo>
                    <a:lnTo>
                      <a:pt x="12931" y="6872"/>
                    </a:lnTo>
                    <a:lnTo>
                      <a:pt x="10574" y="6872"/>
                    </a:lnTo>
                    <a:lnTo>
                      <a:pt x="12931" y="6872"/>
                    </a:lnTo>
                    <a:lnTo>
                      <a:pt x="12818" y="6352"/>
                    </a:lnTo>
                    <a:lnTo>
                      <a:pt x="12931" y="6872"/>
                    </a:lnTo>
                    <a:lnTo>
                      <a:pt x="15446" y="7725"/>
                    </a:lnTo>
                    <a:lnTo>
                      <a:pt x="15446" y="7725"/>
                    </a:lnTo>
                    <a:lnTo>
                      <a:pt x="12931" y="6872"/>
                    </a:lnTo>
                    <a:lnTo>
                      <a:pt x="14110" y="8914"/>
                    </a:lnTo>
                    <a:lnTo>
                      <a:pt x="12931" y="6872"/>
                    </a:lnTo>
                    <a:lnTo>
                      <a:pt x="10777" y="9480"/>
                    </a:lnTo>
                    <a:lnTo>
                      <a:pt x="10777" y="9480"/>
                    </a:lnTo>
                    <a:moveTo>
                      <a:pt x="7038" y="8914"/>
                    </a:moveTo>
                    <a:lnTo>
                      <a:pt x="7038" y="8914"/>
                    </a:lnTo>
                    <a:lnTo>
                      <a:pt x="8217" y="6872"/>
                    </a:lnTo>
                    <a:lnTo>
                      <a:pt x="5860" y="6872"/>
                    </a:lnTo>
                    <a:lnTo>
                      <a:pt x="5860" y="6872"/>
                    </a:lnTo>
                    <a:lnTo>
                      <a:pt x="8217" y="6872"/>
                    </a:lnTo>
                    <a:lnTo>
                      <a:pt x="7366" y="5398"/>
                    </a:lnTo>
                    <a:lnTo>
                      <a:pt x="8217" y="6872"/>
                    </a:lnTo>
                    <a:lnTo>
                      <a:pt x="9050" y="6406"/>
                    </a:lnTo>
                    <a:lnTo>
                      <a:pt x="8217" y="6872"/>
                    </a:lnTo>
                    <a:lnTo>
                      <a:pt x="8217" y="6872"/>
                    </a:lnTo>
                    <a:lnTo>
                      <a:pt x="7038" y="8914"/>
                    </a:lnTo>
                    <a:moveTo>
                      <a:pt x="7038" y="8914"/>
                    </a:moveTo>
                    <a:lnTo>
                      <a:pt x="5868" y="6886"/>
                    </a:lnTo>
                    <a:lnTo>
                      <a:pt x="7038" y="8914"/>
                    </a:lnTo>
                    <a:lnTo>
                      <a:pt x="7038" y="8914"/>
                    </a:lnTo>
                    <a:moveTo>
                      <a:pt x="15446" y="8914"/>
                    </a:moveTo>
                    <a:lnTo>
                      <a:pt x="14110" y="8914"/>
                    </a:lnTo>
                    <a:lnTo>
                      <a:pt x="15446" y="8914"/>
                    </a:lnTo>
                    <a:lnTo>
                      <a:pt x="15446" y="8914"/>
                    </a:lnTo>
                    <a:moveTo>
                      <a:pt x="14110" y="8914"/>
                    </a:moveTo>
                    <a:lnTo>
                      <a:pt x="14110" y="8914"/>
                    </a:lnTo>
                    <a:lnTo>
                      <a:pt x="14874" y="8485"/>
                    </a:lnTo>
                    <a:lnTo>
                      <a:pt x="14110" y="8914"/>
                    </a:lnTo>
                    <a:moveTo>
                      <a:pt x="8413" y="8878"/>
                    </a:moveTo>
                    <a:lnTo>
                      <a:pt x="8217" y="6872"/>
                    </a:lnTo>
                    <a:lnTo>
                      <a:pt x="8217" y="6872"/>
                    </a:lnTo>
                    <a:lnTo>
                      <a:pt x="8413" y="8878"/>
                    </a:lnTo>
                    <a:lnTo>
                      <a:pt x="8413" y="8878"/>
                    </a:lnTo>
                    <a:moveTo>
                      <a:pt x="2557" y="7302"/>
                    </a:moveTo>
                    <a:lnTo>
                      <a:pt x="2557" y="7302"/>
                    </a:lnTo>
                    <a:lnTo>
                      <a:pt x="2557" y="7302"/>
                    </a:lnTo>
                    <a:lnTo>
                      <a:pt x="4159" y="4109"/>
                    </a:lnTo>
                    <a:lnTo>
                      <a:pt x="2324" y="4831"/>
                    </a:lnTo>
                    <a:lnTo>
                      <a:pt x="2324" y="4831"/>
                    </a:lnTo>
                    <a:lnTo>
                      <a:pt x="2324" y="4831"/>
                    </a:lnTo>
                    <a:lnTo>
                      <a:pt x="2324" y="4831"/>
                    </a:lnTo>
                    <a:lnTo>
                      <a:pt x="2324" y="4831"/>
                    </a:lnTo>
                    <a:lnTo>
                      <a:pt x="4159" y="4109"/>
                    </a:lnTo>
                    <a:lnTo>
                      <a:pt x="4159" y="4109"/>
                    </a:lnTo>
                    <a:lnTo>
                      <a:pt x="4159" y="4109"/>
                    </a:lnTo>
                    <a:lnTo>
                      <a:pt x="4159" y="4109"/>
                    </a:lnTo>
                    <a:lnTo>
                      <a:pt x="4159" y="4109"/>
                    </a:lnTo>
                    <a:lnTo>
                      <a:pt x="5860" y="6872"/>
                    </a:lnTo>
                    <a:lnTo>
                      <a:pt x="5859" y="6872"/>
                    </a:lnTo>
                    <a:lnTo>
                      <a:pt x="4159" y="4109"/>
                    </a:lnTo>
                    <a:lnTo>
                      <a:pt x="2557" y="7302"/>
                    </a:lnTo>
                    <a:lnTo>
                      <a:pt x="2557" y="7302"/>
                    </a:lnTo>
                    <a:moveTo>
                      <a:pt x="2557" y="7302"/>
                    </a:moveTo>
                    <a:lnTo>
                      <a:pt x="2324" y="4831"/>
                    </a:lnTo>
                    <a:lnTo>
                      <a:pt x="2324" y="4831"/>
                    </a:lnTo>
                    <a:lnTo>
                      <a:pt x="2557" y="7302"/>
                    </a:lnTo>
                    <a:moveTo>
                      <a:pt x="2909" y="7256"/>
                    </a:moveTo>
                    <a:lnTo>
                      <a:pt x="5860" y="6872"/>
                    </a:lnTo>
                    <a:lnTo>
                      <a:pt x="5860" y="6872"/>
                    </a:lnTo>
                    <a:lnTo>
                      <a:pt x="5860" y="6872"/>
                    </a:lnTo>
                    <a:lnTo>
                      <a:pt x="2909" y="7256"/>
                    </a:lnTo>
                    <a:moveTo>
                      <a:pt x="15446" y="7072"/>
                    </a:moveTo>
                    <a:lnTo>
                      <a:pt x="15229" y="6708"/>
                    </a:lnTo>
                    <a:lnTo>
                      <a:pt x="15446" y="7072"/>
                    </a:lnTo>
                    <a:lnTo>
                      <a:pt x="15446" y="7072"/>
                    </a:lnTo>
                    <a:moveTo>
                      <a:pt x="1145" y="6872"/>
                    </a:moveTo>
                    <a:lnTo>
                      <a:pt x="1145" y="6872"/>
                    </a:lnTo>
                    <a:moveTo>
                      <a:pt x="10574" y="6872"/>
                    </a:moveTo>
                    <a:lnTo>
                      <a:pt x="10574" y="6872"/>
                    </a:lnTo>
                    <a:lnTo>
                      <a:pt x="10574" y="6872"/>
                    </a:lnTo>
                    <a:lnTo>
                      <a:pt x="12458" y="5724"/>
                    </a:lnTo>
                    <a:lnTo>
                      <a:pt x="10574" y="6872"/>
                    </a:lnTo>
                    <a:moveTo>
                      <a:pt x="8217" y="6872"/>
                    </a:moveTo>
                    <a:lnTo>
                      <a:pt x="8217" y="6872"/>
                    </a:lnTo>
                    <a:lnTo>
                      <a:pt x="8217" y="6872"/>
                    </a:lnTo>
                    <a:lnTo>
                      <a:pt x="8217" y="6872"/>
                    </a:lnTo>
                    <a:moveTo>
                      <a:pt x="10574" y="6872"/>
                    </a:moveTo>
                    <a:lnTo>
                      <a:pt x="9445" y="6321"/>
                    </a:lnTo>
                    <a:lnTo>
                      <a:pt x="10574" y="6872"/>
                    </a:lnTo>
                    <a:lnTo>
                      <a:pt x="10574" y="6872"/>
                    </a:lnTo>
                    <a:moveTo>
                      <a:pt x="9316" y="6257"/>
                    </a:moveTo>
                    <a:lnTo>
                      <a:pt x="9316" y="6257"/>
                    </a:lnTo>
                    <a:lnTo>
                      <a:pt x="9316" y="6257"/>
                    </a:lnTo>
                    <a:lnTo>
                      <a:pt x="9316" y="6257"/>
                    </a:lnTo>
                    <a:lnTo>
                      <a:pt x="9316" y="6257"/>
                    </a:lnTo>
                    <a:lnTo>
                      <a:pt x="9316" y="6257"/>
                    </a:lnTo>
                    <a:lnTo>
                      <a:pt x="12655" y="5604"/>
                    </a:lnTo>
                    <a:lnTo>
                      <a:pt x="12655" y="5604"/>
                    </a:lnTo>
                    <a:lnTo>
                      <a:pt x="12655" y="5604"/>
                    </a:lnTo>
                    <a:lnTo>
                      <a:pt x="12655" y="5604"/>
                    </a:lnTo>
                    <a:lnTo>
                      <a:pt x="14110" y="4831"/>
                    </a:lnTo>
                    <a:lnTo>
                      <a:pt x="12655" y="5604"/>
                    </a:lnTo>
                    <a:lnTo>
                      <a:pt x="12655" y="5604"/>
                    </a:lnTo>
                    <a:lnTo>
                      <a:pt x="12655" y="5604"/>
                    </a:lnTo>
                    <a:lnTo>
                      <a:pt x="9316" y="6257"/>
                    </a:lnTo>
                    <a:moveTo>
                      <a:pt x="9316" y="6257"/>
                    </a:moveTo>
                    <a:lnTo>
                      <a:pt x="7038" y="4831"/>
                    </a:lnTo>
                    <a:lnTo>
                      <a:pt x="7038" y="4831"/>
                    </a:lnTo>
                    <a:lnTo>
                      <a:pt x="9316" y="6257"/>
                    </a:lnTo>
                    <a:lnTo>
                      <a:pt x="9316" y="6257"/>
                    </a:lnTo>
                    <a:moveTo>
                      <a:pt x="9316" y="6257"/>
                    </a:moveTo>
                    <a:lnTo>
                      <a:pt x="9316" y="3550"/>
                    </a:lnTo>
                    <a:lnTo>
                      <a:pt x="9316" y="6257"/>
                    </a:lnTo>
                    <a:moveTo>
                      <a:pt x="12655" y="5604"/>
                    </a:moveTo>
                    <a:lnTo>
                      <a:pt x="12655" y="5604"/>
                    </a:lnTo>
                    <a:lnTo>
                      <a:pt x="12201" y="3434"/>
                    </a:lnTo>
                    <a:lnTo>
                      <a:pt x="12655" y="5604"/>
                    </a:lnTo>
                    <a:moveTo>
                      <a:pt x="7038" y="4831"/>
                    </a:moveTo>
                    <a:lnTo>
                      <a:pt x="7038" y="4831"/>
                    </a:lnTo>
                    <a:lnTo>
                      <a:pt x="9316" y="3550"/>
                    </a:lnTo>
                    <a:lnTo>
                      <a:pt x="5859" y="2789"/>
                    </a:lnTo>
                    <a:lnTo>
                      <a:pt x="5860" y="2789"/>
                    </a:lnTo>
                    <a:lnTo>
                      <a:pt x="9316" y="3550"/>
                    </a:lnTo>
                    <a:lnTo>
                      <a:pt x="8410" y="2581"/>
                    </a:lnTo>
                    <a:lnTo>
                      <a:pt x="9316" y="3550"/>
                    </a:lnTo>
                    <a:lnTo>
                      <a:pt x="9319" y="3444"/>
                    </a:lnTo>
                    <a:lnTo>
                      <a:pt x="9316" y="3550"/>
                    </a:lnTo>
                    <a:lnTo>
                      <a:pt x="10574" y="2789"/>
                    </a:lnTo>
                    <a:lnTo>
                      <a:pt x="9316" y="3550"/>
                    </a:lnTo>
                    <a:lnTo>
                      <a:pt x="7038" y="4831"/>
                    </a:lnTo>
                    <a:moveTo>
                      <a:pt x="7038" y="4831"/>
                    </a:moveTo>
                    <a:lnTo>
                      <a:pt x="6499" y="3898"/>
                    </a:lnTo>
                    <a:lnTo>
                      <a:pt x="7038" y="4831"/>
                    </a:lnTo>
                    <a:moveTo>
                      <a:pt x="2324" y="4831"/>
                    </a:moveTo>
                    <a:lnTo>
                      <a:pt x="1405" y="2233"/>
                    </a:lnTo>
                    <a:lnTo>
                      <a:pt x="2324" y="4831"/>
                    </a:lnTo>
                    <a:lnTo>
                      <a:pt x="2324" y="4831"/>
                    </a:lnTo>
                    <a:moveTo>
                      <a:pt x="14110" y="4831"/>
                    </a:moveTo>
                    <a:lnTo>
                      <a:pt x="12201" y="3434"/>
                    </a:lnTo>
                    <a:lnTo>
                      <a:pt x="12066" y="2627"/>
                    </a:lnTo>
                    <a:lnTo>
                      <a:pt x="12201" y="3434"/>
                    </a:lnTo>
                    <a:lnTo>
                      <a:pt x="15446" y="2602"/>
                    </a:lnTo>
                    <a:lnTo>
                      <a:pt x="15446" y="2602"/>
                    </a:lnTo>
                    <a:lnTo>
                      <a:pt x="12201" y="3434"/>
                    </a:lnTo>
                    <a:lnTo>
                      <a:pt x="14110" y="4831"/>
                    </a:lnTo>
                    <a:moveTo>
                      <a:pt x="14110" y="4831"/>
                    </a:moveTo>
                    <a:lnTo>
                      <a:pt x="14110" y="4831"/>
                    </a:lnTo>
                    <a:lnTo>
                      <a:pt x="15358" y="3331"/>
                    </a:lnTo>
                    <a:lnTo>
                      <a:pt x="14110" y="4831"/>
                    </a:lnTo>
                    <a:moveTo>
                      <a:pt x="4159" y="4109"/>
                    </a:moveTo>
                    <a:lnTo>
                      <a:pt x="4159" y="4109"/>
                    </a:lnTo>
                    <a:lnTo>
                      <a:pt x="4603" y="3765"/>
                    </a:lnTo>
                    <a:lnTo>
                      <a:pt x="4159" y="4109"/>
                    </a:lnTo>
                    <a:moveTo>
                      <a:pt x="12201" y="3434"/>
                    </a:moveTo>
                    <a:lnTo>
                      <a:pt x="10574" y="2789"/>
                    </a:lnTo>
                    <a:lnTo>
                      <a:pt x="10574" y="2789"/>
                    </a:lnTo>
                    <a:lnTo>
                      <a:pt x="10574" y="2789"/>
                    </a:lnTo>
                    <a:lnTo>
                      <a:pt x="11753" y="748"/>
                    </a:lnTo>
                    <a:lnTo>
                      <a:pt x="9396" y="748"/>
                    </a:lnTo>
                    <a:lnTo>
                      <a:pt x="9396" y="748"/>
                    </a:lnTo>
                    <a:lnTo>
                      <a:pt x="11753" y="748"/>
                    </a:lnTo>
                    <a:lnTo>
                      <a:pt x="11753" y="748"/>
                    </a:lnTo>
                    <a:lnTo>
                      <a:pt x="11753" y="748"/>
                    </a:lnTo>
                    <a:lnTo>
                      <a:pt x="10574" y="2789"/>
                    </a:lnTo>
                    <a:lnTo>
                      <a:pt x="12201" y="3434"/>
                    </a:lnTo>
                    <a:moveTo>
                      <a:pt x="5859" y="2790"/>
                    </a:moveTo>
                    <a:lnTo>
                      <a:pt x="3502" y="2790"/>
                    </a:lnTo>
                    <a:lnTo>
                      <a:pt x="5860" y="2789"/>
                    </a:lnTo>
                    <a:lnTo>
                      <a:pt x="5859" y="2789"/>
                    </a:lnTo>
                    <a:lnTo>
                      <a:pt x="5859" y="2790"/>
                    </a:lnTo>
                    <a:moveTo>
                      <a:pt x="15446" y="1876"/>
                    </a:moveTo>
                    <a:lnTo>
                      <a:pt x="14110" y="748"/>
                    </a:lnTo>
                    <a:lnTo>
                      <a:pt x="15446" y="1876"/>
                    </a:lnTo>
                    <a:lnTo>
                      <a:pt x="15446" y="1876"/>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 name="Freeform 306"/>
              <p:cNvSpPr>
                <a:spLocks/>
              </p:cNvSpPr>
              <p:nvPr/>
            </p:nvSpPr>
            <p:spPr bwMode="auto">
              <a:xfrm>
                <a:off x="-12625388" y="-3271838"/>
                <a:ext cx="811213" cy="671513"/>
              </a:xfrm>
              <a:custGeom>
                <a:avLst/>
                <a:gdLst>
                  <a:gd name="T0" fmla="*/ 0 w 511"/>
                  <a:gd name="T1" fmla="*/ 423 h 423"/>
                  <a:gd name="T2" fmla="*/ 0 w 511"/>
                  <a:gd name="T3" fmla="*/ 0 h 423"/>
                  <a:gd name="T4" fmla="*/ 433 w 511"/>
                  <a:gd name="T5" fmla="*/ 70 h 423"/>
                  <a:gd name="T6" fmla="*/ 511 w 511"/>
                  <a:gd name="T7" fmla="*/ 83 h 423"/>
                  <a:gd name="T8" fmla="*/ 0 w 511"/>
                  <a:gd name="T9" fmla="*/ 423 h 423"/>
                </a:gdLst>
                <a:ahLst/>
                <a:cxnLst>
                  <a:cxn ang="0">
                    <a:pos x="T0" y="T1"/>
                  </a:cxn>
                  <a:cxn ang="0">
                    <a:pos x="T2" y="T3"/>
                  </a:cxn>
                  <a:cxn ang="0">
                    <a:pos x="T4" y="T5"/>
                  </a:cxn>
                  <a:cxn ang="0">
                    <a:pos x="T6" y="T7"/>
                  </a:cxn>
                  <a:cxn ang="0">
                    <a:pos x="T8" y="T9"/>
                  </a:cxn>
                </a:cxnLst>
                <a:rect l="0" t="0" r="r" b="b"/>
                <a:pathLst>
                  <a:path w="511" h="423">
                    <a:moveTo>
                      <a:pt x="0" y="423"/>
                    </a:moveTo>
                    <a:lnTo>
                      <a:pt x="0" y="0"/>
                    </a:lnTo>
                    <a:lnTo>
                      <a:pt x="433" y="70"/>
                    </a:lnTo>
                    <a:lnTo>
                      <a:pt x="511" y="83"/>
                    </a:lnTo>
                    <a:lnTo>
                      <a:pt x="0" y="42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2" name="Freeform 307"/>
              <p:cNvSpPr>
                <a:spLocks/>
              </p:cNvSpPr>
              <p:nvPr/>
            </p:nvSpPr>
            <p:spPr bwMode="auto">
              <a:xfrm>
                <a:off x="-12625388" y="-4110038"/>
                <a:ext cx="33338" cy="39688"/>
              </a:xfrm>
              <a:custGeom>
                <a:avLst/>
                <a:gdLst>
                  <a:gd name="T0" fmla="*/ 0 w 21"/>
                  <a:gd name="T1" fmla="*/ 25 h 25"/>
                  <a:gd name="T2" fmla="*/ 0 w 21"/>
                  <a:gd name="T3" fmla="*/ 0 h 25"/>
                  <a:gd name="T4" fmla="*/ 21 w 21"/>
                  <a:gd name="T5" fmla="*/ 0 h 25"/>
                  <a:gd name="T6" fmla="*/ 0 w 21"/>
                  <a:gd name="T7" fmla="*/ 25 h 25"/>
                </a:gdLst>
                <a:ahLst/>
                <a:cxnLst>
                  <a:cxn ang="0">
                    <a:pos x="T0" y="T1"/>
                  </a:cxn>
                  <a:cxn ang="0">
                    <a:pos x="T2" y="T3"/>
                  </a:cxn>
                  <a:cxn ang="0">
                    <a:pos x="T4" y="T5"/>
                  </a:cxn>
                  <a:cxn ang="0">
                    <a:pos x="T6" y="T7"/>
                  </a:cxn>
                </a:cxnLst>
                <a:rect l="0" t="0" r="r" b="b"/>
                <a:pathLst>
                  <a:path w="21" h="25">
                    <a:moveTo>
                      <a:pt x="0" y="25"/>
                    </a:moveTo>
                    <a:lnTo>
                      <a:pt x="0" y="0"/>
                    </a:lnTo>
                    <a:lnTo>
                      <a:pt x="21" y="0"/>
                    </a:lnTo>
                    <a:lnTo>
                      <a:pt x="0" y="25"/>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3" name="Freeform 308"/>
              <p:cNvSpPr>
                <a:spLocks/>
              </p:cNvSpPr>
              <p:nvPr/>
            </p:nvSpPr>
            <p:spPr bwMode="auto">
              <a:xfrm>
                <a:off x="-12625388" y="-3540126"/>
                <a:ext cx="1771650" cy="400050"/>
              </a:xfrm>
              <a:custGeom>
                <a:avLst/>
                <a:gdLst>
                  <a:gd name="T0" fmla="*/ 511 w 1116"/>
                  <a:gd name="T1" fmla="*/ 252 h 252"/>
                  <a:gd name="T2" fmla="*/ 433 w 1116"/>
                  <a:gd name="T3" fmla="*/ 239 h 252"/>
                  <a:gd name="T4" fmla="*/ 0 w 1116"/>
                  <a:gd name="T5" fmla="*/ 169 h 252"/>
                  <a:gd name="T6" fmla="*/ 0 w 1116"/>
                  <a:gd name="T7" fmla="*/ 81 h 252"/>
                  <a:gd name="T8" fmla="*/ 1116 w 1116"/>
                  <a:gd name="T9" fmla="*/ 0 h 252"/>
                  <a:gd name="T10" fmla="*/ 511 w 1116"/>
                  <a:gd name="T11" fmla="*/ 252 h 252"/>
                </a:gdLst>
                <a:ahLst/>
                <a:cxnLst>
                  <a:cxn ang="0">
                    <a:pos x="T0" y="T1"/>
                  </a:cxn>
                  <a:cxn ang="0">
                    <a:pos x="T2" y="T3"/>
                  </a:cxn>
                  <a:cxn ang="0">
                    <a:pos x="T4" y="T5"/>
                  </a:cxn>
                  <a:cxn ang="0">
                    <a:pos x="T6" y="T7"/>
                  </a:cxn>
                  <a:cxn ang="0">
                    <a:pos x="T8" y="T9"/>
                  </a:cxn>
                  <a:cxn ang="0">
                    <a:pos x="T10" y="T11"/>
                  </a:cxn>
                </a:cxnLst>
                <a:rect l="0" t="0" r="r" b="b"/>
                <a:pathLst>
                  <a:path w="1116" h="252">
                    <a:moveTo>
                      <a:pt x="511" y="252"/>
                    </a:moveTo>
                    <a:lnTo>
                      <a:pt x="433" y="239"/>
                    </a:lnTo>
                    <a:lnTo>
                      <a:pt x="0" y="169"/>
                    </a:lnTo>
                    <a:lnTo>
                      <a:pt x="0" y="81"/>
                    </a:lnTo>
                    <a:lnTo>
                      <a:pt x="1116" y="0"/>
                    </a:lnTo>
                    <a:lnTo>
                      <a:pt x="511" y="25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4" name="Freeform 309"/>
              <p:cNvSpPr>
                <a:spLocks/>
              </p:cNvSpPr>
              <p:nvPr/>
            </p:nvSpPr>
            <p:spPr bwMode="auto">
              <a:xfrm>
                <a:off x="-12625388" y="-4110038"/>
                <a:ext cx="1771650" cy="698500"/>
              </a:xfrm>
              <a:custGeom>
                <a:avLst/>
                <a:gdLst>
                  <a:gd name="T0" fmla="*/ 0 w 1116"/>
                  <a:gd name="T1" fmla="*/ 440 h 440"/>
                  <a:gd name="T2" fmla="*/ 0 w 1116"/>
                  <a:gd name="T3" fmla="*/ 25 h 440"/>
                  <a:gd name="T4" fmla="*/ 22 w 1116"/>
                  <a:gd name="T5" fmla="*/ 0 h 440"/>
                  <a:gd name="T6" fmla="*/ 908 w 1116"/>
                  <a:gd name="T7" fmla="*/ 0 h 440"/>
                  <a:gd name="T8" fmla="*/ 1116 w 1116"/>
                  <a:gd name="T9" fmla="*/ 359 h 440"/>
                  <a:gd name="T10" fmla="*/ 1116 w 1116"/>
                  <a:gd name="T11" fmla="*/ 359 h 440"/>
                  <a:gd name="T12" fmla="*/ 1116 w 1116"/>
                  <a:gd name="T13" fmla="*/ 359 h 440"/>
                  <a:gd name="T14" fmla="*/ 0 w 1116"/>
                  <a:gd name="T15" fmla="*/ 440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6" h="440">
                    <a:moveTo>
                      <a:pt x="0" y="440"/>
                    </a:moveTo>
                    <a:lnTo>
                      <a:pt x="0" y="25"/>
                    </a:lnTo>
                    <a:lnTo>
                      <a:pt x="22" y="0"/>
                    </a:lnTo>
                    <a:lnTo>
                      <a:pt x="908" y="0"/>
                    </a:lnTo>
                    <a:lnTo>
                      <a:pt x="1116" y="359"/>
                    </a:lnTo>
                    <a:lnTo>
                      <a:pt x="1116" y="359"/>
                    </a:lnTo>
                    <a:lnTo>
                      <a:pt x="1116" y="359"/>
                    </a:lnTo>
                    <a:lnTo>
                      <a:pt x="0" y="440"/>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5" name="Freeform 310"/>
              <p:cNvSpPr>
                <a:spLocks noEditPoints="1"/>
              </p:cNvSpPr>
              <p:nvPr/>
            </p:nvSpPr>
            <p:spPr bwMode="auto">
              <a:xfrm>
                <a:off x="-10853738" y="-4110038"/>
                <a:ext cx="1795463" cy="569913"/>
              </a:xfrm>
              <a:custGeom>
                <a:avLst/>
                <a:gdLst>
                  <a:gd name="T0" fmla="*/ 2357 w 2357"/>
                  <a:gd name="T1" fmla="*/ 748 h 748"/>
                  <a:gd name="T2" fmla="*/ 0 w 2357"/>
                  <a:gd name="T3" fmla="*/ 748 h 748"/>
                  <a:gd name="T4" fmla="*/ 432 w 2357"/>
                  <a:gd name="T5" fmla="*/ 0 h 748"/>
                  <a:gd name="T6" fmla="*/ 1925 w 2357"/>
                  <a:gd name="T7" fmla="*/ 0 h 748"/>
                  <a:gd name="T8" fmla="*/ 2357 w 2357"/>
                  <a:gd name="T9" fmla="*/ 748 h 748"/>
                  <a:gd name="T10" fmla="*/ 0 w 2357"/>
                  <a:gd name="T11" fmla="*/ 748 h 748"/>
                  <a:gd name="T12" fmla="*/ 0 w 2357"/>
                  <a:gd name="T13" fmla="*/ 748 h 748"/>
                  <a:gd name="T14" fmla="*/ 0 w 2357"/>
                  <a:gd name="T15" fmla="*/ 748 h 748"/>
                  <a:gd name="T16" fmla="*/ 0 w 2357"/>
                  <a:gd name="T17" fmla="*/ 748 h 748"/>
                  <a:gd name="T18" fmla="*/ 0 w 2357"/>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7" h="748">
                    <a:moveTo>
                      <a:pt x="2357" y="748"/>
                    </a:moveTo>
                    <a:lnTo>
                      <a:pt x="0" y="748"/>
                    </a:lnTo>
                    <a:lnTo>
                      <a:pt x="432" y="0"/>
                    </a:lnTo>
                    <a:lnTo>
                      <a:pt x="1925" y="0"/>
                    </a:lnTo>
                    <a:lnTo>
                      <a:pt x="2357" y="748"/>
                    </a:lnTo>
                    <a:moveTo>
                      <a:pt x="0" y="748"/>
                    </a:moveTo>
                    <a:lnTo>
                      <a:pt x="0" y="748"/>
                    </a:lnTo>
                    <a:lnTo>
                      <a:pt x="0" y="748"/>
                    </a:lnTo>
                    <a:lnTo>
                      <a:pt x="0" y="748"/>
                    </a:lnTo>
                    <a:lnTo>
                      <a:pt x="0"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6" name="Freeform 311"/>
              <p:cNvSpPr>
                <a:spLocks/>
              </p:cNvSpPr>
              <p:nvPr/>
            </p:nvSpPr>
            <p:spPr bwMode="auto">
              <a:xfrm>
                <a:off x="-9386888" y="-4110038"/>
                <a:ext cx="865188" cy="569913"/>
              </a:xfrm>
              <a:custGeom>
                <a:avLst/>
                <a:gdLst>
                  <a:gd name="T0" fmla="*/ 207 w 545"/>
                  <a:gd name="T1" fmla="*/ 359 h 359"/>
                  <a:gd name="T2" fmla="*/ 0 w 545"/>
                  <a:gd name="T3" fmla="*/ 0 h 359"/>
                  <a:gd name="T4" fmla="*/ 545 w 545"/>
                  <a:gd name="T5" fmla="*/ 0 h 359"/>
                  <a:gd name="T6" fmla="*/ 207 w 545"/>
                  <a:gd name="T7" fmla="*/ 359 h 359"/>
                </a:gdLst>
                <a:ahLst/>
                <a:cxnLst>
                  <a:cxn ang="0">
                    <a:pos x="T0" y="T1"/>
                  </a:cxn>
                  <a:cxn ang="0">
                    <a:pos x="T2" y="T3"/>
                  </a:cxn>
                  <a:cxn ang="0">
                    <a:pos x="T4" y="T5"/>
                  </a:cxn>
                  <a:cxn ang="0">
                    <a:pos x="T6" y="T7"/>
                  </a:cxn>
                </a:cxnLst>
                <a:rect l="0" t="0" r="r" b="b"/>
                <a:pathLst>
                  <a:path w="545" h="359">
                    <a:moveTo>
                      <a:pt x="207" y="359"/>
                    </a:moveTo>
                    <a:lnTo>
                      <a:pt x="0" y="0"/>
                    </a:lnTo>
                    <a:lnTo>
                      <a:pt x="545" y="0"/>
                    </a:lnTo>
                    <a:lnTo>
                      <a:pt x="207"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7" name="Freeform 312"/>
              <p:cNvSpPr>
                <a:spLocks/>
              </p:cNvSpPr>
              <p:nvPr/>
            </p:nvSpPr>
            <p:spPr bwMode="auto">
              <a:xfrm>
                <a:off x="-11183938" y="-4110038"/>
                <a:ext cx="658813" cy="569913"/>
              </a:xfrm>
              <a:custGeom>
                <a:avLst/>
                <a:gdLst>
                  <a:gd name="T0" fmla="*/ 208 w 415"/>
                  <a:gd name="T1" fmla="*/ 359 h 359"/>
                  <a:gd name="T2" fmla="*/ 0 w 415"/>
                  <a:gd name="T3" fmla="*/ 0 h 359"/>
                  <a:gd name="T4" fmla="*/ 415 w 415"/>
                  <a:gd name="T5" fmla="*/ 0 h 359"/>
                  <a:gd name="T6" fmla="*/ 208 w 415"/>
                  <a:gd name="T7" fmla="*/ 359 h 359"/>
                </a:gdLst>
                <a:ahLst/>
                <a:cxnLst>
                  <a:cxn ang="0">
                    <a:pos x="T0" y="T1"/>
                  </a:cxn>
                  <a:cxn ang="0">
                    <a:pos x="T2" y="T3"/>
                  </a:cxn>
                  <a:cxn ang="0">
                    <a:pos x="T4" y="T5"/>
                  </a:cxn>
                  <a:cxn ang="0">
                    <a:pos x="T6" y="T7"/>
                  </a:cxn>
                </a:cxnLst>
                <a:rect l="0" t="0" r="r" b="b"/>
                <a:pathLst>
                  <a:path w="415" h="359">
                    <a:moveTo>
                      <a:pt x="208" y="359"/>
                    </a:moveTo>
                    <a:lnTo>
                      <a:pt x="0" y="0"/>
                    </a:lnTo>
                    <a:lnTo>
                      <a:pt x="415" y="0"/>
                    </a:lnTo>
                    <a:lnTo>
                      <a:pt x="208"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8" name="Freeform 313"/>
              <p:cNvSpPr>
                <a:spLocks/>
              </p:cNvSpPr>
              <p:nvPr/>
            </p:nvSpPr>
            <p:spPr bwMode="auto">
              <a:xfrm>
                <a:off x="-10853738" y="-4110038"/>
                <a:ext cx="328613" cy="569913"/>
              </a:xfrm>
              <a:custGeom>
                <a:avLst/>
                <a:gdLst>
                  <a:gd name="T0" fmla="*/ 0 w 207"/>
                  <a:gd name="T1" fmla="*/ 359 h 359"/>
                  <a:gd name="T2" fmla="*/ 0 w 207"/>
                  <a:gd name="T3" fmla="*/ 359 h 359"/>
                  <a:gd name="T4" fmla="*/ 0 w 207"/>
                  <a:gd name="T5" fmla="*/ 359 h 359"/>
                  <a:gd name="T6" fmla="*/ 207 w 207"/>
                  <a:gd name="T7" fmla="*/ 0 h 359"/>
                  <a:gd name="T8" fmla="*/ 207 w 207"/>
                  <a:gd name="T9" fmla="*/ 0 h 359"/>
                  <a:gd name="T10" fmla="*/ 0 w 207"/>
                  <a:gd name="T11" fmla="*/ 359 h 359"/>
                </a:gdLst>
                <a:ahLst/>
                <a:cxnLst>
                  <a:cxn ang="0">
                    <a:pos x="T0" y="T1"/>
                  </a:cxn>
                  <a:cxn ang="0">
                    <a:pos x="T2" y="T3"/>
                  </a:cxn>
                  <a:cxn ang="0">
                    <a:pos x="T4" y="T5"/>
                  </a:cxn>
                  <a:cxn ang="0">
                    <a:pos x="T6" y="T7"/>
                  </a:cxn>
                  <a:cxn ang="0">
                    <a:pos x="T8" y="T9"/>
                  </a:cxn>
                  <a:cxn ang="0">
                    <a:pos x="T10" y="T11"/>
                  </a:cxn>
                </a:cxnLst>
                <a:rect l="0" t="0" r="r" b="b"/>
                <a:pathLst>
                  <a:path w="207" h="359">
                    <a:moveTo>
                      <a:pt x="0" y="359"/>
                    </a:moveTo>
                    <a:lnTo>
                      <a:pt x="0" y="359"/>
                    </a:lnTo>
                    <a:lnTo>
                      <a:pt x="0" y="359"/>
                    </a:lnTo>
                    <a:lnTo>
                      <a:pt x="207" y="0"/>
                    </a:lnTo>
                    <a:lnTo>
                      <a:pt x="207"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9" name="Freeform 314"/>
              <p:cNvSpPr>
                <a:spLocks noEditPoints="1"/>
              </p:cNvSpPr>
              <p:nvPr/>
            </p:nvSpPr>
            <p:spPr bwMode="auto">
              <a:xfrm>
                <a:off x="-12533313" y="-1143001"/>
                <a:ext cx="781050" cy="2268538"/>
              </a:xfrm>
              <a:custGeom>
                <a:avLst/>
                <a:gdLst>
                  <a:gd name="T0" fmla="*/ 1025 w 1025"/>
                  <a:gd name="T1" fmla="*/ 2978 h 2978"/>
                  <a:gd name="T2" fmla="*/ 150 w 1025"/>
                  <a:gd name="T3" fmla="*/ 437 h 2978"/>
                  <a:gd name="T4" fmla="*/ 1025 w 1025"/>
                  <a:gd name="T5" fmla="*/ 2978 h 2978"/>
                  <a:gd name="T6" fmla="*/ 0 w 1025"/>
                  <a:gd name="T7" fmla="*/ 0 h 2978"/>
                  <a:gd name="T8" fmla="*/ 0 w 1025"/>
                  <a:gd name="T9" fmla="*/ 0 h 2978"/>
                </a:gdLst>
                <a:ahLst/>
                <a:cxnLst>
                  <a:cxn ang="0">
                    <a:pos x="T0" y="T1"/>
                  </a:cxn>
                  <a:cxn ang="0">
                    <a:pos x="T2" y="T3"/>
                  </a:cxn>
                  <a:cxn ang="0">
                    <a:pos x="T4" y="T5"/>
                  </a:cxn>
                  <a:cxn ang="0">
                    <a:pos x="T6" y="T7"/>
                  </a:cxn>
                  <a:cxn ang="0">
                    <a:pos x="T8" y="T9"/>
                  </a:cxn>
                </a:cxnLst>
                <a:rect l="0" t="0" r="r" b="b"/>
                <a:pathLst>
                  <a:path w="1025" h="2978">
                    <a:moveTo>
                      <a:pt x="1025" y="2978"/>
                    </a:moveTo>
                    <a:lnTo>
                      <a:pt x="150" y="437"/>
                    </a:lnTo>
                    <a:lnTo>
                      <a:pt x="1025" y="2978"/>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50" name="Freeform 315"/>
              <p:cNvSpPr>
                <a:spLocks/>
              </p:cNvSpPr>
              <p:nvPr/>
            </p:nvSpPr>
            <p:spPr bwMode="auto">
              <a:xfrm>
                <a:off x="-12625388" y="-3140076"/>
                <a:ext cx="811213" cy="1997075"/>
              </a:xfrm>
              <a:custGeom>
                <a:avLst/>
                <a:gdLst>
                  <a:gd name="T0" fmla="*/ 58 w 511"/>
                  <a:gd name="T1" fmla="*/ 1258 h 1258"/>
                  <a:gd name="T2" fmla="*/ 0 w 511"/>
                  <a:gd name="T3" fmla="*/ 1211 h 1258"/>
                  <a:gd name="T4" fmla="*/ 0 w 511"/>
                  <a:gd name="T5" fmla="*/ 340 h 1258"/>
                  <a:gd name="T6" fmla="*/ 511 w 511"/>
                  <a:gd name="T7" fmla="*/ 0 h 1258"/>
                  <a:gd name="T8" fmla="*/ 58 w 511"/>
                  <a:gd name="T9" fmla="*/ 1258 h 1258"/>
                </a:gdLst>
                <a:ahLst/>
                <a:cxnLst>
                  <a:cxn ang="0">
                    <a:pos x="T0" y="T1"/>
                  </a:cxn>
                  <a:cxn ang="0">
                    <a:pos x="T2" y="T3"/>
                  </a:cxn>
                  <a:cxn ang="0">
                    <a:pos x="T4" y="T5"/>
                  </a:cxn>
                  <a:cxn ang="0">
                    <a:pos x="T6" y="T7"/>
                  </a:cxn>
                  <a:cxn ang="0">
                    <a:pos x="T8" y="T9"/>
                  </a:cxn>
                </a:cxnLst>
                <a:rect l="0" t="0" r="r" b="b"/>
                <a:pathLst>
                  <a:path w="511" h="1258">
                    <a:moveTo>
                      <a:pt x="58" y="1258"/>
                    </a:moveTo>
                    <a:lnTo>
                      <a:pt x="0" y="1211"/>
                    </a:lnTo>
                    <a:lnTo>
                      <a:pt x="0" y="340"/>
                    </a:lnTo>
                    <a:lnTo>
                      <a:pt x="511" y="0"/>
                    </a:lnTo>
                    <a:lnTo>
                      <a:pt x="58" y="1258"/>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51" name="Line 316"/>
              <p:cNvSpPr>
                <a:spLocks noChangeShapeType="1"/>
              </p:cNvSpPr>
              <p:nvPr/>
            </p:nvSpPr>
            <p:spPr bwMode="auto">
              <a:xfrm>
                <a:off x="-12533313" y="-1143001"/>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52" name="Freeform 317"/>
              <p:cNvSpPr>
                <a:spLocks noEditPoints="1"/>
              </p:cNvSpPr>
              <p:nvPr/>
            </p:nvSpPr>
            <p:spPr bwMode="auto">
              <a:xfrm>
                <a:off x="-12533313" y="-1143001"/>
                <a:ext cx="1679575" cy="2268538"/>
              </a:xfrm>
              <a:custGeom>
                <a:avLst/>
                <a:gdLst>
                  <a:gd name="T0" fmla="*/ 1025 w 2204"/>
                  <a:gd name="T1" fmla="*/ 2978 h 2978"/>
                  <a:gd name="T2" fmla="*/ 150 w 2204"/>
                  <a:gd name="T3" fmla="*/ 437 h 2978"/>
                  <a:gd name="T4" fmla="*/ 0 w 2204"/>
                  <a:gd name="T5" fmla="*/ 0 h 2978"/>
                  <a:gd name="T6" fmla="*/ 2204 w 2204"/>
                  <a:gd name="T7" fmla="*/ 937 h 2978"/>
                  <a:gd name="T8" fmla="*/ 2204 w 2204"/>
                  <a:gd name="T9" fmla="*/ 937 h 2978"/>
                  <a:gd name="T10" fmla="*/ 2204 w 2204"/>
                  <a:gd name="T11" fmla="*/ 937 h 2978"/>
                  <a:gd name="T12" fmla="*/ 2204 w 2204"/>
                  <a:gd name="T13" fmla="*/ 937 h 2978"/>
                  <a:gd name="T14" fmla="*/ 2204 w 2204"/>
                  <a:gd name="T15" fmla="*/ 937 h 2978"/>
                  <a:gd name="T16" fmla="*/ 1968 w 2204"/>
                  <a:gd name="T17" fmla="*/ 1345 h 2978"/>
                  <a:gd name="T18" fmla="*/ 1025 w 2204"/>
                  <a:gd name="T19" fmla="*/ 2978 h 2978"/>
                  <a:gd name="T20" fmla="*/ 150 w 2204"/>
                  <a:gd name="T21" fmla="*/ 437 h 2978"/>
                  <a:gd name="T22" fmla="*/ 0 w 2204"/>
                  <a:gd name="T23" fmla="*/ 0 h 2978"/>
                  <a:gd name="T24" fmla="*/ 150 w 2204"/>
                  <a:gd name="T25" fmla="*/ 437 h 2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4" h="2978">
                    <a:moveTo>
                      <a:pt x="1025" y="2978"/>
                    </a:moveTo>
                    <a:lnTo>
                      <a:pt x="150" y="437"/>
                    </a:lnTo>
                    <a:lnTo>
                      <a:pt x="0" y="0"/>
                    </a:lnTo>
                    <a:lnTo>
                      <a:pt x="2204" y="937"/>
                    </a:lnTo>
                    <a:lnTo>
                      <a:pt x="2204" y="937"/>
                    </a:lnTo>
                    <a:lnTo>
                      <a:pt x="2204" y="937"/>
                    </a:lnTo>
                    <a:lnTo>
                      <a:pt x="2204" y="937"/>
                    </a:lnTo>
                    <a:lnTo>
                      <a:pt x="2204" y="937"/>
                    </a:lnTo>
                    <a:lnTo>
                      <a:pt x="1968" y="1345"/>
                    </a:lnTo>
                    <a:lnTo>
                      <a:pt x="1025" y="2978"/>
                    </a:lnTo>
                    <a:moveTo>
                      <a:pt x="150" y="437"/>
                    </a:moveTo>
                    <a:lnTo>
                      <a:pt x="0" y="0"/>
                    </a:lnTo>
                    <a:lnTo>
                      <a:pt x="150" y="437"/>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53" name="Freeform 318"/>
              <p:cNvSpPr>
                <a:spLocks/>
              </p:cNvSpPr>
              <p:nvPr/>
            </p:nvSpPr>
            <p:spPr bwMode="auto">
              <a:xfrm>
                <a:off x="-12533313" y="-1143001"/>
                <a:ext cx="114300" cy="333375"/>
              </a:xfrm>
              <a:custGeom>
                <a:avLst/>
                <a:gdLst>
                  <a:gd name="T0" fmla="*/ 72 w 72"/>
                  <a:gd name="T1" fmla="*/ 210 h 210"/>
                  <a:gd name="T2" fmla="*/ 72 w 72"/>
                  <a:gd name="T3" fmla="*/ 210 h 210"/>
                  <a:gd name="T4" fmla="*/ 0 w 72"/>
                  <a:gd name="T5" fmla="*/ 0 h 210"/>
                  <a:gd name="T6" fmla="*/ 0 w 72"/>
                  <a:gd name="T7" fmla="*/ 0 h 210"/>
                  <a:gd name="T8" fmla="*/ 72 w 72"/>
                  <a:gd name="T9" fmla="*/ 210 h 210"/>
                </a:gdLst>
                <a:ahLst/>
                <a:cxnLst>
                  <a:cxn ang="0">
                    <a:pos x="T0" y="T1"/>
                  </a:cxn>
                  <a:cxn ang="0">
                    <a:pos x="T2" y="T3"/>
                  </a:cxn>
                  <a:cxn ang="0">
                    <a:pos x="T4" y="T5"/>
                  </a:cxn>
                  <a:cxn ang="0">
                    <a:pos x="T6" y="T7"/>
                  </a:cxn>
                  <a:cxn ang="0">
                    <a:pos x="T8" y="T9"/>
                  </a:cxn>
                </a:cxnLst>
                <a:rect l="0" t="0" r="r" b="b"/>
                <a:pathLst>
                  <a:path w="72" h="210">
                    <a:moveTo>
                      <a:pt x="72" y="210"/>
                    </a:moveTo>
                    <a:lnTo>
                      <a:pt x="72" y="210"/>
                    </a:lnTo>
                    <a:lnTo>
                      <a:pt x="0" y="0"/>
                    </a:lnTo>
                    <a:lnTo>
                      <a:pt x="0" y="0"/>
                    </a:lnTo>
                    <a:lnTo>
                      <a:pt x="72" y="210"/>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54" name="Freeform 319"/>
              <p:cNvSpPr>
                <a:spLocks/>
              </p:cNvSpPr>
              <p:nvPr/>
            </p:nvSpPr>
            <p:spPr bwMode="auto">
              <a:xfrm>
                <a:off x="-12625388" y="-1217613"/>
                <a:ext cx="92075" cy="74613"/>
              </a:xfrm>
              <a:custGeom>
                <a:avLst/>
                <a:gdLst>
                  <a:gd name="T0" fmla="*/ 58 w 58"/>
                  <a:gd name="T1" fmla="*/ 47 h 47"/>
                  <a:gd name="T2" fmla="*/ 0 w 58"/>
                  <a:gd name="T3" fmla="*/ 0 h 47"/>
                  <a:gd name="T4" fmla="*/ 58 w 58"/>
                  <a:gd name="T5" fmla="*/ 47 h 47"/>
                </a:gdLst>
                <a:ahLst/>
                <a:cxnLst>
                  <a:cxn ang="0">
                    <a:pos x="T0" y="T1"/>
                  </a:cxn>
                  <a:cxn ang="0">
                    <a:pos x="T2" y="T3"/>
                  </a:cxn>
                  <a:cxn ang="0">
                    <a:pos x="T4" y="T5"/>
                  </a:cxn>
                </a:cxnLst>
                <a:rect l="0" t="0" r="r" b="b"/>
                <a:pathLst>
                  <a:path w="58" h="47">
                    <a:moveTo>
                      <a:pt x="58" y="47"/>
                    </a:moveTo>
                    <a:lnTo>
                      <a:pt x="0" y="0"/>
                    </a:lnTo>
                    <a:lnTo>
                      <a:pt x="58" y="4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55" name="Freeform 320"/>
              <p:cNvSpPr>
                <a:spLocks noEditPoints="1"/>
              </p:cNvSpPr>
              <p:nvPr/>
            </p:nvSpPr>
            <p:spPr bwMode="auto">
              <a:xfrm>
                <a:off x="-12533313" y="-3140076"/>
                <a:ext cx="1679575" cy="2711450"/>
              </a:xfrm>
              <a:custGeom>
                <a:avLst/>
                <a:gdLst>
                  <a:gd name="T0" fmla="*/ 2204 w 2204"/>
                  <a:gd name="T1" fmla="*/ 3558 h 3558"/>
                  <a:gd name="T2" fmla="*/ 0 w 2204"/>
                  <a:gd name="T3" fmla="*/ 2621 h 3558"/>
                  <a:gd name="T4" fmla="*/ 945 w 2204"/>
                  <a:gd name="T5" fmla="*/ 0 h 3558"/>
                  <a:gd name="T6" fmla="*/ 945 w 2204"/>
                  <a:gd name="T7" fmla="*/ 0 h 3558"/>
                  <a:gd name="T8" fmla="*/ 945 w 2204"/>
                  <a:gd name="T9" fmla="*/ 0 h 3558"/>
                  <a:gd name="T10" fmla="*/ 1285 w 2204"/>
                  <a:gd name="T11" fmla="*/ 960 h 3558"/>
                  <a:gd name="T12" fmla="*/ 2204 w 2204"/>
                  <a:gd name="T13" fmla="*/ 3558 h 3558"/>
                  <a:gd name="T14" fmla="*/ 2204 w 2204"/>
                  <a:gd name="T15" fmla="*/ 3558 h 3558"/>
                  <a:gd name="T16" fmla="*/ 2204 w 2204"/>
                  <a:gd name="T17" fmla="*/ 3558 h 3558"/>
                  <a:gd name="T18" fmla="*/ 2204 w 2204"/>
                  <a:gd name="T19" fmla="*/ 3558 h 3558"/>
                  <a:gd name="T20" fmla="*/ 945 w 2204"/>
                  <a:gd name="T21" fmla="*/ 0 h 3558"/>
                  <a:gd name="T22" fmla="*/ 945 w 2204"/>
                  <a:gd name="T23" fmla="*/ 0 h 3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4" h="3558">
                    <a:moveTo>
                      <a:pt x="2204" y="3558"/>
                    </a:moveTo>
                    <a:lnTo>
                      <a:pt x="0" y="2621"/>
                    </a:lnTo>
                    <a:lnTo>
                      <a:pt x="945" y="0"/>
                    </a:lnTo>
                    <a:lnTo>
                      <a:pt x="945" y="0"/>
                    </a:lnTo>
                    <a:lnTo>
                      <a:pt x="945" y="0"/>
                    </a:lnTo>
                    <a:lnTo>
                      <a:pt x="1285" y="960"/>
                    </a:lnTo>
                    <a:lnTo>
                      <a:pt x="2204" y="3558"/>
                    </a:lnTo>
                    <a:lnTo>
                      <a:pt x="2204" y="3558"/>
                    </a:lnTo>
                    <a:lnTo>
                      <a:pt x="2204" y="3558"/>
                    </a:lnTo>
                    <a:lnTo>
                      <a:pt x="2204" y="3558"/>
                    </a:lnTo>
                    <a:moveTo>
                      <a:pt x="945" y="0"/>
                    </a:moveTo>
                    <a:lnTo>
                      <a:pt x="945" y="0"/>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56" name="Rectangle 321"/>
              <p:cNvSpPr>
                <a:spLocks noChangeArrowheads="1"/>
              </p:cNvSpPr>
              <p:nvPr/>
            </p:nvSpPr>
            <p:spPr bwMode="auto">
              <a:xfrm>
                <a:off x="-10853738" y="-428626"/>
                <a:ext cx="1588" cy="1588"/>
              </a:xfrm>
              <a:prstGeom prst="rect">
                <a:avLst/>
              </a:prstGeom>
              <a:solidFill>
                <a:srgbClr val="518DB3"/>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57" name="Freeform 322"/>
              <p:cNvSpPr>
                <a:spLocks/>
              </p:cNvSpPr>
              <p:nvPr/>
            </p:nvSpPr>
            <p:spPr bwMode="auto">
              <a:xfrm>
                <a:off x="-10853738" y="-1984376"/>
                <a:ext cx="1397000" cy="1555750"/>
              </a:xfrm>
              <a:custGeom>
                <a:avLst/>
                <a:gdLst>
                  <a:gd name="T0" fmla="*/ 0 w 880"/>
                  <a:gd name="T1" fmla="*/ 980 h 980"/>
                  <a:gd name="T2" fmla="*/ 565 w 880"/>
                  <a:gd name="T3" fmla="*/ 0 h 980"/>
                  <a:gd name="T4" fmla="*/ 880 w 880"/>
                  <a:gd name="T5" fmla="*/ 633 h 980"/>
                  <a:gd name="T6" fmla="*/ 0 w 880"/>
                  <a:gd name="T7" fmla="*/ 980 h 980"/>
                </a:gdLst>
                <a:ahLst/>
                <a:cxnLst>
                  <a:cxn ang="0">
                    <a:pos x="T0" y="T1"/>
                  </a:cxn>
                  <a:cxn ang="0">
                    <a:pos x="T2" y="T3"/>
                  </a:cxn>
                  <a:cxn ang="0">
                    <a:pos x="T4" y="T5"/>
                  </a:cxn>
                  <a:cxn ang="0">
                    <a:pos x="T6" y="T7"/>
                  </a:cxn>
                </a:cxnLst>
                <a:rect l="0" t="0" r="r" b="b"/>
                <a:pathLst>
                  <a:path w="880" h="980">
                    <a:moveTo>
                      <a:pt x="0" y="980"/>
                    </a:moveTo>
                    <a:lnTo>
                      <a:pt x="565" y="0"/>
                    </a:lnTo>
                    <a:lnTo>
                      <a:pt x="880" y="633"/>
                    </a:lnTo>
                    <a:lnTo>
                      <a:pt x="0"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58" name="Freeform 323"/>
              <p:cNvSpPr>
                <a:spLocks/>
              </p:cNvSpPr>
              <p:nvPr/>
            </p:nvSpPr>
            <p:spPr bwMode="auto">
              <a:xfrm>
                <a:off x="-10853738" y="-3540126"/>
                <a:ext cx="1795463" cy="1555750"/>
              </a:xfrm>
              <a:custGeom>
                <a:avLst/>
                <a:gdLst>
                  <a:gd name="T0" fmla="*/ 565 w 1131"/>
                  <a:gd name="T1" fmla="*/ 980 h 980"/>
                  <a:gd name="T2" fmla="*/ 565 w 1131"/>
                  <a:gd name="T3" fmla="*/ 980 h 980"/>
                  <a:gd name="T4" fmla="*/ 0 w 1131"/>
                  <a:gd name="T5" fmla="*/ 0 h 980"/>
                  <a:gd name="T6" fmla="*/ 1131 w 1131"/>
                  <a:gd name="T7" fmla="*/ 0 h 980"/>
                  <a:gd name="T8" fmla="*/ 565 w 1131"/>
                  <a:gd name="T9" fmla="*/ 980 h 980"/>
                </a:gdLst>
                <a:ahLst/>
                <a:cxnLst>
                  <a:cxn ang="0">
                    <a:pos x="T0" y="T1"/>
                  </a:cxn>
                  <a:cxn ang="0">
                    <a:pos x="T2" y="T3"/>
                  </a:cxn>
                  <a:cxn ang="0">
                    <a:pos x="T4" y="T5"/>
                  </a:cxn>
                  <a:cxn ang="0">
                    <a:pos x="T6" y="T7"/>
                  </a:cxn>
                  <a:cxn ang="0">
                    <a:pos x="T8" y="T9"/>
                  </a:cxn>
                </a:cxnLst>
                <a:rect l="0" t="0" r="r" b="b"/>
                <a:pathLst>
                  <a:path w="1131" h="980">
                    <a:moveTo>
                      <a:pt x="565" y="980"/>
                    </a:moveTo>
                    <a:lnTo>
                      <a:pt x="565" y="980"/>
                    </a:lnTo>
                    <a:lnTo>
                      <a:pt x="0" y="0"/>
                    </a:lnTo>
                    <a:lnTo>
                      <a:pt x="1131" y="0"/>
                    </a:lnTo>
                    <a:lnTo>
                      <a:pt x="565"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59" name="Freeform 324"/>
              <p:cNvSpPr>
                <a:spLocks/>
              </p:cNvSpPr>
              <p:nvPr/>
            </p:nvSpPr>
            <p:spPr bwMode="auto">
              <a:xfrm>
                <a:off x="-9956800" y="-1984376"/>
                <a:ext cx="1797050" cy="1004888"/>
              </a:xfrm>
              <a:custGeom>
                <a:avLst/>
                <a:gdLst>
                  <a:gd name="T0" fmla="*/ 315 w 1132"/>
                  <a:gd name="T1" fmla="*/ 633 h 633"/>
                  <a:gd name="T2" fmla="*/ 315 w 1132"/>
                  <a:gd name="T3" fmla="*/ 633 h 633"/>
                  <a:gd name="T4" fmla="*/ 0 w 1132"/>
                  <a:gd name="T5" fmla="*/ 0 h 633"/>
                  <a:gd name="T6" fmla="*/ 0 w 1132"/>
                  <a:gd name="T7" fmla="*/ 0 h 633"/>
                  <a:gd name="T8" fmla="*/ 1132 w 1132"/>
                  <a:gd name="T9" fmla="*/ 0 h 633"/>
                  <a:gd name="T10" fmla="*/ 529 w 1132"/>
                  <a:gd name="T11" fmla="*/ 468 h 633"/>
                  <a:gd name="T12" fmla="*/ 315 w 1132"/>
                  <a:gd name="T13" fmla="*/ 633 h 633"/>
                  <a:gd name="T14" fmla="*/ 315 w 1132"/>
                  <a:gd name="T15" fmla="*/ 633 h 633"/>
                  <a:gd name="T16" fmla="*/ 315 w 1132"/>
                  <a:gd name="T17" fmla="*/ 633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2" h="633">
                    <a:moveTo>
                      <a:pt x="315" y="633"/>
                    </a:moveTo>
                    <a:lnTo>
                      <a:pt x="315" y="633"/>
                    </a:lnTo>
                    <a:lnTo>
                      <a:pt x="0" y="0"/>
                    </a:lnTo>
                    <a:lnTo>
                      <a:pt x="0" y="0"/>
                    </a:lnTo>
                    <a:lnTo>
                      <a:pt x="1132" y="0"/>
                    </a:lnTo>
                    <a:lnTo>
                      <a:pt x="529" y="468"/>
                    </a:lnTo>
                    <a:lnTo>
                      <a:pt x="315" y="633"/>
                    </a:lnTo>
                    <a:lnTo>
                      <a:pt x="315" y="633"/>
                    </a:lnTo>
                    <a:lnTo>
                      <a:pt x="315" y="633"/>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0" name="Freeform 325"/>
              <p:cNvSpPr>
                <a:spLocks/>
              </p:cNvSpPr>
              <p:nvPr/>
            </p:nvSpPr>
            <p:spPr bwMode="auto">
              <a:xfrm>
                <a:off x="-9956800" y="-1984376"/>
                <a:ext cx="500063" cy="1004888"/>
              </a:xfrm>
              <a:custGeom>
                <a:avLst/>
                <a:gdLst>
                  <a:gd name="T0" fmla="*/ 315 w 315"/>
                  <a:gd name="T1" fmla="*/ 633 h 633"/>
                  <a:gd name="T2" fmla="*/ 0 w 315"/>
                  <a:gd name="T3" fmla="*/ 0 h 633"/>
                  <a:gd name="T4" fmla="*/ 0 w 315"/>
                  <a:gd name="T5" fmla="*/ 0 h 633"/>
                  <a:gd name="T6" fmla="*/ 315 w 315"/>
                  <a:gd name="T7" fmla="*/ 633 h 633"/>
                </a:gdLst>
                <a:ahLst/>
                <a:cxnLst>
                  <a:cxn ang="0">
                    <a:pos x="T0" y="T1"/>
                  </a:cxn>
                  <a:cxn ang="0">
                    <a:pos x="T2" y="T3"/>
                  </a:cxn>
                  <a:cxn ang="0">
                    <a:pos x="T4" y="T5"/>
                  </a:cxn>
                  <a:cxn ang="0">
                    <a:pos x="T6" y="T7"/>
                  </a:cxn>
                </a:cxnLst>
                <a:rect l="0" t="0" r="r" b="b"/>
                <a:pathLst>
                  <a:path w="315" h="633">
                    <a:moveTo>
                      <a:pt x="315" y="633"/>
                    </a:moveTo>
                    <a:lnTo>
                      <a:pt x="0" y="0"/>
                    </a:lnTo>
                    <a:lnTo>
                      <a:pt x="0" y="0"/>
                    </a:lnTo>
                    <a:lnTo>
                      <a:pt x="315" y="63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1" name="Freeform 326"/>
              <p:cNvSpPr>
                <a:spLocks/>
              </p:cNvSpPr>
              <p:nvPr/>
            </p:nvSpPr>
            <p:spPr bwMode="auto">
              <a:xfrm>
                <a:off x="-11814175" y="-3540126"/>
                <a:ext cx="1857375" cy="1555750"/>
              </a:xfrm>
              <a:custGeom>
                <a:avLst/>
                <a:gdLst>
                  <a:gd name="T0" fmla="*/ 1170 w 1170"/>
                  <a:gd name="T1" fmla="*/ 980 h 980"/>
                  <a:gd name="T2" fmla="*/ 0 w 1170"/>
                  <a:gd name="T3" fmla="*/ 252 h 980"/>
                  <a:gd name="T4" fmla="*/ 605 w 1170"/>
                  <a:gd name="T5" fmla="*/ 0 h 980"/>
                  <a:gd name="T6" fmla="*/ 1170 w 1170"/>
                  <a:gd name="T7" fmla="*/ 980 h 980"/>
                </a:gdLst>
                <a:ahLst/>
                <a:cxnLst>
                  <a:cxn ang="0">
                    <a:pos x="T0" y="T1"/>
                  </a:cxn>
                  <a:cxn ang="0">
                    <a:pos x="T2" y="T3"/>
                  </a:cxn>
                  <a:cxn ang="0">
                    <a:pos x="T4" y="T5"/>
                  </a:cxn>
                  <a:cxn ang="0">
                    <a:pos x="T6" y="T7"/>
                  </a:cxn>
                </a:cxnLst>
                <a:rect l="0" t="0" r="r" b="b"/>
                <a:pathLst>
                  <a:path w="1170" h="980">
                    <a:moveTo>
                      <a:pt x="1170" y="980"/>
                    </a:moveTo>
                    <a:lnTo>
                      <a:pt x="0" y="252"/>
                    </a:lnTo>
                    <a:lnTo>
                      <a:pt x="605" y="0"/>
                    </a:lnTo>
                    <a:lnTo>
                      <a:pt x="1170"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2" name="Freeform 327"/>
              <p:cNvSpPr>
                <a:spLocks/>
              </p:cNvSpPr>
              <p:nvPr/>
            </p:nvSpPr>
            <p:spPr bwMode="auto">
              <a:xfrm>
                <a:off x="-9956800" y="-3540126"/>
                <a:ext cx="1797050" cy="1555750"/>
              </a:xfrm>
              <a:custGeom>
                <a:avLst/>
                <a:gdLst>
                  <a:gd name="T0" fmla="*/ 0 w 1132"/>
                  <a:gd name="T1" fmla="*/ 980 h 980"/>
                  <a:gd name="T2" fmla="*/ 0 w 1132"/>
                  <a:gd name="T3" fmla="*/ 980 h 980"/>
                  <a:gd name="T4" fmla="*/ 566 w 1132"/>
                  <a:gd name="T5" fmla="*/ 0 h 980"/>
                  <a:gd name="T6" fmla="*/ 1132 w 1132"/>
                  <a:gd name="T7" fmla="*/ 980 h 980"/>
                  <a:gd name="T8" fmla="*/ 1132 w 1132"/>
                  <a:gd name="T9" fmla="*/ 980 h 980"/>
                  <a:gd name="T10" fmla="*/ 1132 w 1132"/>
                  <a:gd name="T11" fmla="*/ 980 h 980"/>
                  <a:gd name="T12" fmla="*/ 1132 w 1132"/>
                  <a:gd name="T13" fmla="*/ 980 h 980"/>
                  <a:gd name="T14" fmla="*/ 0 w 1132"/>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980">
                    <a:moveTo>
                      <a:pt x="0" y="980"/>
                    </a:moveTo>
                    <a:lnTo>
                      <a:pt x="0" y="980"/>
                    </a:lnTo>
                    <a:lnTo>
                      <a:pt x="566" y="0"/>
                    </a:lnTo>
                    <a:lnTo>
                      <a:pt x="1132" y="980"/>
                    </a:lnTo>
                    <a:lnTo>
                      <a:pt x="1132" y="980"/>
                    </a:lnTo>
                    <a:lnTo>
                      <a:pt x="1132" y="980"/>
                    </a:lnTo>
                    <a:lnTo>
                      <a:pt x="1132" y="980"/>
                    </a:lnTo>
                    <a:lnTo>
                      <a:pt x="0" y="98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3" name="Freeform 328"/>
              <p:cNvSpPr>
                <a:spLocks/>
              </p:cNvSpPr>
              <p:nvPr/>
            </p:nvSpPr>
            <p:spPr bwMode="auto">
              <a:xfrm>
                <a:off x="-11814175" y="-3140076"/>
                <a:ext cx="1857375" cy="2711450"/>
              </a:xfrm>
              <a:custGeom>
                <a:avLst/>
                <a:gdLst>
                  <a:gd name="T0" fmla="*/ 605 w 1170"/>
                  <a:gd name="T1" fmla="*/ 1708 h 1708"/>
                  <a:gd name="T2" fmla="*/ 605 w 1170"/>
                  <a:gd name="T3" fmla="*/ 1708 h 1708"/>
                  <a:gd name="T4" fmla="*/ 605 w 1170"/>
                  <a:gd name="T5" fmla="*/ 1708 h 1708"/>
                  <a:gd name="T6" fmla="*/ 163 w 1170"/>
                  <a:gd name="T7" fmla="*/ 461 h 1708"/>
                  <a:gd name="T8" fmla="*/ 0 w 1170"/>
                  <a:gd name="T9" fmla="*/ 0 h 1708"/>
                  <a:gd name="T10" fmla="*/ 0 w 1170"/>
                  <a:gd name="T11" fmla="*/ 0 h 1708"/>
                  <a:gd name="T12" fmla="*/ 1170 w 1170"/>
                  <a:gd name="T13" fmla="*/ 728 h 1708"/>
                  <a:gd name="T14" fmla="*/ 1170 w 1170"/>
                  <a:gd name="T15" fmla="*/ 728 h 1708"/>
                  <a:gd name="T16" fmla="*/ 1170 w 1170"/>
                  <a:gd name="T17" fmla="*/ 728 h 1708"/>
                  <a:gd name="T18" fmla="*/ 1170 w 1170"/>
                  <a:gd name="T19" fmla="*/ 728 h 1708"/>
                  <a:gd name="T20" fmla="*/ 1170 w 1170"/>
                  <a:gd name="T21" fmla="*/ 728 h 1708"/>
                  <a:gd name="T22" fmla="*/ 1170 w 1170"/>
                  <a:gd name="T23" fmla="*/ 728 h 1708"/>
                  <a:gd name="T24" fmla="*/ 605 w 1170"/>
                  <a:gd name="T25" fmla="*/ 1708 h 1708"/>
                  <a:gd name="T26" fmla="*/ 605 w 1170"/>
                  <a:gd name="T27" fmla="*/ 1708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0" h="1708">
                    <a:moveTo>
                      <a:pt x="605" y="1708"/>
                    </a:moveTo>
                    <a:lnTo>
                      <a:pt x="605" y="1708"/>
                    </a:lnTo>
                    <a:lnTo>
                      <a:pt x="605" y="1708"/>
                    </a:lnTo>
                    <a:lnTo>
                      <a:pt x="163" y="461"/>
                    </a:lnTo>
                    <a:lnTo>
                      <a:pt x="0" y="0"/>
                    </a:lnTo>
                    <a:lnTo>
                      <a:pt x="0" y="0"/>
                    </a:lnTo>
                    <a:lnTo>
                      <a:pt x="1170" y="728"/>
                    </a:lnTo>
                    <a:lnTo>
                      <a:pt x="1170" y="728"/>
                    </a:lnTo>
                    <a:lnTo>
                      <a:pt x="1170" y="728"/>
                    </a:lnTo>
                    <a:lnTo>
                      <a:pt x="1170" y="728"/>
                    </a:lnTo>
                    <a:lnTo>
                      <a:pt x="1170" y="728"/>
                    </a:lnTo>
                    <a:lnTo>
                      <a:pt x="1170" y="728"/>
                    </a:lnTo>
                    <a:lnTo>
                      <a:pt x="605" y="1708"/>
                    </a:lnTo>
                    <a:lnTo>
                      <a:pt x="605" y="1708"/>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4" name="Freeform 329"/>
              <p:cNvSpPr>
                <a:spLocks/>
              </p:cNvSpPr>
              <p:nvPr/>
            </p:nvSpPr>
            <p:spPr bwMode="auto">
              <a:xfrm>
                <a:off x="-12625388" y="3949700"/>
                <a:ext cx="446088" cy="647700"/>
              </a:xfrm>
              <a:custGeom>
                <a:avLst/>
                <a:gdLst>
                  <a:gd name="T0" fmla="*/ 281 w 281"/>
                  <a:gd name="T1" fmla="*/ 408 h 408"/>
                  <a:gd name="T2" fmla="*/ 0 w 281"/>
                  <a:gd name="T3" fmla="*/ 334 h 408"/>
                  <a:gd name="T4" fmla="*/ 0 w 281"/>
                  <a:gd name="T5" fmla="*/ 0 h 408"/>
                  <a:gd name="T6" fmla="*/ 281 w 281"/>
                  <a:gd name="T7" fmla="*/ 408 h 408"/>
                </a:gdLst>
                <a:ahLst/>
                <a:cxnLst>
                  <a:cxn ang="0">
                    <a:pos x="T0" y="T1"/>
                  </a:cxn>
                  <a:cxn ang="0">
                    <a:pos x="T2" y="T3"/>
                  </a:cxn>
                  <a:cxn ang="0">
                    <a:pos x="T4" y="T5"/>
                  </a:cxn>
                  <a:cxn ang="0">
                    <a:pos x="T6" y="T7"/>
                  </a:cxn>
                </a:cxnLst>
                <a:rect l="0" t="0" r="r" b="b"/>
                <a:pathLst>
                  <a:path w="281" h="408">
                    <a:moveTo>
                      <a:pt x="281" y="408"/>
                    </a:moveTo>
                    <a:lnTo>
                      <a:pt x="0" y="334"/>
                    </a:lnTo>
                    <a:lnTo>
                      <a:pt x="0" y="0"/>
                    </a:lnTo>
                    <a:lnTo>
                      <a:pt x="281" y="408"/>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5" name="Freeform 330"/>
              <p:cNvSpPr>
                <a:spLocks/>
              </p:cNvSpPr>
              <p:nvPr/>
            </p:nvSpPr>
            <p:spPr bwMode="auto">
              <a:xfrm>
                <a:off x="-12625388" y="1152525"/>
                <a:ext cx="844550" cy="811213"/>
              </a:xfrm>
              <a:custGeom>
                <a:avLst/>
                <a:gdLst>
                  <a:gd name="T0" fmla="*/ 0 w 532"/>
                  <a:gd name="T1" fmla="*/ 511 h 511"/>
                  <a:gd name="T2" fmla="*/ 0 w 532"/>
                  <a:gd name="T3" fmla="*/ 511 h 511"/>
                  <a:gd name="T4" fmla="*/ 532 w 532"/>
                  <a:gd name="T5" fmla="*/ 0 h 511"/>
                  <a:gd name="T6" fmla="*/ 0 w 532"/>
                  <a:gd name="T7" fmla="*/ 511 h 511"/>
                </a:gdLst>
                <a:ahLst/>
                <a:cxnLst>
                  <a:cxn ang="0">
                    <a:pos x="T0" y="T1"/>
                  </a:cxn>
                  <a:cxn ang="0">
                    <a:pos x="T2" y="T3"/>
                  </a:cxn>
                  <a:cxn ang="0">
                    <a:pos x="T4" y="T5"/>
                  </a:cxn>
                  <a:cxn ang="0">
                    <a:pos x="T6" y="T7"/>
                  </a:cxn>
                </a:cxnLst>
                <a:rect l="0" t="0" r="r" b="b"/>
                <a:pathLst>
                  <a:path w="532" h="511">
                    <a:moveTo>
                      <a:pt x="0" y="511"/>
                    </a:moveTo>
                    <a:lnTo>
                      <a:pt x="0" y="511"/>
                    </a:lnTo>
                    <a:lnTo>
                      <a:pt x="532" y="0"/>
                    </a:lnTo>
                    <a:lnTo>
                      <a:pt x="0" y="51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6" name="Freeform 331"/>
              <p:cNvSpPr>
                <a:spLocks noEditPoints="1"/>
              </p:cNvSpPr>
              <p:nvPr/>
            </p:nvSpPr>
            <p:spPr bwMode="auto">
              <a:xfrm>
                <a:off x="-12625388" y="2682875"/>
                <a:ext cx="1771650" cy="1914525"/>
              </a:xfrm>
              <a:custGeom>
                <a:avLst/>
                <a:gdLst>
                  <a:gd name="T0" fmla="*/ 586 w 2324"/>
                  <a:gd name="T1" fmla="*/ 2514 h 2514"/>
                  <a:gd name="T2" fmla="*/ 586 w 2324"/>
                  <a:gd name="T3" fmla="*/ 2514 h 2514"/>
                  <a:gd name="T4" fmla="*/ 0 w 2324"/>
                  <a:gd name="T5" fmla="*/ 1664 h 2514"/>
                  <a:gd name="T6" fmla="*/ 0 w 2324"/>
                  <a:gd name="T7" fmla="*/ 64 h 2514"/>
                  <a:gd name="T8" fmla="*/ 2324 w 2324"/>
                  <a:gd name="T9" fmla="*/ 0 h 2514"/>
                  <a:gd name="T10" fmla="*/ 1542 w 2324"/>
                  <a:gd name="T11" fmla="*/ 1131 h 2514"/>
                  <a:gd name="T12" fmla="*/ 586 w 2324"/>
                  <a:gd name="T13" fmla="*/ 2514 h 2514"/>
                  <a:gd name="T14" fmla="*/ 2324 w 2324"/>
                  <a:gd name="T15" fmla="*/ 0 h 2514"/>
                  <a:gd name="T16" fmla="*/ 2324 w 2324"/>
                  <a:gd name="T17" fmla="*/ 0 h 2514"/>
                  <a:gd name="T18" fmla="*/ 2324 w 2324"/>
                  <a:gd name="T19"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4" h="2514">
                    <a:moveTo>
                      <a:pt x="586" y="2514"/>
                    </a:moveTo>
                    <a:lnTo>
                      <a:pt x="586" y="2514"/>
                    </a:lnTo>
                    <a:lnTo>
                      <a:pt x="0" y="1664"/>
                    </a:lnTo>
                    <a:lnTo>
                      <a:pt x="0" y="64"/>
                    </a:lnTo>
                    <a:lnTo>
                      <a:pt x="2324" y="0"/>
                    </a:lnTo>
                    <a:lnTo>
                      <a:pt x="1542" y="1131"/>
                    </a:lnTo>
                    <a:lnTo>
                      <a:pt x="586" y="2514"/>
                    </a:lnTo>
                    <a:moveTo>
                      <a:pt x="2324" y="0"/>
                    </a:moveTo>
                    <a:lnTo>
                      <a:pt x="2324" y="0"/>
                    </a:lnTo>
                    <a:lnTo>
                      <a:pt x="2324"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2" name="Freeform 332"/>
              <p:cNvSpPr>
                <a:spLocks/>
              </p:cNvSpPr>
              <p:nvPr/>
            </p:nvSpPr>
            <p:spPr bwMode="auto">
              <a:xfrm>
                <a:off x="-12625388" y="1125537"/>
                <a:ext cx="1771650" cy="1604963"/>
              </a:xfrm>
              <a:custGeom>
                <a:avLst/>
                <a:gdLst>
                  <a:gd name="T0" fmla="*/ 0 w 1116"/>
                  <a:gd name="T1" fmla="*/ 1011 h 1011"/>
                  <a:gd name="T2" fmla="*/ 0 w 1116"/>
                  <a:gd name="T3" fmla="*/ 528 h 1011"/>
                  <a:gd name="T4" fmla="*/ 532 w 1116"/>
                  <a:gd name="T5" fmla="*/ 17 h 1011"/>
                  <a:gd name="T6" fmla="*/ 550 w 1116"/>
                  <a:gd name="T7" fmla="*/ 0 h 1011"/>
                  <a:gd name="T8" fmla="*/ 532 w 1116"/>
                  <a:gd name="T9" fmla="*/ 17 h 1011"/>
                  <a:gd name="T10" fmla="*/ 550 w 1116"/>
                  <a:gd name="T11" fmla="*/ 0 h 1011"/>
                  <a:gd name="T12" fmla="*/ 550 w 1116"/>
                  <a:gd name="T13" fmla="*/ 0 h 1011"/>
                  <a:gd name="T14" fmla="*/ 550 w 1116"/>
                  <a:gd name="T15" fmla="*/ 0 h 1011"/>
                  <a:gd name="T16" fmla="*/ 1116 w 1116"/>
                  <a:gd name="T17" fmla="*/ 981 h 1011"/>
                  <a:gd name="T18" fmla="*/ 0 w 1116"/>
                  <a:gd name="T19" fmla="*/ 1011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6" h="1011">
                    <a:moveTo>
                      <a:pt x="0" y="1011"/>
                    </a:moveTo>
                    <a:lnTo>
                      <a:pt x="0" y="528"/>
                    </a:lnTo>
                    <a:lnTo>
                      <a:pt x="532" y="17"/>
                    </a:lnTo>
                    <a:lnTo>
                      <a:pt x="550" y="0"/>
                    </a:lnTo>
                    <a:lnTo>
                      <a:pt x="532" y="17"/>
                    </a:lnTo>
                    <a:lnTo>
                      <a:pt x="550" y="0"/>
                    </a:lnTo>
                    <a:lnTo>
                      <a:pt x="550" y="0"/>
                    </a:lnTo>
                    <a:lnTo>
                      <a:pt x="550" y="0"/>
                    </a:lnTo>
                    <a:lnTo>
                      <a:pt x="1116" y="981"/>
                    </a:lnTo>
                    <a:lnTo>
                      <a:pt x="0" y="101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3" name="Freeform 333"/>
              <p:cNvSpPr>
                <a:spLocks/>
              </p:cNvSpPr>
              <p:nvPr/>
            </p:nvSpPr>
            <p:spPr bwMode="auto">
              <a:xfrm>
                <a:off x="-11780838" y="1125537"/>
                <a:ext cx="28575" cy="26988"/>
              </a:xfrm>
              <a:custGeom>
                <a:avLst/>
                <a:gdLst>
                  <a:gd name="T0" fmla="*/ 0 w 18"/>
                  <a:gd name="T1" fmla="*/ 17 h 17"/>
                  <a:gd name="T2" fmla="*/ 0 w 18"/>
                  <a:gd name="T3" fmla="*/ 17 h 17"/>
                  <a:gd name="T4" fmla="*/ 18 w 18"/>
                  <a:gd name="T5" fmla="*/ 0 h 17"/>
                  <a:gd name="T6" fmla="*/ 0 w 18"/>
                  <a:gd name="T7" fmla="*/ 17 h 17"/>
                </a:gdLst>
                <a:ahLst/>
                <a:cxnLst>
                  <a:cxn ang="0">
                    <a:pos x="T0" y="T1"/>
                  </a:cxn>
                  <a:cxn ang="0">
                    <a:pos x="T2" y="T3"/>
                  </a:cxn>
                  <a:cxn ang="0">
                    <a:pos x="T4" y="T5"/>
                  </a:cxn>
                  <a:cxn ang="0">
                    <a:pos x="T6" y="T7"/>
                  </a:cxn>
                </a:cxnLst>
                <a:rect l="0" t="0" r="r" b="b"/>
                <a:pathLst>
                  <a:path w="18" h="17">
                    <a:moveTo>
                      <a:pt x="0" y="17"/>
                    </a:moveTo>
                    <a:lnTo>
                      <a:pt x="0" y="17"/>
                    </a:lnTo>
                    <a:lnTo>
                      <a:pt x="18" y="0"/>
                    </a:lnTo>
                    <a:lnTo>
                      <a:pt x="0" y="1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4" name="Freeform 334"/>
              <p:cNvSpPr>
                <a:spLocks noEditPoints="1"/>
              </p:cNvSpPr>
              <p:nvPr/>
            </p:nvSpPr>
            <p:spPr bwMode="auto">
              <a:xfrm>
                <a:off x="-10853738" y="1454150"/>
                <a:ext cx="1365250" cy="1757363"/>
              </a:xfrm>
              <a:custGeom>
                <a:avLst/>
                <a:gdLst>
                  <a:gd name="T0" fmla="*/ 1792 w 1792"/>
                  <a:gd name="T1" fmla="*/ 2307 h 2307"/>
                  <a:gd name="T2" fmla="*/ 0 w 1792"/>
                  <a:gd name="T3" fmla="*/ 1612 h 2307"/>
                  <a:gd name="T4" fmla="*/ 0 w 1792"/>
                  <a:gd name="T5" fmla="*/ 1612 h 2307"/>
                  <a:gd name="T6" fmla="*/ 0 w 1792"/>
                  <a:gd name="T7" fmla="*/ 1612 h 2307"/>
                  <a:gd name="T8" fmla="*/ 233 w 1792"/>
                  <a:gd name="T9" fmla="*/ 0 h 2307"/>
                  <a:gd name="T10" fmla="*/ 790 w 1792"/>
                  <a:gd name="T11" fmla="*/ 824 h 2307"/>
                  <a:gd name="T12" fmla="*/ 1792 w 1792"/>
                  <a:gd name="T13" fmla="*/ 2307 h 2307"/>
                  <a:gd name="T14" fmla="*/ 233 w 1792"/>
                  <a:gd name="T15" fmla="*/ 0 h 2307"/>
                  <a:gd name="T16" fmla="*/ 233 w 1792"/>
                  <a:gd name="T17" fmla="*/ 0 h 2307"/>
                  <a:gd name="T18" fmla="*/ 233 w 1792"/>
                  <a:gd name="T19" fmla="*/ 0 h 2307"/>
                  <a:gd name="T20" fmla="*/ 233 w 1792"/>
                  <a:gd name="T21" fmla="*/ 0 h 2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2" h="2307">
                    <a:moveTo>
                      <a:pt x="1792" y="2307"/>
                    </a:moveTo>
                    <a:lnTo>
                      <a:pt x="0" y="1612"/>
                    </a:lnTo>
                    <a:lnTo>
                      <a:pt x="0" y="1612"/>
                    </a:lnTo>
                    <a:lnTo>
                      <a:pt x="0" y="1612"/>
                    </a:lnTo>
                    <a:lnTo>
                      <a:pt x="233" y="0"/>
                    </a:lnTo>
                    <a:lnTo>
                      <a:pt x="790" y="824"/>
                    </a:lnTo>
                    <a:lnTo>
                      <a:pt x="1792" y="2307"/>
                    </a:lnTo>
                    <a:moveTo>
                      <a:pt x="233" y="0"/>
                    </a:moveTo>
                    <a:lnTo>
                      <a:pt x="233" y="0"/>
                    </a:lnTo>
                    <a:lnTo>
                      <a:pt x="233" y="0"/>
                    </a:lnTo>
                    <a:lnTo>
                      <a:pt x="233"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5" name="Freeform 335"/>
              <p:cNvSpPr>
                <a:spLocks/>
              </p:cNvSpPr>
              <p:nvPr/>
            </p:nvSpPr>
            <p:spPr bwMode="auto">
              <a:xfrm>
                <a:off x="-10853738" y="-979488"/>
                <a:ext cx="1397000" cy="2433638"/>
              </a:xfrm>
              <a:custGeom>
                <a:avLst/>
                <a:gdLst>
                  <a:gd name="T0" fmla="*/ 111 w 880"/>
                  <a:gd name="T1" fmla="*/ 1533 h 1533"/>
                  <a:gd name="T2" fmla="*/ 111 w 880"/>
                  <a:gd name="T3" fmla="*/ 1533 h 1533"/>
                  <a:gd name="T4" fmla="*/ 0 w 880"/>
                  <a:gd name="T5" fmla="*/ 347 h 1533"/>
                  <a:gd name="T6" fmla="*/ 0 w 880"/>
                  <a:gd name="T7" fmla="*/ 347 h 1533"/>
                  <a:gd name="T8" fmla="*/ 0 w 880"/>
                  <a:gd name="T9" fmla="*/ 347 h 1533"/>
                  <a:gd name="T10" fmla="*/ 880 w 880"/>
                  <a:gd name="T11" fmla="*/ 0 h 1533"/>
                  <a:gd name="T12" fmla="*/ 111 w 880"/>
                  <a:gd name="T13" fmla="*/ 1533 h 1533"/>
                </a:gdLst>
                <a:ahLst/>
                <a:cxnLst>
                  <a:cxn ang="0">
                    <a:pos x="T0" y="T1"/>
                  </a:cxn>
                  <a:cxn ang="0">
                    <a:pos x="T2" y="T3"/>
                  </a:cxn>
                  <a:cxn ang="0">
                    <a:pos x="T4" y="T5"/>
                  </a:cxn>
                  <a:cxn ang="0">
                    <a:pos x="T6" y="T7"/>
                  </a:cxn>
                  <a:cxn ang="0">
                    <a:pos x="T8" y="T9"/>
                  </a:cxn>
                  <a:cxn ang="0">
                    <a:pos x="T10" y="T11"/>
                  </a:cxn>
                  <a:cxn ang="0">
                    <a:pos x="T12" y="T13"/>
                  </a:cxn>
                </a:cxnLst>
                <a:rect l="0" t="0" r="r" b="b"/>
                <a:pathLst>
                  <a:path w="880" h="1533">
                    <a:moveTo>
                      <a:pt x="111" y="1533"/>
                    </a:moveTo>
                    <a:lnTo>
                      <a:pt x="111" y="1533"/>
                    </a:lnTo>
                    <a:lnTo>
                      <a:pt x="0" y="347"/>
                    </a:lnTo>
                    <a:lnTo>
                      <a:pt x="0" y="347"/>
                    </a:lnTo>
                    <a:lnTo>
                      <a:pt x="0" y="347"/>
                    </a:lnTo>
                    <a:lnTo>
                      <a:pt x="880" y="0"/>
                    </a:lnTo>
                    <a:lnTo>
                      <a:pt x="111" y="15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6" name="Freeform 336"/>
              <p:cNvSpPr>
                <a:spLocks/>
              </p:cNvSpPr>
              <p:nvPr/>
            </p:nvSpPr>
            <p:spPr bwMode="auto">
              <a:xfrm>
                <a:off x="-10677525" y="1125537"/>
                <a:ext cx="2517775" cy="2085975"/>
              </a:xfrm>
              <a:custGeom>
                <a:avLst/>
                <a:gdLst>
                  <a:gd name="T0" fmla="*/ 749 w 1586"/>
                  <a:gd name="T1" fmla="*/ 1314 h 1314"/>
                  <a:gd name="T2" fmla="*/ 268 w 1586"/>
                  <a:gd name="T3" fmla="*/ 602 h 1314"/>
                  <a:gd name="T4" fmla="*/ 0 w 1586"/>
                  <a:gd name="T5" fmla="*/ 207 h 1314"/>
                  <a:gd name="T6" fmla="*/ 0 w 1586"/>
                  <a:gd name="T7" fmla="*/ 207 h 1314"/>
                  <a:gd name="T8" fmla="*/ 0 w 1586"/>
                  <a:gd name="T9" fmla="*/ 207 h 1314"/>
                  <a:gd name="T10" fmla="*/ 0 w 1586"/>
                  <a:gd name="T11" fmla="*/ 207 h 1314"/>
                  <a:gd name="T12" fmla="*/ 169 w 1586"/>
                  <a:gd name="T13" fmla="*/ 185 h 1314"/>
                  <a:gd name="T14" fmla="*/ 1586 w 1586"/>
                  <a:gd name="T15" fmla="*/ 0 h 1314"/>
                  <a:gd name="T16" fmla="*/ 749 w 1586"/>
                  <a:gd name="T17" fmla="*/ 1314 h 1314"/>
                  <a:gd name="T18" fmla="*/ 749 w 1586"/>
                  <a:gd name="T19" fmla="*/ 1314 h 1314"/>
                  <a:gd name="T20" fmla="*/ 749 w 1586"/>
                  <a:gd name="T21" fmla="*/ 1314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6" h="1314">
                    <a:moveTo>
                      <a:pt x="749" y="1314"/>
                    </a:moveTo>
                    <a:lnTo>
                      <a:pt x="268" y="602"/>
                    </a:lnTo>
                    <a:lnTo>
                      <a:pt x="0" y="207"/>
                    </a:lnTo>
                    <a:lnTo>
                      <a:pt x="0" y="207"/>
                    </a:lnTo>
                    <a:lnTo>
                      <a:pt x="0" y="207"/>
                    </a:lnTo>
                    <a:lnTo>
                      <a:pt x="0" y="207"/>
                    </a:lnTo>
                    <a:lnTo>
                      <a:pt x="169" y="185"/>
                    </a:lnTo>
                    <a:lnTo>
                      <a:pt x="1586" y="0"/>
                    </a:lnTo>
                    <a:lnTo>
                      <a:pt x="749" y="1314"/>
                    </a:lnTo>
                    <a:lnTo>
                      <a:pt x="749" y="1314"/>
                    </a:lnTo>
                    <a:lnTo>
                      <a:pt x="749" y="1314"/>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7" name="Freeform 337"/>
              <p:cNvSpPr>
                <a:spLocks/>
              </p:cNvSpPr>
              <p:nvPr/>
            </p:nvSpPr>
            <p:spPr bwMode="auto">
              <a:xfrm>
                <a:off x="-10677525" y="1454150"/>
                <a:ext cx="425450" cy="627063"/>
              </a:xfrm>
              <a:custGeom>
                <a:avLst/>
                <a:gdLst>
                  <a:gd name="T0" fmla="*/ 268 w 268"/>
                  <a:gd name="T1" fmla="*/ 395 h 395"/>
                  <a:gd name="T2" fmla="*/ 0 w 268"/>
                  <a:gd name="T3" fmla="*/ 0 h 395"/>
                  <a:gd name="T4" fmla="*/ 0 w 268"/>
                  <a:gd name="T5" fmla="*/ 0 h 395"/>
                  <a:gd name="T6" fmla="*/ 268 w 268"/>
                  <a:gd name="T7" fmla="*/ 395 h 395"/>
                </a:gdLst>
                <a:ahLst/>
                <a:cxnLst>
                  <a:cxn ang="0">
                    <a:pos x="T0" y="T1"/>
                  </a:cxn>
                  <a:cxn ang="0">
                    <a:pos x="T2" y="T3"/>
                  </a:cxn>
                  <a:cxn ang="0">
                    <a:pos x="T4" y="T5"/>
                  </a:cxn>
                  <a:cxn ang="0">
                    <a:pos x="T6" y="T7"/>
                  </a:cxn>
                </a:cxnLst>
                <a:rect l="0" t="0" r="r" b="b"/>
                <a:pathLst>
                  <a:path w="268" h="395">
                    <a:moveTo>
                      <a:pt x="268" y="395"/>
                    </a:moveTo>
                    <a:lnTo>
                      <a:pt x="0" y="0"/>
                    </a:lnTo>
                    <a:lnTo>
                      <a:pt x="0" y="0"/>
                    </a:lnTo>
                    <a:lnTo>
                      <a:pt x="268" y="39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8" name="Freeform 338"/>
              <p:cNvSpPr>
                <a:spLocks/>
              </p:cNvSpPr>
              <p:nvPr/>
            </p:nvSpPr>
            <p:spPr bwMode="auto">
              <a:xfrm>
                <a:off x="-11752263" y="-428626"/>
                <a:ext cx="1074738" cy="1882775"/>
              </a:xfrm>
              <a:custGeom>
                <a:avLst/>
                <a:gdLst>
                  <a:gd name="T0" fmla="*/ 677 w 677"/>
                  <a:gd name="T1" fmla="*/ 1186 h 1186"/>
                  <a:gd name="T2" fmla="*/ 0 w 677"/>
                  <a:gd name="T3" fmla="*/ 979 h 1186"/>
                  <a:gd name="T4" fmla="*/ 452 w 677"/>
                  <a:gd name="T5" fmla="*/ 196 h 1186"/>
                  <a:gd name="T6" fmla="*/ 566 w 677"/>
                  <a:gd name="T7" fmla="*/ 0 h 1186"/>
                  <a:gd name="T8" fmla="*/ 677 w 677"/>
                  <a:gd name="T9" fmla="*/ 1186 h 1186"/>
                  <a:gd name="T10" fmla="*/ 677 w 677"/>
                  <a:gd name="T11" fmla="*/ 1186 h 1186"/>
                </a:gdLst>
                <a:ahLst/>
                <a:cxnLst>
                  <a:cxn ang="0">
                    <a:pos x="T0" y="T1"/>
                  </a:cxn>
                  <a:cxn ang="0">
                    <a:pos x="T2" y="T3"/>
                  </a:cxn>
                  <a:cxn ang="0">
                    <a:pos x="T4" y="T5"/>
                  </a:cxn>
                  <a:cxn ang="0">
                    <a:pos x="T6" y="T7"/>
                  </a:cxn>
                  <a:cxn ang="0">
                    <a:pos x="T8" y="T9"/>
                  </a:cxn>
                  <a:cxn ang="0">
                    <a:pos x="T10" y="T11"/>
                  </a:cxn>
                </a:cxnLst>
                <a:rect l="0" t="0" r="r" b="b"/>
                <a:pathLst>
                  <a:path w="677" h="1186">
                    <a:moveTo>
                      <a:pt x="677" y="1186"/>
                    </a:moveTo>
                    <a:lnTo>
                      <a:pt x="0" y="979"/>
                    </a:lnTo>
                    <a:lnTo>
                      <a:pt x="452" y="196"/>
                    </a:lnTo>
                    <a:lnTo>
                      <a:pt x="566" y="0"/>
                    </a:lnTo>
                    <a:lnTo>
                      <a:pt x="677" y="1186"/>
                    </a:lnTo>
                    <a:lnTo>
                      <a:pt x="677" y="118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9" name="Rectangle 339"/>
              <p:cNvSpPr>
                <a:spLocks noChangeArrowheads="1"/>
              </p:cNvSpPr>
              <p:nvPr/>
            </p:nvSpPr>
            <p:spPr bwMode="auto">
              <a:xfrm>
                <a:off x="-10677525" y="1454150"/>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00" name="Rectangle 340"/>
              <p:cNvSpPr>
                <a:spLocks noChangeArrowheads="1"/>
              </p:cNvSpPr>
              <p:nvPr/>
            </p:nvSpPr>
            <p:spPr bwMode="auto">
              <a:xfrm>
                <a:off x="-11752263" y="1125537"/>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01" name="Freeform 341"/>
              <p:cNvSpPr>
                <a:spLocks/>
              </p:cNvSpPr>
              <p:nvPr/>
            </p:nvSpPr>
            <p:spPr bwMode="auto">
              <a:xfrm>
                <a:off x="-10677525" y="-979488"/>
                <a:ext cx="2517775" cy="2433638"/>
              </a:xfrm>
              <a:custGeom>
                <a:avLst/>
                <a:gdLst>
                  <a:gd name="T0" fmla="*/ 0 w 1586"/>
                  <a:gd name="T1" fmla="*/ 1533 h 1533"/>
                  <a:gd name="T2" fmla="*/ 769 w 1586"/>
                  <a:gd name="T3" fmla="*/ 0 h 1533"/>
                  <a:gd name="T4" fmla="*/ 1586 w 1586"/>
                  <a:gd name="T5" fmla="*/ 1326 h 1533"/>
                  <a:gd name="T6" fmla="*/ 1586 w 1586"/>
                  <a:gd name="T7" fmla="*/ 1326 h 1533"/>
                  <a:gd name="T8" fmla="*/ 1586 w 1586"/>
                  <a:gd name="T9" fmla="*/ 1326 h 1533"/>
                  <a:gd name="T10" fmla="*/ 1586 w 1586"/>
                  <a:gd name="T11" fmla="*/ 1326 h 1533"/>
                  <a:gd name="T12" fmla="*/ 169 w 1586"/>
                  <a:gd name="T13" fmla="*/ 1511 h 1533"/>
                  <a:gd name="T14" fmla="*/ 0 w 1586"/>
                  <a:gd name="T15" fmla="*/ 1533 h 15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6" h="1533">
                    <a:moveTo>
                      <a:pt x="0" y="1533"/>
                    </a:moveTo>
                    <a:lnTo>
                      <a:pt x="769" y="0"/>
                    </a:lnTo>
                    <a:lnTo>
                      <a:pt x="1586" y="1326"/>
                    </a:lnTo>
                    <a:lnTo>
                      <a:pt x="1586" y="1326"/>
                    </a:lnTo>
                    <a:lnTo>
                      <a:pt x="1586" y="1326"/>
                    </a:lnTo>
                    <a:lnTo>
                      <a:pt x="1586" y="1326"/>
                    </a:lnTo>
                    <a:lnTo>
                      <a:pt x="169" y="1511"/>
                    </a:lnTo>
                    <a:lnTo>
                      <a:pt x="0" y="1533"/>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02" name="Freeform 342"/>
              <p:cNvSpPr>
                <a:spLocks noEditPoints="1"/>
              </p:cNvSpPr>
              <p:nvPr/>
            </p:nvSpPr>
            <p:spPr bwMode="auto">
              <a:xfrm>
                <a:off x="-11752263" y="1125537"/>
                <a:ext cx="1074738" cy="1557338"/>
              </a:xfrm>
              <a:custGeom>
                <a:avLst/>
                <a:gdLst>
                  <a:gd name="T0" fmla="*/ 1179 w 1412"/>
                  <a:gd name="T1" fmla="*/ 2042 h 2042"/>
                  <a:gd name="T2" fmla="*/ 0 w 1412"/>
                  <a:gd name="T3" fmla="*/ 0 h 2042"/>
                  <a:gd name="T4" fmla="*/ 1412 w 1412"/>
                  <a:gd name="T5" fmla="*/ 430 h 2042"/>
                  <a:gd name="T6" fmla="*/ 1179 w 1412"/>
                  <a:gd name="T7" fmla="*/ 2042 h 2042"/>
                  <a:gd name="T8" fmla="*/ 1412 w 1412"/>
                  <a:gd name="T9" fmla="*/ 430 h 2042"/>
                  <a:gd name="T10" fmla="*/ 1412 w 1412"/>
                  <a:gd name="T11" fmla="*/ 430 h 2042"/>
                  <a:gd name="T12" fmla="*/ 1412 w 1412"/>
                  <a:gd name="T13" fmla="*/ 430 h 2042"/>
                  <a:gd name="T14" fmla="*/ 1412 w 1412"/>
                  <a:gd name="T15" fmla="*/ 430 h 20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2042">
                    <a:moveTo>
                      <a:pt x="1179" y="2042"/>
                    </a:moveTo>
                    <a:lnTo>
                      <a:pt x="0" y="0"/>
                    </a:lnTo>
                    <a:lnTo>
                      <a:pt x="1412" y="430"/>
                    </a:lnTo>
                    <a:lnTo>
                      <a:pt x="1179" y="2042"/>
                    </a:lnTo>
                    <a:moveTo>
                      <a:pt x="1412" y="430"/>
                    </a:moveTo>
                    <a:lnTo>
                      <a:pt x="1412" y="430"/>
                    </a:lnTo>
                    <a:lnTo>
                      <a:pt x="1412" y="430"/>
                    </a:lnTo>
                    <a:lnTo>
                      <a:pt x="1412" y="430"/>
                    </a:lnTo>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03" name="Freeform 343"/>
              <p:cNvSpPr>
                <a:spLocks/>
              </p:cNvSpPr>
              <p:nvPr/>
            </p:nvSpPr>
            <p:spPr bwMode="auto">
              <a:xfrm>
                <a:off x="-10853738" y="1454150"/>
                <a:ext cx="176213" cy="1228725"/>
              </a:xfrm>
              <a:custGeom>
                <a:avLst/>
                <a:gdLst>
                  <a:gd name="T0" fmla="*/ 0 w 111"/>
                  <a:gd name="T1" fmla="*/ 774 h 774"/>
                  <a:gd name="T2" fmla="*/ 0 w 111"/>
                  <a:gd name="T3" fmla="*/ 774 h 774"/>
                  <a:gd name="T4" fmla="*/ 111 w 111"/>
                  <a:gd name="T5" fmla="*/ 0 h 774"/>
                  <a:gd name="T6" fmla="*/ 111 w 111"/>
                  <a:gd name="T7" fmla="*/ 0 h 774"/>
                  <a:gd name="T8" fmla="*/ 111 w 111"/>
                  <a:gd name="T9" fmla="*/ 0 h 774"/>
                  <a:gd name="T10" fmla="*/ 111 w 111"/>
                  <a:gd name="T11" fmla="*/ 0 h 774"/>
                  <a:gd name="T12" fmla="*/ 111 w 111"/>
                  <a:gd name="T13" fmla="*/ 0 h 774"/>
                  <a:gd name="T14" fmla="*/ 111 w 111"/>
                  <a:gd name="T15" fmla="*/ 0 h 774"/>
                  <a:gd name="T16" fmla="*/ 0 w 111"/>
                  <a:gd name="T17" fmla="*/ 77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74">
                    <a:moveTo>
                      <a:pt x="0" y="774"/>
                    </a:moveTo>
                    <a:lnTo>
                      <a:pt x="0" y="774"/>
                    </a:lnTo>
                    <a:lnTo>
                      <a:pt x="111" y="0"/>
                    </a:lnTo>
                    <a:lnTo>
                      <a:pt x="111" y="0"/>
                    </a:lnTo>
                    <a:lnTo>
                      <a:pt x="111" y="0"/>
                    </a:lnTo>
                    <a:lnTo>
                      <a:pt x="111" y="0"/>
                    </a:lnTo>
                    <a:lnTo>
                      <a:pt x="111" y="0"/>
                    </a:lnTo>
                    <a:lnTo>
                      <a:pt x="111" y="0"/>
                    </a:lnTo>
                    <a:lnTo>
                      <a:pt x="0" y="774"/>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04" name="Rectangle 344"/>
              <p:cNvSpPr>
                <a:spLocks noChangeArrowheads="1"/>
              </p:cNvSpPr>
              <p:nvPr/>
            </p:nvSpPr>
            <p:spPr bwMode="auto">
              <a:xfrm>
                <a:off x="-11752263" y="1125537"/>
                <a:ext cx="1588" cy="1588"/>
              </a:xfrm>
              <a:prstGeom prst="rect">
                <a:avLst/>
              </a:prstGeom>
              <a:solidFill>
                <a:srgbClr val="579ABA"/>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05" name="Rectangle 345"/>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06" name="Rectangle 346"/>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07" name="Freeform 347"/>
              <p:cNvSpPr>
                <a:spLocks/>
              </p:cNvSpPr>
              <p:nvPr/>
            </p:nvSpPr>
            <p:spPr bwMode="auto">
              <a:xfrm>
                <a:off x="-11752263" y="1125537"/>
                <a:ext cx="1074738" cy="328613"/>
              </a:xfrm>
              <a:custGeom>
                <a:avLst/>
                <a:gdLst>
                  <a:gd name="T0" fmla="*/ 677 w 677"/>
                  <a:gd name="T1" fmla="*/ 207 h 207"/>
                  <a:gd name="T2" fmla="*/ 0 w 677"/>
                  <a:gd name="T3" fmla="*/ 0 h 207"/>
                  <a:gd name="T4" fmla="*/ 0 w 677"/>
                  <a:gd name="T5" fmla="*/ 0 h 207"/>
                  <a:gd name="T6" fmla="*/ 0 w 677"/>
                  <a:gd name="T7" fmla="*/ 0 h 207"/>
                  <a:gd name="T8" fmla="*/ 677 w 677"/>
                  <a:gd name="T9" fmla="*/ 207 h 207"/>
                  <a:gd name="T10" fmla="*/ 677 w 677"/>
                  <a:gd name="T11" fmla="*/ 207 h 207"/>
                </a:gdLst>
                <a:ahLst/>
                <a:cxnLst>
                  <a:cxn ang="0">
                    <a:pos x="T0" y="T1"/>
                  </a:cxn>
                  <a:cxn ang="0">
                    <a:pos x="T2" y="T3"/>
                  </a:cxn>
                  <a:cxn ang="0">
                    <a:pos x="T4" y="T5"/>
                  </a:cxn>
                  <a:cxn ang="0">
                    <a:pos x="T6" y="T7"/>
                  </a:cxn>
                  <a:cxn ang="0">
                    <a:pos x="T8" y="T9"/>
                  </a:cxn>
                  <a:cxn ang="0">
                    <a:pos x="T10" y="T11"/>
                  </a:cxn>
                </a:cxnLst>
                <a:rect l="0" t="0" r="r" b="b"/>
                <a:pathLst>
                  <a:path w="677" h="207">
                    <a:moveTo>
                      <a:pt x="677" y="207"/>
                    </a:moveTo>
                    <a:lnTo>
                      <a:pt x="0" y="0"/>
                    </a:lnTo>
                    <a:lnTo>
                      <a:pt x="0" y="0"/>
                    </a:lnTo>
                    <a:lnTo>
                      <a:pt x="0" y="0"/>
                    </a:lnTo>
                    <a:lnTo>
                      <a:pt x="677" y="207"/>
                    </a:lnTo>
                    <a:lnTo>
                      <a:pt x="677" y="20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08" name="Rectangle 348"/>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09" name="Freeform 349"/>
              <p:cNvSpPr>
                <a:spLocks noEditPoints="1"/>
              </p:cNvSpPr>
              <p:nvPr/>
            </p:nvSpPr>
            <p:spPr bwMode="auto">
              <a:xfrm>
                <a:off x="-12625388" y="5602287"/>
                <a:ext cx="571500" cy="1801813"/>
              </a:xfrm>
              <a:custGeom>
                <a:avLst/>
                <a:gdLst>
                  <a:gd name="T0" fmla="*/ 0 w 750"/>
                  <a:gd name="T1" fmla="*/ 2365 h 2365"/>
                  <a:gd name="T2" fmla="*/ 0 w 750"/>
                  <a:gd name="T3" fmla="*/ 921 h 2365"/>
                  <a:gd name="T4" fmla="*/ 750 w 750"/>
                  <a:gd name="T5" fmla="*/ 0 h 2365"/>
                  <a:gd name="T6" fmla="*/ 371 w 750"/>
                  <a:gd name="T7" fmla="*/ 2264 h 2365"/>
                  <a:gd name="T8" fmla="*/ 0 w 750"/>
                  <a:gd name="T9" fmla="*/ 2365 h 2365"/>
                  <a:gd name="T10" fmla="*/ 0 w 750"/>
                  <a:gd name="T11" fmla="*/ 921 h 2365"/>
                  <a:gd name="T12" fmla="*/ 0 w 750"/>
                  <a:gd name="T13" fmla="*/ 921 h 2365"/>
                  <a:gd name="T14" fmla="*/ 750 w 750"/>
                  <a:gd name="T15" fmla="*/ 0 h 2365"/>
                  <a:gd name="T16" fmla="*/ 750 w 750"/>
                  <a:gd name="T17" fmla="*/ 0 h 2365"/>
                  <a:gd name="T18" fmla="*/ 750 w 750"/>
                  <a:gd name="T19" fmla="*/ 0 h 2365"/>
                  <a:gd name="T20" fmla="*/ 0 w 750"/>
                  <a:gd name="T21" fmla="*/ 921 h 2365"/>
                  <a:gd name="T22" fmla="*/ 750 w 750"/>
                  <a:gd name="T23" fmla="*/ 0 h 2365"/>
                  <a:gd name="T24" fmla="*/ 750 w 750"/>
                  <a:gd name="T25" fmla="*/ 0 h 2365"/>
                  <a:gd name="T26" fmla="*/ 750 w 750"/>
                  <a:gd name="T27" fmla="*/ 0 h 2365"/>
                  <a:gd name="T28" fmla="*/ 750 w 750"/>
                  <a:gd name="T29" fmla="*/ 0 h 2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0" h="2365">
                    <a:moveTo>
                      <a:pt x="0" y="2365"/>
                    </a:moveTo>
                    <a:lnTo>
                      <a:pt x="0" y="921"/>
                    </a:lnTo>
                    <a:lnTo>
                      <a:pt x="750" y="0"/>
                    </a:lnTo>
                    <a:lnTo>
                      <a:pt x="371" y="2264"/>
                    </a:lnTo>
                    <a:lnTo>
                      <a:pt x="0" y="2365"/>
                    </a:lnTo>
                    <a:moveTo>
                      <a:pt x="0" y="921"/>
                    </a:moveTo>
                    <a:lnTo>
                      <a:pt x="0" y="921"/>
                    </a:lnTo>
                    <a:lnTo>
                      <a:pt x="750" y="0"/>
                    </a:lnTo>
                    <a:lnTo>
                      <a:pt x="750" y="0"/>
                    </a:lnTo>
                    <a:lnTo>
                      <a:pt x="750" y="0"/>
                    </a:lnTo>
                    <a:lnTo>
                      <a:pt x="0" y="921"/>
                    </a:lnTo>
                    <a:moveTo>
                      <a:pt x="750" y="0"/>
                    </a:moveTo>
                    <a:lnTo>
                      <a:pt x="750" y="0"/>
                    </a:lnTo>
                    <a:lnTo>
                      <a:pt x="750" y="0"/>
                    </a:lnTo>
                    <a:lnTo>
                      <a:pt x="750" y="0"/>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0" name="Freeform 350"/>
              <p:cNvSpPr>
                <a:spLocks/>
              </p:cNvSpPr>
              <p:nvPr/>
            </p:nvSpPr>
            <p:spPr bwMode="auto">
              <a:xfrm>
                <a:off x="-12625388" y="4479925"/>
                <a:ext cx="571500" cy="1122363"/>
              </a:xfrm>
              <a:custGeom>
                <a:avLst/>
                <a:gdLst>
                  <a:gd name="T0" fmla="*/ 360 w 360"/>
                  <a:gd name="T1" fmla="*/ 707 h 707"/>
                  <a:gd name="T2" fmla="*/ 0 w 360"/>
                  <a:gd name="T3" fmla="*/ 379 h 707"/>
                  <a:gd name="T4" fmla="*/ 0 w 360"/>
                  <a:gd name="T5" fmla="*/ 0 h 707"/>
                  <a:gd name="T6" fmla="*/ 281 w 360"/>
                  <a:gd name="T7" fmla="*/ 74 h 707"/>
                  <a:gd name="T8" fmla="*/ 360 w 360"/>
                  <a:gd name="T9" fmla="*/ 707 h 707"/>
                </a:gdLst>
                <a:ahLst/>
                <a:cxnLst>
                  <a:cxn ang="0">
                    <a:pos x="T0" y="T1"/>
                  </a:cxn>
                  <a:cxn ang="0">
                    <a:pos x="T2" y="T3"/>
                  </a:cxn>
                  <a:cxn ang="0">
                    <a:pos x="T4" y="T5"/>
                  </a:cxn>
                  <a:cxn ang="0">
                    <a:pos x="T6" y="T7"/>
                  </a:cxn>
                  <a:cxn ang="0">
                    <a:pos x="T8" y="T9"/>
                  </a:cxn>
                </a:cxnLst>
                <a:rect l="0" t="0" r="r" b="b"/>
                <a:pathLst>
                  <a:path w="360" h="707">
                    <a:moveTo>
                      <a:pt x="360" y="707"/>
                    </a:moveTo>
                    <a:lnTo>
                      <a:pt x="0" y="379"/>
                    </a:lnTo>
                    <a:lnTo>
                      <a:pt x="0" y="0"/>
                    </a:lnTo>
                    <a:lnTo>
                      <a:pt x="281" y="74"/>
                    </a:lnTo>
                    <a:lnTo>
                      <a:pt x="360" y="707"/>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1" name="Freeform 351"/>
              <p:cNvSpPr>
                <a:spLocks noEditPoints="1"/>
              </p:cNvSpPr>
              <p:nvPr/>
            </p:nvSpPr>
            <p:spPr bwMode="auto">
              <a:xfrm>
                <a:off x="-12341225" y="5602287"/>
                <a:ext cx="1487488" cy="1725613"/>
              </a:xfrm>
              <a:custGeom>
                <a:avLst/>
                <a:gdLst>
                  <a:gd name="T0" fmla="*/ 0 w 1952"/>
                  <a:gd name="T1" fmla="*/ 2264 h 2264"/>
                  <a:gd name="T2" fmla="*/ 378 w 1952"/>
                  <a:gd name="T3" fmla="*/ 0 h 2264"/>
                  <a:gd name="T4" fmla="*/ 378 w 1952"/>
                  <a:gd name="T5" fmla="*/ 0 h 2264"/>
                  <a:gd name="T6" fmla="*/ 1952 w 1952"/>
                  <a:gd name="T7" fmla="*/ 251 h 2264"/>
                  <a:gd name="T8" fmla="*/ 1952 w 1952"/>
                  <a:gd name="T9" fmla="*/ 251 h 2264"/>
                  <a:gd name="T10" fmla="*/ 1952 w 1952"/>
                  <a:gd name="T11" fmla="*/ 251 h 2264"/>
                  <a:gd name="T12" fmla="*/ 1952 w 1952"/>
                  <a:gd name="T13" fmla="*/ 251 h 2264"/>
                  <a:gd name="T14" fmla="*/ 780 w 1952"/>
                  <a:gd name="T15" fmla="*/ 1459 h 2264"/>
                  <a:gd name="T16" fmla="*/ 0 w 1952"/>
                  <a:gd name="T17" fmla="*/ 2264 h 2264"/>
                  <a:gd name="T18" fmla="*/ 378 w 1952"/>
                  <a:gd name="T19" fmla="*/ 0 h 2264"/>
                  <a:gd name="T20" fmla="*/ 378 w 1952"/>
                  <a:gd name="T21" fmla="*/ 0 h 2264"/>
                  <a:gd name="T22" fmla="*/ 378 w 1952"/>
                  <a:gd name="T23" fmla="*/ 0 h 2264"/>
                  <a:gd name="T24" fmla="*/ 378 w 1952"/>
                  <a:gd name="T25" fmla="*/ 0 h 2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52" h="2264">
                    <a:moveTo>
                      <a:pt x="0" y="2264"/>
                    </a:moveTo>
                    <a:lnTo>
                      <a:pt x="378" y="0"/>
                    </a:lnTo>
                    <a:lnTo>
                      <a:pt x="378" y="0"/>
                    </a:lnTo>
                    <a:lnTo>
                      <a:pt x="1952" y="251"/>
                    </a:lnTo>
                    <a:lnTo>
                      <a:pt x="1952" y="251"/>
                    </a:lnTo>
                    <a:lnTo>
                      <a:pt x="1952" y="251"/>
                    </a:lnTo>
                    <a:lnTo>
                      <a:pt x="1952" y="251"/>
                    </a:lnTo>
                    <a:lnTo>
                      <a:pt x="780" y="1459"/>
                    </a:lnTo>
                    <a:lnTo>
                      <a:pt x="0" y="2264"/>
                    </a:lnTo>
                    <a:moveTo>
                      <a:pt x="378" y="0"/>
                    </a:moveTo>
                    <a:lnTo>
                      <a:pt x="378" y="0"/>
                    </a:lnTo>
                    <a:lnTo>
                      <a:pt x="378" y="0"/>
                    </a:lnTo>
                    <a:lnTo>
                      <a:pt x="378"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2" name="Freeform 352"/>
              <p:cNvSpPr>
                <a:spLocks noEditPoints="1"/>
              </p:cNvSpPr>
              <p:nvPr/>
            </p:nvSpPr>
            <p:spPr bwMode="auto">
              <a:xfrm>
                <a:off x="-12625388" y="5081587"/>
                <a:ext cx="571500" cy="520700"/>
              </a:xfrm>
              <a:custGeom>
                <a:avLst/>
                <a:gdLst>
                  <a:gd name="T0" fmla="*/ 750 w 750"/>
                  <a:gd name="T1" fmla="*/ 684 h 684"/>
                  <a:gd name="T2" fmla="*/ 750 w 750"/>
                  <a:gd name="T3" fmla="*/ 684 h 684"/>
                  <a:gd name="T4" fmla="*/ 750 w 750"/>
                  <a:gd name="T5" fmla="*/ 684 h 684"/>
                  <a:gd name="T6" fmla="*/ 750 w 750"/>
                  <a:gd name="T7" fmla="*/ 684 h 684"/>
                  <a:gd name="T8" fmla="*/ 750 w 750"/>
                  <a:gd name="T9" fmla="*/ 684 h 684"/>
                  <a:gd name="T10" fmla="*/ 0 w 750"/>
                  <a:gd name="T11" fmla="*/ 0 h 684"/>
                  <a:gd name="T12" fmla="*/ 750 w 750"/>
                  <a:gd name="T13" fmla="*/ 684 h 684"/>
                </a:gdLst>
                <a:ahLst/>
                <a:cxnLst>
                  <a:cxn ang="0">
                    <a:pos x="T0" y="T1"/>
                  </a:cxn>
                  <a:cxn ang="0">
                    <a:pos x="T2" y="T3"/>
                  </a:cxn>
                  <a:cxn ang="0">
                    <a:pos x="T4" y="T5"/>
                  </a:cxn>
                  <a:cxn ang="0">
                    <a:pos x="T6" y="T7"/>
                  </a:cxn>
                  <a:cxn ang="0">
                    <a:pos x="T8" y="T9"/>
                  </a:cxn>
                  <a:cxn ang="0">
                    <a:pos x="T10" y="T11"/>
                  </a:cxn>
                  <a:cxn ang="0">
                    <a:pos x="T12" y="T13"/>
                  </a:cxn>
                </a:cxnLst>
                <a:rect l="0" t="0" r="r" b="b"/>
                <a:pathLst>
                  <a:path w="750" h="684">
                    <a:moveTo>
                      <a:pt x="750" y="684"/>
                    </a:moveTo>
                    <a:lnTo>
                      <a:pt x="750" y="684"/>
                    </a:lnTo>
                    <a:lnTo>
                      <a:pt x="750" y="684"/>
                    </a:lnTo>
                    <a:lnTo>
                      <a:pt x="750" y="684"/>
                    </a:lnTo>
                    <a:moveTo>
                      <a:pt x="750" y="684"/>
                    </a:moveTo>
                    <a:lnTo>
                      <a:pt x="0" y="0"/>
                    </a:lnTo>
                    <a:lnTo>
                      <a:pt x="750" y="684"/>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3" name="Rectangle 353"/>
              <p:cNvSpPr>
                <a:spLocks noChangeArrowheads="1"/>
              </p:cNvSpPr>
              <p:nvPr/>
            </p:nvSpPr>
            <p:spPr bwMode="auto">
              <a:xfrm>
                <a:off x="-12053888" y="5602287"/>
                <a:ext cx="1588" cy="1588"/>
              </a:xfrm>
              <a:prstGeom prst="rect">
                <a:avLst/>
              </a:prstGeom>
              <a:solidFill>
                <a:srgbClr val="599DBC"/>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4" name="Line 354"/>
              <p:cNvSpPr>
                <a:spLocks noChangeShapeType="1"/>
              </p:cNvSpPr>
              <p:nvPr/>
            </p:nvSpPr>
            <p:spPr bwMode="auto">
              <a:xfrm>
                <a:off x="-12053888" y="56022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5" name="Freeform 355"/>
              <p:cNvSpPr>
                <a:spLocks/>
              </p:cNvSpPr>
              <p:nvPr/>
            </p:nvSpPr>
            <p:spPr bwMode="auto">
              <a:xfrm>
                <a:off x="-12179300" y="4597400"/>
                <a:ext cx="1325563" cy="1195388"/>
              </a:xfrm>
              <a:custGeom>
                <a:avLst/>
                <a:gdLst>
                  <a:gd name="T0" fmla="*/ 835 w 835"/>
                  <a:gd name="T1" fmla="*/ 753 h 753"/>
                  <a:gd name="T2" fmla="*/ 79 w 835"/>
                  <a:gd name="T3" fmla="*/ 633 h 753"/>
                  <a:gd name="T4" fmla="*/ 0 w 835"/>
                  <a:gd name="T5" fmla="*/ 0 h 753"/>
                  <a:gd name="T6" fmla="*/ 835 w 835"/>
                  <a:gd name="T7" fmla="*/ 753 h 753"/>
                  <a:gd name="T8" fmla="*/ 835 w 835"/>
                  <a:gd name="T9" fmla="*/ 753 h 753"/>
                </a:gdLst>
                <a:ahLst/>
                <a:cxnLst>
                  <a:cxn ang="0">
                    <a:pos x="T0" y="T1"/>
                  </a:cxn>
                  <a:cxn ang="0">
                    <a:pos x="T2" y="T3"/>
                  </a:cxn>
                  <a:cxn ang="0">
                    <a:pos x="T4" y="T5"/>
                  </a:cxn>
                  <a:cxn ang="0">
                    <a:pos x="T6" y="T7"/>
                  </a:cxn>
                  <a:cxn ang="0">
                    <a:pos x="T8" y="T9"/>
                  </a:cxn>
                </a:cxnLst>
                <a:rect l="0" t="0" r="r" b="b"/>
                <a:pathLst>
                  <a:path w="835" h="753">
                    <a:moveTo>
                      <a:pt x="835" y="753"/>
                    </a:moveTo>
                    <a:lnTo>
                      <a:pt x="79" y="633"/>
                    </a:lnTo>
                    <a:lnTo>
                      <a:pt x="0" y="0"/>
                    </a:lnTo>
                    <a:lnTo>
                      <a:pt x="835" y="753"/>
                    </a:lnTo>
                    <a:lnTo>
                      <a:pt x="835" y="753"/>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6" name="Freeform 356"/>
              <p:cNvSpPr>
                <a:spLocks/>
              </p:cNvSpPr>
              <p:nvPr/>
            </p:nvSpPr>
            <p:spPr bwMode="auto">
              <a:xfrm>
                <a:off x="-12625388" y="5602287"/>
                <a:ext cx="571500" cy="701675"/>
              </a:xfrm>
              <a:custGeom>
                <a:avLst/>
                <a:gdLst>
                  <a:gd name="T0" fmla="*/ 0 w 360"/>
                  <a:gd name="T1" fmla="*/ 442 h 442"/>
                  <a:gd name="T2" fmla="*/ 0 w 360"/>
                  <a:gd name="T3" fmla="*/ 442 h 442"/>
                  <a:gd name="T4" fmla="*/ 360 w 360"/>
                  <a:gd name="T5" fmla="*/ 0 h 442"/>
                  <a:gd name="T6" fmla="*/ 360 w 360"/>
                  <a:gd name="T7" fmla="*/ 0 h 442"/>
                  <a:gd name="T8" fmla="*/ 360 w 360"/>
                  <a:gd name="T9" fmla="*/ 0 h 442"/>
                  <a:gd name="T10" fmla="*/ 360 w 360"/>
                  <a:gd name="T11" fmla="*/ 0 h 442"/>
                  <a:gd name="T12" fmla="*/ 360 w 360"/>
                  <a:gd name="T13" fmla="*/ 0 h 442"/>
                  <a:gd name="T14" fmla="*/ 0 w 36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442">
                    <a:moveTo>
                      <a:pt x="0" y="442"/>
                    </a:moveTo>
                    <a:lnTo>
                      <a:pt x="0" y="442"/>
                    </a:lnTo>
                    <a:lnTo>
                      <a:pt x="360" y="0"/>
                    </a:lnTo>
                    <a:lnTo>
                      <a:pt x="360" y="0"/>
                    </a:lnTo>
                    <a:lnTo>
                      <a:pt x="360" y="0"/>
                    </a:lnTo>
                    <a:lnTo>
                      <a:pt x="360" y="0"/>
                    </a:lnTo>
                    <a:lnTo>
                      <a:pt x="360" y="0"/>
                    </a:lnTo>
                    <a:lnTo>
                      <a:pt x="0" y="4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7" name="Freeform 357"/>
              <p:cNvSpPr>
                <a:spLocks noEditPoints="1"/>
              </p:cNvSpPr>
              <p:nvPr/>
            </p:nvSpPr>
            <p:spPr bwMode="auto">
              <a:xfrm>
                <a:off x="-10853738" y="4237037"/>
                <a:ext cx="944563" cy="2341563"/>
              </a:xfrm>
              <a:custGeom>
                <a:avLst/>
                <a:gdLst>
                  <a:gd name="T0" fmla="*/ 1240 w 1240"/>
                  <a:gd name="T1" fmla="*/ 3073 h 3073"/>
                  <a:gd name="T2" fmla="*/ 0 w 1240"/>
                  <a:gd name="T3" fmla="*/ 2042 h 3073"/>
                  <a:gd name="T4" fmla="*/ 0 w 1240"/>
                  <a:gd name="T5" fmla="*/ 2042 h 3073"/>
                  <a:gd name="T6" fmla="*/ 0 w 1240"/>
                  <a:gd name="T7" fmla="*/ 2042 h 3073"/>
                  <a:gd name="T8" fmla="*/ 0 w 1240"/>
                  <a:gd name="T9" fmla="*/ 2042 h 3073"/>
                  <a:gd name="T10" fmla="*/ 1178 w 1240"/>
                  <a:gd name="T11" fmla="*/ 1 h 3073"/>
                  <a:gd name="T12" fmla="*/ 1240 w 1240"/>
                  <a:gd name="T13" fmla="*/ 3073 h 3073"/>
                  <a:gd name="T14" fmla="*/ 1178 w 1240"/>
                  <a:gd name="T15" fmla="*/ 0 h 3073"/>
                  <a:gd name="T16" fmla="*/ 1178 w 1240"/>
                  <a:gd name="T17" fmla="*/ 0 h 3073"/>
                  <a:gd name="T18" fmla="*/ 1178 w 1240"/>
                  <a:gd name="T19" fmla="*/ 0 h 3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0" h="3073">
                    <a:moveTo>
                      <a:pt x="1240" y="3073"/>
                    </a:moveTo>
                    <a:lnTo>
                      <a:pt x="0" y="2042"/>
                    </a:lnTo>
                    <a:lnTo>
                      <a:pt x="0" y="2042"/>
                    </a:lnTo>
                    <a:lnTo>
                      <a:pt x="0" y="2042"/>
                    </a:lnTo>
                    <a:lnTo>
                      <a:pt x="0" y="2042"/>
                    </a:lnTo>
                    <a:lnTo>
                      <a:pt x="1178" y="1"/>
                    </a:lnTo>
                    <a:lnTo>
                      <a:pt x="1240" y="3073"/>
                    </a:lnTo>
                    <a:moveTo>
                      <a:pt x="1178" y="0"/>
                    </a:moveTo>
                    <a:lnTo>
                      <a:pt x="1178" y="0"/>
                    </a:lnTo>
                    <a:lnTo>
                      <a:pt x="1178" y="0"/>
                    </a:lnTo>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8" name="Rectangle 358"/>
              <p:cNvSpPr>
                <a:spLocks noChangeArrowheads="1"/>
              </p:cNvSpPr>
              <p:nvPr/>
            </p:nvSpPr>
            <p:spPr bwMode="auto">
              <a:xfrm>
                <a:off x="-10853738" y="5792787"/>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9" name="Freeform 359"/>
              <p:cNvSpPr>
                <a:spLocks/>
              </p:cNvSpPr>
              <p:nvPr/>
            </p:nvSpPr>
            <p:spPr bwMode="auto">
              <a:xfrm>
                <a:off x="-10853738" y="2682875"/>
                <a:ext cx="1365250" cy="1554163"/>
              </a:xfrm>
              <a:custGeom>
                <a:avLst/>
                <a:gdLst>
                  <a:gd name="T0" fmla="*/ 565 w 860"/>
                  <a:gd name="T1" fmla="*/ 979 h 979"/>
                  <a:gd name="T2" fmla="*/ 565 w 860"/>
                  <a:gd name="T3" fmla="*/ 979 h 979"/>
                  <a:gd name="T4" fmla="*/ 0 w 860"/>
                  <a:gd name="T5" fmla="*/ 0 h 979"/>
                  <a:gd name="T6" fmla="*/ 0 w 860"/>
                  <a:gd name="T7" fmla="*/ 0 h 979"/>
                  <a:gd name="T8" fmla="*/ 860 w 860"/>
                  <a:gd name="T9" fmla="*/ 333 h 979"/>
                  <a:gd name="T10" fmla="*/ 565 w 860"/>
                  <a:gd name="T11" fmla="*/ 979 h 979"/>
                </a:gdLst>
                <a:ahLst/>
                <a:cxnLst>
                  <a:cxn ang="0">
                    <a:pos x="T0" y="T1"/>
                  </a:cxn>
                  <a:cxn ang="0">
                    <a:pos x="T2" y="T3"/>
                  </a:cxn>
                  <a:cxn ang="0">
                    <a:pos x="T4" y="T5"/>
                  </a:cxn>
                  <a:cxn ang="0">
                    <a:pos x="T6" y="T7"/>
                  </a:cxn>
                  <a:cxn ang="0">
                    <a:pos x="T8" y="T9"/>
                  </a:cxn>
                  <a:cxn ang="0">
                    <a:pos x="T10" y="T11"/>
                  </a:cxn>
                </a:cxnLst>
                <a:rect l="0" t="0" r="r" b="b"/>
                <a:pathLst>
                  <a:path w="860" h="979">
                    <a:moveTo>
                      <a:pt x="565" y="979"/>
                    </a:moveTo>
                    <a:lnTo>
                      <a:pt x="565" y="979"/>
                    </a:lnTo>
                    <a:lnTo>
                      <a:pt x="0" y="0"/>
                    </a:lnTo>
                    <a:lnTo>
                      <a:pt x="0" y="0"/>
                    </a:lnTo>
                    <a:lnTo>
                      <a:pt x="860" y="333"/>
                    </a:lnTo>
                    <a:lnTo>
                      <a:pt x="565"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0" name="Freeform 360"/>
              <p:cNvSpPr>
                <a:spLocks/>
              </p:cNvSpPr>
              <p:nvPr/>
            </p:nvSpPr>
            <p:spPr bwMode="auto">
              <a:xfrm>
                <a:off x="-9956800" y="4237037"/>
                <a:ext cx="1797050" cy="2341563"/>
              </a:xfrm>
              <a:custGeom>
                <a:avLst/>
                <a:gdLst>
                  <a:gd name="T0" fmla="*/ 30 w 1132"/>
                  <a:gd name="T1" fmla="*/ 1475 h 1475"/>
                  <a:gd name="T2" fmla="*/ 0 w 1132"/>
                  <a:gd name="T3" fmla="*/ 1 h 1475"/>
                  <a:gd name="T4" fmla="*/ 0 w 1132"/>
                  <a:gd name="T5" fmla="*/ 0 h 1475"/>
                  <a:gd name="T6" fmla="*/ 0 w 1132"/>
                  <a:gd name="T7" fmla="*/ 0 h 1475"/>
                  <a:gd name="T8" fmla="*/ 0 w 1132"/>
                  <a:gd name="T9" fmla="*/ 0 h 1475"/>
                  <a:gd name="T10" fmla="*/ 1132 w 1132"/>
                  <a:gd name="T11" fmla="*/ 0 h 1475"/>
                  <a:gd name="T12" fmla="*/ 1132 w 1132"/>
                  <a:gd name="T13" fmla="*/ 1 h 1475"/>
                  <a:gd name="T14" fmla="*/ 30 w 1132"/>
                  <a:gd name="T15" fmla="*/ 1475 h 14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1475">
                    <a:moveTo>
                      <a:pt x="30" y="1475"/>
                    </a:moveTo>
                    <a:lnTo>
                      <a:pt x="0" y="1"/>
                    </a:lnTo>
                    <a:lnTo>
                      <a:pt x="0" y="0"/>
                    </a:lnTo>
                    <a:lnTo>
                      <a:pt x="0" y="0"/>
                    </a:lnTo>
                    <a:lnTo>
                      <a:pt x="0" y="0"/>
                    </a:lnTo>
                    <a:lnTo>
                      <a:pt x="1132" y="0"/>
                    </a:lnTo>
                    <a:lnTo>
                      <a:pt x="1132" y="1"/>
                    </a:lnTo>
                    <a:lnTo>
                      <a:pt x="30" y="147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1" name="Freeform 361"/>
              <p:cNvSpPr>
                <a:spLocks noEditPoints="1"/>
              </p:cNvSpPr>
              <p:nvPr/>
            </p:nvSpPr>
            <p:spPr bwMode="auto">
              <a:xfrm>
                <a:off x="-12179300" y="2682875"/>
                <a:ext cx="2222500" cy="1914525"/>
              </a:xfrm>
              <a:custGeom>
                <a:avLst/>
                <a:gdLst>
                  <a:gd name="T0" fmla="*/ 0 w 2916"/>
                  <a:gd name="T1" fmla="*/ 2514 h 2514"/>
                  <a:gd name="T2" fmla="*/ 956 w 2916"/>
                  <a:gd name="T3" fmla="*/ 1131 h 2514"/>
                  <a:gd name="T4" fmla="*/ 1738 w 2916"/>
                  <a:gd name="T5" fmla="*/ 0 h 2514"/>
                  <a:gd name="T6" fmla="*/ 2916 w 2916"/>
                  <a:gd name="T7" fmla="*/ 2041 h 2514"/>
                  <a:gd name="T8" fmla="*/ 0 w 2916"/>
                  <a:gd name="T9" fmla="*/ 2514 h 2514"/>
                  <a:gd name="T10" fmla="*/ 1738 w 2916"/>
                  <a:gd name="T11" fmla="*/ 0 h 2514"/>
                  <a:gd name="T12" fmla="*/ 1738 w 2916"/>
                  <a:gd name="T13" fmla="*/ 0 h 2514"/>
                </a:gdLst>
                <a:ahLst/>
                <a:cxnLst>
                  <a:cxn ang="0">
                    <a:pos x="T0" y="T1"/>
                  </a:cxn>
                  <a:cxn ang="0">
                    <a:pos x="T2" y="T3"/>
                  </a:cxn>
                  <a:cxn ang="0">
                    <a:pos x="T4" y="T5"/>
                  </a:cxn>
                  <a:cxn ang="0">
                    <a:pos x="T6" y="T7"/>
                  </a:cxn>
                  <a:cxn ang="0">
                    <a:pos x="T8" y="T9"/>
                  </a:cxn>
                  <a:cxn ang="0">
                    <a:pos x="T10" y="T11"/>
                  </a:cxn>
                  <a:cxn ang="0">
                    <a:pos x="T12" y="T13"/>
                  </a:cxn>
                </a:cxnLst>
                <a:rect l="0" t="0" r="r" b="b"/>
                <a:pathLst>
                  <a:path w="2916" h="2514">
                    <a:moveTo>
                      <a:pt x="0" y="2514"/>
                    </a:moveTo>
                    <a:lnTo>
                      <a:pt x="956" y="1131"/>
                    </a:lnTo>
                    <a:lnTo>
                      <a:pt x="1738" y="0"/>
                    </a:lnTo>
                    <a:lnTo>
                      <a:pt x="2916" y="2041"/>
                    </a:lnTo>
                    <a:lnTo>
                      <a:pt x="0" y="2514"/>
                    </a:lnTo>
                    <a:moveTo>
                      <a:pt x="1738" y="0"/>
                    </a:moveTo>
                    <a:lnTo>
                      <a:pt x="1738"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2" name="Freeform 362"/>
              <p:cNvSpPr>
                <a:spLocks/>
              </p:cNvSpPr>
              <p:nvPr/>
            </p:nvSpPr>
            <p:spPr bwMode="auto">
              <a:xfrm>
                <a:off x="-9956800" y="3211512"/>
                <a:ext cx="1797050" cy="1025525"/>
              </a:xfrm>
              <a:custGeom>
                <a:avLst/>
                <a:gdLst>
                  <a:gd name="T0" fmla="*/ 2358 w 2358"/>
                  <a:gd name="T1" fmla="*/ 1346 h 1346"/>
                  <a:gd name="T2" fmla="*/ 0 w 2358"/>
                  <a:gd name="T3" fmla="*/ 1346 h 1346"/>
                  <a:gd name="T4" fmla="*/ 614 w 2358"/>
                  <a:gd name="T5" fmla="*/ 0 h 1346"/>
                  <a:gd name="T6" fmla="*/ 2358 w 2358"/>
                  <a:gd name="T7" fmla="*/ 1346 h 1346"/>
                  <a:gd name="T8" fmla="*/ 2357 w 2358"/>
                  <a:gd name="T9" fmla="*/ 1346 h 1346"/>
                  <a:gd name="T10" fmla="*/ 2358 w 2358"/>
                  <a:gd name="T11" fmla="*/ 1346 h 1346"/>
                  <a:gd name="T12" fmla="*/ 2358 w 2358"/>
                  <a:gd name="T13" fmla="*/ 1346 h 1346"/>
                  <a:gd name="T14" fmla="*/ 2357 w 2358"/>
                  <a:gd name="T15" fmla="*/ 1346 h 13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8" h="1346">
                    <a:moveTo>
                      <a:pt x="2358" y="1346"/>
                    </a:moveTo>
                    <a:lnTo>
                      <a:pt x="0" y="1346"/>
                    </a:lnTo>
                    <a:lnTo>
                      <a:pt x="614" y="0"/>
                    </a:lnTo>
                    <a:lnTo>
                      <a:pt x="2358" y="1346"/>
                    </a:lnTo>
                    <a:lnTo>
                      <a:pt x="2357" y="1346"/>
                    </a:lnTo>
                    <a:lnTo>
                      <a:pt x="2358" y="1346"/>
                    </a:lnTo>
                    <a:lnTo>
                      <a:pt x="2358" y="1346"/>
                    </a:lnTo>
                    <a:lnTo>
                      <a:pt x="2357" y="1346"/>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3" name="Freeform 363"/>
              <p:cNvSpPr>
                <a:spLocks noEditPoints="1"/>
              </p:cNvSpPr>
              <p:nvPr/>
            </p:nvSpPr>
            <p:spPr bwMode="auto">
              <a:xfrm>
                <a:off x="-12179300" y="4237037"/>
                <a:ext cx="2222500" cy="1555750"/>
              </a:xfrm>
              <a:custGeom>
                <a:avLst/>
                <a:gdLst>
                  <a:gd name="T0" fmla="*/ 1738 w 2916"/>
                  <a:gd name="T1" fmla="*/ 2042 h 2042"/>
                  <a:gd name="T2" fmla="*/ 0 w 2916"/>
                  <a:gd name="T3" fmla="*/ 473 h 2042"/>
                  <a:gd name="T4" fmla="*/ 2916 w 2916"/>
                  <a:gd name="T5" fmla="*/ 0 h 2042"/>
                  <a:gd name="T6" fmla="*/ 1738 w 2916"/>
                  <a:gd name="T7" fmla="*/ 2042 h 2042"/>
                  <a:gd name="T8" fmla="*/ 2916 w 2916"/>
                  <a:gd name="T9" fmla="*/ 1 h 2042"/>
                  <a:gd name="T10" fmla="*/ 2916 w 2916"/>
                  <a:gd name="T11" fmla="*/ 0 h 2042"/>
                  <a:gd name="T12" fmla="*/ 2916 w 2916"/>
                  <a:gd name="T13" fmla="*/ 1 h 2042"/>
                </a:gdLst>
                <a:ahLst/>
                <a:cxnLst>
                  <a:cxn ang="0">
                    <a:pos x="T0" y="T1"/>
                  </a:cxn>
                  <a:cxn ang="0">
                    <a:pos x="T2" y="T3"/>
                  </a:cxn>
                  <a:cxn ang="0">
                    <a:pos x="T4" y="T5"/>
                  </a:cxn>
                  <a:cxn ang="0">
                    <a:pos x="T6" y="T7"/>
                  </a:cxn>
                  <a:cxn ang="0">
                    <a:pos x="T8" y="T9"/>
                  </a:cxn>
                  <a:cxn ang="0">
                    <a:pos x="T10" y="T11"/>
                  </a:cxn>
                  <a:cxn ang="0">
                    <a:pos x="T12" y="T13"/>
                  </a:cxn>
                </a:cxnLst>
                <a:rect l="0" t="0" r="r" b="b"/>
                <a:pathLst>
                  <a:path w="2916" h="2042">
                    <a:moveTo>
                      <a:pt x="1738" y="2042"/>
                    </a:moveTo>
                    <a:lnTo>
                      <a:pt x="0" y="473"/>
                    </a:lnTo>
                    <a:lnTo>
                      <a:pt x="2916" y="0"/>
                    </a:lnTo>
                    <a:lnTo>
                      <a:pt x="1738" y="2042"/>
                    </a:lnTo>
                    <a:moveTo>
                      <a:pt x="2916" y="1"/>
                    </a:moveTo>
                    <a:lnTo>
                      <a:pt x="2916" y="0"/>
                    </a:lnTo>
                    <a:lnTo>
                      <a:pt x="2916" y="1"/>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4" name="Freeform 364"/>
              <p:cNvSpPr>
                <a:spLocks/>
              </p:cNvSpPr>
              <p:nvPr/>
            </p:nvSpPr>
            <p:spPr bwMode="auto">
              <a:xfrm>
                <a:off x="-10853738" y="4237037"/>
                <a:ext cx="896938" cy="1555750"/>
              </a:xfrm>
              <a:custGeom>
                <a:avLst/>
                <a:gdLst>
                  <a:gd name="T0" fmla="*/ 0 w 565"/>
                  <a:gd name="T1" fmla="*/ 980 h 980"/>
                  <a:gd name="T2" fmla="*/ 0 w 565"/>
                  <a:gd name="T3" fmla="*/ 980 h 980"/>
                  <a:gd name="T4" fmla="*/ 565 w 565"/>
                  <a:gd name="T5" fmla="*/ 0 h 980"/>
                  <a:gd name="T6" fmla="*/ 565 w 565"/>
                  <a:gd name="T7" fmla="*/ 1 h 980"/>
                  <a:gd name="T8" fmla="*/ 0 w 565"/>
                  <a:gd name="T9" fmla="*/ 980 h 980"/>
                </a:gdLst>
                <a:ahLst/>
                <a:cxnLst>
                  <a:cxn ang="0">
                    <a:pos x="T0" y="T1"/>
                  </a:cxn>
                  <a:cxn ang="0">
                    <a:pos x="T2" y="T3"/>
                  </a:cxn>
                  <a:cxn ang="0">
                    <a:pos x="T4" y="T5"/>
                  </a:cxn>
                  <a:cxn ang="0">
                    <a:pos x="T6" y="T7"/>
                  </a:cxn>
                  <a:cxn ang="0">
                    <a:pos x="T8" y="T9"/>
                  </a:cxn>
                </a:cxnLst>
                <a:rect l="0" t="0" r="r" b="b"/>
                <a:pathLst>
                  <a:path w="565" h="980">
                    <a:moveTo>
                      <a:pt x="0" y="980"/>
                    </a:moveTo>
                    <a:lnTo>
                      <a:pt x="0" y="980"/>
                    </a:lnTo>
                    <a:lnTo>
                      <a:pt x="565" y="0"/>
                    </a:lnTo>
                    <a:lnTo>
                      <a:pt x="565" y="1"/>
                    </a:lnTo>
                    <a:lnTo>
                      <a:pt x="0" y="980"/>
                    </a:lnTo>
                    <a:close/>
                  </a:path>
                </a:pathLst>
              </a:custGeom>
              <a:solidFill>
                <a:srgbClr val="599FB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5" name="Rectangle 365"/>
              <p:cNvSpPr>
                <a:spLocks noChangeArrowheads="1"/>
              </p:cNvSpPr>
              <p:nvPr/>
            </p:nvSpPr>
            <p:spPr bwMode="auto">
              <a:xfrm>
                <a:off x="-9956800" y="4237037"/>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6" name="Freeform 366"/>
              <p:cNvSpPr>
                <a:spLocks/>
              </p:cNvSpPr>
              <p:nvPr/>
            </p:nvSpPr>
            <p:spPr bwMode="auto">
              <a:xfrm>
                <a:off x="-12625388" y="7327900"/>
                <a:ext cx="366713" cy="331788"/>
              </a:xfrm>
              <a:custGeom>
                <a:avLst/>
                <a:gdLst>
                  <a:gd name="T0" fmla="*/ 231 w 231"/>
                  <a:gd name="T1" fmla="*/ 209 h 209"/>
                  <a:gd name="T2" fmla="*/ 0 w 231"/>
                  <a:gd name="T3" fmla="*/ 209 h 209"/>
                  <a:gd name="T4" fmla="*/ 0 w 231"/>
                  <a:gd name="T5" fmla="*/ 48 h 209"/>
                  <a:gd name="T6" fmla="*/ 178 w 231"/>
                  <a:gd name="T7" fmla="*/ 0 h 209"/>
                  <a:gd name="T8" fmla="*/ 231 w 231"/>
                  <a:gd name="T9" fmla="*/ 209 h 209"/>
                </a:gdLst>
                <a:ahLst/>
                <a:cxnLst>
                  <a:cxn ang="0">
                    <a:pos x="T0" y="T1"/>
                  </a:cxn>
                  <a:cxn ang="0">
                    <a:pos x="T2" y="T3"/>
                  </a:cxn>
                  <a:cxn ang="0">
                    <a:pos x="T4" y="T5"/>
                  </a:cxn>
                  <a:cxn ang="0">
                    <a:pos x="T6" y="T7"/>
                  </a:cxn>
                  <a:cxn ang="0">
                    <a:pos x="T8" y="T9"/>
                  </a:cxn>
                </a:cxnLst>
                <a:rect l="0" t="0" r="r" b="b"/>
                <a:pathLst>
                  <a:path w="231" h="209">
                    <a:moveTo>
                      <a:pt x="231" y="209"/>
                    </a:moveTo>
                    <a:lnTo>
                      <a:pt x="0" y="209"/>
                    </a:lnTo>
                    <a:lnTo>
                      <a:pt x="0" y="48"/>
                    </a:lnTo>
                    <a:lnTo>
                      <a:pt x="178" y="0"/>
                    </a:lnTo>
                    <a:lnTo>
                      <a:pt x="231" y="20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7" name="Freeform 367"/>
              <p:cNvSpPr>
                <a:spLocks/>
              </p:cNvSpPr>
              <p:nvPr/>
            </p:nvSpPr>
            <p:spPr bwMode="auto">
              <a:xfrm>
                <a:off x="-12341225" y="7327900"/>
                <a:ext cx="534988" cy="331788"/>
              </a:xfrm>
              <a:custGeom>
                <a:avLst/>
                <a:gdLst>
                  <a:gd name="T0" fmla="*/ 337 w 337"/>
                  <a:gd name="T1" fmla="*/ 209 h 209"/>
                  <a:gd name="T2" fmla="*/ 52 w 337"/>
                  <a:gd name="T3" fmla="*/ 209 h 209"/>
                  <a:gd name="T4" fmla="*/ 0 w 337"/>
                  <a:gd name="T5" fmla="*/ 0 h 209"/>
                  <a:gd name="T6" fmla="*/ 205 w 337"/>
                  <a:gd name="T7" fmla="*/ 127 h 209"/>
                  <a:gd name="T8" fmla="*/ 337 w 337"/>
                  <a:gd name="T9" fmla="*/ 209 h 209"/>
                </a:gdLst>
                <a:ahLst/>
                <a:cxnLst>
                  <a:cxn ang="0">
                    <a:pos x="T0" y="T1"/>
                  </a:cxn>
                  <a:cxn ang="0">
                    <a:pos x="T2" y="T3"/>
                  </a:cxn>
                  <a:cxn ang="0">
                    <a:pos x="T4" y="T5"/>
                  </a:cxn>
                  <a:cxn ang="0">
                    <a:pos x="T6" y="T7"/>
                  </a:cxn>
                  <a:cxn ang="0">
                    <a:pos x="T8" y="T9"/>
                  </a:cxn>
                </a:cxnLst>
                <a:rect l="0" t="0" r="r" b="b"/>
                <a:pathLst>
                  <a:path w="337" h="209">
                    <a:moveTo>
                      <a:pt x="337" y="209"/>
                    </a:moveTo>
                    <a:lnTo>
                      <a:pt x="52" y="209"/>
                    </a:lnTo>
                    <a:lnTo>
                      <a:pt x="0" y="0"/>
                    </a:lnTo>
                    <a:lnTo>
                      <a:pt x="205" y="127"/>
                    </a:lnTo>
                    <a:lnTo>
                      <a:pt x="337" y="20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8" name="Freeform 368"/>
              <p:cNvSpPr>
                <a:spLocks/>
              </p:cNvSpPr>
              <p:nvPr/>
            </p:nvSpPr>
            <p:spPr bwMode="auto">
              <a:xfrm>
                <a:off x="-10125075" y="7350125"/>
                <a:ext cx="347663" cy="309563"/>
              </a:xfrm>
              <a:custGeom>
                <a:avLst/>
                <a:gdLst>
                  <a:gd name="T0" fmla="*/ 219 w 219"/>
                  <a:gd name="T1" fmla="*/ 195 h 195"/>
                  <a:gd name="T2" fmla="*/ 0 w 219"/>
                  <a:gd name="T3" fmla="*/ 195 h 195"/>
                  <a:gd name="T4" fmla="*/ 106 w 219"/>
                  <a:gd name="T5" fmla="*/ 0 h 195"/>
                  <a:gd name="T6" fmla="*/ 219 w 219"/>
                  <a:gd name="T7" fmla="*/ 195 h 195"/>
                </a:gdLst>
                <a:ahLst/>
                <a:cxnLst>
                  <a:cxn ang="0">
                    <a:pos x="T0" y="T1"/>
                  </a:cxn>
                  <a:cxn ang="0">
                    <a:pos x="T2" y="T3"/>
                  </a:cxn>
                  <a:cxn ang="0">
                    <a:pos x="T4" y="T5"/>
                  </a:cxn>
                  <a:cxn ang="0">
                    <a:pos x="T6" y="T7"/>
                  </a:cxn>
                </a:cxnLst>
                <a:rect l="0" t="0" r="r" b="b"/>
                <a:pathLst>
                  <a:path w="219" h="195">
                    <a:moveTo>
                      <a:pt x="219" y="195"/>
                    </a:moveTo>
                    <a:lnTo>
                      <a:pt x="0" y="195"/>
                    </a:lnTo>
                    <a:lnTo>
                      <a:pt x="106" y="0"/>
                    </a:lnTo>
                    <a:lnTo>
                      <a:pt x="219"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9" name="Freeform 369"/>
              <p:cNvSpPr>
                <a:spLocks/>
              </p:cNvSpPr>
              <p:nvPr/>
            </p:nvSpPr>
            <p:spPr bwMode="auto">
              <a:xfrm>
                <a:off x="-10853738" y="5792787"/>
                <a:ext cx="944563" cy="1557338"/>
              </a:xfrm>
              <a:custGeom>
                <a:avLst/>
                <a:gdLst>
                  <a:gd name="T0" fmla="*/ 565 w 595"/>
                  <a:gd name="T1" fmla="*/ 981 h 981"/>
                  <a:gd name="T2" fmla="*/ 565 w 595"/>
                  <a:gd name="T3" fmla="*/ 981 h 981"/>
                  <a:gd name="T4" fmla="*/ 0 w 595"/>
                  <a:gd name="T5" fmla="*/ 0 h 981"/>
                  <a:gd name="T6" fmla="*/ 0 w 595"/>
                  <a:gd name="T7" fmla="*/ 0 h 981"/>
                  <a:gd name="T8" fmla="*/ 595 w 595"/>
                  <a:gd name="T9" fmla="*/ 495 h 981"/>
                  <a:gd name="T10" fmla="*/ 565 w 595"/>
                  <a:gd name="T11" fmla="*/ 981 h 981"/>
                </a:gdLst>
                <a:ahLst/>
                <a:cxnLst>
                  <a:cxn ang="0">
                    <a:pos x="T0" y="T1"/>
                  </a:cxn>
                  <a:cxn ang="0">
                    <a:pos x="T2" y="T3"/>
                  </a:cxn>
                  <a:cxn ang="0">
                    <a:pos x="T4" y="T5"/>
                  </a:cxn>
                  <a:cxn ang="0">
                    <a:pos x="T6" y="T7"/>
                  </a:cxn>
                  <a:cxn ang="0">
                    <a:pos x="T8" y="T9"/>
                  </a:cxn>
                  <a:cxn ang="0">
                    <a:pos x="T10" y="T11"/>
                  </a:cxn>
                </a:cxnLst>
                <a:rect l="0" t="0" r="r" b="b"/>
                <a:pathLst>
                  <a:path w="595" h="981">
                    <a:moveTo>
                      <a:pt x="565" y="981"/>
                    </a:moveTo>
                    <a:lnTo>
                      <a:pt x="565" y="981"/>
                    </a:lnTo>
                    <a:lnTo>
                      <a:pt x="0" y="0"/>
                    </a:lnTo>
                    <a:lnTo>
                      <a:pt x="0" y="0"/>
                    </a:lnTo>
                    <a:lnTo>
                      <a:pt x="595" y="495"/>
                    </a:lnTo>
                    <a:lnTo>
                      <a:pt x="565"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0" name="Freeform 370"/>
              <p:cNvSpPr>
                <a:spLocks/>
              </p:cNvSpPr>
              <p:nvPr/>
            </p:nvSpPr>
            <p:spPr bwMode="auto">
              <a:xfrm>
                <a:off x="-9956800" y="7350125"/>
                <a:ext cx="608013" cy="309563"/>
              </a:xfrm>
              <a:custGeom>
                <a:avLst/>
                <a:gdLst>
                  <a:gd name="T0" fmla="*/ 383 w 383"/>
                  <a:gd name="T1" fmla="*/ 195 h 195"/>
                  <a:gd name="T2" fmla="*/ 113 w 383"/>
                  <a:gd name="T3" fmla="*/ 195 h 195"/>
                  <a:gd name="T4" fmla="*/ 0 w 383"/>
                  <a:gd name="T5" fmla="*/ 0 h 195"/>
                  <a:gd name="T6" fmla="*/ 0 w 383"/>
                  <a:gd name="T7" fmla="*/ 0 h 195"/>
                  <a:gd name="T8" fmla="*/ 383 w 383"/>
                  <a:gd name="T9" fmla="*/ 195 h 195"/>
                </a:gdLst>
                <a:ahLst/>
                <a:cxnLst>
                  <a:cxn ang="0">
                    <a:pos x="T0" y="T1"/>
                  </a:cxn>
                  <a:cxn ang="0">
                    <a:pos x="T2" y="T3"/>
                  </a:cxn>
                  <a:cxn ang="0">
                    <a:pos x="T4" y="T5"/>
                  </a:cxn>
                  <a:cxn ang="0">
                    <a:pos x="T6" y="T7"/>
                  </a:cxn>
                  <a:cxn ang="0">
                    <a:pos x="T8" y="T9"/>
                  </a:cxn>
                </a:cxnLst>
                <a:rect l="0" t="0" r="r" b="b"/>
                <a:pathLst>
                  <a:path w="383" h="195">
                    <a:moveTo>
                      <a:pt x="383" y="195"/>
                    </a:moveTo>
                    <a:lnTo>
                      <a:pt x="113" y="195"/>
                    </a:lnTo>
                    <a:lnTo>
                      <a:pt x="0" y="0"/>
                    </a:lnTo>
                    <a:lnTo>
                      <a:pt x="0" y="0"/>
                    </a:lnTo>
                    <a:lnTo>
                      <a:pt x="383"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1" name="Freeform 371"/>
              <p:cNvSpPr>
                <a:spLocks/>
              </p:cNvSpPr>
              <p:nvPr/>
            </p:nvSpPr>
            <p:spPr bwMode="auto">
              <a:xfrm>
                <a:off x="-12341225" y="5792787"/>
                <a:ext cx="2384425" cy="1557338"/>
              </a:xfrm>
              <a:custGeom>
                <a:avLst/>
                <a:gdLst>
                  <a:gd name="T0" fmla="*/ 1502 w 1502"/>
                  <a:gd name="T1" fmla="*/ 981 h 981"/>
                  <a:gd name="T2" fmla="*/ 0 w 1502"/>
                  <a:gd name="T3" fmla="*/ 967 h 981"/>
                  <a:gd name="T4" fmla="*/ 0 w 1502"/>
                  <a:gd name="T5" fmla="*/ 967 h 981"/>
                  <a:gd name="T6" fmla="*/ 0 w 1502"/>
                  <a:gd name="T7" fmla="*/ 967 h 981"/>
                  <a:gd name="T8" fmla="*/ 374 w 1502"/>
                  <a:gd name="T9" fmla="*/ 580 h 981"/>
                  <a:gd name="T10" fmla="*/ 937 w 1502"/>
                  <a:gd name="T11" fmla="*/ 0 h 981"/>
                  <a:gd name="T12" fmla="*/ 1502 w 1502"/>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502" h="981">
                    <a:moveTo>
                      <a:pt x="1502" y="981"/>
                    </a:moveTo>
                    <a:lnTo>
                      <a:pt x="0" y="967"/>
                    </a:lnTo>
                    <a:lnTo>
                      <a:pt x="0" y="967"/>
                    </a:lnTo>
                    <a:lnTo>
                      <a:pt x="0" y="967"/>
                    </a:lnTo>
                    <a:lnTo>
                      <a:pt x="374" y="580"/>
                    </a:lnTo>
                    <a:lnTo>
                      <a:pt x="937" y="0"/>
                    </a:lnTo>
                    <a:lnTo>
                      <a:pt x="1502" y="981"/>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2" name="Freeform 372"/>
              <p:cNvSpPr>
                <a:spLocks/>
              </p:cNvSpPr>
              <p:nvPr/>
            </p:nvSpPr>
            <p:spPr bwMode="auto">
              <a:xfrm>
                <a:off x="-9956800" y="6578600"/>
                <a:ext cx="1098550" cy="1081088"/>
              </a:xfrm>
              <a:custGeom>
                <a:avLst/>
                <a:gdLst>
                  <a:gd name="T0" fmla="*/ 692 w 692"/>
                  <a:gd name="T1" fmla="*/ 681 h 681"/>
                  <a:gd name="T2" fmla="*/ 383 w 692"/>
                  <a:gd name="T3" fmla="*/ 681 h 681"/>
                  <a:gd name="T4" fmla="*/ 0 w 692"/>
                  <a:gd name="T5" fmla="*/ 486 h 681"/>
                  <a:gd name="T6" fmla="*/ 30 w 692"/>
                  <a:gd name="T7" fmla="*/ 0 h 681"/>
                  <a:gd name="T8" fmla="*/ 692 w 692"/>
                  <a:gd name="T9" fmla="*/ 681 h 681"/>
                </a:gdLst>
                <a:ahLst/>
                <a:cxnLst>
                  <a:cxn ang="0">
                    <a:pos x="T0" y="T1"/>
                  </a:cxn>
                  <a:cxn ang="0">
                    <a:pos x="T2" y="T3"/>
                  </a:cxn>
                  <a:cxn ang="0">
                    <a:pos x="T4" y="T5"/>
                  </a:cxn>
                  <a:cxn ang="0">
                    <a:pos x="T6" y="T7"/>
                  </a:cxn>
                  <a:cxn ang="0">
                    <a:pos x="T8" y="T9"/>
                  </a:cxn>
                </a:cxnLst>
                <a:rect l="0" t="0" r="r" b="b"/>
                <a:pathLst>
                  <a:path w="692" h="681">
                    <a:moveTo>
                      <a:pt x="692" y="681"/>
                    </a:moveTo>
                    <a:lnTo>
                      <a:pt x="383" y="681"/>
                    </a:lnTo>
                    <a:lnTo>
                      <a:pt x="0" y="486"/>
                    </a:lnTo>
                    <a:lnTo>
                      <a:pt x="30" y="0"/>
                    </a:lnTo>
                    <a:lnTo>
                      <a:pt x="692" y="68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3" name="Freeform 373"/>
              <p:cNvSpPr>
                <a:spLocks noEditPoints="1"/>
              </p:cNvSpPr>
              <p:nvPr/>
            </p:nvSpPr>
            <p:spPr bwMode="auto">
              <a:xfrm>
                <a:off x="-12341225" y="7327900"/>
                <a:ext cx="2384425" cy="331788"/>
              </a:xfrm>
              <a:custGeom>
                <a:avLst/>
                <a:gdLst>
                  <a:gd name="T0" fmla="*/ 2910 w 3130"/>
                  <a:gd name="T1" fmla="*/ 436 h 436"/>
                  <a:gd name="T2" fmla="*/ 702 w 3130"/>
                  <a:gd name="T3" fmla="*/ 436 h 436"/>
                  <a:gd name="T4" fmla="*/ 428 w 3130"/>
                  <a:gd name="T5" fmla="*/ 265 h 436"/>
                  <a:gd name="T6" fmla="*/ 0 w 3130"/>
                  <a:gd name="T7" fmla="*/ 0 h 436"/>
                  <a:gd name="T8" fmla="*/ 3130 w 3130"/>
                  <a:gd name="T9" fmla="*/ 29 h 436"/>
                  <a:gd name="T10" fmla="*/ 2910 w 3130"/>
                  <a:gd name="T11" fmla="*/ 436 h 436"/>
                  <a:gd name="T12" fmla="*/ 3130 w 3130"/>
                  <a:gd name="T13" fmla="*/ 29 h 436"/>
                  <a:gd name="T14" fmla="*/ 3130 w 3130"/>
                  <a:gd name="T15" fmla="*/ 29 h 436"/>
                  <a:gd name="T16" fmla="*/ 3130 w 3130"/>
                  <a:gd name="T17" fmla="*/ 29 h 436"/>
                  <a:gd name="T18" fmla="*/ 3130 w 3130"/>
                  <a:gd name="T19" fmla="*/ 29 h 436"/>
                  <a:gd name="T20" fmla="*/ 3130 w 3130"/>
                  <a:gd name="T21" fmla="*/ 29 h 436"/>
                  <a:gd name="T22" fmla="*/ 3130 w 3130"/>
                  <a:gd name="T23" fmla="*/ 29 h 436"/>
                  <a:gd name="T24" fmla="*/ 0 w 3130"/>
                  <a:gd name="T25" fmla="*/ 0 h 436"/>
                  <a:gd name="T26" fmla="*/ 0 w 3130"/>
                  <a:gd name="T27" fmla="*/ 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30" h="436">
                    <a:moveTo>
                      <a:pt x="2910" y="436"/>
                    </a:moveTo>
                    <a:lnTo>
                      <a:pt x="702" y="436"/>
                    </a:lnTo>
                    <a:lnTo>
                      <a:pt x="428" y="265"/>
                    </a:lnTo>
                    <a:lnTo>
                      <a:pt x="0" y="0"/>
                    </a:lnTo>
                    <a:lnTo>
                      <a:pt x="3130" y="29"/>
                    </a:lnTo>
                    <a:lnTo>
                      <a:pt x="2910" y="436"/>
                    </a:lnTo>
                    <a:moveTo>
                      <a:pt x="3130" y="29"/>
                    </a:moveTo>
                    <a:lnTo>
                      <a:pt x="3130" y="29"/>
                    </a:lnTo>
                    <a:lnTo>
                      <a:pt x="3130" y="29"/>
                    </a:lnTo>
                    <a:lnTo>
                      <a:pt x="3130" y="29"/>
                    </a:lnTo>
                    <a:lnTo>
                      <a:pt x="3130" y="29"/>
                    </a:lnTo>
                    <a:lnTo>
                      <a:pt x="3130" y="29"/>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4" name="Freeform 374"/>
              <p:cNvSpPr>
                <a:spLocks/>
              </p:cNvSpPr>
              <p:nvPr/>
            </p:nvSpPr>
            <p:spPr bwMode="auto">
              <a:xfrm>
                <a:off x="-10125075" y="7350125"/>
                <a:ext cx="168275" cy="309563"/>
              </a:xfrm>
              <a:custGeom>
                <a:avLst/>
                <a:gdLst>
                  <a:gd name="T0" fmla="*/ 0 w 106"/>
                  <a:gd name="T1" fmla="*/ 195 h 195"/>
                  <a:gd name="T2" fmla="*/ 0 w 106"/>
                  <a:gd name="T3" fmla="*/ 195 h 195"/>
                  <a:gd name="T4" fmla="*/ 106 w 106"/>
                  <a:gd name="T5" fmla="*/ 0 h 195"/>
                  <a:gd name="T6" fmla="*/ 106 w 106"/>
                  <a:gd name="T7" fmla="*/ 0 h 195"/>
                  <a:gd name="T8" fmla="*/ 0 w 106"/>
                  <a:gd name="T9" fmla="*/ 195 h 195"/>
                </a:gdLst>
                <a:ahLst/>
                <a:cxnLst>
                  <a:cxn ang="0">
                    <a:pos x="T0" y="T1"/>
                  </a:cxn>
                  <a:cxn ang="0">
                    <a:pos x="T2" y="T3"/>
                  </a:cxn>
                  <a:cxn ang="0">
                    <a:pos x="T4" y="T5"/>
                  </a:cxn>
                  <a:cxn ang="0">
                    <a:pos x="T6" y="T7"/>
                  </a:cxn>
                  <a:cxn ang="0">
                    <a:pos x="T8" y="T9"/>
                  </a:cxn>
                </a:cxnLst>
                <a:rect l="0" t="0" r="r" b="b"/>
                <a:pathLst>
                  <a:path w="106" h="195">
                    <a:moveTo>
                      <a:pt x="0" y="195"/>
                    </a:moveTo>
                    <a:lnTo>
                      <a:pt x="0" y="195"/>
                    </a:lnTo>
                    <a:lnTo>
                      <a:pt x="106" y="0"/>
                    </a:lnTo>
                    <a:lnTo>
                      <a:pt x="106" y="0"/>
                    </a:lnTo>
                    <a:lnTo>
                      <a:pt x="0"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5" name="Rectangle 375"/>
              <p:cNvSpPr>
                <a:spLocks noChangeArrowheads="1"/>
              </p:cNvSpPr>
              <p:nvPr/>
            </p:nvSpPr>
            <p:spPr bwMode="auto">
              <a:xfrm>
                <a:off x="-9956800" y="7350125"/>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6" name="Freeform 376"/>
              <p:cNvSpPr>
                <a:spLocks noEditPoints="1"/>
              </p:cNvSpPr>
              <p:nvPr/>
            </p:nvSpPr>
            <p:spPr bwMode="auto">
              <a:xfrm>
                <a:off x="-12341225" y="7327900"/>
                <a:ext cx="2384425" cy="22225"/>
              </a:xfrm>
              <a:custGeom>
                <a:avLst/>
                <a:gdLst>
                  <a:gd name="T0" fmla="*/ 3130 w 3130"/>
                  <a:gd name="T1" fmla="*/ 29 h 29"/>
                  <a:gd name="T2" fmla="*/ 0 w 3130"/>
                  <a:gd name="T3" fmla="*/ 0 h 29"/>
                  <a:gd name="T4" fmla="*/ 0 w 3130"/>
                  <a:gd name="T5" fmla="*/ 0 h 29"/>
                  <a:gd name="T6" fmla="*/ 3130 w 3130"/>
                  <a:gd name="T7" fmla="*/ 29 h 29"/>
                  <a:gd name="T8" fmla="*/ 3130 w 3130"/>
                  <a:gd name="T9" fmla="*/ 29 h 29"/>
                  <a:gd name="T10" fmla="*/ 0 w 3130"/>
                  <a:gd name="T11" fmla="*/ 0 h 29"/>
                  <a:gd name="T12" fmla="*/ 0 w 3130"/>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130" h="29">
                    <a:moveTo>
                      <a:pt x="3130" y="29"/>
                    </a:moveTo>
                    <a:lnTo>
                      <a:pt x="0" y="0"/>
                    </a:lnTo>
                    <a:lnTo>
                      <a:pt x="0" y="0"/>
                    </a:lnTo>
                    <a:lnTo>
                      <a:pt x="3130" y="29"/>
                    </a:lnTo>
                    <a:lnTo>
                      <a:pt x="3130" y="29"/>
                    </a:lnTo>
                    <a:moveTo>
                      <a:pt x="0" y="0"/>
                    </a:moveTo>
                    <a:lnTo>
                      <a:pt x="0" y="0"/>
                    </a:lnTo>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7" name="Freeform 377"/>
              <p:cNvSpPr>
                <a:spLocks/>
              </p:cNvSpPr>
              <p:nvPr/>
            </p:nvSpPr>
            <p:spPr bwMode="auto">
              <a:xfrm>
                <a:off x="-8159750" y="-2909888"/>
                <a:ext cx="2633663" cy="1504950"/>
              </a:xfrm>
              <a:custGeom>
                <a:avLst/>
                <a:gdLst>
                  <a:gd name="T0" fmla="*/ 1659 w 1659"/>
                  <a:gd name="T1" fmla="*/ 948 h 948"/>
                  <a:gd name="T2" fmla="*/ 0 w 1659"/>
                  <a:gd name="T3" fmla="*/ 583 h 948"/>
                  <a:gd name="T4" fmla="*/ 0 w 1659"/>
                  <a:gd name="T5" fmla="*/ 583 h 948"/>
                  <a:gd name="T6" fmla="*/ 0 w 1659"/>
                  <a:gd name="T7" fmla="*/ 583 h 948"/>
                  <a:gd name="T8" fmla="*/ 0 w 1659"/>
                  <a:gd name="T9" fmla="*/ 583 h 948"/>
                  <a:gd name="T10" fmla="*/ 772 w 1659"/>
                  <a:gd name="T11" fmla="*/ 0 h 948"/>
                  <a:gd name="T12" fmla="*/ 772 w 1659"/>
                  <a:gd name="T13" fmla="*/ 0 h 948"/>
                  <a:gd name="T14" fmla="*/ 772 w 1659"/>
                  <a:gd name="T15" fmla="*/ 0 h 948"/>
                  <a:gd name="T16" fmla="*/ 772 w 1659"/>
                  <a:gd name="T17" fmla="*/ 0 h 948"/>
                  <a:gd name="T18" fmla="*/ 772 w 1659"/>
                  <a:gd name="T19" fmla="*/ 0 h 948"/>
                  <a:gd name="T20" fmla="*/ 1224 w 1659"/>
                  <a:gd name="T21" fmla="*/ 483 h 948"/>
                  <a:gd name="T22" fmla="*/ 1659 w 1659"/>
                  <a:gd name="T23" fmla="*/ 948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9" h="948">
                    <a:moveTo>
                      <a:pt x="1659" y="948"/>
                    </a:moveTo>
                    <a:lnTo>
                      <a:pt x="0" y="583"/>
                    </a:lnTo>
                    <a:lnTo>
                      <a:pt x="0" y="583"/>
                    </a:lnTo>
                    <a:lnTo>
                      <a:pt x="0" y="583"/>
                    </a:lnTo>
                    <a:lnTo>
                      <a:pt x="0" y="583"/>
                    </a:lnTo>
                    <a:lnTo>
                      <a:pt x="772" y="0"/>
                    </a:lnTo>
                    <a:lnTo>
                      <a:pt x="772" y="0"/>
                    </a:lnTo>
                    <a:lnTo>
                      <a:pt x="772" y="0"/>
                    </a:lnTo>
                    <a:lnTo>
                      <a:pt x="772" y="0"/>
                    </a:lnTo>
                    <a:lnTo>
                      <a:pt x="772" y="0"/>
                    </a:lnTo>
                    <a:lnTo>
                      <a:pt x="1224" y="483"/>
                    </a:lnTo>
                    <a:lnTo>
                      <a:pt x="1659" y="948"/>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8" name="Freeform 378"/>
              <p:cNvSpPr>
                <a:spLocks/>
              </p:cNvSpPr>
              <p:nvPr/>
            </p:nvSpPr>
            <p:spPr bwMode="auto">
              <a:xfrm>
                <a:off x="-7967663" y="-4110038"/>
                <a:ext cx="1346200" cy="1200150"/>
              </a:xfrm>
              <a:custGeom>
                <a:avLst/>
                <a:gdLst>
                  <a:gd name="T0" fmla="*/ 651 w 848"/>
                  <a:gd name="T1" fmla="*/ 756 h 756"/>
                  <a:gd name="T2" fmla="*/ 0 w 848"/>
                  <a:gd name="T3" fmla="*/ 0 h 756"/>
                  <a:gd name="T4" fmla="*/ 848 w 848"/>
                  <a:gd name="T5" fmla="*/ 0 h 756"/>
                  <a:gd name="T6" fmla="*/ 651 w 848"/>
                  <a:gd name="T7" fmla="*/ 756 h 756"/>
                </a:gdLst>
                <a:ahLst/>
                <a:cxnLst>
                  <a:cxn ang="0">
                    <a:pos x="T0" y="T1"/>
                  </a:cxn>
                  <a:cxn ang="0">
                    <a:pos x="T2" y="T3"/>
                  </a:cxn>
                  <a:cxn ang="0">
                    <a:pos x="T4" y="T5"/>
                  </a:cxn>
                  <a:cxn ang="0">
                    <a:pos x="T6" y="T7"/>
                  </a:cxn>
                </a:cxnLst>
                <a:rect l="0" t="0" r="r" b="b"/>
                <a:pathLst>
                  <a:path w="848" h="756">
                    <a:moveTo>
                      <a:pt x="651" y="756"/>
                    </a:moveTo>
                    <a:lnTo>
                      <a:pt x="0" y="0"/>
                    </a:lnTo>
                    <a:lnTo>
                      <a:pt x="848" y="0"/>
                    </a:lnTo>
                    <a:lnTo>
                      <a:pt x="651" y="756"/>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9" name="Freeform 379"/>
              <p:cNvSpPr>
                <a:spLocks/>
              </p:cNvSpPr>
              <p:nvPr/>
            </p:nvSpPr>
            <p:spPr bwMode="auto">
              <a:xfrm>
                <a:off x="-6934200" y="-3540126"/>
                <a:ext cx="1468438" cy="2135188"/>
              </a:xfrm>
              <a:custGeom>
                <a:avLst/>
                <a:gdLst>
                  <a:gd name="T0" fmla="*/ 887 w 925"/>
                  <a:gd name="T1" fmla="*/ 1345 h 1345"/>
                  <a:gd name="T2" fmla="*/ 452 w 925"/>
                  <a:gd name="T3" fmla="*/ 880 h 1345"/>
                  <a:gd name="T4" fmla="*/ 0 w 925"/>
                  <a:gd name="T5" fmla="*/ 397 h 1345"/>
                  <a:gd name="T6" fmla="*/ 925 w 925"/>
                  <a:gd name="T7" fmla="*/ 0 h 1345"/>
                  <a:gd name="T8" fmla="*/ 925 w 925"/>
                  <a:gd name="T9" fmla="*/ 0 h 1345"/>
                  <a:gd name="T10" fmla="*/ 888 w 925"/>
                  <a:gd name="T11" fmla="*/ 1294 h 1345"/>
                  <a:gd name="T12" fmla="*/ 887 w 925"/>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925" h="1345">
                    <a:moveTo>
                      <a:pt x="887" y="1345"/>
                    </a:moveTo>
                    <a:lnTo>
                      <a:pt x="452" y="880"/>
                    </a:lnTo>
                    <a:lnTo>
                      <a:pt x="0" y="397"/>
                    </a:lnTo>
                    <a:lnTo>
                      <a:pt x="925" y="0"/>
                    </a:lnTo>
                    <a:lnTo>
                      <a:pt x="925" y="0"/>
                    </a:lnTo>
                    <a:lnTo>
                      <a:pt x="888" y="1294"/>
                    </a:lnTo>
                    <a:lnTo>
                      <a:pt x="887" y="1345"/>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0" name="Freeform 380"/>
              <p:cNvSpPr>
                <a:spLocks/>
              </p:cNvSpPr>
              <p:nvPr/>
            </p:nvSpPr>
            <p:spPr bwMode="auto">
              <a:xfrm>
                <a:off x="-9058275" y="-4110038"/>
                <a:ext cx="2124075" cy="1200150"/>
              </a:xfrm>
              <a:custGeom>
                <a:avLst/>
                <a:gdLst>
                  <a:gd name="T0" fmla="*/ 1338 w 1338"/>
                  <a:gd name="T1" fmla="*/ 756 h 756"/>
                  <a:gd name="T2" fmla="*/ 1338 w 1338"/>
                  <a:gd name="T3" fmla="*/ 756 h 756"/>
                  <a:gd name="T4" fmla="*/ 0 w 1338"/>
                  <a:gd name="T5" fmla="*/ 359 h 756"/>
                  <a:gd name="T6" fmla="*/ 338 w 1338"/>
                  <a:gd name="T7" fmla="*/ 0 h 756"/>
                  <a:gd name="T8" fmla="*/ 687 w 1338"/>
                  <a:gd name="T9" fmla="*/ 0 h 756"/>
                  <a:gd name="T10" fmla="*/ 1338 w 1338"/>
                  <a:gd name="T11" fmla="*/ 756 h 756"/>
                </a:gdLst>
                <a:ahLst/>
                <a:cxnLst>
                  <a:cxn ang="0">
                    <a:pos x="T0" y="T1"/>
                  </a:cxn>
                  <a:cxn ang="0">
                    <a:pos x="T2" y="T3"/>
                  </a:cxn>
                  <a:cxn ang="0">
                    <a:pos x="T4" y="T5"/>
                  </a:cxn>
                  <a:cxn ang="0">
                    <a:pos x="T6" y="T7"/>
                  </a:cxn>
                  <a:cxn ang="0">
                    <a:pos x="T8" y="T9"/>
                  </a:cxn>
                  <a:cxn ang="0">
                    <a:pos x="T10" y="T11"/>
                  </a:cxn>
                </a:cxnLst>
                <a:rect l="0" t="0" r="r" b="b"/>
                <a:pathLst>
                  <a:path w="1338" h="756">
                    <a:moveTo>
                      <a:pt x="1338" y="756"/>
                    </a:moveTo>
                    <a:lnTo>
                      <a:pt x="1338" y="756"/>
                    </a:lnTo>
                    <a:lnTo>
                      <a:pt x="0" y="359"/>
                    </a:lnTo>
                    <a:lnTo>
                      <a:pt x="338" y="0"/>
                    </a:lnTo>
                    <a:lnTo>
                      <a:pt x="687" y="0"/>
                    </a:lnTo>
                    <a:lnTo>
                      <a:pt x="1338"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1" name="Freeform 381"/>
              <p:cNvSpPr>
                <a:spLocks/>
              </p:cNvSpPr>
              <p:nvPr/>
            </p:nvSpPr>
            <p:spPr bwMode="auto">
              <a:xfrm>
                <a:off x="-6934200" y="-4110038"/>
                <a:ext cx="1468438" cy="1200150"/>
              </a:xfrm>
              <a:custGeom>
                <a:avLst/>
                <a:gdLst>
                  <a:gd name="T0" fmla="*/ 0 w 925"/>
                  <a:gd name="T1" fmla="*/ 756 h 756"/>
                  <a:gd name="T2" fmla="*/ 0 w 925"/>
                  <a:gd name="T3" fmla="*/ 756 h 756"/>
                  <a:gd name="T4" fmla="*/ 197 w 925"/>
                  <a:gd name="T5" fmla="*/ 0 h 756"/>
                  <a:gd name="T6" fmla="*/ 718 w 925"/>
                  <a:gd name="T7" fmla="*/ 0 h 756"/>
                  <a:gd name="T8" fmla="*/ 925 w 925"/>
                  <a:gd name="T9" fmla="*/ 359 h 756"/>
                  <a:gd name="T10" fmla="*/ 925 w 925"/>
                  <a:gd name="T11" fmla="*/ 359 h 756"/>
                  <a:gd name="T12" fmla="*/ 925 w 925"/>
                  <a:gd name="T13" fmla="*/ 359 h 756"/>
                  <a:gd name="T14" fmla="*/ 925 w 925"/>
                  <a:gd name="T15" fmla="*/ 359 h 756"/>
                  <a:gd name="T16" fmla="*/ 925 w 925"/>
                  <a:gd name="T17" fmla="*/ 359 h 756"/>
                  <a:gd name="T18" fmla="*/ 925 w 925"/>
                  <a:gd name="T19" fmla="*/ 359 h 756"/>
                  <a:gd name="T20" fmla="*/ 0 w 925"/>
                  <a:gd name="T21" fmla="*/ 756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5" h="756">
                    <a:moveTo>
                      <a:pt x="0" y="756"/>
                    </a:moveTo>
                    <a:lnTo>
                      <a:pt x="0" y="756"/>
                    </a:lnTo>
                    <a:lnTo>
                      <a:pt x="197" y="0"/>
                    </a:lnTo>
                    <a:lnTo>
                      <a:pt x="718" y="0"/>
                    </a:lnTo>
                    <a:lnTo>
                      <a:pt x="925" y="359"/>
                    </a:lnTo>
                    <a:lnTo>
                      <a:pt x="925" y="359"/>
                    </a:lnTo>
                    <a:lnTo>
                      <a:pt x="925" y="359"/>
                    </a:lnTo>
                    <a:lnTo>
                      <a:pt x="925" y="359"/>
                    </a:lnTo>
                    <a:lnTo>
                      <a:pt x="925" y="359"/>
                    </a:lnTo>
                    <a:lnTo>
                      <a:pt x="925" y="359"/>
                    </a:lnTo>
                    <a:lnTo>
                      <a:pt x="0"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2" name="Freeform 382"/>
              <p:cNvSpPr>
                <a:spLocks/>
              </p:cNvSpPr>
              <p:nvPr/>
            </p:nvSpPr>
            <p:spPr bwMode="auto">
              <a:xfrm>
                <a:off x="-9058275" y="-3540126"/>
                <a:ext cx="2124075" cy="1555750"/>
              </a:xfrm>
              <a:custGeom>
                <a:avLst/>
                <a:gdLst>
                  <a:gd name="T0" fmla="*/ 566 w 1338"/>
                  <a:gd name="T1" fmla="*/ 980 h 980"/>
                  <a:gd name="T2" fmla="*/ 0 w 1338"/>
                  <a:gd name="T3" fmla="*/ 0 h 980"/>
                  <a:gd name="T4" fmla="*/ 1338 w 1338"/>
                  <a:gd name="T5" fmla="*/ 397 h 980"/>
                  <a:gd name="T6" fmla="*/ 566 w 1338"/>
                  <a:gd name="T7" fmla="*/ 980 h 980"/>
                </a:gdLst>
                <a:ahLst/>
                <a:cxnLst>
                  <a:cxn ang="0">
                    <a:pos x="T0" y="T1"/>
                  </a:cxn>
                  <a:cxn ang="0">
                    <a:pos x="T2" y="T3"/>
                  </a:cxn>
                  <a:cxn ang="0">
                    <a:pos x="T4" y="T5"/>
                  </a:cxn>
                  <a:cxn ang="0">
                    <a:pos x="T6" y="T7"/>
                  </a:cxn>
                </a:cxnLst>
                <a:rect l="0" t="0" r="r" b="b"/>
                <a:pathLst>
                  <a:path w="1338" h="980">
                    <a:moveTo>
                      <a:pt x="566" y="980"/>
                    </a:moveTo>
                    <a:lnTo>
                      <a:pt x="0" y="0"/>
                    </a:lnTo>
                    <a:lnTo>
                      <a:pt x="1338" y="397"/>
                    </a:lnTo>
                    <a:lnTo>
                      <a:pt x="566"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3" name="Freeform 383"/>
              <p:cNvSpPr>
                <a:spLocks/>
              </p:cNvSpPr>
              <p:nvPr/>
            </p:nvSpPr>
            <p:spPr bwMode="auto">
              <a:xfrm>
                <a:off x="-8159750" y="-2909888"/>
                <a:ext cx="1225550" cy="925513"/>
              </a:xfrm>
              <a:custGeom>
                <a:avLst/>
                <a:gdLst>
                  <a:gd name="T0" fmla="*/ 0 w 772"/>
                  <a:gd name="T1" fmla="*/ 583 h 583"/>
                  <a:gd name="T2" fmla="*/ 0 w 772"/>
                  <a:gd name="T3" fmla="*/ 583 h 583"/>
                  <a:gd name="T4" fmla="*/ 772 w 772"/>
                  <a:gd name="T5" fmla="*/ 0 h 583"/>
                  <a:gd name="T6" fmla="*/ 772 w 772"/>
                  <a:gd name="T7" fmla="*/ 0 h 583"/>
                  <a:gd name="T8" fmla="*/ 0 w 772"/>
                  <a:gd name="T9" fmla="*/ 583 h 583"/>
                </a:gdLst>
                <a:ahLst/>
                <a:cxnLst>
                  <a:cxn ang="0">
                    <a:pos x="T0" y="T1"/>
                  </a:cxn>
                  <a:cxn ang="0">
                    <a:pos x="T2" y="T3"/>
                  </a:cxn>
                  <a:cxn ang="0">
                    <a:pos x="T4" y="T5"/>
                  </a:cxn>
                  <a:cxn ang="0">
                    <a:pos x="T6" y="T7"/>
                  </a:cxn>
                  <a:cxn ang="0">
                    <a:pos x="T8" y="T9"/>
                  </a:cxn>
                </a:cxnLst>
                <a:rect l="0" t="0" r="r" b="b"/>
                <a:pathLst>
                  <a:path w="772" h="583">
                    <a:moveTo>
                      <a:pt x="0" y="583"/>
                    </a:moveTo>
                    <a:lnTo>
                      <a:pt x="0" y="583"/>
                    </a:lnTo>
                    <a:lnTo>
                      <a:pt x="772" y="0"/>
                    </a:lnTo>
                    <a:lnTo>
                      <a:pt x="772" y="0"/>
                    </a:lnTo>
                    <a:lnTo>
                      <a:pt x="0" y="58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4" name="Freeform 384"/>
              <p:cNvSpPr>
                <a:spLocks noEditPoints="1"/>
              </p:cNvSpPr>
              <p:nvPr/>
            </p:nvSpPr>
            <p:spPr bwMode="auto">
              <a:xfrm>
                <a:off x="-5465763" y="-4110038"/>
                <a:ext cx="1797050" cy="569913"/>
              </a:xfrm>
              <a:custGeom>
                <a:avLst/>
                <a:gdLst>
                  <a:gd name="T0" fmla="*/ 2358 w 2358"/>
                  <a:gd name="T1" fmla="*/ 748 h 748"/>
                  <a:gd name="T2" fmla="*/ 1 w 2358"/>
                  <a:gd name="T3" fmla="*/ 748 h 748"/>
                  <a:gd name="T4" fmla="*/ 247 w 2358"/>
                  <a:gd name="T5" fmla="*/ 0 h 748"/>
                  <a:gd name="T6" fmla="*/ 1489 w 2358"/>
                  <a:gd name="T7" fmla="*/ 0 h 748"/>
                  <a:gd name="T8" fmla="*/ 2358 w 2358"/>
                  <a:gd name="T9" fmla="*/ 748 h 748"/>
                  <a:gd name="T10" fmla="*/ 1 w 2358"/>
                  <a:gd name="T11" fmla="*/ 748 h 748"/>
                  <a:gd name="T12" fmla="*/ 0 w 2358"/>
                  <a:gd name="T13" fmla="*/ 748 h 748"/>
                  <a:gd name="T14" fmla="*/ 0 w 2358"/>
                  <a:gd name="T15" fmla="*/ 747 h 748"/>
                  <a:gd name="T16" fmla="*/ 0 w 2358"/>
                  <a:gd name="T17" fmla="*/ 747 h 748"/>
                  <a:gd name="T18" fmla="*/ 1 w 2358"/>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8" h="748">
                    <a:moveTo>
                      <a:pt x="2358" y="748"/>
                    </a:moveTo>
                    <a:lnTo>
                      <a:pt x="1" y="748"/>
                    </a:lnTo>
                    <a:lnTo>
                      <a:pt x="247" y="0"/>
                    </a:lnTo>
                    <a:lnTo>
                      <a:pt x="1489" y="0"/>
                    </a:lnTo>
                    <a:lnTo>
                      <a:pt x="2358" y="748"/>
                    </a:lnTo>
                    <a:moveTo>
                      <a:pt x="1" y="748"/>
                    </a:moveTo>
                    <a:lnTo>
                      <a:pt x="0" y="748"/>
                    </a:lnTo>
                    <a:lnTo>
                      <a:pt x="0" y="747"/>
                    </a:lnTo>
                    <a:lnTo>
                      <a:pt x="0" y="747"/>
                    </a:lnTo>
                    <a:lnTo>
                      <a:pt x="1"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5" name="Freeform 385"/>
              <p:cNvSpPr>
                <a:spLocks/>
              </p:cNvSpPr>
              <p:nvPr/>
            </p:nvSpPr>
            <p:spPr bwMode="auto">
              <a:xfrm>
                <a:off x="-4330700" y="-4110038"/>
                <a:ext cx="1114425" cy="569913"/>
              </a:xfrm>
              <a:custGeom>
                <a:avLst/>
                <a:gdLst>
                  <a:gd name="T0" fmla="*/ 417 w 702"/>
                  <a:gd name="T1" fmla="*/ 359 h 359"/>
                  <a:gd name="T2" fmla="*/ 417 w 702"/>
                  <a:gd name="T3" fmla="*/ 359 h 359"/>
                  <a:gd name="T4" fmla="*/ 417 w 702"/>
                  <a:gd name="T5" fmla="*/ 359 h 359"/>
                  <a:gd name="T6" fmla="*/ 0 w 702"/>
                  <a:gd name="T7" fmla="*/ 0 h 359"/>
                  <a:gd name="T8" fmla="*/ 702 w 702"/>
                  <a:gd name="T9" fmla="*/ 0 h 359"/>
                  <a:gd name="T10" fmla="*/ 417 w 702"/>
                  <a:gd name="T11" fmla="*/ 359 h 359"/>
                  <a:gd name="T12" fmla="*/ 417 w 702"/>
                  <a:gd name="T13" fmla="*/ 359 h 359"/>
                  <a:gd name="T14" fmla="*/ 417 w 702"/>
                  <a:gd name="T15" fmla="*/ 359 h 359"/>
                  <a:gd name="T16" fmla="*/ 417 w 702"/>
                  <a:gd name="T17"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2" h="359">
                    <a:moveTo>
                      <a:pt x="417" y="359"/>
                    </a:moveTo>
                    <a:lnTo>
                      <a:pt x="417" y="359"/>
                    </a:lnTo>
                    <a:lnTo>
                      <a:pt x="417" y="359"/>
                    </a:lnTo>
                    <a:lnTo>
                      <a:pt x="0" y="0"/>
                    </a:lnTo>
                    <a:lnTo>
                      <a:pt x="702" y="0"/>
                    </a:lnTo>
                    <a:lnTo>
                      <a:pt x="417" y="359"/>
                    </a:lnTo>
                    <a:lnTo>
                      <a:pt x="417" y="359"/>
                    </a:lnTo>
                    <a:lnTo>
                      <a:pt x="417" y="359"/>
                    </a:lnTo>
                    <a:lnTo>
                      <a:pt x="417"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6" name="Freeform 386"/>
              <p:cNvSpPr>
                <a:spLocks/>
              </p:cNvSpPr>
              <p:nvPr/>
            </p:nvSpPr>
            <p:spPr bwMode="auto">
              <a:xfrm>
                <a:off x="-4330700" y="-4110038"/>
                <a:ext cx="661988" cy="569913"/>
              </a:xfrm>
              <a:custGeom>
                <a:avLst/>
                <a:gdLst>
                  <a:gd name="T0" fmla="*/ 417 w 417"/>
                  <a:gd name="T1" fmla="*/ 359 h 359"/>
                  <a:gd name="T2" fmla="*/ 417 w 417"/>
                  <a:gd name="T3" fmla="*/ 359 h 359"/>
                  <a:gd name="T4" fmla="*/ 0 w 417"/>
                  <a:gd name="T5" fmla="*/ 0 h 359"/>
                  <a:gd name="T6" fmla="*/ 0 w 417"/>
                  <a:gd name="T7" fmla="*/ 0 h 359"/>
                  <a:gd name="T8" fmla="*/ 417 w 417"/>
                  <a:gd name="T9" fmla="*/ 359 h 359"/>
                </a:gdLst>
                <a:ahLst/>
                <a:cxnLst>
                  <a:cxn ang="0">
                    <a:pos x="T0" y="T1"/>
                  </a:cxn>
                  <a:cxn ang="0">
                    <a:pos x="T2" y="T3"/>
                  </a:cxn>
                  <a:cxn ang="0">
                    <a:pos x="T4" y="T5"/>
                  </a:cxn>
                  <a:cxn ang="0">
                    <a:pos x="T6" y="T7"/>
                  </a:cxn>
                  <a:cxn ang="0">
                    <a:pos x="T8" y="T9"/>
                  </a:cxn>
                </a:cxnLst>
                <a:rect l="0" t="0" r="r" b="b"/>
                <a:pathLst>
                  <a:path w="417" h="359">
                    <a:moveTo>
                      <a:pt x="417" y="359"/>
                    </a:moveTo>
                    <a:lnTo>
                      <a:pt x="417" y="359"/>
                    </a:lnTo>
                    <a:lnTo>
                      <a:pt x="0" y="0"/>
                    </a:lnTo>
                    <a:lnTo>
                      <a:pt x="0" y="0"/>
                    </a:lnTo>
                    <a:lnTo>
                      <a:pt x="417"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7" name="Freeform 387"/>
              <p:cNvSpPr>
                <a:spLocks/>
              </p:cNvSpPr>
              <p:nvPr/>
            </p:nvSpPr>
            <p:spPr bwMode="auto">
              <a:xfrm>
                <a:off x="-5794375" y="-4110038"/>
                <a:ext cx="517525" cy="569913"/>
              </a:xfrm>
              <a:custGeom>
                <a:avLst/>
                <a:gdLst>
                  <a:gd name="T0" fmla="*/ 207 w 326"/>
                  <a:gd name="T1" fmla="*/ 359 h 359"/>
                  <a:gd name="T2" fmla="*/ 0 w 326"/>
                  <a:gd name="T3" fmla="*/ 0 h 359"/>
                  <a:gd name="T4" fmla="*/ 326 w 326"/>
                  <a:gd name="T5" fmla="*/ 0 h 359"/>
                  <a:gd name="T6" fmla="*/ 207 w 326"/>
                  <a:gd name="T7" fmla="*/ 359 h 359"/>
                </a:gdLst>
                <a:ahLst/>
                <a:cxnLst>
                  <a:cxn ang="0">
                    <a:pos x="T0" y="T1"/>
                  </a:cxn>
                  <a:cxn ang="0">
                    <a:pos x="T2" y="T3"/>
                  </a:cxn>
                  <a:cxn ang="0">
                    <a:pos x="T4" y="T5"/>
                  </a:cxn>
                  <a:cxn ang="0">
                    <a:pos x="T6" y="T7"/>
                  </a:cxn>
                </a:cxnLst>
                <a:rect l="0" t="0" r="r" b="b"/>
                <a:pathLst>
                  <a:path w="326" h="359">
                    <a:moveTo>
                      <a:pt x="207" y="359"/>
                    </a:moveTo>
                    <a:lnTo>
                      <a:pt x="0" y="0"/>
                    </a:lnTo>
                    <a:lnTo>
                      <a:pt x="326" y="0"/>
                    </a:lnTo>
                    <a:lnTo>
                      <a:pt x="207" y="35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8" name="Freeform 388"/>
              <p:cNvSpPr>
                <a:spLocks/>
              </p:cNvSpPr>
              <p:nvPr/>
            </p:nvSpPr>
            <p:spPr bwMode="auto">
              <a:xfrm>
                <a:off x="-5465763" y="-4110038"/>
                <a:ext cx="188913" cy="569913"/>
              </a:xfrm>
              <a:custGeom>
                <a:avLst/>
                <a:gdLst>
                  <a:gd name="T0" fmla="*/ 0 w 119"/>
                  <a:gd name="T1" fmla="*/ 359 h 359"/>
                  <a:gd name="T2" fmla="*/ 0 w 119"/>
                  <a:gd name="T3" fmla="*/ 359 h 359"/>
                  <a:gd name="T4" fmla="*/ 0 w 119"/>
                  <a:gd name="T5" fmla="*/ 359 h 359"/>
                  <a:gd name="T6" fmla="*/ 119 w 119"/>
                  <a:gd name="T7" fmla="*/ 0 h 359"/>
                  <a:gd name="T8" fmla="*/ 119 w 119"/>
                  <a:gd name="T9" fmla="*/ 0 h 359"/>
                  <a:gd name="T10" fmla="*/ 0 w 119"/>
                  <a:gd name="T11" fmla="*/ 359 h 359"/>
                </a:gdLst>
                <a:ahLst/>
                <a:cxnLst>
                  <a:cxn ang="0">
                    <a:pos x="T0" y="T1"/>
                  </a:cxn>
                  <a:cxn ang="0">
                    <a:pos x="T2" y="T3"/>
                  </a:cxn>
                  <a:cxn ang="0">
                    <a:pos x="T4" y="T5"/>
                  </a:cxn>
                  <a:cxn ang="0">
                    <a:pos x="T6" y="T7"/>
                  </a:cxn>
                  <a:cxn ang="0">
                    <a:pos x="T8" y="T9"/>
                  </a:cxn>
                  <a:cxn ang="0">
                    <a:pos x="T10" y="T11"/>
                  </a:cxn>
                </a:cxnLst>
                <a:rect l="0" t="0" r="r" b="b"/>
                <a:pathLst>
                  <a:path w="119" h="359">
                    <a:moveTo>
                      <a:pt x="0" y="359"/>
                    </a:moveTo>
                    <a:lnTo>
                      <a:pt x="0" y="359"/>
                    </a:lnTo>
                    <a:lnTo>
                      <a:pt x="0" y="359"/>
                    </a:lnTo>
                    <a:lnTo>
                      <a:pt x="119" y="0"/>
                    </a:lnTo>
                    <a:lnTo>
                      <a:pt x="119"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9" name="Freeform 389"/>
              <p:cNvSpPr>
                <a:spLocks noEditPoints="1"/>
              </p:cNvSpPr>
              <p:nvPr/>
            </p:nvSpPr>
            <p:spPr bwMode="auto">
              <a:xfrm>
                <a:off x="-8159750" y="-428626"/>
                <a:ext cx="1795463" cy="1554163"/>
              </a:xfrm>
              <a:custGeom>
                <a:avLst/>
                <a:gdLst>
                  <a:gd name="T0" fmla="*/ 2358 w 2358"/>
                  <a:gd name="T1" fmla="*/ 2041 h 2041"/>
                  <a:gd name="T2" fmla="*/ 1 w 2358"/>
                  <a:gd name="T3" fmla="*/ 2041 h 2041"/>
                  <a:gd name="T4" fmla="*/ 1179 w 2358"/>
                  <a:gd name="T5" fmla="*/ 0 h 2041"/>
                  <a:gd name="T6" fmla="*/ 1179 w 2358"/>
                  <a:gd name="T7" fmla="*/ 0 h 2041"/>
                  <a:gd name="T8" fmla="*/ 1179 w 2358"/>
                  <a:gd name="T9" fmla="*/ 0 h 2041"/>
                  <a:gd name="T10" fmla="*/ 1507 w 2358"/>
                  <a:gd name="T11" fmla="*/ 567 h 2041"/>
                  <a:gd name="T12" fmla="*/ 2358 w 2358"/>
                  <a:gd name="T13" fmla="*/ 2041 h 2041"/>
                  <a:gd name="T14" fmla="*/ 1 w 2358"/>
                  <a:gd name="T15" fmla="*/ 2041 h 2041"/>
                  <a:gd name="T16" fmla="*/ 0 w 2358"/>
                  <a:gd name="T17" fmla="*/ 2041 h 2041"/>
                  <a:gd name="T18" fmla="*/ 1 w 2358"/>
                  <a:gd name="T19" fmla="*/ 2041 h 2041"/>
                  <a:gd name="T20" fmla="*/ 1 w 2358"/>
                  <a:gd name="T21" fmla="*/ 2041 h 2041"/>
                  <a:gd name="T22" fmla="*/ 1179 w 2358"/>
                  <a:gd name="T23" fmla="*/ 0 h 2041"/>
                  <a:gd name="T24" fmla="*/ 1179 w 2358"/>
                  <a:gd name="T25" fmla="*/ 0 h 2041"/>
                  <a:gd name="T26" fmla="*/ 1179 w 2358"/>
                  <a:gd name="T27" fmla="*/ 0 h 2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8" h="2041">
                    <a:moveTo>
                      <a:pt x="2358" y="2041"/>
                    </a:moveTo>
                    <a:lnTo>
                      <a:pt x="1" y="2041"/>
                    </a:lnTo>
                    <a:lnTo>
                      <a:pt x="1179" y="0"/>
                    </a:lnTo>
                    <a:lnTo>
                      <a:pt x="1179" y="0"/>
                    </a:lnTo>
                    <a:lnTo>
                      <a:pt x="1179" y="0"/>
                    </a:lnTo>
                    <a:lnTo>
                      <a:pt x="1507" y="567"/>
                    </a:lnTo>
                    <a:lnTo>
                      <a:pt x="2358" y="2041"/>
                    </a:lnTo>
                    <a:moveTo>
                      <a:pt x="1" y="2041"/>
                    </a:moveTo>
                    <a:lnTo>
                      <a:pt x="0" y="2041"/>
                    </a:lnTo>
                    <a:lnTo>
                      <a:pt x="1" y="2041"/>
                    </a:lnTo>
                    <a:lnTo>
                      <a:pt x="1" y="2041"/>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0" name="Freeform 390"/>
              <p:cNvSpPr>
                <a:spLocks/>
              </p:cNvSpPr>
              <p:nvPr/>
            </p:nvSpPr>
            <p:spPr bwMode="auto">
              <a:xfrm>
                <a:off x="-8159750" y="-1984376"/>
                <a:ext cx="2633663" cy="1555750"/>
              </a:xfrm>
              <a:custGeom>
                <a:avLst/>
                <a:gdLst>
                  <a:gd name="T0" fmla="*/ 566 w 1659"/>
                  <a:gd name="T1" fmla="*/ 980 h 980"/>
                  <a:gd name="T2" fmla="*/ 566 w 1659"/>
                  <a:gd name="T3" fmla="*/ 980 h 980"/>
                  <a:gd name="T4" fmla="*/ 307 w 1659"/>
                  <a:gd name="T5" fmla="*/ 532 h 980"/>
                  <a:gd name="T6" fmla="*/ 0 w 1659"/>
                  <a:gd name="T7" fmla="*/ 0 h 980"/>
                  <a:gd name="T8" fmla="*/ 0 w 1659"/>
                  <a:gd name="T9" fmla="*/ 0 h 980"/>
                  <a:gd name="T10" fmla="*/ 1659 w 1659"/>
                  <a:gd name="T11" fmla="*/ 365 h 980"/>
                  <a:gd name="T12" fmla="*/ 566 w 1659"/>
                  <a:gd name="T13" fmla="*/ 980 h 980"/>
                </a:gdLst>
                <a:ahLst/>
                <a:cxnLst>
                  <a:cxn ang="0">
                    <a:pos x="T0" y="T1"/>
                  </a:cxn>
                  <a:cxn ang="0">
                    <a:pos x="T2" y="T3"/>
                  </a:cxn>
                  <a:cxn ang="0">
                    <a:pos x="T4" y="T5"/>
                  </a:cxn>
                  <a:cxn ang="0">
                    <a:pos x="T6" y="T7"/>
                  </a:cxn>
                  <a:cxn ang="0">
                    <a:pos x="T8" y="T9"/>
                  </a:cxn>
                  <a:cxn ang="0">
                    <a:pos x="T10" y="T11"/>
                  </a:cxn>
                  <a:cxn ang="0">
                    <a:pos x="T12" y="T13"/>
                  </a:cxn>
                </a:cxnLst>
                <a:rect l="0" t="0" r="r" b="b"/>
                <a:pathLst>
                  <a:path w="1659" h="980">
                    <a:moveTo>
                      <a:pt x="566" y="980"/>
                    </a:moveTo>
                    <a:lnTo>
                      <a:pt x="566" y="980"/>
                    </a:lnTo>
                    <a:lnTo>
                      <a:pt x="307" y="532"/>
                    </a:lnTo>
                    <a:lnTo>
                      <a:pt x="0" y="0"/>
                    </a:lnTo>
                    <a:lnTo>
                      <a:pt x="0" y="0"/>
                    </a:lnTo>
                    <a:lnTo>
                      <a:pt x="1659" y="36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1" name="Freeform 391"/>
              <p:cNvSpPr>
                <a:spLocks/>
              </p:cNvSpPr>
              <p:nvPr/>
            </p:nvSpPr>
            <p:spPr bwMode="auto">
              <a:xfrm>
                <a:off x="-7261225" y="-428626"/>
                <a:ext cx="1735138" cy="1554163"/>
              </a:xfrm>
              <a:custGeom>
                <a:avLst/>
                <a:gdLst>
                  <a:gd name="T0" fmla="*/ 565 w 1093"/>
                  <a:gd name="T1" fmla="*/ 979 h 979"/>
                  <a:gd name="T2" fmla="*/ 157 w 1093"/>
                  <a:gd name="T3" fmla="*/ 272 h 979"/>
                  <a:gd name="T4" fmla="*/ 0 w 1093"/>
                  <a:gd name="T5" fmla="*/ 0 h 979"/>
                  <a:gd name="T6" fmla="*/ 1093 w 1093"/>
                  <a:gd name="T7" fmla="*/ 684 h 979"/>
                  <a:gd name="T8" fmla="*/ 1093 w 1093"/>
                  <a:gd name="T9" fmla="*/ 684 h 979"/>
                  <a:gd name="T10" fmla="*/ 1093 w 1093"/>
                  <a:gd name="T11" fmla="*/ 684 h 979"/>
                  <a:gd name="T12" fmla="*/ 1093 w 1093"/>
                  <a:gd name="T13" fmla="*/ 684 h 979"/>
                  <a:gd name="T14" fmla="*/ 1093 w 1093"/>
                  <a:gd name="T15" fmla="*/ 684 h 979"/>
                  <a:gd name="T16" fmla="*/ 965 w 1093"/>
                  <a:gd name="T17" fmla="*/ 756 h 979"/>
                  <a:gd name="T18" fmla="*/ 565 w 1093"/>
                  <a:gd name="T19" fmla="*/ 979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3" h="979">
                    <a:moveTo>
                      <a:pt x="565" y="979"/>
                    </a:moveTo>
                    <a:lnTo>
                      <a:pt x="157" y="272"/>
                    </a:lnTo>
                    <a:lnTo>
                      <a:pt x="0" y="0"/>
                    </a:lnTo>
                    <a:lnTo>
                      <a:pt x="1093" y="684"/>
                    </a:lnTo>
                    <a:lnTo>
                      <a:pt x="1093" y="684"/>
                    </a:lnTo>
                    <a:lnTo>
                      <a:pt x="1093" y="684"/>
                    </a:lnTo>
                    <a:lnTo>
                      <a:pt x="1093" y="684"/>
                    </a:lnTo>
                    <a:lnTo>
                      <a:pt x="1093" y="684"/>
                    </a:lnTo>
                    <a:lnTo>
                      <a:pt x="965" y="756"/>
                    </a:lnTo>
                    <a:lnTo>
                      <a:pt x="565" y="97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2" name="Freeform 392"/>
              <p:cNvSpPr>
                <a:spLocks noEditPoints="1"/>
              </p:cNvSpPr>
              <p:nvPr/>
            </p:nvSpPr>
            <p:spPr bwMode="auto">
              <a:xfrm>
                <a:off x="-9456738" y="-1984376"/>
                <a:ext cx="2195513" cy="1555750"/>
              </a:xfrm>
              <a:custGeom>
                <a:avLst/>
                <a:gdLst>
                  <a:gd name="T0" fmla="*/ 2879 w 2879"/>
                  <a:gd name="T1" fmla="*/ 2042 h 2042"/>
                  <a:gd name="T2" fmla="*/ 0 w 2879"/>
                  <a:gd name="T3" fmla="*/ 1320 h 2042"/>
                  <a:gd name="T4" fmla="*/ 444 w 2879"/>
                  <a:gd name="T5" fmla="*/ 976 h 2042"/>
                  <a:gd name="T6" fmla="*/ 1701 w 2879"/>
                  <a:gd name="T7" fmla="*/ 1 h 2042"/>
                  <a:gd name="T8" fmla="*/ 2340 w 2879"/>
                  <a:gd name="T9" fmla="*/ 1109 h 2042"/>
                  <a:gd name="T10" fmla="*/ 2879 w 2879"/>
                  <a:gd name="T11" fmla="*/ 2042 h 2042"/>
                  <a:gd name="T12" fmla="*/ 2879 w 2879"/>
                  <a:gd name="T13" fmla="*/ 2042 h 2042"/>
                  <a:gd name="T14" fmla="*/ 1701 w 2879"/>
                  <a:gd name="T15" fmla="*/ 1 h 2042"/>
                  <a:gd name="T16" fmla="*/ 1700 w 2879"/>
                  <a:gd name="T17" fmla="*/ 1 h 2042"/>
                  <a:gd name="T18" fmla="*/ 1701 w 2879"/>
                  <a:gd name="T19" fmla="*/ 0 h 2042"/>
                  <a:gd name="T20" fmla="*/ 1701 w 2879"/>
                  <a:gd name="T21" fmla="*/ 1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9" h="2042">
                    <a:moveTo>
                      <a:pt x="2879" y="2042"/>
                    </a:moveTo>
                    <a:lnTo>
                      <a:pt x="0" y="1320"/>
                    </a:lnTo>
                    <a:lnTo>
                      <a:pt x="444" y="976"/>
                    </a:lnTo>
                    <a:lnTo>
                      <a:pt x="1701" y="1"/>
                    </a:lnTo>
                    <a:lnTo>
                      <a:pt x="2340" y="1109"/>
                    </a:lnTo>
                    <a:lnTo>
                      <a:pt x="2879" y="2042"/>
                    </a:lnTo>
                    <a:lnTo>
                      <a:pt x="2879" y="2042"/>
                    </a:lnTo>
                    <a:moveTo>
                      <a:pt x="1701" y="1"/>
                    </a:moveTo>
                    <a:lnTo>
                      <a:pt x="1700" y="1"/>
                    </a:lnTo>
                    <a:lnTo>
                      <a:pt x="1701" y="0"/>
                    </a:lnTo>
                    <a:lnTo>
                      <a:pt x="170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3" name="Freeform 393"/>
              <p:cNvSpPr>
                <a:spLocks/>
              </p:cNvSpPr>
              <p:nvPr/>
            </p:nvSpPr>
            <p:spPr bwMode="auto">
              <a:xfrm>
                <a:off x="-9117013" y="-1984376"/>
                <a:ext cx="957263" cy="742950"/>
              </a:xfrm>
              <a:custGeom>
                <a:avLst/>
                <a:gdLst>
                  <a:gd name="T0" fmla="*/ 0 w 603"/>
                  <a:gd name="T1" fmla="*/ 468 h 468"/>
                  <a:gd name="T2" fmla="*/ 603 w 603"/>
                  <a:gd name="T3" fmla="*/ 0 h 468"/>
                  <a:gd name="T4" fmla="*/ 603 w 603"/>
                  <a:gd name="T5" fmla="*/ 0 h 468"/>
                  <a:gd name="T6" fmla="*/ 603 w 603"/>
                  <a:gd name="T7" fmla="*/ 0 h 468"/>
                  <a:gd name="T8" fmla="*/ 0 w 603"/>
                  <a:gd name="T9" fmla="*/ 468 h 468"/>
                </a:gdLst>
                <a:ahLst/>
                <a:cxnLst>
                  <a:cxn ang="0">
                    <a:pos x="T0" y="T1"/>
                  </a:cxn>
                  <a:cxn ang="0">
                    <a:pos x="T2" y="T3"/>
                  </a:cxn>
                  <a:cxn ang="0">
                    <a:pos x="T4" y="T5"/>
                  </a:cxn>
                  <a:cxn ang="0">
                    <a:pos x="T6" y="T7"/>
                  </a:cxn>
                  <a:cxn ang="0">
                    <a:pos x="T8" y="T9"/>
                  </a:cxn>
                </a:cxnLst>
                <a:rect l="0" t="0" r="r" b="b"/>
                <a:pathLst>
                  <a:path w="603" h="468">
                    <a:moveTo>
                      <a:pt x="0" y="468"/>
                    </a:moveTo>
                    <a:lnTo>
                      <a:pt x="603" y="0"/>
                    </a:lnTo>
                    <a:lnTo>
                      <a:pt x="603" y="0"/>
                    </a:lnTo>
                    <a:lnTo>
                      <a:pt x="603" y="0"/>
                    </a:lnTo>
                    <a:lnTo>
                      <a:pt x="0" y="468"/>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4" name="Freeform 394"/>
              <p:cNvSpPr>
                <a:spLocks/>
              </p:cNvSpPr>
              <p:nvPr/>
            </p:nvSpPr>
            <p:spPr bwMode="auto">
              <a:xfrm>
                <a:off x="-8159750" y="-1984376"/>
                <a:ext cx="487363" cy="844550"/>
              </a:xfrm>
              <a:custGeom>
                <a:avLst/>
                <a:gdLst>
                  <a:gd name="T0" fmla="*/ 307 w 307"/>
                  <a:gd name="T1" fmla="*/ 532 h 532"/>
                  <a:gd name="T2" fmla="*/ 0 w 307"/>
                  <a:gd name="T3" fmla="*/ 0 h 532"/>
                  <a:gd name="T4" fmla="*/ 0 w 307"/>
                  <a:gd name="T5" fmla="*/ 0 h 532"/>
                  <a:gd name="T6" fmla="*/ 0 w 307"/>
                  <a:gd name="T7" fmla="*/ 0 h 532"/>
                  <a:gd name="T8" fmla="*/ 0 w 307"/>
                  <a:gd name="T9" fmla="*/ 0 h 532"/>
                  <a:gd name="T10" fmla="*/ 307 w 307"/>
                  <a:gd name="T11" fmla="*/ 532 h 532"/>
                </a:gdLst>
                <a:ahLst/>
                <a:cxnLst>
                  <a:cxn ang="0">
                    <a:pos x="T0" y="T1"/>
                  </a:cxn>
                  <a:cxn ang="0">
                    <a:pos x="T2" y="T3"/>
                  </a:cxn>
                  <a:cxn ang="0">
                    <a:pos x="T4" y="T5"/>
                  </a:cxn>
                  <a:cxn ang="0">
                    <a:pos x="T6" y="T7"/>
                  </a:cxn>
                  <a:cxn ang="0">
                    <a:pos x="T8" y="T9"/>
                  </a:cxn>
                  <a:cxn ang="0">
                    <a:pos x="T10" y="T11"/>
                  </a:cxn>
                </a:cxnLst>
                <a:rect l="0" t="0" r="r" b="b"/>
                <a:pathLst>
                  <a:path w="307" h="532">
                    <a:moveTo>
                      <a:pt x="307" y="532"/>
                    </a:moveTo>
                    <a:lnTo>
                      <a:pt x="0" y="0"/>
                    </a:lnTo>
                    <a:lnTo>
                      <a:pt x="0" y="0"/>
                    </a:lnTo>
                    <a:lnTo>
                      <a:pt x="0" y="0"/>
                    </a:lnTo>
                    <a:lnTo>
                      <a:pt x="0" y="0"/>
                    </a:lnTo>
                    <a:lnTo>
                      <a:pt x="307" y="5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5" name="Freeform 395"/>
              <p:cNvSpPr>
                <a:spLocks noEditPoints="1"/>
              </p:cNvSpPr>
              <p:nvPr/>
            </p:nvSpPr>
            <p:spPr bwMode="auto">
              <a:xfrm>
                <a:off x="-7261225" y="-1404938"/>
                <a:ext cx="1735138" cy="2062163"/>
              </a:xfrm>
              <a:custGeom>
                <a:avLst/>
                <a:gdLst>
                  <a:gd name="T0" fmla="*/ 2278 w 2278"/>
                  <a:gd name="T1" fmla="*/ 2707 h 2707"/>
                  <a:gd name="T2" fmla="*/ 2278 w 2278"/>
                  <a:gd name="T3" fmla="*/ 2707 h 2707"/>
                  <a:gd name="T4" fmla="*/ 2278 w 2278"/>
                  <a:gd name="T5" fmla="*/ 2707 h 2707"/>
                  <a:gd name="T6" fmla="*/ 2278 w 2278"/>
                  <a:gd name="T7" fmla="*/ 2707 h 2707"/>
                  <a:gd name="T8" fmla="*/ 2278 w 2278"/>
                  <a:gd name="T9" fmla="*/ 2707 h 2707"/>
                  <a:gd name="T10" fmla="*/ 0 w 2278"/>
                  <a:gd name="T11" fmla="*/ 1281 h 2707"/>
                  <a:gd name="T12" fmla="*/ 0 w 2278"/>
                  <a:gd name="T13" fmla="*/ 1281 h 2707"/>
                  <a:gd name="T14" fmla="*/ 2278 w 2278"/>
                  <a:gd name="T15" fmla="*/ 0 h 2707"/>
                  <a:gd name="T16" fmla="*/ 2278 w 2278"/>
                  <a:gd name="T17" fmla="*/ 2707 h 2707"/>
                  <a:gd name="T18" fmla="*/ 2278 w 2278"/>
                  <a:gd name="T19" fmla="*/ 2707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8" h="2707">
                    <a:moveTo>
                      <a:pt x="2278" y="2707"/>
                    </a:moveTo>
                    <a:lnTo>
                      <a:pt x="2278" y="2707"/>
                    </a:lnTo>
                    <a:lnTo>
                      <a:pt x="2278" y="2707"/>
                    </a:lnTo>
                    <a:lnTo>
                      <a:pt x="2278" y="2707"/>
                    </a:lnTo>
                    <a:moveTo>
                      <a:pt x="2278" y="2707"/>
                    </a:moveTo>
                    <a:lnTo>
                      <a:pt x="0" y="1281"/>
                    </a:lnTo>
                    <a:lnTo>
                      <a:pt x="0" y="1281"/>
                    </a:lnTo>
                    <a:lnTo>
                      <a:pt x="2278" y="0"/>
                    </a:lnTo>
                    <a:lnTo>
                      <a:pt x="2278" y="2707"/>
                    </a:lnTo>
                    <a:lnTo>
                      <a:pt x="2278" y="2707"/>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6" name="Freeform 396"/>
              <p:cNvSpPr>
                <a:spLocks/>
              </p:cNvSpPr>
              <p:nvPr/>
            </p:nvSpPr>
            <p:spPr bwMode="auto">
              <a:xfrm>
                <a:off x="-9456738" y="-979488"/>
                <a:ext cx="2195513" cy="2105025"/>
              </a:xfrm>
              <a:custGeom>
                <a:avLst/>
                <a:gdLst>
                  <a:gd name="T0" fmla="*/ 817 w 1383"/>
                  <a:gd name="T1" fmla="*/ 1326 h 1326"/>
                  <a:gd name="T2" fmla="*/ 0 w 1383"/>
                  <a:gd name="T3" fmla="*/ 0 h 1326"/>
                  <a:gd name="T4" fmla="*/ 1383 w 1383"/>
                  <a:gd name="T5" fmla="*/ 347 h 1326"/>
                  <a:gd name="T6" fmla="*/ 817 w 1383"/>
                  <a:gd name="T7" fmla="*/ 1326 h 1326"/>
                </a:gdLst>
                <a:ahLst/>
                <a:cxnLst>
                  <a:cxn ang="0">
                    <a:pos x="T0" y="T1"/>
                  </a:cxn>
                  <a:cxn ang="0">
                    <a:pos x="T2" y="T3"/>
                  </a:cxn>
                  <a:cxn ang="0">
                    <a:pos x="T4" y="T5"/>
                  </a:cxn>
                  <a:cxn ang="0">
                    <a:pos x="T6" y="T7"/>
                  </a:cxn>
                </a:cxnLst>
                <a:rect l="0" t="0" r="r" b="b"/>
                <a:pathLst>
                  <a:path w="1383" h="1326">
                    <a:moveTo>
                      <a:pt x="817" y="1326"/>
                    </a:moveTo>
                    <a:lnTo>
                      <a:pt x="0" y="0"/>
                    </a:lnTo>
                    <a:lnTo>
                      <a:pt x="1383" y="347"/>
                    </a:lnTo>
                    <a:lnTo>
                      <a:pt x="817" y="132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7" name="Freeform 397"/>
              <p:cNvSpPr>
                <a:spLocks/>
              </p:cNvSpPr>
              <p:nvPr/>
            </p:nvSpPr>
            <p:spPr bwMode="auto">
              <a:xfrm>
                <a:off x="-8159750" y="-428626"/>
                <a:ext cx="898525" cy="1554163"/>
              </a:xfrm>
              <a:custGeom>
                <a:avLst/>
                <a:gdLst>
                  <a:gd name="T0" fmla="*/ 0 w 566"/>
                  <a:gd name="T1" fmla="*/ 979 h 979"/>
                  <a:gd name="T2" fmla="*/ 0 w 566"/>
                  <a:gd name="T3" fmla="*/ 979 h 979"/>
                  <a:gd name="T4" fmla="*/ 0 w 566"/>
                  <a:gd name="T5" fmla="*/ 979 h 979"/>
                  <a:gd name="T6" fmla="*/ 566 w 566"/>
                  <a:gd name="T7" fmla="*/ 0 h 979"/>
                  <a:gd name="T8" fmla="*/ 566 w 566"/>
                  <a:gd name="T9" fmla="*/ 0 h 979"/>
                  <a:gd name="T10" fmla="*/ 0 w 566"/>
                  <a:gd name="T11" fmla="*/ 979 h 979"/>
                </a:gdLst>
                <a:ahLst/>
                <a:cxnLst>
                  <a:cxn ang="0">
                    <a:pos x="T0" y="T1"/>
                  </a:cxn>
                  <a:cxn ang="0">
                    <a:pos x="T2" y="T3"/>
                  </a:cxn>
                  <a:cxn ang="0">
                    <a:pos x="T4" y="T5"/>
                  </a:cxn>
                  <a:cxn ang="0">
                    <a:pos x="T6" y="T7"/>
                  </a:cxn>
                  <a:cxn ang="0">
                    <a:pos x="T8" y="T9"/>
                  </a:cxn>
                  <a:cxn ang="0">
                    <a:pos x="T10" y="T11"/>
                  </a:cxn>
                </a:cxnLst>
                <a:rect l="0" t="0" r="r" b="b"/>
                <a:pathLst>
                  <a:path w="566" h="979">
                    <a:moveTo>
                      <a:pt x="0" y="979"/>
                    </a:moveTo>
                    <a:lnTo>
                      <a:pt x="0" y="979"/>
                    </a:ln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8" name="Freeform 398"/>
              <p:cNvSpPr>
                <a:spLocks noEditPoints="1"/>
              </p:cNvSpPr>
              <p:nvPr/>
            </p:nvSpPr>
            <p:spPr bwMode="auto">
              <a:xfrm>
                <a:off x="-5526088" y="-1984376"/>
                <a:ext cx="2544763" cy="2641600"/>
              </a:xfrm>
              <a:custGeom>
                <a:avLst/>
                <a:gdLst>
                  <a:gd name="T0" fmla="*/ 0 w 3339"/>
                  <a:gd name="T1" fmla="*/ 3468 h 3468"/>
                  <a:gd name="T2" fmla="*/ 0 w 3339"/>
                  <a:gd name="T3" fmla="*/ 3468 h 3468"/>
                  <a:gd name="T4" fmla="*/ 0 w 3339"/>
                  <a:gd name="T5" fmla="*/ 3468 h 3468"/>
                  <a:gd name="T6" fmla="*/ 0 w 3339"/>
                  <a:gd name="T7" fmla="*/ 3468 h 3468"/>
                  <a:gd name="T8" fmla="*/ 0 w 3339"/>
                  <a:gd name="T9" fmla="*/ 3468 h 3468"/>
                  <a:gd name="T10" fmla="*/ 0 w 3339"/>
                  <a:gd name="T11" fmla="*/ 3468 h 3468"/>
                  <a:gd name="T12" fmla="*/ 0 w 3339"/>
                  <a:gd name="T13" fmla="*/ 3468 h 3468"/>
                  <a:gd name="T14" fmla="*/ 0 w 3339"/>
                  <a:gd name="T15" fmla="*/ 3468 h 3468"/>
                  <a:gd name="T16" fmla="*/ 1258 w 3339"/>
                  <a:gd name="T17" fmla="*/ 0 h 3468"/>
                  <a:gd name="T18" fmla="*/ 3339 w 3339"/>
                  <a:gd name="T19" fmla="*/ 2815 h 3468"/>
                  <a:gd name="T20" fmla="*/ 0 w 3339"/>
                  <a:gd name="T21" fmla="*/ 3468 h 3468"/>
                  <a:gd name="T22" fmla="*/ 3339 w 3339"/>
                  <a:gd name="T23" fmla="*/ 2815 h 3468"/>
                  <a:gd name="T24" fmla="*/ 3339 w 3339"/>
                  <a:gd name="T25" fmla="*/ 2815 h 3468"/>
                  <a:gd name="T26" fmla="*/ 3339 w 3339"/>
                  <a:gd name="T27" fmla="*/ 2815 h 3468"/>
                  <a:gd name="T28" fmla="*/ 1258 w 3339"/>
                  <a:gd name="T29" fmla="*/ 0 h 3468"/>
                  <a:gd name="T30" fmla="*/ 1258 w 3339"/>
                  <a:gd name="T31" fmla="*/ 0 h 3468"/>
                  <a:gd name="T32" fmla="*/ 1258 w 3339"/>
                  <a:gd name="T33" fmla="*/ 1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39" h="3468">
                    <a:moveTo>
                      <a:pt x="0" y="3468"/>
                    </a:moveTo>
                    <a:lnTo>
                      <a:pt x="0" y="3468"/>
                    </a:lnTo>
                    <a:lnTo>
                      <a:pt x="0" y="3468"/>
                    </a:lnTo>
                    <a:lnTo>
                      <a:pt x="0" y="3468"/>
                    </a:lnTo>
                    <a:lnTo>
                      <a:pt x="0" y="3468"/>
                    </a:lnTo>
                    <a:lnTo>
                      <a:pt x="0" y="3468"/>
                    </a:lnTo>
                    <a:lnTo>
                      <a:pt x="0" y="3468"/>
                    </a:lnTo>
                    <a:moveTo>
                      <a:pt x="0" y="3468"/>
                    </a:moveTo>
                    <a:lnTo>
                      <a:pt x="1258" y="0"/>
                    </a:lnTo>
                    <a:lnTo>
                      <a:pt x="3339" y="2815"/>
                    </a:lnTo>
                    <a:lnTo>
                      <a:pt x="0" y="3468"/>
                    </a:lnTo>
                    <a:moveTo>
                      <a:pt x="3339" y="2815"/>
                    </a:moveTo>
                    <a:lnTo>
                      <a:pt x="3339" y="2815"/>
                    </a:lnTo>
                    <a:lnTo>
                      <a:pt x="3339" y="2815"/>
                    </a:lnTo>
                    <a:moveTo>
                      <a:pt x="1258" y="0"/>
                    </a:moveTo>
                    <a:lnTo>
                      <a:pt x="1258" y="0"/>
                    </a:lnTo>
                    <a:lnTo>
                      <a:pt x="1258" y="1"/>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9" name="Freeform 399"/>
              <p:cNvSpPr>
                <a:spLocks/>
              </p:cNvSpPr>
              <p:nvPr/>
            </p:nvSpPr>
            <p:spPr bwMode="auto">
              <a:xfrm>
                <a:off x="-5465763" y="-3540126"/>
                <a:ext cx="1797050" cy="1555750"/>
              </a:xfrm>
              <a:custGeom>
                <a:avLst/>
                <a:gdLst>
                  <a:gd name="T0" fmla="*/ 566 w 1132"/>
                  <a:gd name="T1" fmla="*/ 980 h 980"/>
                  <a:gd name="T2" fmla="*/ 566 w 1132"/>
                  <a:gd name="T3" fmla="*/ 980 h 980"/>
                  <a:gd name="T4" fmla="*/ 0 w 1132"/>
                  <a:gd name="T5" fmla="*/ 0 h 980"/>
                  <a:gd name="T6" fmla="*/ 0 w 1132"/>
                  <a:gd name="T7" fmla="*/ 0 h 980"/>
                  <a:gd name="T8" fmla="*/ 1132 w 1132"/>
                  <a:gd name="T9" fmla="*/ 0 h 980"/>
                  <a:gd name="T10" fmla="*/ 566 w 1132"/>
                  <a:gd name="T11" fmla="*/ 980 h 980"/>
                </a:gdLst>
                <a:ahLst/>
                <a:cxnLst>
                  <a:cxn ang="0">
                    <a:pos x="T0" y="T1"/>
                  </a:cxn>
                  <a:cxn ang="0">
                    <a:pos x="T2" y="T3"/>
                  </a:cxn>
                  <a:cxn ang="0">
                    <a:pos x="T4" y="T5"/>
                  </a:cxn>
                  <a:cxn ang="0">
                    <a:pos x="T6" y="T7"/>
                  </a:cxn>
                  <a:cxn ang="0">
                    <a:pos x="T8" y="T9"/>
                  </a:cxn>
                  <a:cxn ang="0">
                    <a:pos x="T10" y="T11"/>
                  </a:cxn>
                </a:cxnLst>
                <a:rect l="0" t="0" r="r" b="b"/>
                <a:pathLst>
                  <a:path w="1132" h="980">
                    <a:moveTo>
                      <a:pt x="566" y="980"/>
                    </a:moveTo>
                    <a:lnTo>
                      <a:pt x="566" y="980"/>
                    </a:lnTo>
                    <a:lnTo>
                      <a:pt x="0" y="0"/>
                    </a:lnTo>
                    <a:lnTo>
                      <a:pt x="0" y="0"/>
                    </a:lnTo>
                    <a:lnTo>
                      <a:pt x="1132" y="0"/>
                    </a:lnTo>
                    <a:lnTo>
                      <a:pt x="566"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0" name="Freeform 400"/>
              <p:cNvSpPr>
                <a:spLocks/>
              </p:cNvSpPr>
              <p:nvPr/>
            </p:nvSpPr>
            <p:spPr bwMode="auto">
              <a:xfrm>
                <a:off x="-5465763" y="-354012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99D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1" name="Rectangle 401"/>
              <p:cNvSpPr>
                <a:spLocks noChangeArrowheads="1"/>
              </p:cNvSpPr>
              <p:nvPr/>
            </p:nvSpPr>
            <p:spPr bwMode="auto">
              <a:xfrm>
                <a:off x="-5465763" y="-3540126"/>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2" name="Freeform 402"/>
              <p:cNvSpPr>
                <a:spLocks noEditPoints="1"/>
              </p:cNvSpPr>
              <p:nvPr/>
            </p:nvSpPr>
            <p:spPr bwMode="auto">
              <a:xfrm>
                <a:off x="-4567238" y="-1984376"/>
                <a:ext cx="1585913" cy="2144713"/>
              </a:xfrm>
              <a:custGeom>
                <a:avLst/>
                <a:gdLst>
                  <a:gd name="T0" fmla="*/ 2081 w 2081"/>
                  <a:gd name="T1" fmla="*/ 2815 h 2815"/>
                  <a:gd name="T2" fmla="*/ 2081 w 2081"/>
                  <a:gd name="T3" fmla="*/ 2815 h 2815"/>
                  <a:gd name="T4" fmla="*/ 2081 w 2081"/>
                  <a:gd name="T5" fmla="*/ 2815 h 2815"/>
                  <a:gd name="T6" fmla="*/ 2081 w 2081"/>
                  <a:gd name="T7" fmla="*/ 2815 h 2815"/>
                  <a:gd name="T8" fmla="*/ 0 w 2081"/>
                  <a:gd name="T9" fmla="*/ 0 h 2815"/>
                  <a:gd name="T10" fmla="*/ 0 w 2081"/>
                  <a:gd name="T11" fmla="*/ 0 h 2815"/>
                  <a:gd name="T12" fmla="*/ 1627 w 2081"/>
                  <a:gd name="T13" fmla="*/ 645 h 2815"/>
                  <a:gd name="T14" fmla="*/ 2081 w 2081"/>
                  <a:gd name="T15" fmla="*/ 2815 h 28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1" h="2815">
                    <a:moveTo>
                      <a:pt x="2081" y="2815"/>
                    </a:moveTo>
                    <a:lnTo>
                      <a:pt x="2081" y="2815"/>
                    </a:lnTo>
                    <a:lnTo>
                      <a:pt x="2081" y="2815"/>
                    </a:lnTo>
                    <a:moveTo>
                      <a:pt x="2081" y="2815"/>
                    </a:moveTo>
                    <a:lnTo>
                      <a:pt x="0" y="0"/>
                    </a:lnTo>
                    <a:lnTo>
                      <a:pt x="0" y="0"/>
                    </a:lnTo>
                    <a:lnTo>
                      <a:pt x="1627" y="645"/>
                    </a:lnTo>
                    <a:lnTo>
                      <a:pt x="2081" y="2815"/>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3" name="Freeform 403"/>
              <p:cNvSpPr>
                <a:spLocks/>
              </p:cNvSpPr>
              <p:nvPr/>
            </p:nvSpPr>
            <p:spPr bwMode="auto">
              <a:xfrm>
                <a:off x="-4567238" y="-1984376"/>
                <a:ext cx="1585913" cy="2144713"/>
              </a:xfrm>
              <a:custGeom>
                <a:avLst/>
                <a:gdLst>
                  <a:gd name="T0" fmla="*/ 999 w 999"/>
                  <a:gd name="T1" fmla="*/ 1351 h 1351"/>
                  <a:gd name="T2" fmla="*/ 0 w 999"/>
                  <a:gd name="T3" fmla="*/ 0 h 1351"/>
                  <a:gd name="T4" fmla="*/ 0 w 999"/>
                  <a:gd name="T5" fmla="*/ 0 h 1351"/>
                  <a:gd name="T6" fmla="*/ 999 w 999"/>
                  <a:gd name="T7" fmla="*/ 1351 h 1351"/>
                  <a:gd name="T8" fmla="*/ 999 w 999"/>
                  <a:gd name="T9" fmla="*/ 1351 h 1351"/>
                  <a:gd name="T10" fmla="*/ 999 w 999"/>
                  <a:gd name="T11" fmla="*/ 1351 h 1351"/>
                </a:gdLst>
                <a:ahLst/>
                <a:cxnLst>
                  <a:cxn ang="0">
                    <a:pos x="T0" y="T1"/>
                  </a:cxn>
                  <a:cxn ang="0">
                    <a:pos x="T2" y="T3"/>
                  </a:cxn>
                  <a:cxn ang="0">
                    <a:pos x="T4" y="T5"/>
                  </a:cxn>
                  <a:cxn ang="0">
                    <a:pos x="T6" y="T7"/>
                  </a:cxn>
                  <a:cxn ang="0">
                    <a:pos x="T8" y="T9"/>
                  </a:cxn>
                  <a:cxn ang="0">
                    <a:pos x="T10" y="T11"/>
                  </a:cxn>
                </a:cxnLst>
                <a:rect l="0" t="0" r="r" b="b"/>
                <a:pathLst>
                  <a:path w="999" h="1351">
                    <a:moveTo>
                      <a:pt x="999" y="1351"/>
                    </a:moveTo>
                    <a:lnTo>
                      <a:pt x="0" y="0"/>
                    </a:lnTo>
                    <a:lnTo>
                      <a:pt x="0" y="0"/>
                    </a:lnTo>
                    <a:lnTo>
                      <a:pt x="999" y="1351"/>
                    </a:lnTo>
                    <a:lnTo>
                      <a:pt x="999" y="1351"/>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4" name="Rectangle 404"/>
              <p:cNvSpPr>
                <a:spLocks noChangeArrowheads="1"/>
              </p:cNvSpPr>
              <p:nvPr/>
            </p:nvSpPr>
            <p:spPr bwMode="auto">
              <a:xfrm>
                <a:off x="-4567238" y="-1984376"/>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5" name="Freeform 405"/>
              <p:cNvSpPr>
                <a:spLocks/>
              </p:cNvSpPr>
              <p:nvPr/>
            </p:nvSpPr>
            <p:spPr bwMode="auto">
              <a:xfrm>
                <a:off x="-5526088" y="-3540126"/>
                <a:ext cx="958850" cy="2135188"/>
              </a:xfrm>
              <a:custGeom>
                <a:avLst/>
                <a:gdLst>
                  <a:gd name="T0" fmla="*/ 0 w 604"/>
                  <a:gd name="T1" fmla="*/ 1345 h 1345"/>
                  <a:gd name="T2" fmla="*/ 1 w 604"/>
                  <a:gd name="T3" fmla="*/ 1294 h 1345"/>
                  <a:gd name="T4" fmla="*/ 38 w 604"/>
                  <a:gd name="T5" fmla="*/ 0 h 1345"/>
                  <a:gd name="T6" fmla="*/ 38 w 604"/>
                  <a:gd name="T7" fmla="*/ 0 h 1345"/>
                  <a:gd name="T8" fmla="*/ 38 w 604"/>
                  <a:gd name="T9" fmla="*/ 0 h 1345"/>
                  <a:gd name="T10" fmla="*/ 604 w 604"/>
                  <a:gd name="T11" fmla="*/ 980 h 1345"/>
                  <a:gd name="T12" fmla="*/ 0 w 604"/>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604" h="1345">
                    <a:moveTo>
                      <a:pt x="0" y="1345"/>
                    </a:moveTo>
                    <a:lnTo>
                      <a:pt x="1" y="1294"/>
                    </a:lnTo>
                    <a:lnTo>
                      <a:pt x="38" y="0"/>
                    </a:lnTo>
                    <a:lnTo>
                      <a:pt x="38" y="0"/>
                    </a:lnTo>
                    <a:lnTo>
                      <a:pt x="38" y="0"/>
                    </a:lnTo>
                    <a:lnTo>
                      <a:pt x="604" y="980"/>
                    </a:lnTo>
                    <a:lnTo>
                      <a:pt x="0" y="134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6" name="Freeform 406"/>
              <p:cNvSpPr>
                <a:spLocks/>
              </p:cNvSpPr>
              <p:nvPr/>
            </p:nvSpPr>
            <p:spPr bwMode="auto">
              <a:xfrm>
                <a:off x="-4567238" y="-3540126"/>
                <a:ext cx="1239838" cy="2046288"/>
              </a:xfrm>
              <a:custGeom>
                <a:avLst/>
                <a:gdLst>
                  <a:gd name="T0" fmla="*/ 781 w 781"/>
                  <a:gd name="T1" fmla="*/ 1289 h 1289"/>
                  <a:gd name="T2" fmla="*/ 0 w 781"/>
                  <a:gd name="T3" fmla="*/ 980 h 1289"/>
                  <a:gd name="T4" fmla="*/ 566 w 781"/>
                  <a:gd name="T5" fmla="*/ 0 h 1289"/>
                  <a:gd name="T6" fmla="*/ 716 w 781"/>
                  <a:gd name="T7" fmla="*/ 902 h 1289"/>
                  <a:gd name="T8" fmla="*/ 781 w 781"/>
                  <a:gd name="T9" fmla="*/ 1289 h 1289"/>
                </a:gdLst>
                <a:ahLst/>
                <a:cxnLst>
                  <a:cxn ang="0">
                    <a:pos x="T0" y="T1"/>
                  </a:cxn>
                  <a:cxn ang="0">
                    <a:pos x="T2" y="T3"/>
                  </a:cxn>
                  <a:cxn ang="0">
                    <a:pos x="T4" y="T5"/>
                  </a:cxn>
                  <a:cxn ang="0">
                    <a:pos x="T6" y="T7"/>
                  </a:cxn>
                  <a:cxn ang="0">
                    <a:pos x="T8" y="T9"/>
                  </a:cxn>
                </a:cxnLst>
                <a:rect l="0" t="0" r="r" b="b"/>
                <a:pathLst>
                  <a:path w="781" h="1289">
                    <a:moveTo>
                      <a:pt x="781" y="1289"/>
                    </a:moveTo>
                    <a:lnTo>
                      <a:pt x="0" y="980"/>
                    </a:lnTo>
                    <a:lnTo>
                      <a:pt x="566" y="0"/>
                    </a:lnTo>
                    <a:lnTo>
                      <a:pt x="716" y="902"/>
                    </a:lnTo>
                    <a:lnTo>
                      <a:pt x="781" y="128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7" name="Freeform 407"/>
              <p:cNvSpPr>
                <a:spLocks noEditPoints="1"/>
              </p:cNvSpPr>
              <p:nvPr/>
            </p:nvSpPr>
            <p:spPr bwMode="auto">
              <a:xfrm>
                <a:off x="-5526088" y="-1984376"/>
                <a:ext cx="958850" cy="2641600"/>
              </a:xfrm>
              <a:custGeom>
                <a:avLst/>
                <a:gdLst>
                  <a:gd name="T0" fmla="*/ 0 w 1258"/>
                  <a:gd name="T1" fmla="*/ 3467 h 3467"/>
                  <a:gd name="T2" fmla="*/ 0 w 1258"/>
                  <a:gd name="T3" fmla="*/ 3467 h 3467"/>
                  <a:gd name="T4" fmla="*/ 0 w 1258"/>
                  <a:gd name="T5" fmla="*/ 3467 h 3467"/>
                  <a:gd name="T6" fmla="*/ 0 w 1258"/>
                  <a:gd name="T7" fmla="*/ 3467 h 3467"/>
                  <a:gd name="T8" fmla="*/ 0 w 1258"/>
                  <a:gd name="T9" fmla="*/ 3467 h 3467"/>
                  <a:gd name="T10" fmla="*/ 0 w 1258"/>
                  <a:gd name="T11" fmla="*/ 760 h 3467"/>
                  <a:gd name="T12" fmla="*/ 1258 w 1258"/>
                  <a:gd name="T13" fmla="*/ 0 h 3467"/>
                  <a:gd name="T14" fmla="*/ 0 w 1258"/>
                  <a:gd name="T15" fmla="*/ 3467 h 3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8" h="3467">
                    <a:moveTo>
                      <a:pt x="0" y="3467"/>
                    </a:moveTo>
                    <a:lnTo>
                      <a:pt x="0" y="3467"/>
                    </a:lnTo>
                    <a:lnTo>
                      <a:pt x="0" y="3467"/>
                    </a:lnTo>
                    <a:lnTo>
                      <a:pt x="0" y="3467"/>
                    </a:lnTo>
                    <a:moveTo>
                      <a:pt x="0" y="3467"/>
                    </a:moveTo>
                    <a:lnTo>
                      <a:pt x="0" y="760"/>
                    </a:lnTo>
                    <a:lnTo>
                      <a:pt x="1258" y="0"/>
                    </a:lnTo>
                    <a:lnTo>
                      <a:pt x="0" y="3467"/>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8" name="Freeform 408"/>
              <p:cNvSpPr>
                <a:spLocks/>
              </p:cNvSpPr>
              <p:nvPr/>
            </p:nvSpPr>
            <p:spPr bwMode="auto">
              <a:xfrm>
                <a:off x="-5526088" y="-1984376"/>
                <a:ext cx="958850" cy="2641600"/>
              </a:xfrm>
              <a:custGeom>
                <a:avLst/>
                <a:gdLst>
                  <a:gd name="T0" fmla="*/ 0 w 604"/>
                  <a:gd name="T1" fmla="*/ 1664 h 1664"/>
                  <a:gd name="T2" fmla="*/ 0 w 604"/>
                  <a:gd name="T3" fmla="*/ 1664 h 1664"/>
                  <a:gd name="T4" fmla="*/ 604 w 604"/>
                  <a:gd name="T5" fmla="*/ 0 h 1664"/>
                  <a:gd name="T6" fmla="*/ 604 w 604"/>
                  <a:gd name="T7" fmla="*/ 0 h 1664"/>
                  <a:gd name="T8" fmla="*/ 604 w 604"/>
                  <a:gd name="T9" fmla="*/ 0 h 1664"/>
                  <a:gd name="T10" fmla="*/ 0 w 604"/>
                  <a:gd name="T11" fmla="*/ 1664 h 1664"/>
                  <a:gd name="T12" fmla="*/ 0 w 604"/>
                  <a:gd name="T13" fmla="*/ 1664 h 1664"/>
                </a:gdLst>
                <a:ahLst/>
                <a:cxnLst>
                  <a:cxn ang="0">
                    <a:pos x="T0" y="T1"/>
                  </a:cxn>
                  <a:cxn ang="0">
                    <a:pos x="T2" y="T3"/>
                  </a:cxn>
                  <a:cxn ang="0">
                    <a:pos x="T4" y="T5"/>
                  </a:cxn>
                  <a:cxn ang="0">
                    <a:pos x="T6" y="T7"/>
                  </a:cxn>
                  <a:cxn ang="0">
                    <a:pos x="T8" y="T9"/>
                  </a:cxn>
                  <a:cxn ang="0">
                    <a:pos x="T10" y="T11"/>
                  </a:cxn>
                  <a:cxn ang="0">
                    <a:pos x="T12" y="T13"/>
                  </a:cxn>
                </a:cxnLst>
                <a:rect l="0" t="0" r="r" b="b"/>
                <a:pathLst>
                  <a:path w="604" h="1664">
                    <a:moveTo>
                      <a:pt x="0" y="1664"/>
                    </a:moveTo>
                    <a:lnTo>
                      <a:pt x="0" y="1664"/>
                    </a:lnTo>
                    <a:lnTo>
                      <a:pt x="604" y="0"/>
                    </a:lnTo>
                    <a:lnTo>
                      <a:pt x="604" y="0"/>
                    </a:lnTo>
                    <a:lnTo>
                      <a:pt x="604" y="0"/>
                    </a:lnTo>
                    <a:lnTo>
                      <a:pt x="0" y="1664"/>
                    </a:lnTo>
                    <a:lnTo>
                      <a:pt x="0" y="166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9" name="Freeform 409"/>
              <p:cNvSpPr>
                <a:spLocks/>
              </p:cNvSpPr>
              <p:nvPr/>
            </p:nvSpPr>
            <p:spPr bwMode="auto">
              <a:xfrm>
                <a:off x="-4567238" y="-19843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0" name="Freeform 410"/>
              <p:cNvSpPr>
                <a:spLocks noEditPoints="1"/>
              </p:cNvSpPr>
              <p:nvPr/>
            </p:nvSpPr>
            <p:spPr bwMode="auto">
              <a:xfrm>
                <a:off x="-8159750" y="2682875"/>
                <a:ext cx="1141413" cy="1914525"/>
              </a:xfrm>
              <a:custGeom>
                <a:avLst/>
                <a:gdLst>
                  <a:gd name="T0" fmla="*/ 1498 w 1498"/>
                  <a:gd name="T1" fmla="*/ 2514 h 2514"/>
                  <a:gd name="T2" fmla="*/ 1 w 1498"/>
                  <a:gd name="T3" fmla="*/ 2041 h 2514"/>
                  <a:gd name="T4" fmla="*/ 0 w 1498"/>
                  <a:gd name="T5" fmla="*/ 2041 h 2514"/>
                  <a:gd name="T6" fmla="*/ 1 w 1498"/>
                  <a:gd name="T7" fmla="*/ 2041 h 2514"/>
                  <a:gd name="T8" fmla="*/ 1179 w 1498"/>
                  <a:gd name="T9" fmla="*/ 0 h 2514"/>
                  <a:gd name="T10" fmla="*/ 1179 w 1498"/>
                  <a:gd name="T11" fmla="*/ 0 h 2514"/>
                  <a:gd name="T12" fmla="*/ 1179 w 1498"/>
                  <a:gd name="T13" fmla="*/ 0 h 2514"/>
                  <a:gd name="T14" fmla="*/ 1179 w 1498"/>
                  <a:gd name="T15" fmla="*/ 0 h 2514"/>
                  <a:gd name="T16" fmla="*/ 1179 w 1498"/>
                  <a:gd name="T17" fmla="*/ 0 h 2514"/>
                  <a:gd name="T18" fmla="*/ 1234 w 1498"/>
                  <a:gd name="T19" fmla="*/ 432 h 2514"/>
                  <a:gd name="T20" fmla="*/ 1498 w 1498"/>
                  <a:gd name="T21" fmla="*/ 2514 h 2514"/>
                  <a:gd name="T22" fmla="*/ 1179 w 1498"/>
                  <a:gd name="T23" fmla="*/ 0 h 2514"/>
                  <a:gd name="T24" fmla="*/ 1179 w 1498"/>
                  <a:gd name="T25" fmla="*/ 0 h 2514"/>
                  <a:gd name="T26" fmla="*/ 1179 w 1498"/>
                  <a:gd name="T27"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8" h="2514">
                    <a:moveTo>
                      <a:pt x="1498" y="2514"/>
                    </a:moveTo>
                    <a:lnTo>
                      <a:pt x="1" y="2041"/>
                    </a:lnTo>
                    <a:lnTo>
                      <a:pt x="0" y="2041"/>
                    </a:lnTo>
                    <a:lnTo>
                      <a:pt x="1" y="2041"/>
                    </a:lnTo>
                    <a:lnTo>
                      <a:pt x="1179" y="0"/>
                    </a:lnTo>
                    <a:lnTo>
                      <a:pt x="1179" y="0"/>
                    </a:lnTo>
                    <a:lnTo>
                      <a:pt x="1179" y="0"/>
                    </a:lnTo>
                    <a:lnTo>
                      <a:pt x="1179" y="0"/>
                    </a:lnTo>
                    <a:lnTo>
                      <a:pt x="1179" y="0"/>
                    </a:lnTo>
                    <a:lnTo>
                      <a:pt x="1234" y="432"/>
                    </a:lnTo>
                    <a:lnTo>
                      <a:pt x="1498" y="2514"/>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1" name="Freeform 411"/>
              <p:cNvSpPr>
                <a:spLocks/>
              </p:cNvSpPr>
              <p:nvPr/>
            </p:nvSpPr>
            <p:spPr bwMode="auto">
              <a:xfrm>
                <a:off x="-8159750" y="1125537"/>
                <a:ext cx="1795463" cy="1557338"/>
              </a:xfrm>
              <a:custGeom>
                <a:avLst/>
                <a:gdLst>
                  <a:gd name="T0" fmla="*/ 566 w 1131"/>
                  <a:gd name="T1" fmla="*/ 981 h 981"/>
                  <a:gd name="T2" fmla="*/ 4 w 1131"/>
                  <a:gd name="T3" fmla="*/ 7 h 981"/>
                  <a:gd name="T4" fmla="*/ 0 w 1131"/>
                  <a:gd name="T5" fmla="*/ 0 h 981"/>
                  <a:gd name="T6" fmla="*/ 0 w 1131"/>
                  <a:gd name="T7" fmla="*/ 0 h 981"/>
                  <a:gd name="T8" fmla="*/ 0 w 1131"/>
                  <a:gd name="T9" fmla="*/ 0 h 981"/>
                  <a:gd name="T10" fmla="*/ 0 w 1131"/>
                  <a:gd name="T11" fmla="*/ 0 h 981"/>
                  <a:gd name="T12" fmla="*/ 1131 w 1131"/>
                  <a:gd name="T13" fmla="*/ 0 h 981"/>
                  <a:gd name="T14" fmla="*/ 566 w 1131"/>
                  <a:gd name="T15" fmla="*/ 981 h 9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981">
                    <a:moveTo>
                      <a:pt x="566" y="981"/>
                    </a:moveTo>
                    <a:lnTo>
                      <a:pt x="4" y="7"/>
                    </a:lnTo>
                    <a:lnTo>
                      <a:pt x="0" y="0"/>
                    </a:lnTo>
                    <a:lnTo>
                      <a:pt x="0" y="0"/>
                    </a:lnTo>
                    <a:lnTo>
                      <a:pt x="0" y="0"/>
                    </a:lnTo>
                    <a:lnTo>
                      <a:pt x="0" y="0"/>
                    </a:lnTo>
                    <a:lnTo>
                      <a:pt x="1131" y="0"/>
                    </a:lnTo>
                    <a:lnTo>
                      <a:pt x="566" y="98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2" name="Freeform 412"/>
              <p:cNvSpPr>
                <a:spLocks noEditPoints="1"/>
              </p:cNvSpPr>
              <p:nvPr/>
            </p:nvSpPr>
            <p:spPr bwMode="auto">
              <a:xfrm>
                <a:off x="-7261225" y="2655887"/>
                <a:ext cx="1047750" cy="1941513"/>
              </a:xfrm>
              <a:custGeom>
                <a:avLst/>
                <a:gdLst>
                  <a:gd name="T0" fmla="*/ 319 w 1375"/>
                  <a:gd name="T1" fmla="*/ 2549 h 2549"/>
                  <a:gd name="T2" fmla="*/ 55 w 1375"/>
                  <a:gd name="T3" fmla="*/ 467 h 2549"/>
                  <a:gd name="T4" fmla="*/ 0 w 1375"/>
                  <a:gd name="T5" fmla="*/ 35 h 2549"/>
                  <a:gd name="T6" fmla="*/ 1375 w 1375"/>
                  <a:gd name="T7" fmla="*/ 0 h 2549"/>
                  <a:gd name="T8" fmla="*/ 1375 w 1375"/>
                  <a:gd name="T9" fmla="*/ 0 h 2549"/>
                  <a:gd name="T10" fmla="*/ 319 w 1375"/>
                  <a:gd name="T11" fmla="*/ 2549 h 2549"/>
                  <a:gd name="T12" fmla="*/ 1375 w 1375"/>
                  <a:gd name="T13" fmla="*/ 0 h 2549"/>
                  <a:gd name="T14" fmla="*/ 1375 w 1375"/>
                  <a:gd name="T15" fmla="*/ 0 h 2549"/>
                  <a:gd name="T16" fmla="*/ 1375 w 1375"/>
                  <a:gd name="T17" fmla="*/ 0 h 2549"/>
                  <a:gd name="T18" fmla="*/ 1375 w 1375"/>
                  <a:gd name="T19" fmla="*/ 0 h 2549"/>
                  <a:gd name="T20" fmla="*/ 1375 w 1375"/>
                  <a:gd name="T21" fmla="*/ 0 h 2549"/>
                  <a:gd name="T22" fmla="*/ 1375 w 1375"/>
                  <a:gd name="T23" fmla="*/ 0 h 2549"/>
                  <a:gd name="T24" fmla="*/ 1375 w 1375"/>
                  <a:gd name="T25" fmla="*/ 0 h 2549"/>
                  <a:gd name="T26" fmla="*/ 1375 w 1375"/>
                  <a:gd name="T27" fmla="*/ 0 h 2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5" h="2549">
                    <a:moveTo>
                      <a:pt x="319" y="2549"/>
                    </a:moveTo>
                    <a:lnTo>
                      <a:pt x="55" y="467"/>
                    </a:lnTo>
                    <a:lnTo>
                      <a:pt x="0" y="35"/>
                    </a:lnTo>
                    <a:lnTo>
                      <a:pt x="1375" y="0"/>
                    </a:lnTo>
                    <a:lnTo>
                      <a:pt x="1375" y="0"/>
                    </a:lnTo>
                    <a:lnTo>
                      <a:pt x="319" y="2549"/>
                    </a:lnTo>
                    <a:moveTo>
                      <a:pt x="1375" y="0"/>
                    </a:moveTo>
                    <a:lnTo>
                      <a:pt x="1375" y="0"/>
                    </a:lnTo>
                    <a:lnTo>
                      <a:pt x="1375" y="0"/>
                    </a:lnTo>
                    <a:lnTo>
                      <a:pt x="1375" y="0"/>
                    </a:lnTo>
                    <a:moveTo>
                      <a:pt x="1375" y="0"/>
                    </a:moveTo>
                    <a:lnTo>
                      <a:pt x="1375" y="0"/>
                    </a:lnTo>
                    <a:lnTo>
                      <a:pt x="1375" y="0"/>
                    </a:lnTo>
                    <a:lnTo>
                      <a:pt x="1375"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3" name="Freeform 413"/>
              <p:cNvSpPr>
                <a:spLocks noEditPoints="1"/>
              </p:cNvSpPr>
              <p:nvPr/>
            </p:nvSpPr>
            <p:spPr bwMode="auto">
              <a:xfrm>
                <a:off x="-9488488" y="1125537"/>
                <a:ext cx="2227263" cy="2085975"/>
              </a:xfrm>
              <a:custGeom>
                <a:avLst/>
                <a:gdLst>
                  <a:gd name="T0" fmla="*/ 0 w 2922"/>
                  <a:gd name="T1" fmla="*/ 2737 h 2737"/>
                  <a:gd name="T2" fmla="*/ 0 w 2922"/>
                  <a:gd name="T3" fmla="*/ 2737 h 2737"/>
                  <a:gd name="T4" fmla="*/ 0 w 2922"/>
                  <a:gd name="T5" fmla="*/ 2737 h 2737"/>
                  <a:gd name="T6" fmla="*/ 0 w 2922"/>
                  <a:gd name="T7" fmla="*/ 2737 h 2737"/>
                  <a:gd name="T8" fmla="*/ 1744 w 2922"/>
                  <a:gd name="T9" fmla="*/ 0 h 2737"/>
                  <a:gd name="T10" fmla="*/ 1752 w 2922"/>
                  <a:gd name="T11" fmla="*/ 14 h 2737"/>
                  <a:gd name="T12" fmla="*/ 2922 w 2922"/>
                  <a:gd name="T13" fmla="*/ 2042 h 2737"/>
                  <a:gd name="T14" fmla="*/ 2922 w 2922"/>
                  <a:gd name="T15" fmla="*/ 2042 h 2737"/>
                  <a:gd name="T16" fmla="*/ 0 w 2922"/>
                  <a:gd name="T17" fmla="*/ 2737 h 2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22" h="2737">
                    <a:moveTo>
                      <a:pt x="0" y="2737"/>
                    </a:moveTo>
                    <a:lnTo>
                      <a:pt x="0" y="2737"/>
                    </a:lnTo>
                    <a:lnTo>
                      <a:pt x="0" y="2737"/>
                    </a:lnTo>
                    <a:moveTo>
                      <a:pt x="0" y="2737"/>
                    </a:moveTo>
                    <a:lnTo>
                      <a:pt x="1744" y="0"/>
                    </a:lnTo>
                    <a:lnTo>
                      <a:pt x="1752" y="14"/>
                    </a:lnTo>
                    <a:lnTo>
                      <a:pt x="2922" y="2042"/>
                    </a:lnTo>
                    <a:lnTo>
                      <a:pt x="2922" y="2042"/>
                    </a:lnTo>
                    <a:lnTo>
                      <a:pt x="0" y="2737"/>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4" name="Freeform 414"/>
              <p:cNvSpPr>
                <a:spLocks/>
              </p:cNvSpPr>
              <p:nvPr/>
            </p:nvSpPr>
            <p:spPr bwMode="auto">
              <a:xfrm>
                <a:off x="-7261225" y="1125537"/>
                <a:ext cx="1047750" cy="1557338"/>
              </a:xfrm>
              <a:custGeom>
                <a:avLst/>
                <a:gdLst>
                  <a:gd name="T0" fmla="*/ 0 w 660"/>
                  <a:gd name="T1" fmla="*/ 981 h 981"/>
                  <a:gd name="T2" fmla="*/ 0 w 660"/>
                  <a:gd name="T3" fmla="*/ 981 h 981"/>
                  <a:gd name="T4" fmla="*/ 565 w 660"/>
                  <a:gd name="T5" fmla="*/ 0 h 981"/>
                  <a:gd name="T6" fmla="*/ 565 w 660"/>
                  <a:gd name="T7" fmla="*/ 0 h 981"/>
                  <a:gd name="T8" fmla="*/ 565 w 660"/>
                  <a:gd name="T9" fmla="*/ 0 h 981"/>
                  <a:gd name="T10" fmla="*/ 660 w 660"/>
                  <a:gd name="T11" fmla="*/ 963 h 981"/>
                  <a:gd name="T12" fmla="*/ 660 w 660"/>
                  <a:gd name="T13" fmla="*/ 963 h 981"/>
                  <a:gd name="T14" fmla="*/ 660 w 660"/>
                  <a:gd name="T15" fmla="*/ 964 h 981"/>
                  <a:gd name="T16" fmla="*/ 660 w 660"/>
                  <a:gd name="T17" fmla="*/ 964 h 981"/>
                  <a:gd name="T18" fmla="*/ 0 w 660"/>
                  <a:gd name="T19" fmla="*/ 981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0" h="981">
                    <a:moveTo>
                      <a:pt x="0" y="981"/>
                    </a:moveTo>
                    <a:lnTo>
                      <a:pt x="0" y="981"/>
                    </a:lnTo>
                    <a:lnTo>
                      <a:pt x="565" y="0"/>
                    </a:lnTo>
                    <a:lnTo>
                      <a:pt x="565" y="0"/>
                    </a:lnTo>
                    <a:lnTo>
                      <a:pt x="565" y="0"/>
                    </a:lnTo>
                    <a:lnTo>
                      <a:pt x="660" y="963"/>
                    </a:lnTo>
                    <a:lnTo>
                      <a:pt x="660" y="963"/>
                    </a:lnTo>
                    <a:lnTo>
                      <a:pt x="660" y="964"/>
                    </a:lnTo>
                    <a:lnTo>
                      <a:pt x="660" y="964"/>
                    </a:lnTo>
                    <a:lnTo>
                      <a:pt x="0"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5" name="Freeform 415"/>
              <p:cNvSpPr>
                <a:spLocks/>
              </p:cNvSpPr>
              <p:nvPr/>
            </p:nvSpPr>
            <p:spPr bwMode="auto">
              <a:xfrm>
                <a:off x="-9488488" y="2682875"/>
                <a:ext cx="2227263" cy="1554163"/>
              </a:xfrm>
              <a:custGeom>
                <a:avLst/>
                <a:gdLst>
                  <a:gd name="T0" fmla="*/ 1744 w 2922"/>
                  <a:gd name="T1" fmla="*/ 2041 h 2041"/>
                  <a:gd name="T2" fmla="*/ 0 w 2922"/>
                  <a:gd name="T3" fmla="*/ 695 h 2041"/>
                  <a:gd name="T4" fmla="*/ 2922 w 2922"/>
                  <a:gd name="T5" fmla="*/ 0 h 2041"/>
                  <a:gd name="T6" fmla="*/ 1743 w 2922"/>
                  <a:gd name="T7" fmla="*/ 2041 h 2041"/>
                </a:gdLst>
                <a:ahLst/>
                <a:cxnLst>
                  <a:cxn ang="0">
                    <a:pos x="T0" y="T1"/>
                  </a:cxn>
                  <a:cxn ang="0">
                    <a:pos x="T2" y="T3"/>
                  </a:cxn>
                  <a:cxn ang="0">
                    <a:pos x="T4" y="T5"/>
                  </a:cxn>
                  <a:cxn ang="0">
                    <a:pos x="T6" y="T7"/>
                  </a:cxn>
                </a:cxnLst>
                <a:rect l="0" t="0" r="r" b="b"/>
                <a:pathLst>
                  <a:path w="2922" h="2041">
                    <a:moveTo>
                      <a:pt x="1744" y="2041"/>
                    </a:moveTo>
                    <a:lnTo>
                      <a:pt x="0" y="695"/>
                    </a:lnTo>
                    <a:lnTo>
                      <a:pt x="2922" y="0"/>
                    </a:lnTo>
                    <a:lnTo>
                      <a:pt x="1743" y="204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6" name="Freeform 416"/>
              <p:cNvSpPr>
                <a:spLocks/>
              </p:cNvSpPr>
              <p:nvPr/>
            </p:nvSpPr>
            <p:spPr bwMode="auto">
              <a:xfrm>
                <a:off x="-8159750" y="2682875"/>
                <a:ext cx="898525" cy="1554163"/>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7" name="Freeform 417"/>
              <p:cNvSpPr>
                <a:spLocks/>
              </p:cNvSpPr>
              <p:nvPr/>
            </p:nvSpPr>
            <p:spPr bwMode="auto">
              <a:xfrm>
                <a:off x="-9488488" y="2682875"/>
                <a:ext cx="2227263" cy="528638"/>
              </a:xfrm>
              <a:custGeom>
                <a:avLst/>
                <a:gdLst>
                  <a:gd name="T0" fmla="*/ 0 w 1403"/>
                  <a:gd name="T1" fmla="*/ 333 h 333"/>
                  <a:gd name="T2" fmla="*/ 0 w 1403"/>
                  <a:gd name="T3" fmla="*/ 333 h 333"/>
                  <a:gd name="T4" fmla="*/ 1403 w 1403"/>
                  <a:gd name="T5" fmla="*/ 0 h 333"/>
                  <a:gd name="T6" fmla="*/ 1403 w 1403"/>
                  <a:gd name="T7" fmla="*/ 0 h 333"/>
                  <a:gd name="T8" fmla="*/ 0 w 1403"/>
                  <a:gd name="T9" fmla="*/ 333 h 333"/>
                </a:gdLst>
                <a:ahLst/>
                <a:cxnLst>
                  <a:cxn ang="0">
                    <a:pos x="T0" y="T1"/>
                  </a:cxn>
                  <a:cxn ang="0">
                    <a:pos x="T2" y="T3"/>
                  </a:cxn>
                  <a:cxn ang="0">
                    <a:pos x="T4" y="T5"/>
                  </a:cxn>
                  <a:cxn ang="0">
                    <a:pos x="T6" y="T7"/>
                  </a:cxn>
                  <a:cxn ang="0">
                    <a:pos x="T8" y="T9"/>
                  </a:cxn>
                </a:cxnLst>
                <a:rect l="0" t="0" r="r" b="b"/>
                <a:pathLst>
                  <a:path w="1403" h="333">
                    <a:moveTo>
                      <a:pt x="0" y="333"/>
                    </a:moveTo>
                    <a:lnTo>
                      <a:pt x="0" y="333"/>
                    </a:lnTo>
                    <a:lnTo>
                      <a:pt x="1403" y="0"/>
                    </a:lnTo>
                    <a:lnTo>
                      <a:pt x="1403" y="0"/>
                    </a:lnTo>
                    <a:lnTo>
                      <a:pt x="0" y="3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8" name="Freeform 418"/>
              <p:cNvSpPr>
                <a:spLocks noEditPoints="1"/>
              </p:cNvSpPr>
              <p:nvPr/>
            </p:nvSpPr>
            <p:spPr bwMode="auto">
              <a:xfrm>
                <a:off x="-6213475" y="1125537"/>
                <a:ext cx="1800225" cy="1987550"/>
              </a:xfrm>
              <a:custGeom>
                <a:avLst/>
                <a:gdLst>
                  <a:gd name="T0" fmla="*/ 2364 w 2364"/>
                  <a:gd name="T1" fmla="*/ 2608 h 2608"/>
                  <a:gd name="T2" fmla="*/ 0 w 2364"/>
                  <a:gd name="T3" fmla="*/ 2007 h 2608"/>
                  <a:gd name="T4" fmla="*/ 0 w 2364"/>
                  <a:gd name="T5" fmla="*/ 2006 h 2608"/>
                  <a:gd name="T6" fmla="*/ 0 w 2364"/>
                  <a:gd name="T7" fmla="*/ 2006 h 2608"/>
                  <a:gd name="T8" fmla="*/ 0 w 2364"/>
                  <a:gd name="T9" fmla="*/ 2006 h 2608"/>
                  <a:gd name="T10" fmla="*/ 2161 w 2364"/>
                  <a:gd name="T11" fmla="*/ 0 h 2608"/>
                  <a:gd name="T12" fmla="*/ 2364 w 2364"/>
                  <a:gd name="T13" fmla="*/ 2608 h 2608"/>
                  <a:gd name="T14" fmla="*/ 2161 w 2364"/>
                  <a:gd name="T15" fmla="*/ 0 h 2608"/>
                  <a:gd name="T16" fmla="*/ 2161 w 2364"/>
                  <a:gd name="T17" fmla="*/ 0 h 2608"/>
                  <a:gd name="T18" fmla="*/ 2161 w 2364"/>
                  <a:gd name="T19" fmla="*/ 0 h 2608"/>
                  <a:gd name="T20" fmla="*/ 2161 w 2364"/>
                  <a:gd name="T21" fmla="*/ 0 h 2608"/>
                  <a:gd name="T22" fmla="*/ 2161 w 2364"/>
                  <a:gd name="T23" fmla="*/ 0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64" h="2608">
                    <a:moveTo>
                      <a:pt x="2364" y="2608"/>
                    </a:moveTo>
                    <a:lnTo>
                      <a:pt x="0" y="2007"/>
                    </a:lnTo>
                    <a:lnTo>
                      <a:pt x="0" y="2006"/>
                    </a:lnTo>
                    <a:lnTo>
                      <a:pt x="0" y="2006"/>
                    </a:lnTo>
                    <a:lnTo>
                      <a:pt x="0" y="2006"/>
                    </a:lnTo>
                    <a:lnTo>
                      <a:pt x="2161" y="0"/>
                    </a:lnTo>
                    <a:lnTo>
                      <a:pt x="2364" y="2608"/>
                    </a:lnTo>
                    <a:moveTo>
                      <a:pt x="2161" y="0"/>
                    </a:moveTo>
                    <a:lnTo>
                      <a:pt x="2161" y="0"/>
                    </a:lnTo>
                    <a:lnTo>
                      <a:pt x="2161" y="0"/>
                    </a:lnTo>
                    <a:lnTo>
                      <a:pt x="2161" y="0"/>
                    </a:lnTo>
                    <a:lnTo>
                      <a:pt x="2161" y="0"/>
                    </a:lnTo>
                  </a:path>
                </a:pathLst>
              </a:custGeom>
              <a:solidFill>
                <a:srgbClr val="59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9" name="Rectangle 419"/>
              <p:cNvSpPr>
                <a:spLocks noChangeArrowheads="1"/>
              </p:cNvSpPr>
              <p:nvPr/>
            </p:nvSpPr>
            <p:spPr bwMode="auto">
              <a:xfrm>
                <a:off x="-6213475" y="2654300"/>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0" name="Freeform 420"/>
              <p:cNvSpPr>
                <a:spLocks/>
              </p:cNvSpPr>
              <p:nvPr/>
            </p:nvSpPr>
            <p:spPr bwMode="auto">
              <a:xfrm>
                <a:off x="-5526088" y="160337"/>
                <a:ext cx="2544763" cy="965200"/>
              </a:xfrm>
              <a:custGeom>
                <a:avLst/>
                <a:gdLst>
                  <a:gd name="T0" fmla="*/ 604 w 1603"/>
                  <a:gd name="T1" fmla="*/ 608 h 608"/>
                  <a:gd name="T2" fmla="*/ 62 w 1603"/>
                  <a:gd name="T3" fmla="*/ 344 h 608"/>
                  <a:gd name="T4" fmla="*/ 0 w 1603"/>
                  <a:gd name="T5" fmla="*/ 313 h 608"/>
                  <a:gd name="T6" fmla="*/ 0 w 1603"/>
                  <a:gd name="T7" fmla="*/ 313 h 608"/>
                  <a:gd name="T8" fmla="*/ 1603 w 1603"/>
                  <a:gd name="T9" fmla="*/ 0 h 608"/>
                  <a:gd name="T10" fmla="*/ 1508 w 1603"/>
                  <a:gd name="T11" fmla="*/ 57 h 608"/>
                  <a:gd name="T12" fmla="*/ 604 w 1603"/>
                  <a:gd name="T13" fmla="*/ 608 h 608"/>
                </a:gdLst>
                <a:ahLst/>
                <a:cxnLst>
                  <a:cxn ang="0">
                    <a:pos x="T0" y="T1"/>
                  </a:cxn>
                  <a:cxn ang="0">
                    <a:pos x="T2" y="T3"/>
                  </a:cxn>
                  <a:cxn ang="0">
                    <a:pos x="T4" y="T5"/>
                  </a:cxn>
                  <a:cxn ang="0">
                    <a:pos x="T6" y="T7"/>
                  </a:cxn>
                  <a:cxn ang="0">
                    <a:pos x="T8" y="T9"/>
                  </a:cxn>
                  <a:cxn ang="0">
                    <a:pos x="T10" y="T11"/>
                  </a:cxn>
                  <a:cxn ang="0">
                    <a:pos x="T12" y="T13"/>
                  </a:cxn>
                </a:cxnLst>
                <a:rect l="0" t="0" r="r" b="b"/>
                <a:pathLst>
                  <a:path w="1603" h="608">
                    <a:moveTo>
                      <a:pt x="604" y="608"/>
                    </a:moveTo>
                    <a:lnTo>
                      <a:pt x="62" y="344"/>
                    </a:lnTo>
                    <a:lnTo>
                      <a:pt x="0" y="313"/>
                    </a:lnTo>
                    <a:lnTo>
                      <a:pt x="0" y="313"/>
                    </a:lnTo>
                    <a:lnTo>
                      <a:pt x="1603" y="0"/>
                    </a:lnTo>
                    <a:lnTo>
                      <a:pt x="1508" y="57"/>
                    </a:lnTo>
                    <a:lnTo>
                      <a:pt x="604" y="608"/>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1" name="Freeform 421"/>
              <p:cNvSpPr>
                <a:spLocks/>
              </p:cNvSpPr>
              <p:nvPr/>
            </p:nvSpPr>
            <p:spPr bwMode="auto">
              <a:xfrm>
                <a:off x="-5526088" y="65722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89C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2" name="Freeform 422"/>
              <p:cNvSpPr>
                <a:spLocks/>
              </p:cNvSpPr>
              <p:nvPr/>
            </p:nvSpPr>
            <p:spPr bwMode="auto">
              <a:xfrm>
                <a:off x="-4567238" y="1125537"/>
                <a:ext cx="1795463" cy="1987550"/>
              </a:xfrm>
              <a:custGeom>
                <a:avLst/>
                <a:gdLst>
                  <a:gd name="T0" fmla="*/ 97 w 1131"/>
                  <a:gd name="T1" fmla="*/ 1252 h 1252"/>
                  <a:gd name="T2" fmla="*/ 97 w 1131"/>
                  <a:gd name="T3" fmla="*/ 1252 h 1252"/>
                  <a:gd name="T4" fmla="*/ 0 w 1131"/>
                  <a:gd name="T5" fmla="*/ 0 h 1252"/>
                  <a:gd name="T6" fmla="*/ 0 w 1131"/>
                  <a:gd name="T7" fmla="*/ 0 h 1252"/>
                  <a:gd name="T8" fmla="*/ 1131 w 1131"/>
                  <a:gd name="T9" fmla="*/ 0 h 1252"/>
                  <a:gd name="T10" fmla="*/ 97 w 1131"/>
                  <a:gd name="T11" fmla="*/ 1252 h 1252"/>
                  <a:gd name="T12" fmla="*/ 97 w 1131"/>
                  <a:gd name="T13" fmla="*/ 1252 h 1252"/>
                  <a:gd name="T14" fmla="*/ 97 w 1131"/>
                  <a:gd name="T15" fmla="*/ 1252 h 1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1252">
                    <a:moveTo>
                      <a:pt x="97" y="1252"/>
                    </a:moveTo>
                    <a:lnTo>
                      <a:pt x="97" y="1252"/>
                    </a:lnTo>
                    <a:lnTo>
                      <a:pt x="0" y="0"/>
                    </a:lnTo>
                    <a:lnTo>
                      <a:pt x="0" y="0"/>
                    </a:lnTo>
                    <a:lnTo>
                      <a:pt x="1131" y="0"/>
                    </a:lnTo>
                    <a:lnTo>
                      <a:pt x="97" y="1252"/>
                    </a:lnTo>
                    <a:lnTo>
                      <a:pt x="97" y="1252"/>
                    </a:lnTo>
                    <a:lnTo>
                      <a:pt x="97" y="1252"/>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3" name="Freeform 423"/>
              <p:cNvSpPr>
                <a:spLocks/>
              </p:cNvSpPr>
              <p:nvPr/>
            </p:nvSpPr>
            <p:spPr bwMode="auto">
              <a:xfrm>
                <a:off x="-4567238" y="1125537"/>
                <a:ext cx="153988" cy="1987550"/>
              </a:xfrm>
              <a:custGeom>
                <a:avLst/>
                <a:gdLst>
                  <a:gd name="T0" fmla="*/ 97 w 97"/>
                  <a:gd name="T1" fmla="*/ 1252 h 1252"/>
                  <a:gd name="T2" fmla="*/ 97 w 97"/>
                  <a:gd name="T3" fmla="*/ 1252 h 1252"/>
                  <a:gd name="T4" fmla="*/ 0 w 97"/>
                  <a:gd name="T5" fmla="*/ 0 h 1252"/>
                  <a:gd name="T6" fmla="*/ 0 w 97"/>
                  <a:gd name="T7" fmla="*/ 0 h 1252"/>
                  <a:gd name="T8" fmla="*/ 97 w 97"/>
                  <a:gd name="T9" fmla="*/ 1252 h 1252"/>
                </a:gdLst>
                <a:ahLst/>
                <a:cxnLst>
                  <a:cxn ang="0">
                    <a:pos x="T0" y="T1"/>
                  </a:cxn>
                  <a:cxn ang="0">
                    <a:pos x="T2" y="T3"/>
                  </a:cxn>
                  <a:cxn ang="0">
                    <a:pos x="T4" y="T5"/>
                  </a:cxn>
                  <a:cxn ang="0">
                    <a:pos x="T6" y="T7"/>
                  </a:cxn>
                  <a:cxn ang="0">
                    <a:pos x="T8" y="T9"/>
                  </a:cxn>
                </a:cxnLst>
                <a:rect l="0" t="0" r="r" b="b"/>
                <a:pathLst>
                  <a:path w="97" h="1252">
                    <a:moveTo>
                      <a:pt x="97" y="1252"/>
                    </a:moveTo>
                    <a:lnTo>
                      <a:pt x="97" y="1252"/>
                    </a:lnTo>
                    <a:lnTo>
                      <a:pt x="0" y="0"/>
                    </a:lnTo>
                    <a:lnTo>
                      <a:pt x="0" y="0"/>
                    </a:lnTo>
                    <a:lnTo>
                      <a:pt x="97" y="1252"/>
                    </a:lnTo>
                    <a:close/>
                  </a:path>
                </a:pathLst>
              </a:custGeom>
              <a:solidFill>
                <a:srgbClr val="5BA2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4" name="Freeform 424"/>
              <p:cNvSpPr>
                <a:spLocks noEditPoints="1"/>
              </p:cNvSpPr>
              <p:nvPr/>
            </p:nvSpPr>
            <p:spPr bwMode="auto">
              <a:xfrm>
                <a:off x="-6364288" y="657225"/>
                <a:ext cx="1797050" cy="468313"/>
              </a:xfrm>
              <a:custGeom>
                <a:avLst/>
                <a:gdLst>
                  <a:gd name="T0" fmla="*/ 0 w 2357"/>
                  <a:gd name="T1" fmla="*/ 615 h 615"/>
                  <a:gd name="T2" fmla="*/ 0 w 2357"/>
                  <a:gd name="T3" fmla="*/ 615 h 615"/>
                  <a:gd name="T4" fmla="*/ 0 w 2357"/>
                  <a:gd name="T5" fmla="*/ 615 h 615"/>
                  <a:gd name="T6" fmla="*/ 0 w 2357"/>
                  <a:gd name="T7" fmla="*/ 615 h 615"/>
                  <a:gd name="T8" fmla="*/ 0 w 2357"/>
                  <a:gd name="T9" fmla="*/ 615 h 615"/>
                  <a:gd name="T10" fmla="*/ 2357 w 2357"/>
                  <a:gd name="T11" fmla="*/ 615 h 615"/>
                  <a:gd name="T12" fmla="*/ 0 w 2357"/>
                  <a:gd name="T13" fmla="*/ 615 h 615"/>
                  <a:gd name="T14" fmla="*/ 833 w 2357"/>
                  <a:gd name="T15" fmla="*/ 149 h 615"/>
                  <a:gd name="T16" fmla="*/ 1099 w 2357"/>
                  <a:gd name="T17" fmla="*/ 0 h 615"/>
                  <a:gd name="T18" fmla="*/ 1228 w 2357"/>
                  <a:gd name="T19" fmla="*/ 64 h 615"/>
                  <a:gd name="T20" fmla="*/ 2357 w 2357"/>
                  <a:gd name="T21" fmla="*/ 615 h 615"/>
                  <a:gd name="T22" fmla="*/ 2357 w 2357"/>
                  <a:gd name="T23"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7" h="615">
                    <a:moveTo>
                      <a:pt x="0" y="615"/>
                    </a:moveTo>
                    <a:lnTo>
                      <a:pt x="0" y="615"/>
                    </a:lnTo>
                    <a:lnTo>
                      <a:pt x="0" y="615"/>
                    </a:lnTo>
                    <a:lnTo>
                      <a:pt x="0" y="615"/>
                    </a:lnTo>
                    <a:lnTo>
                      <a:pt x="0" y="615"/>
                    </a:lnTo>
                    <a:moveTo>
                      <a:pt x="2357" y="615"/>
                    </a:moveTo>
                    <a:lnTo>
                      <a:pt x="0" y="615"/>
                    </a:lnTo>
                    <a:lnTo>
                      <a:pt x="833" y="149"/>
                    </a:lnTo>
                    <a:lnTo>
                      <a:pt x="1099" y="0"/>
                    </a:lnTo>
                    <a:lnTo>
                      <a:pt x="1228" y="64"/>
                    </a:lnTo>
                    <a:lnTo>
                      <a:pt x="2357" y="615"/>
                    </a:lnTo>
                    <a:lnTo>
                      <a:pt x="2357" y="615"/>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5" name="Freeform 425"/>
              <p:cNvSpPr>
                <a:spLocks/>
              </p:cNvSpPr>
              <p:nvPr/>
            </p:nvSpPr>
            <p:spPr bwMode="auto">
              <a:xfrm>
                <a:off x="-5729288" y="657225"/>
                <a:ext cx="203200" cy="114300"/>
              </a:xfrm>
              <a:custGeom>
                <a:avLst/>
                <a:gdLst>
                  <a:gd name="T0" fmla="*/ 0 w 128"/>
                  <a:gd name="T1" fmla="*/ 72 h 72"/>
                  <a:gd name="T2" fmla="*/ 128 w 128"/>
                  <a:gd name="T3" fmla="*/ 0 h 72"/>
                  <a:gd name="T4" fmla="*/ 128 w 128"/>
                  <a:gd name="T5" fmla="*/ 0 h 72"/>
                  <a:gd name="T6" fmla="*/ 0 w 128"/>
                  <a:gd name="T7" fmla="*/ 72 h 72"/>
                </a:gdLst>
                <a:ahLst/>
                <a:cxnLst>
                  <a:cxn ang="0">
                    <a:pos x="T0" y="T1"/>
                  </a:cxn>
                  <a:cxn ang="0">
                    <a:pos x="T2" y="T3"/>
                  </a:cxn>
                  <a:cxn ang="0">
                    <a:pos x="T4" y="T5"/>
                  </a:cxn>
                  <a:cxn ang="0">
                    <a:pos x="T6" y="T7"/>
                  </a:cxn>
                </a:cxnLst>
                <a:rect l="0" t="0" r="r" b="b"/>
                <a:pathLst>
                  <a:path w="128" h="72">
                    <a:moveTo>
                      <a:pt x="0" y="72"/>
                    </a:moveTo>
                    <a:lnTo>
                      <a:pt x="128" y="0"/>
                    </a:lnTo>
                    <a:lnTo>
                      <a:pt x="128" y="0"/>
                    </a:lnTo>
                    <a:lnTo>
                      <a:pt x="0" y="72"/>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6" name="Freeform 426"/>
              <p:cNvSpPr>
                <a:spLocks/>
              </p:cNvSpPr>
              <p:nvPr/>
            </p:nvSpPr>
            <p:spPr bwMode="auto">
              <a:xfrm>
                <a:off x="-5526088" y="657225"/>
                <a:ext cx="98425" cy="49213"/>
              </a:xfrm>
              <a:custGeom>
                <a:avLst/>
                <a:gdLst>
                  <a:gd name="T0" fmla="*/ 62 w 62"/>
                  <a:gd name="T1" fmla="*/ 31 h 31"/>
                  <a:gd name="T2" fmla="*/ 0 w 62"/>
                  <a:gd name="T3" fmla="*/ 0 h 31"/>
                  <a:gd name="T4" fmla="*/ 0 w 62"/>
                  <a:gd name="T5" fmla="*/ 0 h 31"/>
                  <a:gd name="T6" fmla="*/ 62 w 62"/>
                  <a:gd name="T7" fmla="*/ 31 h 31"/>
                </a:gdLst>
                <a:ahLst/>
                <a:cxnLst>
                  <a:cxn ang="0">
                    <a:pos x="T0" y="T1"/>
                  </a:cxn>
                  <a:cxn ang="0">
                    <a:pos x="T2" y="T3"/>
                  </a:cxn>
                  <a:cxn ang="0">
                    <a:pos x="T4" y="T5"/>
                  </a:cxn>
                  <a:cxn ang="0">
                    <a:pos x="T6" y="T7"/>
                  </a:cxn>
                </a:cxnLst>
                <a:rect l="0" t="0" r="r" b="b"/>
                <a:pathLst>
                  <a:path w="62" h="31">
                    <a:moveTo>
                      <a:pt x="62" y="31"/>
                    </a:moveTo>
                    <a:lnTo>
                      <a:pt x="0" y="0"/>
                    </a:lnTo>
                    <a:lnTo>
                      <a:pt x="0" y="0"/>
                    </a:lnTo>
                    <a:lnTo>
                      <a:pt x="62" y="31"/>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7" name="Rectangle 427"/>
              <p:cNvSpPr>
                <a:spLocks noChangeArrowheads="1"/>
              </p:cNvSpPr>
              <p:nvPr/>
            </p:nvSpPr>
            <p:spPr bwMode="auto">
              <a:xfrm>
                <a:off x="-5526088" y="657225"/>
                <a:ext cx="1588" cy="1588"/>
              </a:xfrm>
              <a:prstGeom prst="rect">
                <a:avLst/>
              </a:prstGeom>
              <a:solidFill>
                <a:srgbClr val="589CBB"/>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8" name="Freeform 428"/>
              <p:cNvSpPr>
                <a:spLocks/>
              </p:cNvSpPr>
              <p:nvPr/>
            </p:nvSpPr>
            <p:spPr bwMode="auto">
              <a:xfrm>
                <a:off x="-4567238" y="160337"/>
                <a:ext cx="1795463" cy="965200"/>
              </a:xfrm>
              <a:custGeom>
                <a:avLst/>
                <a:gdLst>
                  <a:gd name="T0" fmla="*/ 0 w 1131"/>
                  <a:gd name="T1" fmla="*/ 608 h 608"/>
                  <a:gd name="T2" fmla="*/ 0 w 1131"/>
                  <a:gd name="T3" fmla="*/ 608 h 608"/>
                  <a:gd name="T4" fmla="*/ 904 w 1131"/>
                  <a:gd name="T5" fmla="*/ 57 h 608"/>
                  <a:gd name="T6" fmla="*/ 999 w 1131"/>
                  <a:gd name="T7" fmla="*/ 0 h 608"/>
                  <a:gd name="T8" fmla="*/ 999 w 1131"/>
                  <a:gd name="T9" fmla="*/ 0 h 608"/>
                  <a:gd name="T10" fmla="*/ 1077 w 1131"/>
                  <a:gd name="T11" fmla="*/ 359 h 608"/>
                  <a:gd name="T12" fmla="*/ 1131 w 1131"/>
                  <a:gd name="T13" fmla="*/ 608 h 608"/>
                  <a:gd name="T14" fmla="*/ 0 w 1131"/>
                  <a:gd name="T15" fmla="*/ 608 h 6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608">
                    <a:moveTo>
                      <a:pt x="0" y="608"/>
                    </a:moveTo>
                    <a:lnTo>
                      <a:pt x="0" y="608"/>
                    </a:lnTo>
                    <a:lnTo>
                      <a:pt x="904" y="57"/>
                    </a:lnTo>
                    <a:lnTo>
                      <a:pt x="999" y="0"/>
                    </a:lnTo>
                    <a:lnTo>
                      <a:pt x="999" y="0"/>
                    </a:lnTo>
                    <a:lnTo>
                      <a:pt x="1077" y="359"/>
                    </a:lnTo>
                    <a:lnTo>
                      <a:pt x="1131" y="608"/>
                    </a:lnTo>
                    <a:lnTo>
                      <a:pt x="0" y="608"/>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9" name="Freeform 429"/>
              <p:cNvSpPr>
                <a:spLocks/>
              </p:cNvSpPr>
              <p:nvPr/>
            </p:nvSpPr>
            <p:spPr bwMode="auto">
              <a:xfrm>
                <a:off x="-3132138" y="160337"/>
                <a:ext cx="150813" cy="90488"/>
              </a:xfrm>
              <a:custGeom>
                <a:avLst/>
                <a:gdLst>
                  <a:gd name="T0" fmla="*/ 0 w 95"/>
                  <a:gd name="T1" fmla="*/ 57 h 57"/>
                  <a:gd name="T2" fmla="*/ 95 w 95"/>
                  <a:gd name="T3" fmla="*/ 0 h 57"/>
                  <a:gd name="T4" fmla="*/ 95 w 95"/>
                  <a:gd name="T5" fmla="*/ 0 h 57"/>
                  <a:gd name="T6" fmla="*/ 0 w 95"/>
                  <a:gd name="T7" fmla="*/ 57 h 57"/>
                </a:gdLst>
                <a:ahLst/>
                <a:cxnLst>
                  <a:cxn ang="0">
                    <a:pos x="T0" y="T1"/>
                  </a:cxn>
                  <a:cxn ang="0">
                    <a:pos x="T2" y="T3"/>
                  </a:cxn>
                  <a:cxn ang="0">
                    <a:pos x="T4" y="T5"/>
                  </a:cxn>
                  <a:cxn ang="0">
                    <a:pos x="T6" y="T7"/>
                  </a:cxn>
                </a:cxnLst>
                <a:rect l="0" t="0" r="r" b="b"/>
                <a:pathLst>
                  <a:path w="95" h="57">
                    <a:moveTo>
                      <a:pt x="0" y="57"/>
                    </a:moveTo>
                    <a:lnTo>
                      <a:pt x="95" y="0"/>
                    </a:lnTo>
                    <a:lnTo>
                      <a:pt x="95" y="0"/>
                    </a:lnTo>
                    <a:lnTo>
                      <a:pt x="0" y="5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0" name="Freeform 430"/>
              <p:cNvSpPr>
                <a:spLocks noEditPoints="1"/>
              </p:cNvSpPr>
              <p:nvPr/>
            </p:nvSpPr>
            <p:spPr bwMode="auto">
              <a:xfrm>
                <a:off x="-6364288" y="1125537"/>
                <a:ext cx="1797050" cy="1528763"/>
              </a:xfrm>
              <a:custGeom>
                <a:avLst/>
                <a:gdLst>
                  <a:gd name="T0" fmla="*/ 196 w 2357"/>
                  <a:gd name="T1" fmla="*/ 2006 h 2006"/>
                  <a:gd name="T2" fmla="*/ 0 w 2357"/>
                  <a:gd name="T3" fmla="*/ 0 h 2006"/>
                  <a:gd name="T4" fmla="*/ 2357 w 2357"/>
                  <a:gd name="T5" fmla="*/ 0 h 2006"/>
                  <a:gd name="T6" fmla="*/ 196 w 2357"/>
                  <a:gd name="T7" fmla="*/ 2006 h 2006"/>
                  <a:gd name="T8" fmla="*/ 2357 w 2357"/>
                  <a:gd name="T9" fmla="*/ 0 h 2006"/>
                  <a:gd name="T10" fmla="*/ 2357 w 2357"/>
                  <a:gd name="T11" fmla="*/ 0 h 2006"/>
                  <a:gd name="T12" fmla="*/ 2357 w 2357"/>
                  <a:gd name="T13" fmla="*/ 0 h 2006"/>
                  <a:gd name="T14" fmla="*/ 0 w 2357"/>
                  <a:gd name="T15" fmla="*/ 0 h 2006"/>
                  <a:gd name="T16" fmla="*/ 0 w 2357"/>
                  <a:gd name="T17" fmla="*/ 0 h 2006"/>
                  <a:gd name="T18" fmla="*/ 0 w 2357"/>
                  <a:gd name="T19" fmla="*/ 0 h 2006"/>
                  <a:gd name="T20" fmla="*/ 0 w 2357"/>
                  <a:gd name="T21" fmla="*/ 0 h 2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7" h="2006">
                    <a:moveTo>
                      <a:pt x="196" y="2006"/>
                    </a:moveTo>
                    <a:lnTo>
                      <a:pt x="0" y="0"/>
                    </a:lnTo>
                    <a:lnTo>
                      <a:pt x="2357" y="0"/>
                    </a:lnTo>
                    <a:lnTo>
                      <a:pt x="196" y="2006"/>
                    </a:lnTo>
                    <a:moveTo>
                      <a:pt x="2357" y="0"/>
                    </a:moveTo>
                    <a:lnTo>
                      <a:pt x="2357" y="0"/>
                    </a:lnTo>
                    <a:lnTo>
                      <a:pt x="2357" y="0"/>
                    </a:lnTo>
                    <a:moveTo>
                      <a:pt x="0" y="0"/>
                    </a:moveTo>
                    <a:lnTo>
                      <a:pt x="0" y="0"/>
                    </a:lnTo>
                    <a:lnTo>
                      <a:pt x="0" y="0"/>
                    </a:ln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1" name="Freeform 431"/>
              <p:cNvSpPr>
                <a:spLocks/>
              </p:cNvSpPr>
              <p:nvPr/>
            </p:nvSpPr>
            <p:spPr bwMode="auto">
              <a:xfrm>
                <a:off x="-6213475" y="1125537"/>
                <a:ext cx="1646238" cy="1528763"/>
              </a:xfrm>
              <a:custGeom>
                <a:avLst/>
                <a:gdLst>
                  <a:gd name="T0" fmla="*/ 0 w 1037"/>
                  <a:gd name="T1" fmla="*/ 963 h 963"/>
                  <a:gd name="T2" fmla="*/ 0 w 1037"/>
                  <a:gd name="T3" fmla="*/ 963 h 963"/>
                  <a:gd name="T4" fmla="*/ 1037 w 1037"/>
                  <a:gd name="T5" fmla="*/ 0 h 963"/>
                  <a:gd name="T6" fmla="*/ 1037 w 1037"/>
                  <a:gd name="T7" fmla="*/ 0 h 963"/>
                  <a:gd name="T8" fmla="*/ 1037 w 1037"/>
                  <a:gd name="T9" fmla="*/ 0 h 963"/>
                  <a:gd name="T10" fmla="*/ 1037 w 1037"/>
                  <a:gd name="T11" fmla="*/ 0 h 963"/>
                  <a:gd name="T12" fmla="*/ 0 w 1037"/>
                  <a:gd name="T13" fmla="*/ 963 h 963"/>
                </a:gdLst>
                <a:ahLst/>
                <a:cxnLst>
                  <a:cxn ang="0">
                    <a:pos x="T0" y="T1"/>
                  </a:cxn>
                  <a:cxn ang="0">
                    <a:pos x="T2" y="T3"/>
                  </a:cxn>
                  <a:cxn ang="0">
                    <a:pos x="T4" y="T5"/>
                  </a:cxn>
                  <a:cxn ang="0">
                    <a:pos x="T6" y="T7"/>
                  </a:cxn>
                  <a:cxn ang="0">
                    <a:pos x="T8" y="T9"/>
                  </a:cxn>
                  <a:cxn ang="0">
                    <a:pos x="T10" y="T11"/>
                  </a:cxn>
                  <a:cxn ang="0">
                    <a:pos x="T12" y="T13"/>
                  </a:cxn>
                </a:cxnLst>
                <a:rect l="0" t="0" r="r" b="b"/>
                <a:pathLst>
                  <a:path w="1037" h="963">
                    <a:moveTo>
                      <a:pt x="0" y="963"/>
                    </a:moveTo>
                    <a:lnTo>
                      <a:pt x="0" y="963"/>
                    </a:lnTo>
                    <a:lnTo>
                      <a:pt x="1037" y="0"/>
                    </a:lnTo>
                    <a:lnTo>
                      <a:pt x="1037" y="0"/>
                    </a:lnTo>
                    <a:lnTo>
                      <a:pt x="1037" y="0"/>
                    </a:lnTo>
                    <a:lnTo>
                      <a:pt x="1037" y="0"/>
                    </a:lnTo>
                    <a:lnTo>
                      <a:pt x="0" y="963"/>
                    </a:lnTo>
                    <a:close/>
                  </a:path>
                </a:pathLst>
              </a:custGeom>
              <a:solidFill>
                <a:srgbClr val="5AA1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2" name="Freeform 432"/>
              <p:cNvSpPr>
                <a:spLocks noEditPoints="1"/>
              </p:cNvSpPr>
              <p:nvPr/>
            </p:nvSpPr>
            <p:spPr bwMode="auto">
              <a:xfrm>
                <a:off x="-8323263" y="5514975"/>
                <a:ext cx="1782763" cy="2144713"/>
              </a:xfrm>
              <a:custGeom>
                <a:avLst/>
                <a:gdLst>
                  <a:gd name="T0" fmla="*/ 893 w 2339"/>
                  <a:gd name="T1" fmla="*/ 2815 h 2815"/>
                  <a:gd name="T2" fmla="*/ 0 w 2339"/>
                  <a:gd name="T3" fmla="*/ 2815 h 2815"/>
                  <a:gd name="T4" fmla="*/ 290 w 2339"/>
                  <a:gd name="T5" fmla="*/ 1 h 2815"/>
                  <a:gd name="T6" fmla="*/ 290 w 2339"/>
                  <a:gd name="T7" fmla="*/ 0 h 2815"/>
                  <a:gd name="T8" fmla="*/ 291 w 2339"/>
                  <a:gd name="T9" fmla="*/ 1 h 2815"/>
                  <a:gd name="T10" fmla="*/ 290 w 2339"/>
                  <a:gd name="T11" fmla="*/ 1 h 2815"/>
                  <a:gd name="T12" fmla="*/ 1731 w 2339"/>
                  <a:gd name="T13" fmla="*/ 1291 h 2815"/>
                  <a:gd name="T14" fmla="*/ 2339 w 2339"/>
                  <a:gd name="T15" fmla="*/ 1834 h 2815"/>
                  <a:gd name="T16" fmla="*/ 893 w 2339"/>
                  <a:gd name="T17" fmla="*/ 2815 h 2815"/>
                  <a:gd name="T18" fmla="*/ 291 w 2339"/>
                  <a:gd name="T19" fmla="*/ 1 h 2815"/>
                  <a:gd name="T20" fmla="*/ 290 w 2339"/>
                  <a:gd name="T21" fmla="*/ 1 h 2815"/>
                  <a:gd name="T22" fmla="*/ 291 w 2339"/>
                  <a:gd name="T23" fmla="*/ 1 h 2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39" h="2815">
                    <a:moveTo>
                      <a:pt x="893" y="2815"/>
                    </a:moveTo>
                    <a:lnTo>
                      <a:pt x="0" y="2815"/>
                    </a:lnTo>
                    <a:lnTo>
                      <a:pt x="290" y="1"/>
                    </a:lnTo>
                    <a:lnTo>
                      <a:pt x="290" y="0"/>
                    </a:lnTo>
                    <a:lnTo>
                      <a:pt x="291" y="1"/>
                    </a:lnTo>
                    <a:lnTo>
                      <a:pt x="290" y="1"/>
                    </a:lnTo>
                    <a:lnTo>
                      <a:pt x="1731" y="1291"/>
                    </a:lnTo>
                    <a:lnTo>
                      <a:pt x="2339" y="1834"/>
                    </a:lnTo>
                    <a:lnTo>
                      <a:pt x="893" y="2815"/>
                    </a:lnTo>
                    <a:moveTo>
                      <a:pt x="291" y="1"/>
                    </a:moveTo>
                    <a:lnTo>
                      <a:pt x="290" y="1"/>
                    </a:lnTo>
                    <a:lnTo>
                      <a:pt x="29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3" name="Freeform 433"/>
              <p:cNvSpPr>
                <a:spLocks/>
              </p:cNvSpPr>
              <p:nvPr/>
            </p:nvSpPr>
            <p:spPr bwMode="auto">
              <a:xfrm>
                <a:off x="-8159750" y="4237037"/>
                <a:ext cx="1141413" cy="1277938"/>
              </a:xfrm>
              <a:custGeom>
                <a:avLst/>
                <a:gdLst>
                  <a:gd name="T0" fmla="*/ 36 w 719"/>
                  <a:gd name="T1" fmla="*/ 805 h 805"/>
                  <a:gd name="T2" fmla="*/ 36 w 719"/>
                  <a:gd name="T3" fmla="*/ 805 h 805"/>
                  <a:gd name="T4" fmla="*/ 32 w 719"/>
                  <a:gd name="T5" fmla="*/ 713 h 805"/>
                  <a:gd name="T6" fmla="*/ 0 w 719"/>
                  <a:gd name="T7" fmla="*/ 1 h 805"/>
                  <a:gd name="T8" fmla="*/ 0 w 719"/>
                  <a:gd name="T9" fmla="*/ 1 h 805"/>
                  <a:gd name="T10" fmla="*/ 0 w 719"/>
                  <a:gd name="T11" fmla="*/ 0 h 805"/>
                  <a:gd name="T12" fmla="*/ 0 w 719"/>
                  <a:gd name="T13" fmla="*/ 0 h 805"/>
                  <a:gd name="T14" fmla="*/ 719 w 719"/>
                  <a:gd name="T15" fmla="*/ 227 h 805"/>
                  <a:gd name="T16" fmla="*/ 36 w 719"/>
                  <a:gd name="T17" fmla="*/ 805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9" h="805">
                    <a:moveTo>
                      <a:pt x="36" y="805"/>
                    </a:moveTo>
                    <a:lnTo>
                      <a:pt x="36" y="805"/>
                    </a:lnTo>
                    <a:lnTo>
                      <a:pt x="32" y="713"/>
                    </a:lnTo>
                    <a:lnTo>
                      <a:pt x="0" y="1"/>
                    </a:lnTo>
                    <a:lnTo>
                      <a:pt x="0" y="1"/>
                    </a:lnTo>
                    <a:lnTo>
                      <a:pt x="0" y="0"/>
                    </a:lnTo>
                    <a:lnTo>
                      <a:pt x="0" y="0"/>
                    </a:lnTo>
                    <a:lnTo>
                      <a:pt x="719" y="227"/>
                    </a:lnTo>
                    <a:lnTo>
                      <a:pt x="36" y="80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4" name="Freeform 434"/>
              <p:cNvSpPr>
                <a:spLocks/>
              </p:cNvSpPr>
              <p:nvPr/>
            </p:nvSpPr>
            <p:spPr bwMode="auto">
              <a:xfrm>
                <a:off x="-8101013" y="5514975"/>
                <a:ext cx="2635250" cy="1397000"/>
              </a:xfrm>
              <a:custGeom>
                <a:avLst/>
                <a:gdLst>
                  <a:gd name="T0" fmla="*/ 983 w 1660"/>
                  <a:gd name="T1" fmla="*/ 880 h 880"/>
                  <a:gd name="T2" fmla="*/ 691 w 1660"/>
                  <a:gd name="T3" fmla="*/ 619 h 880"/>
                  <a:gd name="T4" fmla="*/ 0 w 1660"/>
                  <a:gd name="T5" fmla="*/ 0 h 880"/>
                  <a:gd name="T6" fmla="*/ 1660 w 1660"/>
                  <a:gd name="T7" fmla="*/ 175 h 880"/>
                  <a:gd name="T8" fmla="*/ 1660 w 1660"/>
                  <a:gd name="T9" fmla="*/ 175 h 880"/>
                  <a:gd name="T10" fmla="*/ 1660 w 1660"/>
                  <a:gd name="T11" fmla="*/ 175 h 880"/>
                  <a:gd name="T12" fmla="*/ 1660 w 1660"/>
                  <a:gd name="T13" fmla="*/ 175 h 880"/>
                  <a:gd name="T14" fmla="*/ 983 w 1660"/>
                  <a:gd name="T15" fmla="*/ 880 h 8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0" h="880">
                    <a:moveTo>
                      <a:pt x="983" y="880"/>
                    </a:moveTo>
                    <a:lnTo>
                      <a:pt x="691" y="619"/>
                    </a:lnTo>
                    <a:lnTo>
                      <a:pt x="0" y="0"/>
                    </a:lnTo>
                    <a:lnTo>
                      <a:pt x="1660" y="175"/>
                    </a:lnTo>
                    <a:lnTo>
                      <a:pt x="1660" y="175"/>
                    </a:lnTo>
                    <a:lnTo>
                      <a:pt x="1660" y="175"/>
                    </a:lnTo>
                    <a:lnTo>
                      <a:pt x="1660" y="175"/>
                    </a:lnTo>
                    <a:lnTo>
                      <a:pt x="983" y="8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5" name="Freeform 435"/>
              <p:cNvSpPr>
                <a:spLocks/>
              </p:cNvSpPr>
              <p:nvPr/>
            </p:nvSpPr>
            <p:spPr bwMode="auto">
              <a:xfrm>
                <a:off x="-8102600" y="5514975"/>
                <a:ext cx="1098550" cy="982663"/>
              </a:xfrm>
              <a:custGeom>
                <a:avLst/>
                <a:gdLst>
                  <a:gd name="T0" fmla="*/ 692 w 692"/>
                  <a:gd name="T1" fmla="*/ 619 h 619"/>
                  <a:gd name="T2" fmla="*/ 0 w 692"/>
                  <a:gd name="T3" fmla="*/ 0 h 619"/>
                  <a:gd name="T4" fmla="*/ 1 w 692"/>
                  <a:gd name="T5" fmla="*/ 0 h 619"/>
                  <a:gd name="T6" fmla="*/ 692 w 692"/>
                  <a:gd name="T7" fmla="*/ 619 h 619"/>
                </a:gdLst>
                <a:ahLst/>
                <a:cxnLst>
                  <a:cxn ang="0">
                    <a:pos x="T0" y="T1"/>
                  </a:cxn>
                  <a:cxn ang="0">
                    <a:pos x="T2" y="T3"/>
                  </a:cxn>
                  <a:cxn ang="0">
                    <a:pos x="T4" y="T5"/>
                  </a:cxn>
                  <a:cxn ang="0">
                    <a:pos x="T6" y="T7"/>
                  </a:cxn>
                </a:cxnLst>
                <a:rect l="0" t="0" r="r" b="b"/>
                <a:pathLst>
                  <a:path w="692" h="619">
                    <a:moveTo>
                      <a:pt x="692" y="619"/>
                    </a:moveTo>
                    <a:lnTo>
                      <a:pt x="0" y="0"/>
                    </a:lnTo>
                    <a:lnTo>
                      <a:pt x="1" y="0"/>
                    </a:lnTo>
                    <a:lnTo>
                      <a:pt x="692" y="61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6" name="Freeform 436"/>
              <p:cNvSpPr>
                <a:spLocks noEditPoints="1"/>
              </p:cNvSpPr>
              <p:nvPr/>
            </p:nvSpPr>
            <p:spPr bwMode="auto">
              <a:xfrm>
                <a:off x="-9909175" y="4238625"/>
                <a:ext cx="1806575" cy="2339975"/>
              </a:xfrm>
              <a:custGeom>
                <a:avLst/>
                <a:gdLst>
                  <a:gd name="T0" fmla="*/ 0 w 2371"/>
                  <a:gd name="T1" fmla="*/ 3072 h 3072"/>
                  <a:gd name="T2" fmla="*/ 0 w 2371"/>
                  <a:gd name="T3" fmla="*/ 3072 h 3072"/>
                  <a:gd name="T4" fmla="*/ 0 w 2371"/>
                  <a:gd name="T5" fmla="*/ 3072 h 3072"/>
                  <a:gd name="T6" fmla="*/ 0 w 2371"/>
                  <a:gd name="T7" fmla="*/ 3072 h 3072"/>
                  <a:gd name="T8" fmla="*/ 2296 w 2371"/>
                  <a:gd name="T9" fmla="*/ 0 h 3072"/>
                  <a:gd name="T10" fmla="*/ 2363 w 2371"/>
                  <a:gd name="T11" fmla="*/ 1484 h 3072"/>
                  <a:gd name="T12" fmla="*/ 2371 w 2371"/>
                  <a:gd name="T13" fmla="*/ 1676 h 3072"/>
                  <a:gd name="T14" fmla="*/ 2371 w 2371"/>
                  <a:gd name="T15" fmla="*/ 1676 h 3072"/>
                  <a:gd name="T16" fmla="*/ 0 w 2371"/>
                  <a:gd name="T17" fmla="*/ 3072 h 3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1" h="3072">
                    <a:moveTo>
                      <a:pt x="0" y="3072"/>
                    </a:moveTo>
                    <a:lnTo>
                      <a:pt x="0" y="3072"/>
                    </a:lnTo>
                    <a:lnTo>
                      <a:pt x="0" y="3072"/>
                    </a:lnTo>
                    <a:moveTo>
                      <a:pt x="0" y="3072"/>
                    </a:moveTo>
                    <a:lnTo>
                      <a:pt x="2296" y="0"/>
                    </a:lnTo>
                    <a:lnTo>
                      <a:pt x="2363" y="1484"/>
                    </a:lnTo>
                    <a:lnTo>
                      <a:pt x="2371" y="1676"/>
                    </a:lnTo>
                    <a:lnTo>
                      <a:pt x="2371" y="1676"/>
                    </a:lnTo>
                    <a:lnTo>
                      <a:pt x="0" y="3072"/>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7" name="Freeform 437"/>
              <p:cNvSpPr>
                <a:spLocks/>
              </p:cNvSpPr>
              <p:nvPr/>
            </p:nvSpPr>
            <p:spPr bwMode="auto">
              <a:xfrm>
                <a:off x="-8102600" y="551497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8" name="Freeform 438"/>
              <p:cNvSpPr>
                <a:spLocks/>
              </p:cNvSpPr>
              <p:nvPr/>
            </p:nvSpPr>
            <p:spPr bwMode="auto">
              <a:xfrm>
                <a:off x="-8159750" y="4238625"/>
                <a:ext cx="50800" cy="1130300"/>
              </a:xfrm>
              <a:custGeom>
                <a:avLst/>
                <a:gdLst>
                  <a:gd name="T0" fmla="*/ 32 w 32"/>
                  <a:gd name="T1" fmla="*/ 712 h 712"/>
                  <a:gd name="T2" fmla="*/ 0 w 32"/>
                  <a:gd name="T3" fmla="*/ 0 h 712"/>
                  <a:gd name="T4" fmla="*/ 0 w 32"/>
                  <a:gd name="T5" fmla="*/ 0 h 712"/>
                  <a:gd name="T6" fmla="*/ 32 w 32"/>
                  <a:gd name="T7" fmla="*/ 712 h 712"/>
                </a:gdLst>
                <a:ahLst/>
                <a:cxnLst>
                  <a:cxn ang="0">
                    <a:pos x="T0" y="T1"/>
                  </a:cxn>
                  <a:cxn ang="0">
                    <a:pos x="T2" y="T3"/>
                  </a:cxn>
                  <a:cxn ang="0">
                    <a:pos x="T4" y="T5"/>
                  </a:cxn>
                  <a:cxn ang="0">
                    <a:pos x="T6" y="T7"/>
                  </a:cxn>
                </a:cxnLst>
                <a:rect l="0" t="0" r="r" b="b"/>
                <a:pathLst>
                  <a:path w="32" h="712">
                    <a:moveTo>
                      <a:pt x="32" y="712"/>
                    </a:moveTo>
                    <a:lnTo>
                      <a:pt x="0" y="0"/>
                    </a:lnTo>
                    <a:lnTo>
                      <a:pt x="0" y="0"/>
                    </a:lnTo>
                    <a:lnTo>
                      <a:pt x="32" y="71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9" name="Freeform 439"/>
              <p:cNvSpPr>
                <a:spLocks/>
              </p:cNvSpPr>
              <p:nvPr/>
            </p:nvSpPr>
            <p:spPr bwMode="auto">
              <a:xfrm>
                <a:off x="-8101013" y="4597400"/>
                <a:ext cx="2635250" cy="1195388"/>
              </a:xfrm>
              <a:custGeom>
                <a:avLst/>
                <a:gdLst>
                  <a:gd name="T0" fmla="*/ 1660 w 1660"/>
                  <a:gd name="T1" fmla="*/ 753 h 753"/>
                  <a:gd name="T2" fmla="*/ 0 w 1660"/>
                  <a:gd name="T3" fmla="*/ 578 h 753"/>
                  <a:gd name="T4" fmla="*/ 0 w 1660"/>
                  <a:gd name="T5" fmla="*/ 578 h 753"/>
                  <a:gd name="T6" fmla="*/ 682 w 1660"/>
                  <a:gd name="T7" fmla="*/ 0 h 753"/>
                  <a:gd name="T8" fmla="*/ 1660 w 1660"/>
                  <a:gd name="T9" fmla="*/ 753 h 753"/>
                  <a:gd name="T10" fmla="*/ 1660 w 1660"/>
                  <a:gd name="T11" fmla="*/ 753 h 753"/>
                </a:gdLst>
                <a:ahLst/>
                <a:cxnLst>
                  <a:cxn ang="0">
                    <a:pos x="T0" y="T1"/>
                  </a:cxn>
                  <a:cxn ang="0">
                    <a:pos x="T2" y="T3"/>
                  </a:cxn>
                  <a:cxn ang="0">
                    <a:pos x="T4" y="T5"/>
                  </a:cxn>
                  <a:cxn ang="0">
                    <a:pos x="T6" y="T7"/>
                  </a:cxn>
                  <a:cxn ang="0">
                    <a:pos x="T8" y="T9"/>
                  </a:cxn>
                  <a:cxn ang="0">
                    <a:pos x="T10" y="T11"/>
                  </a:cxn>
                </a:cxnLst>
                <a:rect l="0" t="0" r="r" b="b"/>
                <a:pathLst>
                  <a:path w="1660" h="753">
                    <a:moveTo>
                      <a:pt x="1660" y="753"/>
                    </a:moveTo>
                    <a:lnTo>
                      <a:pt x="0" y="578"/>
                    </a:lnTo>
                    <a:lnTo>
                      <a:pt x="0" y="578"/>
                    </a:lnTo>
                    <a:lnTo>
                      <a:pt x="682" y="0"/>
                    </a:lnTo>
                    <a:lnTo>
                      <a:pt x="1660" y="753"/>
                    </a:lnTo>
                    <a:lnTo>
                      <a:pt x="1660" y="753"/>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0" name="Freeform 440"/>
              <p:cNvSpPr>
                <a:spLocks/>
              </p:cNvSpPr>
              <p:nvPr/>
            </p:nvSpPr>
            <p:spPr bwMode="auto">
              <a:xfrm>
                <a:off x="-8102600" y="5514975"/>
                <a:ext cx="1588"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1" name="Freeform 441"/>
              <p:cNvSpPr>
                <a:spLocks/>
              </p:cNvSpPr>
              <p:nvPr/>
            </p:nvSpPr>
            <p:spPr bwMode="auto">
              <a:xfrm>
                <a:off x="-9909175" y="5514975"/>
                <a:ext cx="1806575" cy="2144713"/>
              </a:xfrm>
              <a:custGeom>
                <a:avLst/>
                <a:gdLst>
                  <a:gd name="T0" fmla="*/ 999 w 1138"/>
                  <a:gd name="T1" fmla="*/ 1351 h 1351"/>
                  <a:gd name="T2" fmla="*/ 662 w 1138"/>
                  <a:gd name="T3" fmla="*/ 1351 h 1351"/>
                  <a:gd name="T4" fmla="*/ 0 w 1138"/>
                  <a:gd name="T5" fmla="*/ 670 h 1351"/>
                  <a:gd name="T6" fmla="*/ 0 w 1138"/>
                  <a:gd name="T7" fmla="*/ 670 h 1351"/>
                  <a:gd name="T8" fmla="*/ 1138 w 1138"/>
                  <a:gd name="T9" fmla="*/ 0 h 1351"/>
                  <a:gd name="T10" fmla="*/ 999 w 1138"/>
                  <a:gd name="T11" fmla="*/ 1351 h 1351"/>
                </a:gdLst>
                <a:ahLst/>
                <a:cxnLst>
                  <a:cxn ang="0">
                    <a:pos x="T0" y="T1"/>
                  </a:cxn>
                  <a:cxn ang="0">
                    <a:pos x="T2" y="T3"/>
                  </a:cxn>
                  <a:cxn ang="0">
                    <a:pos x="T4" y="T5"/>
                  </a:cxn>
                  <a:cxn ang="0">
                    <a:pos x="T6" y="T7"/>
                  </a:cxn>
                  <a:cxn ang="0">
                    <a:pos x="T8" y="T9"/>
                  </a:cxn>
                  <a:cxn ang="0">
                    <a:pos x="T10" y="T11"/>
                  </a:cxn>
                </a:cxnLst>
                <a:rect l="0" t="0" r="r" b="b"/>
                <a:pathLst>
                  <a:path w="1138" h="1351">
                    <a:moveTo>
                      <a:pt x="999" y="1351"/>
                    </a:moveTo>
                    <a:lnTo>
                      <a:pt x="662" y="1351"/>
                    </a:lnTo>
                    <a:lnTo>
                      <a:pt x="0" y="670"/>
                    </a:lnTo>
                    <a:lnTo>
                      <a:pt x="0" y="670"/>
                    </a:lnTo>
                    <a:lnTo>
                      <a:pt x="1138" y="0"/>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2" name="Freeform 442"/>
              <p:cNvSpPr>
                <a:spLocks/>
              </p:cNvSpPr>
              <p:nvPr/>
            </p:nvSpPr>
            <p:spPr bwMode="auto">
              <a:xfrm>
                <a:off x="-5465763" y="4816475"/>
                <a:ext cx="1250950" cy="1479550"/>
              </a:xfrm>
              <a:custGeom>
                <a:avLst/>
                <a:gdLst>
                  <a:gd name="T0" fmla="*/ 788 w 788"/>
                  <a:gd name="T1" fmla="*/ 932 h 932"/>
                  <a:gd name="T2" fmla="*/ 0 w 788"/>
                  <a:gd name="T3" fmla="*/ 615 h 932"/>
                  <a:gd name="T4" fmla="*/ 0 w 788"/>
                  <a:gd name="T5" fmla="*/ 615 h 932"/>
                  <a:gd name="T6" fmla="*/ 0 w 788"/>
                  <a:gd name="T7" fmla="*/ 615 h 932"/>
                  <a:gd name="T8" fmla="*/ 498 w 788"/>
                  <a:gd name="T9" fmla="*/ 0 h 932"/>
                  <a:gd name="T10" fmla="*/ 788 w 788"/>
                  <a:gd name="T11" fmla="*/ 932 h 932"/>
                </a:gdLst>
                <a:ahLst/>
                <a:cxnLst>
                  <a:cxn ang="0">
                    <a:pos x="T0" y="T1"/>
                  </a:cxn>
                  <a:cxn ang="0">
                    <a:pos x="T2" y="T3"/>
                  </a:cxn>
                  <a:cxn ang="0">
                    <a:pos x="T4" y="T5"/>
                  </a:cxn>
                  <a:cxn ang="0">
                    <a:pos x="T6" y="T7"/>
                  </a:cxn>
                  <a:cxn ang="0">
                    <a:pos x="T8" y="T9"/>
                  </a:cxn>
                  <a:cxn ang="0">
                    <a:pos x="T10" y="T11"/>
                  </a:cxn>
                </a:cxnLst>
                <a:rect l="0" t="0" r="r" b="b"/>
                <a:pathLst>
                  <a:path w="788" h="932">
                    <a:moveTo>
                      <a:pt x="788" y="932"/>
                    </a:moveTo>
                    <a:lnTo>
                      <a:pt x="0" y="615"/>
                    </a:lnTo>
                    <a:lnTo>
                      <a:pt x="0" y="615"/>
                    </a:lnTo>
                    <a:lnTo>
                      <a:pt x="0" y="615"/>
                    </a:lnTo>
                    <a:lnTo>
                      <a:pt x="498" y="0"/>
                    </a:lnTo>
                    <a:lnTo>
                      <a:pt x="788"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3" name="Freeform 443"/>
              <p:cNvSpPr>
                <a:spLocks/>
              </p:cNvSpPr>
              <p:nvPr/>
            </p:nvSpPr>
            <p:spPr bwMode="auto">
              <a:xfrm>
                <a:off x="-6213475" y="2655887"/>
                <a:ext cx="1800225" cy="2160588"/>
              </a:xfrm>
              <a:custGeom>
                <a:avLst/>
                <a:gdLst>
                  <a:gd name="T0" fmla="*/ 969 w 1134"/>
                  <a:gd name="T1" fmla="*/ 1361 h 1361"/>
                  <a:gd name="T2" fmla="*/ 969 w 1134"/>
                  <a:gd name="T3" fmla="*/ 1361 h 1361"/>
                  <a:gd name="T4" fmla="*/ 0 w 1134"/>
                  <a:gd name="T5" fmla="*/ 0 h 1361"/>
                  <a:gd name="T6" fmla="*/ 0 w 1134"/>
                  <a:gd name="T7" fmla="*/ 0 h 1361"/>
                  <a:gd name="T8" fmla="*/ 1134 w 1134"/>
                  <a:gd name="T9" fmla="*/ 288 h 1361"/>
                  <a:gd name="T10" fmla="*/ 969 w 1134"/>
                  <a:gd name="T11" fmla="*/ 1361 h 1361"/>
                </a:gdLst>
                <a:ahLst/>
                <a:cxnLst>
                  <a:cxn ang="0">
                    <a:pos x="T0" y="T1"/>
                  </a:cxn>
                  <a:cxn ang="0">
                    <a:pos x="T2" y="T3"/>
                  </a:cxn>
                  <a:cxn ang="0">
                    <a:pos x="T4" y="T5"/>
                  </a:cxn>
                  <a:cxn ang="0">
                    <a:pos x="T6" y="T7"/>
                  </a:cxn>
                  <a:cxn ang="0">
                    <a:pos x="T8" y="T9"/>
                  </a:cxn>
                  <a:cxn ang="0">
                    <a:pos x="T10" y="T11"/>
                  </a:cxn>
                </a:cxnLst>
                <a:rect l="0" t="0" r="r" b="b"/>
                <a:pathLst>
                  <a:path w="1134" h="1361">
                    <a:moveTo>
                      <a:pt x="969" y="1361"/>
                    </a:moveTo>
                    <a:lnTo>
                      <a:pt x="969" y="1361"/>
                    </a:lnTo>
                    <a:lnTo>
                      <a:pt x="0" y="0"/>
                    </a:lnTo>
                    <a:lnTo>
                      <a:pt x="0" y="0"/>
                    </a:lnTo>
                    <a:lnTo>
                      <a:pt x="1134" y="288"/>
                    </a:lnTo>
                    <a:lnTo>
                      <a:pt x="969" y="1361"/>
                    </a:lnTo>
                    <a:close/>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4" name="Rectangle 444"/>
              <p:cNvSpPr>
                <a:spLocks noChangeArrowheads="1"/>
              </p:cNvSpPr>
              <p:nvPr/>
            </p:nvSpPr>
            <p:spPr bwMode="auto">
              <a:xfrm>
                <a:off x="-6213475" y="2655887"/>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5" name="Rectangle 445"/>
              <p:cNvSpPr>
                <a:spLocks noChangeArrowheads="1"/>
              </p:cNvSpPr>
              <p:nvPr/>
            </p:nvSpPr>
            <p:spPr bwMode="auto">
              <a:xfrm>
                <a:off x="-6213475" y="2655887"/>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6" name="Freeform 446"/>
              <p:cNvSpPr>
                <a:spLocks/>
              </p:cNvSpPr>
              <p:nvPr/>
            </p:nvSpPr>
            <p:spPr bwMode="auto">
              <a:xfrm>
                <a:off x="-4675188" y="4237037"/>
                <a:ext cx="1903413" cy="2058988"/>
              </a:xfrm>
              <a:custGeom>
                <a:avLst/>
                <a:gdLst>
                  <a:gd name="T0" fmla="*/ 290 w 1199"/>
                  <a:gd name="T1" fmla="*/ 1297 h 1297"/>
                  <a:gd name="T2" fmla="*/ 290 w 1199"/>
                  <a:gd name="T3" fmla="*/ 1297 h 1297"/>
                  <a:gd name="T4" fmla="*/ 0 w 1199"/>
                  <a:gd name="T5" fmla="*/ 365 h 1297"/>
                  <a:gd name="T6" fmla="*/ 0 w 1199"/>
                  <a:gd name="T7" fmla="*/ 365 h 1297"/>
                  <a:gd name="T8" fmla="*/ 0 w 1199"/>
                  <a:gd name="T9" fmla="*/ 365 h 1297"/>
                  <a:gd name="T10" fmla="*/ 0 w 1199"/>
                  <a:gd name="T11" fmla="*/ 365 h 1297"/>
                  <a:gd name="T12" fmla="*/ 1199 w 1199"/>
                  <a:gd name="T13" fmla="*/ 0 h 1297"/>
                  <a:gd name="T14" fmla="*/ 290 w 1199"/>
                  <a:gd name="T15" fmla="*/ 1297 h 1297"/>
                  <a:gd name="T16" fmla="*/ 290 w 1199"/>
                  <a:gd name="T17" fmla="*/ 1297 h 1297"/>
                  <a:gd name="T18" fmla="*/ 290 w 1199"/>
                  <a:gd name="T19" fmla="*/ 129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9" h="1297">
                    <a:moveTo>
                      <a:pt x="290" y="1297"/>
                    </a:moveTo>
                    <a:lnTo>
                      <a:pt x="290" y="1297"/>
                    </a:lnTo>
                    <a:lnTo>
                      <a:pt x="0" y="365"/>
                    </a:lnTo>
                    <a:lnTo>
                      <a:pt x="0" y="365"/>
                    </a:lnTo>
                    <a:lnTo>
                      <a:pt x="0" y="365"/>
                    </a:lnTo>
                    <a:lnTo>
                      <a:pt x="0" y="365"/>
                    </a:lnTo>
                    <a:lnTo>
                      <a:pt x="1199" y="0"/>
                    </a:lnTo>
                    <a:lnTo>
                      <a:pt x="290" y="1297"/>
                    </a:lnTo>
                    <a:lnTo>
                      <a:pt x="290" y="1297"/>
                    </a:lnTo>
                    <a:lnTo>
                      <a:pt x="290" y="1297"/>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7" name="Freeform 447"/>
              <p:cNvSpPr>
                <a:spLocks/>
              </p:cNvSpPr>
              <p:nvPr/>
            </p:nvSpPr>
            <p:spPr bwMode="auto">
              <a:xfrm>
                <a:off x="-4675188" y="4816475"/>
                <a:ext cx="460375" cy="1479550"/>
              </a:xfrm>
              <a:custGeom>
                <a:avLst/>
                <a:gdLst>
                  <a:gd name="T0" fmla="*/ 290 w 290"/>
                  <a:gd name="T1" fmla="*/ 932 h 932"/>
                  <a:gd name="T2" fmla="*/ 290 w 290"/>
                  <a:gd name="T3" fmla="*/ 932 h 932"/>
                  <a:gd name="T4" fmla="*/ 0 w 290"/>
                  <a:gd name="T5" fmla="*/ 0 h 932"/>
                  <a:gd name="T6" fmla="*/ 0 w 290"/>
                  <a:gd name="T7" fmla="*/ 0 h 932"/>
                  <a:gd name="T8" fmla="*/ 290 w 290"/>
                  <a:gd name="T9" fmla="*/ 932 h 932"/>
                </a:gdLst>
                <a:ahLst/>
                <a:cxnLst>
                  <a:cxn ang="0">
                    <a:pos x="T0" y="T1"/>
                  </a:cxn>
                  <a:cxn ang="0">
                    <a:pos x="T2" y="T3"/>
                  </a:cxn>
                  <a:cxn ang="0">
                    <a:pos x="T4" y="T5"/>
                  </a:cxn>
                  <a:cxn ang="0">
                    <a:pos x="T6" y="T7"/>
                  </a:cxn>
                  <a:cxn ang="0">
                    <a:pos x="T8" y="T9"/>
                  </a:cxn>
                </a:cxnLst>
                <a:rect l="0" t="0" r="r" b="b"/>
                <a:pathLst>
                  <a:path w="290" h="932">
                    <a:moveTo>
                      <a:pt x="290" y="932"/>
                    </a:moveTo>
                    <a:lnTo>
                      <a:pt x="290" y="932"/>
                    </a:lnTo>
                    <a:lnTo>
                      <a:pt x="0" y="0"/>
                    </a:lnTo>
                    <a:lnTo>
                      <a:pt x="0" y="0"/>
                    </a:lnTo>
                    <a:lnTo>
                      <a:pt x="290"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8" name="Freeform 448"/>
              <p:cNvSpPr>
                <a:spLocks/>
              </p:cNvSpPr>
              <p:nvPr/>
            </p:nvSpPr>
            <p:spPr bwMode="auto">
              <a:xfrm>
                <a:off x="-7018338" y="2655887"/>
                <a:ext cx="2343150" cy="2160588"/>
              </a:xfrm>
              <a:custGeom>
                <a:avLst/>
                <a:gdLst>
                  <a:gd name="T0" fmla="*/ 1476 w 1476"/>
                  <a:gd name="T1" fmla="*/ 1361 h 1361"/>
                  <a:gd name="T2" fmla="*/ 0 w 1476"/>
                  <a:gd name="T3" fmla="*/ 1223 h 1361"/>
                  <a:gd name="T4" fmla="*/ 507 w 1476"/>
                  <a:gd name="T5" fmla="*/ 0 h 1361"/>
                  <a:gd name="T6" fmla="*/ 1476 w 1476"/>
                  <a:gd name="T7" fmla="*/ 1361 h 1361"/>
                </a:gdLst>
                <a:ahLst/>
                <a:cxnLst>
                  <a:cxn ang="0">
                    <a:pos x="T0" y="T1"/>
                  </a:cxn>
                  <a:cxn ang="0">
                    <a:pos x="T2" y="T3"/>
                  </a:cxn>
                  <a:cxn ang="0">
                    <a:pos x="T4" y="T5"/>
                  </a:cxn>
                  <a:cxn ang="0">
                    <a:pos x="T6" y="T7"/>
                  </a:cxn>
                </a:cxnLst>
                <a:rect l="0" t="0" r="r" b="b"/>
                <a:pathLst>
                  <a:path w="1476" h="1361">
                    <a:moveTo>
                      <a:pt x="1476" y="1361"/>
                    </a:moveTo>
                    <a:lnTo>
                      <a:pt x="0" y="1223"/>
                    </a:lnTo>
                    <a:lnTo>
                      <a:pt x="507" y="0"/>
                    </a:lnTo>
                    <a:lnTo>
                      <a:pt x="1476" y="136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9" name="Freeform 449"/>
              <p:cNvSpPr>
                <a:spLocks/>
              </p:cNvSpPr>
              <p:nvPr/>
            </p:nvSpPr>
            <p:spPr bwMode="auto">
              <a:xfrm>
                <a:off x="-7018338" y="2655887"/>
                <a:ext cx="804863" cy="1941513"/>
              </a:xfrm>
              <a:custGeom>
                <a:avLst/>
                <a:gdLst>
                  <a:gd name="T0" fmla="*/ 0 w 507"/>
                  <a:gd name="T1" fmla="*/ 1223 h 1223"/>
                  <a:gd name="T2" fmla="*/ 507 w 507"/>
                  <a:gd name="T3" fmla="*/ 0 h 1223"/>
                  <a:gd name="T4" fmla="*/ 507 w 507"/>
                  <a:gd name="T5" fmla="*/ 0 h 1223"/>
                  <a:gd name="T6" fmla="*/ 0 w 507"/>
                  <a:gd name="T7" fmla="*/ 1223 h 1223"/>
                </a:gdLst>
                <a:ahLst/>
                <a:cxnLst>
                  <a:cxn ang="0">
                    <a:pos x="T0" y="T1"/>
                  </a:cxn>
                  <a:cxn ang="0">
                    <a:pos x="T2" y="T3"/>
                  </a:cxn>
                  <a:cxn ang="0">
                    <a:pos x="T4" y="T5"/>
                  </a:cxn>
                  <a:cxn ang="0">
                    <a:pos x="T6" y="T7"/>
                  </a:cxn>
                </a:cxnLst>
                <a:rect l="0" t="0" r="r" b="b"/>
                <a:pathLst>
                  <a:path w="507" h="1223">
                    <a:moveTo>
                      <a:pt x="0" y="1223"/>
                    </a:moveTo>
                    <a:lnTo>
                      <a:pt x="507" y="0"/>
                    </a:lnTo>
                    <a:lnTo>
                      <a:pt x="507" y="0"/>
                    </a:lnTo>
                    <a:lnTo>
                      <a:pt x="0" y="122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0" name="Rectangle 450"/>
              <p:cNvSpPr>
                <a:spLocks noChangeArrowheads="1"/>
              </p:cNvSpPr>
              <p:nvPr/>
            </p:nvSpPr>
            <p:spPr bwMode="auto">
              <a:xfrm>
                <a:off x="-6213475" y="2655887"/>
                <a:ext cx="1588" cy="1588"/>
              </a:xfrm>
              <a:prstGeom prst="rect">
                <a:avLst/>
              </a:prstGeom>
              <a:solidFill>
                <a:srgbClr val="5698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1" name="Freeform 451"/>
              <p:cNvSpPr>
                <a:spLocks/>
              </p:cNvSpPr>
              <p:nvPr/>
            </p:nvSpPr>
            <p:spPr bwMode="auto">
              <a:xfrm>
                <a:off x="-6213475" y="2655887"/>
                <a:ext cx="1538288" cy="2160588"/>
              </a:xfrm>
              <a:custGeom>
                <a:avLst/>
                <a:gdLst>
                  <a:gd name="T0" fmla="*/ 969 w 969"/>
                  <a:gd name="T1" fmla="*/ 1361 h 1361"/>
                  <a:gd name="T2" fmla="*/ 969 w 969"/>
                  <a:gd name="T3" fmla="*/ 1361 h 1361"/>
                  <a:gd name="T4" fmla="*/ 0 w 969"/>
                  <a:gd name="T5" fmla="*/ 0 h 1361"/>
                  <a:gd name="T6" fmla="*/ 0 w 969"/>
                  <a:gd name="T7" fmla="*/ 0 h 1361"/>
                  <a:gd name="T8" fmla="*/ 969 w 969"/>
                  <a:gd name="T9" fmla="*/ 1361 h 1361"/>
                </a:gdLst>
                <a:ahLst/>
                <a:cxnLst>
                  <a:cxn ang="0">
                    <a:pos x="T0" y="T1"/>
                  </a:cxn>
                  <a:cxn ang="0">
                    <a:pos x="T2" y="T3"/>
                  </a:cxn>
                  <a:cxn ang="0">
                    <a:pos x="T4" y="T5"/>
                  </a:cxn>
                  <a:cxn ang="0">
                    <a:pos x="T6" y="T7"/>
                  </a:cxn>
                  <a:cxn ang="0">
                    <a:pos x="T8" y="T9"/>
                  </a:cxn>
                </a:cxnLst>
                <a:rect l="0" t="0" r="r" b="b"/>
                <a:pathLst>
                  <a:path w="969" h="1361">
                    <a:moveTo>
                      <a:pt x="969" y="1361"/>
                    </a:moveTo>
                    <a:lnTo>
                      <a:pt x="969" y="1361"/>
                    </a:lnTo>
                    <a:lnTo>
                      <a:pt x="0" y="0"/>
                    </a:lnTo>
                    <a:lnTo>
                      <a:pt x="0" y="0"/>
                    </a:lnTo>
                    <a:lnTo>
                      <a:pt x="969" y="1361"/>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2" name="Freeform 452"/>
              <p:cNvSpPr>
                <a:spLocks/>
              </p:cNvSpPr>
              <p:nvPr/>
            </p:nvSpPr>
            <p:spPr bwMode="auto">
              <a:xfrm>
                <a:off x="-6213475" y="2655887"/>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3" name="Freeform 453"/>
              <p:cNvSpPr>
                <a:spLocks/>
              </p:cNvSpPr>
              <p:nvPr/>
            </p:nvSpPr>
            <p:spPr bwMode="auto">
              <a:xfrm>
                <a:off x="-4675188" y="3113087"/>
                <a:ext cx="1903413" cy="1703388"/>
              </a:xfrm>
              <a:custGeom>
                <a:avLst/>
                <a:gdLst>
                  <a:gd name="T0" fmla="*/ 0 w 1199"/>
                  <a:gd name="T1" fmla="*/ 1073 h 1073"/>
                  <a:gd name="T2" fmla="*/ 165 w 1199"/>
                  <a:gd name="T3" fmla="*/ 0 h 1073"/>
                  <a:gd name="T4" fmla="*/ 1199 w 1199"/>
                  <a:gd name="T5" fmla="*/ 708 h 1073"/>
                  <a:gd name="T6" fmla="*/ 0 w 1199"/>
                  <a:gd name="T7" fmla="*/ 1073 h 1073"/>
                </a:gdLst>
                <a:ahLst/>
                <a:cxnLst>
                  <a:cxn ang="0">
                    <a:pos x="T0" y="T1"/>
                  </a:cxn>
                  <a:cxn ang="0">
                    <a:pos x="T2" y="T3"/>
                  </a:cxn>
                  <a:cxn ang="0">
                    <a:pos x="T4" y="T5"/>
                  </a:cxn>
                  <a:cxn ang="0">
                    <a:pos x="T6" y="T7"/>
                  </a:cxn>
                </a:cxnLst>
                <a:rect l="0" t="0" r="r" b="b"/>
                <a:pathLst>
                  <a:path w="1199" h="1073">
                    <a:moveTo>
                      <a:pt x="0" y="1073"/>
                    </a:moveTo>
                    <a:lnTo>
                      <a:pt x="165" y="0"/>
                    </a:lnTo>
                    <a:lnTo>
                      <a:pt x="1199" y="708"/>
                    </a:lnTo>
                    <a:lnTo>
                      <a:pt x="0" y="1073"/>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4" name="Freeform 454"/>
              <p:cNvSpPr>
                <a:spLocks/>
              </p:cNvSpPr>
              <p:nvPr/>
            </p:nvSpPr>
            <p:spPr bwMode="auto">
              <a:xfrm>
                <a:off x="-7018338" y="4597400"/>
                <a:ext cx="2343150" cy="1195388"/>
              </a:xfrm>
              <a:custGeom>
                <a:avLst/>
                <a:gdLst>
                  <a:gd name="T0" fmla="*/ 978 w 1476"/>
                  <a:gd name="T1" fmla="*/ 753 h 753"/>
                  <a:gd name="T2" fmla="*/ 978 w 1476"/>
                  <a:gd name="T3" fmla="*/ 753 h 753"/>
                  <a:gd name="T4" fmla="*/ 0 w 1476"/>
                  <a:gd name="T5" fmla="*/ 0 h 753"/>
                  <a:gd name="T6" fmla="*/ 1476 w 1476"/>
                  <a:gd name="T7" fmla="*/ 138 h 753"/>
                  <a:gd name="T8" fmla="*/ 978 w 1476"/>
                  <a:gd name="T9" fmla="*/ 753 h 753"/>
                </a:gdLst>
                <a:ahLst/>
                <a:cxnLst>
                  <a:cxn ang="0">
                    <a:pos x="T0" y="T1"/>
                  </a:cxn>
                  <a:cxn ang="0">
                    <a:pos x="T2" y="T3"/>
                  </a:cxn>
                  <a:cxn ang="0">
                    <a:pos x="T4" y="T5"/>
                  </a:cxn>
                  <a:cxn ang="0">
                    <a:pos x="T6" y="T7"/>
                  </a:cxn>
                  <a:cxn ang="0">
                    <a:pos x="T8" y="T9"/>
                  </a:cxn>
                </a:cxnLst>
                <a:rect l="0" t="0" r="r" b="b"/>
                <a:pathLst>
                  <a:path w="1476" h="753">
                    <a:moveTo>
                      <a:pt x="978" y="753"/>
                    </a:moveTo>
                    <a:lnTo>
                      <a:pt x="978" y="753"/>
                    </a:lnTo>
                    <a:lnTo>
                      <a:pt x="0" y="0"/>
                    </a:lnTo>
                    <a:lnTo>
                      <a:pt x="1476" y="138"/>
                    </a:lnTo>
                    <a:lnTo>
                      <a:pt x="978" y="7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5" name="Line 455"/>
              <p:cNvSpPr>
                <a:spLocks noChangeShapeType="1"/>
              </p:cNvSpPr>
              <p:nvPr/>
            </p:nvSpPr>
            <p:spPr bwMode="auto">
              <a:xfrm>
                <a:off x="-7643813" y="76596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6" name="Freeform 456"/>
              <p:cNvSpPr>
                <a:spLocks/>
              </p:cNvSpPr>
              <p:nvPr/>
            </p:nvSpPr>
            <p:spPr bwMode="auto">
              <a:xfrm>
                <a:off x="-7643813" y="6911975"/>
                <a:ext cx="1103313" cy="747713"/>
              </a:xfrm>
              <a:custGeom>
                <a:avLst/>
                <a:gdLst>
                  <a:gd name="T0" fmla="*/ 0 w 695"/>
                  <a:gd name="T1" fmla="*/ 471 h 471"/>
                  <a:gd name="T2" fmla="*/ 0 w 695"/>
                  <a:gd name="T3" fmla="*/ 471 h 471"/>
                  <a:gd name="T4" fmla="*/ 695 w 695"/>
                  <a:gd name="T5" fmla="*/ 0 h 471"/>
                  <a:gd name="T6" fmla="*/ 0 w 695"/>
                  <a:gd name="T7" fmla="*/ 471 h 471"/>
                </a:gdLst>
                <a:ahLst/>
                <a:cxnLst>
                  <a:cxn ang="0">
                    <a:pos x="T0" y="T1"/>
                  </a:cxn>
                  <a:cxn ang="0">
                    <a:pos x="T2" y="T3"/>
                  </a:cxn>
                  <a:cxn ang="0">
                    <a:pos x="T4" y="T5"/>
                  </a:cxn>
                  <a:cxn ang="0">
                    <a:pos x="T6" y="T7"/>
                  </a:cxn>
                </a:cxnLst>
                <a:rect l="0" t="0" r="r" b="b"/>
                <a:pathLst>
                  <a:path w="695" h="471">
                    <a:moveTo>
                      <a:pt x="0" y="471"/>
                    </a:moveTo>
                    <a:lnTo>
                      <a:pt x="0" y="471"/>
                    </a:lnTo>
                    <a:lnTo>
                      <a:pt x="695" y="0"/>
                    </a:lnTo>
                    <a:lnTo>
                      <a:pt x="0" y="47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7" name="Freeform 457"/>
              <p:cNvSpPr>
                <a:spLocks/>
              </p:cNvSpPr>
              <p:nvPr/>
            </p:nvSpPr>
            <p:spPr bwMode="auto">
              <a:xfrm>
                <a:off x="-5465763" y="5792787"/>
                <a:ext cx="1524000" cy="1866900"/>
              </a:xfrm>
              <a:custGeom>
                <a:avLst/>
                <a:gdLst>
                  <a:gd name="T0" fmla="*/ 960 w 960"/>
                  <a:gd name="T1" fmla="*/ 1176 h 1176"/>
                  <a:gd name="T2" fmla="*/ 823 w 960"/>
                  <a:gd name="T3" fmla="*/ 1176 h 1176"/>
                  <a:gd name="T4" fmla="*/ 0 w 960"/>
                  <a:gd name="T5" fmla="*/ 0 h 1176"/>
                  <a:gd name="T6" fmla="*/ 788 w 960"/>
                  <a:gd name="T7" fmla="*/ 317 h 1176"/>
                  <a:gd name="T8" fmla="*/ 960 w 960"/>
                  <a:gd name="T9" fmla="*/ 1176 h 1176"/>
                </a:gdLst>
                <a:ahLst/>
                <a:cxnLst>
                  <a:cxn ang="0">
                    <a:pos x="T0" y="T1"/>
                  </a:cxn>
                  <a:cxn ang="0">
                    <a:pos x="T2" y="T3"/>
                  </a:cxn>
                  <a:cxn ang="0">
                    <a:pos x="T4" y="T5"/>
                  </a:cxn>
                  <a:cxn ang="0">
                    <a:pos x="T6" y="T7"/>
                  </a:cxn>
                  <a:cxn ang="0">
                    <a:pos x="T8" y="T9"/>
                  </a:cxn>
                </a:cxnLst>
                <a:rect l="0" t="0" r="r" b="b"/>
                <a:pathLst>
                  <a:path w="960" h="1176">
                    <a:moveTo>
                      <a:pt x="960" y="1176"/>
                    </a:moveTo>
                    <a:lnTo>
                      <a:pt x="823" y="1176"/>
                    </a:lnTo>
                    <a:lnTo>
                      <a:pt x="0" y="0"/>
                    </a:lnTo>
                    <a:lnTo>
                      <a:pt x="788" y="317"/>
                    </a:lnTo>
                    <a:lnTo>
                      <a:pt x="960" y="117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8" name="Rectangle 458"/>
              <p:cNvSpPr>
                <a:spLocks noChangeArrowheads="1"/>
              </p:cNvSpPr>
              <p:nvPr/>
            </p:nvSpPr>
            <p:spPr bwMode="auto">
              <a:xfrm>
                <a:off x="-5465763" y="5792787"/>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9" name="Freeform 459"/>
              <p:cNvSpPr>
                <a:spLocks/>
              </p:cNvSpPr>
              <p:nvPr/>
            </p:nvSpPr>
            <p:spPr bwMode="auto">
              <a:xfrm>
                <a:off x="-6540500" y="5792787"/>
                <a:ext cx="2381250" cy="1866900"/>
              </a:xfrm>
              <a:custGeom>
                <a:avLst/>
                <a:gdLst>
                  <a:gd name="T0" fmla="*/ 1500 w 1500"/>
                  <a:gd name="T1" fmla="*/ 1176 h 1176"/>
                  <a:gd name="T2" fmla="*/ 1072 w 1500"/>
                  <a:gd name="T3" fmla="*/ 1176 h 1176"/>
                  <a:gd name="T4" fmla="*/ 0 w 1500"/>
                  <a:gd name="T5" fmla="*/ 705 h 1176"/>
                  <a:gd name="T6" fmla="*/ 677 w 1500"/>
                  <a:gd name="T7" fmla="*/ 0 h 1176"/>
                  <a:gd name="T8" fmla="*/ 677 w 1500"/>
                  <a:gd name="T9" fmla="*/ 0 h 1176"/>
                  <a:gd name="T10" fmla="*/ 1500 w 1500"/>
                  <a:gd name="T11" fmla="*/ 1176 h 1176"/>
                </a:gdLst>
                <a:ahLst/>
                <a:cxnLst>
                  <a:cxn ang="0">
                    <a:pos x="T0" y="T1"/>
                  </a:cxn>
                  <a:cxn ang="0">
                    <a:pos x="T2" y="T3"/>
                  </a:cxn>
                  <a:cxn ang="0">
                    <a:pos x="T4" y="T5"/>
                  </a:cxn>
                  <a:cxn ang="0">
                    <a:pos x="T6" y="T7"/>
                  </a:cxn>
                  <a:cxn ang="0">
                    <a:pos x="T8" y="T9"/>
                  </a:cxn>
                  <a:cxn ang="0">
                    <a:pos x="T10" y="T11"/>
                  </a:cxn>
                </a:cxnLst>
                <a:rect l="0" t="0" r="r" b="b"/>
                <a:pathLst>
                  <a:path w="1500" h="1176">
                    <a:moveTo>
                      <a:pt x="1500" y="1176"/>
                    </a:moveTo>
                    <a:lnTo>
                      <a:pt x="1072" y="1176"/>
                    </a:lnTo>
                    <a:lnTo>
                      <a:pt x="0" y="705"/>
                    </a:lnTo>
                    <a:lnTo>
                      <a:pt x="677" y="0"/>
                    </a:lnTo>
                    <a:lnTo>
                      <a:pt x="677" y="0"/>
                    </a:lnTo>
                    <a:lnTo>
                      <a:pt x="150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0" name="Freeform 460"/>
              <p:cNvSpPr>
                <a:spLocks/>
              </p:cNvSpPr>
              <p:nvPr/>
            </p:nvSpPr>
            <p:spPr bwMode="auto">
              <a:xfrm>
                <a:off x="-4214813" y="6296025"/>
                <a:ext cx="1620838" cy="1363663"/>
              </a:xfrm>
              <a:custGeom>
                <a:avLst/>
                <a:gdLst>
                  <a:gd name="T0" fmla="*/ 1021 w 1021"/>
                  <a:gd name="T1" fmla="*/ 859 h 859"/>
                  <a:gd name="T2" fmla="*/ 172 w 1021"/>
                  <a:gd name="T3" fmla="*/ 859 h 859"/>
                  <a:gd name="T4" fmla="*/ 0 w 1021"/>
                  <a:gd name="T5" fmla="*/ 0 h 859"/>
                  <a:gd name="T6" fmla="*/ 1021 w 1021"/>
                  <a:gd name="T7" fmla="*/ 859 h 859"/>
                </a:gdLst>
                <a:ahLst/>
                <a:cxnLst>
                  <a:cxn ang="0">
                    <a:pos x="T0" y="T1"/>
                  </a:cxn>
                  <a:cxn ang="0">
                    <a:pos x="T2" y="T3"/>
                  </a:cxn>
                  <a:cxn ang="0">
                    <a:pos x="T4" y="T5"/>
                  </a:cxn>
                  <a:cxn ang="0">
                    <a:pos x="T6" y="T7"/>
                  </a:cxn>
                </a:cxnLst>
                <a:rect l="0" t="0" r="r" b="b"/>
                <a:pathLst>
                  <a:path w="1021" h="859">
                    <a:moveTo>
                      <a:pt x="1021" y="859"/>
                    </a:moveTo>
                    <a:lnTo>
                      <a:pt x="172" y="859"/>
                    </a:lnTo>
                    <a:lnTo>
                      <a:pt x="0" y="0"/>
                    </a:lnTo>
                    <a:lnTo>
                      <a:pt x="1021" y="8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1" name="Freeform 461"/>
              <p:cNvSpPr>
                <a:spLocks/>
              </p:cNvSpPr>
              <p:nvPr/>
            </p:nvSpPr>
            <p:spPr bwMode="auto">
              <a:xfrm>
                <a:off x="-6540500" y="6911975"/>
                <a:ext cx="1701800" cy="747713"/>
              </a:xfrm>
              <a:custGeom>
                <a:avLst/>
                <a:gdLst>
                  <a:gd name="T0" fmla="*/ 1072 w 1072"/>
                  <a:gd name="T1" fmla="*/ 471 h 471"/>
                  <a:gd name="T2" fmla="*/ 254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254" y="471"/>
                    </a:lnTo>
                    <a:lnTo>
                      <a:pt x="0" y="0"/>
                    </a:lnTo>
                    <a:lnTo>
                      <a:pt x="1072" y="471"/>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2" name="Line 462"/>
              <p:cNvSpPr>
                <a:spLocks noChangeShapeType="1"/>
              </p:cNvSpPr>
              <p:nvPr/>
            </p:nvSpPr>
            <p:spPr bwMode="auto">
              <a:xfrm>
                <a:off x="-6137275" y="76596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3" name="Freeform 463"/>
              <p:cNvSpPr>
                <a:spLocks/>
              </p:cNvSpPr>
              <p:nvPr/>
            </p:nvSpPr>
            <p:spPr bwMode="auto">
              <a:xfrm>
                <a:off x="-6540500" y="6911975"/>
                <a:ext cx="403225" cy="747713"/>
              </a:xfrm>
              <a:custGeom>
                <a:avLst/>
                <a:gdLst>
                  <a:gd name="T0" fmla="*/ 254 w 254"/>
                  <a:gd name="T1" fmla="*/ 471 h 471"/>
                  <a:gd name="T2" fmla="*/ 254 w 254"/>
                  <a:gd name="T3" fmla="*/ 471 h 471"/>
                  <a:gd name="T4" fmla="*/ 0 w 254"/>
                  <a:gd name="T5" fmla="*/ 0 h 471"/>
                  <a:gd name="T6" fmla="*/ 254 w 254"/>
                  <a:gd name="T7" fmla="*/ 471 h 471"/>
                </a:gdLst>
                <a:ahLst/>
                <a:cxnLst>
                  <a:cxn ang="0">
                    <a:pos x="T0" y="T1"/>
                  </a:cxn>
                  <a:cxn ang="0">
                    <a:pos x="T2" y="T3"/>
                  </a:cxn>
                  <a:cxn ang="0">
                    <a:pos x="T4" y="T5"/>
                  </a:cxn>
                  <a:cxn ang="0">
                    <a:pos x="T6" y="T7"/>
                  </a:cxn>
                </a:cxnLst>
                <a:rect l="0" t="0" r="r" b="b"/>
                <a:pathLst>
                  <a:path w="254" h="471">
                    <a:moveTo>
                      <a:pt x="254" y="471"/>
                    </a:moveTo>
                    <a:lnTo>
                      <a:pt x="254" y="471"/>
                    </a:lnTo>
                    <a:lnTo>
                      <a:pt x="0" y="0"/>
                    </a:lnTo>
                    <a:lnTo>
                      <a:pt x="254" y="471"/>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4" name="Freeform 464"/>
              <p:cNvSpPr>
                <a:spLocks/>
              </p:cNvSpPr>
              <p:nvPr/>
            </p:nvSpPr>
            <p:spPr bwMode="auto">
              <a:xfrm>
                <a:off x="-6540500" y="6911975"/>
                <a:ext cx="1701800" cy="747713"/>
              </a:xfrm>
              <a:custGeom>
                <a:avLst/>
                <a:gdLst>
                  <a:gd name="T0" fmla="*/ 1072 w 1072"/>
                  <a:gd name="T1" fmla="*/ 471 h 471"/>
                  <a:gd name="T2" fmla="*/ 1072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1072" y="471"/>
                    </a:lnTo>
                    <a:lnTo>
                      <a:pt x="0" y="0"/>
                    </a:lnTo>
                    <a:lnTo>
                      <a:pt x="1072" y="47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5" name="Freeform 465"/>
              <p:cNvSpPr>
                <a:spLocks/>
              </p:cNvSpPr>
              <p:nvPr/>
            </p:nvSpPr>
            <p:spPr bwMode="auto">
              <a:xfrm>
                <a:off x="-3327400" y="-3540126"/>
                <a:ext cx="2473325" cy="2046288"/>
              </a:xfrm>
              <a:custGeom>
                <a:avLst/>
                <a:gdLst>
                  <a:gd name="T0" fmla="*/ 0 w 1558"/>
                  <a:gd name="T1" fmla="*/ 1289 h 1289"/>
                  <a:gd name="T2" fmla="*/ 916 w 1558"/>
                  <a:gd name="T3" fmla="*/ 0 h 1289"/>
                  <a:gd name="T4" fmla="*/ 1558 w 1558"/>
                  <a:gd name="T5" fmla="*/ 541 h 1289"/>
                  <a:gd name="T6" fmla="*/ 1558 w 1558"/>
                  <a:gd name="T7" fmla="*/ 890 h 1289"/>
                  <a:gd name="T8" fmla="*/ 0 w 1558"/>
                  <a:gd name="T9" fmla="*/ 1289 h 1289"/>
                </a:gdLst>
                <a:ahLst/>
                <a:cxnLst>
                  <a:cxn ang="0">
                    <a:pos x="T0" y="T1"/>
                  </a:cxn>
                  <a:cxn ang="0">
                    <a:pos x="T2" y="T3"/>
                  </a:cxn>
                  <a:cxn ang="0">
                    <a:pos x="T4" y="T5"/>
                  </a:cxn>
                  <a:cxn ang="0">
                    <a:pos x="T6" y="T7"/>
                  </a:cxn>
                  <a:cxn ang="0">
                    <a:pos x="T8" y="T9"/>
                  </a:cxn>
                </a:cxnLst>
                <a:rect l="0" t="0" r="r" b="b"/>
                <a:pathLst>
                  <a:path w="1558" h="1289">
                    <a:moveTo>
                      <a:pt x="0" y="1289"/>
                    </a:moveTo>
                    <a:lnTo>
                      <a:pt x="916" y="0"/>
                    </a:lnTo>
                    <a:lnTo>
                      <a:pt x="1558" y="541"/>
                    </a:lnTo>
                    <a:lnTo>
                      <a:pt x="1558" y="890"/>
                    </a:lnTo>
                    <a:lnTo>
                      <a:pt x="0" y="128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6" name="Freeform 466"/>
              <p:cNvSpPr>
                <a:spLocks/>
              </p:cNvSpPr>
              <p:nvPr/>
            </p:nvSpPr>
            <p:spPr bwMode="auto">
              <a:xfrm>
                <a:off x="-2697163" y="-4110038"/>
                <a:ext cx="1154113" cy="569913"/>
              </a:xfrm>
              <a:custGeom>
                <a:avLst/>
                <a:gdLst>
                  <a:gd name="T0" fmla="*/ 519 w 727"/>
                  <a:gd name="T1" fmla="*/ 359 h 359"/>
                  <a:gd name="T2" fmla="*/ 519 w 727"/>
                  <a:gd name="T3" fmla="*/ 359 h 359"/>
                  <a:gd name="T4" fmla="*/ 0 w 727"/>
                  <a:gd name="T5" fmla="*/ 0 h 359"/>
                  <a:gd name="T6" fmla="*/ 727 w 727"/>
                  <a:gd name="T7" fmla="*/ 0 h 359"/>
                  <a:gd name="T8" fmla="*/ 519 w 727"/>
                  <a:gd name="T9" fmla="*/ 359 h 359"/>
                </a:gdLst>
                <a:ahLst/>
                <a:cxnLst>
                  <a:cxn ang="0">
                    <a:pos x="T0" y="T1"/>
                  </a:cxn>
                  <a:cxn ang="0">
                    <a:pos x="T2" y="T3"/>
                  </a:cxn>
                  <a:cxn ang="0">
                    <a:pos x="T4" y="T5"/>
                  </a:cxn>
                  <a:cxn ang="0">
                    <a:pos x="T6" y="T7"/>
                  </a:cxn>
                  <a:cxn ang="0">
                    <a:pos x="T8" y="T9"/>
                  </a:cxn>
                </a:cxnLst>
                <a:rect l="0" t="0" r="r" b="b"/>
                <a:pathLst>
                  <a:path w="727" h="359">
                    <a:moveTo>
                      <a:pt x="519" y="359"/>
                    </a:moveTo>
                    <a:lnTo>
                      <a:pt x="519" y="359"/>
                    </a:lnTo>
                    <a:lnTo>
                      <a:pt x="0" y="0"/>
                    </a:lnTo>
                    <a:lnTo>
                      <a:pt x="727" y="0"/>
                    </a:lnTo>
                    <a:lnTo>
                      <a:pt x="519"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7" name="Freeform 467"/>
              <p:cNvSpPr>
                <a:spLocks/>
              </p:cNvSpPr>
              <p:nvPr/>
            </p:nvSpPr>
            <p:spPr bwMode="auto">
              <a:xfrm>
                <a:off x="-1873250" y="-3540126"/>
                <a:ext cx="1019175" cy="858838"/>
              </a:xfrm>
              <a:custGeom>
                <a:avLst/>
                <a:gdLst>
                  <a:gd name="T0" fmla="*/ 642 w 642"/>
                  <a:gd name="T1" fmla="*/ 541 h 541"/>
                  <a:gd name="T2" fmla="*/ 0 w 642"/>
                  <a:gd name="T3" fmla="*/ 0 h 541"/>
                  <a:gd name="T4" fmla="*/ 642 w 642"/>
                  <a:gd name="T5" fmla="*/ 0 h 541"/>
                  <a:gd name="T6" fmla="*/ 642 w 642"/>
                  <a:gd name="T7" fmla="*/ 541 h 541"/>
                </a:gdLst>
                <a:ahLst/>
                <a:cxnLst>
                  <a:cxn ang="0">
                    <a:pos x="T0" y="T1"/>
                  </a:cxn>
                  <a:cxn ang="0">
                    <a:pos x="T2" y="T3"/>
                  </a:cxn>
                  <a:cxn ang="0">
                    <a:pos x="T4" y="T5"/>
                  </a:cxn>
                  <a:cxn ang="0">
                    <a:pos x="T6" y="T7"/>
                  </a:cxn>
                </a:cxnLst>
                <a:rect l="0" t="0" r="r" b="b"/>
                <a:pathLst>
                  <a:path w="642" h="541">
                    <a:moveTo>
                      <a:pt x="642" y="541"/>
                    </a:moveTo>
                    <a:lnTo>
                      <a:pt x="0" y="0"/>
                    </a:lnTo>
                    <a:lnTo>
                      <a:pt x="642" y="0"/>
                    </a:lnTo>
                    <a:lnTo>
                      <a:pt x="642" y="541"/>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8" name="Freeform 468"/>
              <p:cNvSpPr>
                <a:spLocks/>
              </p:cNvSpPr>
              <p:nvPr/>
            </p:nvSpPr>
            <p:spPr bwMode="auto">
              <a:xfrm>
                <a:off x="-3668713" y="-4110038"/>
                <a:ext cx="1795463" cy="569913"/>
              </a:xfrm>
              <a:custGeom>
                <a:avLst/>
                <a:gdLst>
                  <a:gd name="T0" fmla="*/ 1131 w 1131"/>
                  <a:gd name="T1" fmla="*/ 359 h 359"/>
                  <a:gd name="T2" fmla="*/ 0 w 1131"/>
                  <a:gd name="T3" fmla="*/ 359 h 359"/>
                  <a:gd name="T4" fmla="*/ 285 w 1131"/>
                  <a:gd name="T5" fmla="*/ 0 h 359"/>
                  <a:gd name="T6" fmla="*/ 612 w 1131"/>
                  <a:gd name="T7" fmla="*/ 0 h 359"/>
                  <a:gd name="T8" fmla="*/ 1131 w 1131"/>
                  <a:gd name="T9" fmla="*/ 359 h 359"/>
                </a:gdLst>
                <a:ahLst/>
                <a:cxnLst>
                  <a:cxn ang="0">
                    <a:pos x="T0" y="T1"/>
                  </a:cxn>
                  <a:cxn ang="0">
                    <a:pos x="T2" y="T3"/>
                  </a:cxn>
                  <a:cxn ang="0">
                    <a:pos x="T4" y="T5"/>
                  </a:cxn>
                  <a:cxn ang="0">
                    <a:pos x="T6" y="T7"/>
                  </a:cxn>
                  <a:cxn ang="0">
                    <a:pos x="T8" y="T9"/>
                  </a:cxn>
                </a:cxnLst>
                <a:rect l="0" t="0" r="r" b="b"/>
                <a:pathLst>
                  <a:path w="1131" h="359">
                    <a:moveTo>
                      <a:pt x="1131" y="359"/>
                    </a:moveTo>
                    <a:lnTo>
                      <a:pt x="0" y="359"/>
                    </a:lnTo>
                    <a:lnTo>
                      <a:pt x="285" y="0"/>
                    </a:lnTo>
                    <a:lnTo>
                      <a:pt x="612" y="0"/>
                    </a:lnTo>
                    <a:lnTo>
                      <a:pt x="1131"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9" name="Freeform 469"/>
              <p:cNvSpPr>
                <a:spLocks/>
              </p:cNvSpPr>
              <p:nvPr/>
            </p:nvSpPr>
            <p:spPr bwMode="auto">
              <a:xfrm>
                <a:off x="-1873250" y="-4110038"/>
                <a:ext cx="1019175" cy="569913"/>
              </a:xfrm>
              <a:custGeom>
                <a:avLst/>
                <a:gdLst>
                  <a:gd name="T0" fmla="*/ 642 w 642"/>
                  <a:gd name="T1" fmla="*/ 359 h 359"/>
                  <a:gd name="T2" fmla="*/ 0 w 642"/>
                  <a:gd name="T3" fmla="*/ 359 h 359"/>
                  <a:gd name="T4" fmla="*/ 208 w 642"/>
                  <a:gd name="T5" fmla="*/ 0 h 359"/>
                  <a:gd name="T6" fmla="*/ 642 w 642"/>
                  <a:gd name="T7" fmla="*/ 0 h 359"/>
                  <a:gd name="T8" fmla="*/ 642 w 642"/>
                  <a:gd name="T9" fmla="*/ 359 h 359"/>
                </a:gdLst>
                <a:ahLst/>
                <a:cxnLst>
                  <a:cxn ang="0">
                    <a:pos x="T0" y="T1"/>
                  </a:cxn>
                  <a:cxn ang="0">
                    <a:pos x="T2" y="T3"/>
                  </a:cxn>
                  <a:cxn ang="0">
                    <a:pos x="T4" y="T5"/>
                  </a:cxn>
                  <a:cxn ang="0">
                    <a:pos x="T6" y="T7"/>
                  </a:cxn>
                  <a:cxn ang="0">
                    <a:pos x="T8" y="T9"/>
                  </a:cxn>
                </a:cxnLst>
                <a:rect l="0" t="0" r="r" b="b"/>
                <a:pathLst>
                  <a:path w="642" h="359">
                    <a:moveTo>
                      <a:pt x="642" y="359"/>
                    </a:moveTo>
                    <a:lnTo>
                      <a:pt x="0" y="359"/>
                    </a:lnTo>
                    <a:lnTo>
                      <a:pt x="208" y="0"/>
                    </a:lnTo>
                    <a:lnTo>
                      <a:pt x="642" y="0"/>
                    </a:lnTo>
                    <a:lnTo>
                      <a:pt x="642"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0" name="Freeform 470"/>
              <p:cNvSpPr>
                <a:spLocks/>
              </p:cNvSpPr>
              <p:nvPr/>
            </p:nvSpPr>
            <p:spPr bwMode="auto">
              <a:xfrm>
                <a:off x="-3668713" y="-3540126"/>
                <a:ext cx="1795463" cy="2046288"/>
              </a:xfrm>
              <a:custGeom>
                <a:avLst/>
                <a:gdLst>
                  <a:gd name="T0" fmla="*/ 215 w 1131"/>
                  <a:gd name="T1" fmla="*/ 1289 h 1289"/>
                  <a:gd name="T2" fmla="*/ 150 w 1131"/>
                  <a:gd name="T3" fmla="*/ 902 h 1289"/>
                  <a:gd name="T4" fmla="*/ 0 w 1131"/>
                  <a:gd name="T5" fmla="*/ 0 h 1289"/>
                  <a:gd name="T6" fmla="*/ 0 w 1131"/>
                  <a:gd name="T7" fmla="*/ 0 h 1289"/>
                  <a:gd name="T8" fmla="*/ 0 w 1131"/>
                  <a:gd name="T9" fmla="*/ 0 h 1289"/>
                  <a:gd name="T10" fmla="*/ 1131 w 1131"/>
                  <a:gd name="T11" fmla="*/ 0 h 1289"/>
                  <a:gd name="T12" fmla="*/ 215 w 1131"/>
                  <a:gd name="T13" fmla="*/ 1289 h 1289"/>
                </a:gdLst>
                <a:ahLst/>
                <a:cxnLst>
                  <a:cxn ang="0">
                    <a:pos x="T0" y="T1"/>
                  </a:cxn>
                  <a:cxn ang="0">
                    <a:pos x="T2" y="T3"/>
                  </a:cxn>
                  <a:cxn ang="0">
                    <a:pos x="T4" y="T5"/>
                  </a:cxn>
                  <a:cxn ang="0">
                    <a:pos x="T6" y="T7"/>
                  </a:cxn>
                  <a:cxn ang="0">
                    <a:pos x="T8" y="T9"/>
                  </a:cxn>
                  <a:cxn ang="0">
                    <a:pos x="T10" y="T11"/>
                  </a:cxn>
                  <a:cxn ang="0">
                    <a:pos x="T12" y="T13"/>
                  </a:cxn>
                </a:cxnLst>
                <a:rect l="0" t="0" r="r" b="b"/>
                <a:pathLst>
                  <a:path w="1131" h="1289">
                    <a:moveTo>
                      <a:pt x="215" y="1289"/>
                    </a:moveTo>
                    <a:lnTo>
                      <a:pt x="150" y="902"/>
                    </a:lnTo>
                    <a:lnTo>
                      <a:pt x="0" y="0"/>
                    </a:lnTo>
                    <a:lnTo>
                      <a:pt x="0" y="0"/>
                    </a:lnTo>
                    <a:lnTo>
                      <a:pt x="0" y="0"/>
                    </a:lnTo>
                    <a:lnTo>
                      <a:pt x="1131" y="0"/>
                    </a:lnTo>
                    <a:lnTo>
                      <a:pt x="215" y="128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1" name="Freeform 471"/>
              <p:cNvSpPr>
                <a:spLocks/>
              </p:cNvSpPr>
              <p:nvPr/>
            </p:nvSpPr>
            <p:spPr bwMode="auto">
              <a:xfrm>
                <a:off x="-3668713" y="-35401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2" name="Freeform 472"/>
              <p:cNvSpPr>
                <a:spLocks/>
              </p:cNvSpPr>
              <p:nvPr/>
            </p:nvSpPr>
            <p:spPr bwMode="auto">
              <a:xfrm>
                <a:off x="-3668713" y="-3540126"/>
                <a:ext cx="238125" cy="1431925"/>
              </a:xfrm>
              <a:custGeom>
                <a:avLst/>
                <a:gdLst>
                  <a:gd name="T0" fmla="*/ 150 w 150"/>
                  <a:gd name="T1" fmla="*/ 902 h 902"/>
                  <a:gd name="T2" fmla="*/ 0 w 150"/>
                  <a:gd name="T3" fmla="*/ 0 h 902"/>
                  <a:gd name="T4" fmla="*/ 0 w 150"/>
                  <a:gd name="T5" fmla="*/ 0 h 902"/>
                  <a:gd name="T6" fmla="*/ 150 w 150"/>
                  <a:gd name="T7" fmla="*/ 902 h 902"/>
                </a:gdLst>
                <a:ahLst/>
                <a:cxnLst>
                  <a:cxn ang="0">
                    <a:pos x="T0" y="T1"/>
                  </a:cxn>
                  <a:cxn ang="0">
                    <a:pos x="T2" y="T3"/>
                  </a:cxn>
                  <a:cxn ang="0">
                    <a:pos x="T4" y="T5"/>
                  </a:cxn>
                  <a:cxn ang="0">
                    <a:pos x="T6" y="T7"/>
                  </a:cxn>
                </a:cxnLst>
                <a:rect l="0" t="0" r="r" b="b"/>
                <a:pathLst>
                  <a:path w="150" h="902">
                    <a:moveTo>
                      <a:pt x="150" y="902"/>
                    </a:moveTo>
                    <a:lnTo>
                      <a:pt x="0" y="0"/>
                    </a:lnTo>
                    <a:lnTo>
                      <a:pt x="0" y="0"/>
                    </a:lnTo>
                    <a:lnTo>
                      <a:pt x="150" y="902"/>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3" name="Freeform 473"/>
              <p:cNvSpPr>
                <a:spLocks/>
              </p:cNvSpPr>
              <p:nvPr/>
            </p:nvSpPr>
            <p:spPr bwMode="auto">
              <a:xfrm>
                <a:off x="-2771775" y="-428626"/>
                <a:ext cx="1917700" cy="2205038"/>
              </a:xfrm>
              <a:custGeom>
                <a:avLst/>
                <a:gdLst>
                  <a:gd name="T0" fmla="*/ 1208 w 1208"/>
                  <a:gd name="T1" fmla="*/ 1389 h 1389"/>
                  <a:gd name="T2" fmla="*/ 0 w 1208"/>
                  <a:gd name="T3" fmla="*/ 979 h 1389"/>
                  <a:gd name="T4" fmla="*/ 566 w 1208"/>
                  <a:gd name="T5" fmla="*/ 0 h 1389"/>
                  <a:gd name="T6" fmla="*/ 566 w 1208"/>
                  <a:gd name="T7" fmla="*/ 0 h 1389"/>
                  <a:gd name="T8" fmla="*/ 566 w 1208"/>
                  <a:gd name="T9" fmla="*/ 0 h 1389"/>
                  <a:gd name="T10" fmla="*/ 566 w 1208"/>
                  <a:gd name="T11" fmla="*/ 0 h 1389"/>
                  <a:gd name="T12" fmla="*/ 566 w 1208"/>
                  <a:gd name="T13" fmla="*/ 0 h 1389"/>
                  <a:gd name="T14" fmla="*/ 1104 w 1208"/>
                  <a:gd name="T15" fmla="*/ 901 h 1389"/>
                  <a:gd name="T16" fmla="*/ 1208 w 1208"/>
                  <a:gd name="T17" fmla="*/ 1075 h 1389"/>
                  <a:gd name="T18" fmla="*/ 1208 w 1208"/>
                  <a:gd name="T19" fmla="*/ 1389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8" h="1389">
                    <a:moveTo>
                      <a:pt x="1208" y="1389"/>
                    </a:moveTo>
                    <a:lnTo>
                      <a:pt x="0" y="979"/>
                    </a:lnTo>
                    <a:lnTo>
                      <a:pt x="566" y="0"/>
                    </a:lnTo>
                    <a:lnTo>
                      <a:pt x="566" y="0"/>
                    </a:lnTo>
                    <a:lnTo>
                      <a:pt x="566" y="0"/>
                    </a:lnTo>
                    <a:lnTo>
                      <a:pt x="566" y="0"/>
                    </a:lnTo>
                    <a:lnTo>
                      <a:pt x="566" y="0"/>
                    </a:lnTo>
                    <a:lnTo>
                      <a:pt x="1104" y="901"/>
                    </a:lnTo>
                    <a:lnTo>
                      <a:pt x="1208" y="1075"/>
                    </a:lnTo>
                    <a:lnTo>
                      <a:pt x="1208" y="138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4" name="Freeform 474"/>
              <p:cNvSpPr>
                <a:spLocks/>
              </p:cNvSpPr>
              <p:nvPr/>
            </p:nvSpPr>
            <p:spPr bwMode="auto">
              <a:xfrm>
                <a:off x="-3327400" y="-2127251"/>
                <a:ext cx="2473325" cy="1698625"/>
              </a:xfrm>
              <a:custGeom>
                <a:avLst/>
                <a:gdLst>
                  <a:gd name="T0" fmla="*/ 916 w 1558"/>
                  <a:gd name="T1" fmla="*/ 1070 h 1070"/>
                  <a:gd name="T2" fmla="*/ 916 w 1558"/>
                  <a:gd name="T3" fmla="*/ 1070 h 1070"/>
                  <a:gd name="T4" fmla="*/ 0 w 1558"/>
                  <a:gd name="T5" fmla="*/ 399 h 1070"/>
                  <a:gd name="T6" fmla="*/ 1558 w 1558"/>
                  <a:gd name="T7" fmla="*/ 0 h 1070"/>
                  <a:gd name="T8" fmla="*/ 1558 w 1558"/>
                  <a:gd name="T9" fmla="*/ 299 h 1070"/>
                  <a:gd name="T10" fmla="*/ 1515 w 1558"/>
                  <a:gd name="T11" fmla="*/ 350 h 1070"/>
                  <a:gd name="T12" fmla="*/ 916 w 1558"/>
                  <a:gd name="T13" fmla="*/ 1070 h 1070"/>
                </a:gdLst>
                <a:ahLst/>
                <a:cxnLst>
                  <a:cxn ang="0">
                    <a:pos x="T0" y="T1"/>
                  </a:cxn>
                  <a:cxn ang="0">
                    <a:pos x="T2" y="T3"/>
                  </a:cxn>
                  <a:cxn ang="0">
                    <a:pos x="T4" y="T5"/>
                  </a:cxn>
                  <a:cxn ang="0">
                    <a:pos x="T6" y="T7"/>
                  </a:cxn>
                  <a:cxn ang="0">
                    <a:pos x="T8" y="T9"/>
                  </a:cxn>
                  <a:cxn ang="0">
                    <a:pos x="T10" y="T11"/>
                  </a:cxn>
                  <a:cxn ang="0">
                    <a:pos x="T12" y="T13"/>
                  </a:cxn>
                </a:cxnLst>
                <a:rect l="0" t="0" r="r" b="b"/>
                <a:pathLst>
                  <a:path w="1558" h="1070">
                    <a:moveTo>
                      <a:pt x="916" y="1070"/>
                    </a:moveTo>
                    <a:lnTo>
                      <a:pt x="916" y="1070"/>
                    </a:lnTo>
                    <a:lnTo>
                      <a:pt x="0" y="399"/>
                    </a:lnTo>
                    <a:lnTo>
                      <a:pt x="1558" y="0"/>
                    </a:lnTo>
                    <a:lnTo>
                      <a:pt x="1558" y="299"/>
                    </a:lnTo>
                    <a:lnTo>
                      <a:pt x="1515" y="350"/>
                    </a:lnTo>
                    <a:lnTo>
                      <a:pt x="916" y="107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5" name="Freeform 475"/>
              <p:cNvSpPr>
                <a:spLocks/>
              </p:cNvSpPr>
              <p:nvPr/>
            </p:nvSpPr>
            <p:spPr bwMode="auto">
              <a:xfrm>
                <a:off x="-1873250" y="-428626"/>
                <a:ext cx="1019175" cy="1706563"/>
              </a:xfrm>
              <a:custGeom>
                <a:avLst/>
                <a:gdLst>
                  <a:gd name="T0" fmla="*/ 642 w 642"/>
                  <a:gd name="T1" fmla="*/ 1075 h 1075"/>
                  <a:gd name="T2" fmla="*/ 538 w 642"/>
                  <a:gd name="T3" fmla="*/ 901 h 1075"/>
                  <a:gd name="T4" fmla="*/ 0 w 642"/>
                  <a:gd name="T5" fmla="*/ 0 h 1075"/>
                  <a:gd name="T6" fmla="*/ 642 w 642"/>
                  <a:gd name="T7" fmla="*/ 193 h 1075"/>
                  <a:gd name="T8" fmla="*/ 642 w 642"/>
                  <a:gd name="T9" fmla="*/ 1075 h 1075"/>
                </a:gdLst>
                <a:ahLst/>
                <a:cxnLst>
                  <a:cxn ang="0">
                    <a:pos x="T0" y="T1"/>
                  </a:cxn>
                  <a:cxn ang="0">
                    <a:pos x="T2" y="T3"/>
                  </a:cxn>
                  <a:cxn ang="0">
                    <a:pos x="T4" y="T5"/>
                  </a:cxn>
                  <a:cxn ang="0">
                    <a:pos x="T6" y="T7"/>
                  </a:cxn>
                  <a:cxn ang="0">
                    <a:pos x="T8" y="T9"/>
                  </a:cxn>
                </a:cxnLst>
                <a:rect l="0" t="0" r="r" b="b"/>
                <a:pathLst>
                  <a:path w="642" h="1075">
                    <a:moveTo>
                      <a:pt x="642" y="1075"/>
                    </a:moveTo>
                    <a:lnTo>
                      <a:pt x="538" y="901"/>
                    </a:lnTo>
                    <a:lnTo>
                      <a:pt x="0" y="0"/>
                    </a:lnTo>
                    <a:lnTo>
                      <a:pt x="642" y="193"/>
                    </a:lnTo>
                    <a:lnTo>
                      <a:pt x="642" y="107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6" name="Freeform 476"/>
              <p:cNvSpPr>
                <a:spLocks/>
              </p:cNvSpPr>
              <p:nvPr/>
            </p:nvSpPr>
            <p:spPr bwMode="auto">
              <a:xfrm>
                <a:off x="-3327400" y="-1493838"/>
                <a:ext cx="1454150" cy="1654175"/>
              </a:xfrm>
              <a:custGeom>
                <a:avLst/>
                <a:gdLst>
                  <a:gd name="T0" fmla="*/ 218 w 916"/>
                  <a:gd name="T1" fmla="*/ 1042 h 1042"/>
                  <a:gd name="T2" fmla="*/ 218 w 916"/>
                  <a:gd name="T3" fmla="*/ 1042 h 1042"/>
                  <a:gd name="T4" fmla="*/ 0 w 916"/>
                  <a:gd name="T5" fmla="*/ 0 h 1042"/>
                  <a:gd name="T6" fmla="*/ 916 w 916"/>
                  <a:gd name="T7" fmla="*/ 671 h 1042"/>
                  <a:gd name="T8" fmla="*/ 916 w 916"/>
                  <a:gd name="T9" fmla="*/ 671 h 1042"/>
                  <a:gd name="T10" fmla="*/ 218 w 916"/>
                  <a:gd name="T11" fmla="*/ 1042 h 1042"/>
                </a:gdLst>
                <a:ahLst/>
                <a:cxnLst>
                  <a:cxn ang="0">
                    <a:pos x="T0" y="T1"/>
                  </a:cxn>
                  <a:cxn ang="0">
                    <a:pos x="T2" y="T3"/>
                  </a:cxn>
                  <a:cxn ang="0">
                    <a:pos x="T4" y="T5"/>
                  </a:cxn>
                  <a:cxn ang="0">
                    <a:pos x="T6" y="T7"/>
                  </a:cxn>
                  <a:cxn ang="0">
                    <a:pos x="T8" y="T9"/>
                  </a:cxn>
                  <a:cxn ang="0">
                    <a:pos x="T10" y="T11"/>
                  </a:cxn>
                </a:cxnLst>
                <a:rect l="0" t="0" r="r" b="b"/>
                <a:pathLst>
                  <a:path w="916" h="1042">
                    <a:moveTo>
                      <a:pt x="218" y="1042"/>
                    </a:moveTo>
                    <a:lnTo>
                      <a:pt x="218" y="1042"/>
                    </a:lnTo>
                    <a:lnTo>
                      <a:pt x="0" y="0"/>
                    </a:lnTo>
                    <a:lnTo>
                      <a:pt x="916" y="671"/>
                    </a:lnTo>
                    <a:lnTo>
                      <a:pt x="916" y="671"/>
                    </a:lnTo>
                    <a:lnTo>
                      <a:pt x="218" y="10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7" name="Freeform 477"/>
              <p:cNvSpPr>
                <a:spLocks/>
              </p:cNvSpPr>
              <p:nvPr/>
            </p:nvSpPr>
            <p:spPr bwMode="auto">
              <a:xfrm>
                <a:off x="-1873250" y="-1652588"/>
                <a:ext cx="1019175" cy="1530350"/>
              </a:xfrm>
              <a:custGeom>
                <a:avLst/>
                <a:gdLst>
                  <a:gd name="T0" fmla="*/ 642 w 642"/>
                  <a:gd name="T1" fmla="*/ 964 h 964"/>
                  <a:gd name="T2" fmla="*/ 0 w 642"/>
                  <a:gd name="T3" fmla="*/ 771 h 964"/>
                  <a:gd name="T4" fmla="*/ 0 w 642"/>
                  <a:gd name="T5" fmla="*/ 771 h 964"/>
                  <a:gd name="T6" fmla="*/ 599 w 642"/>
                  <a:gd name="T7" fmla="*/ 51 h 964"/>
                  <a:gd name="T8" fmla="*/ 642 w 642"/>
                  <a:gd name="T9" fmla="*/ 0 h 964"/>
                  <a:gd name="T10" fmla="*/ 642 w 642"/>
                  <a:gd name="T11" fmla="*/ 964 h 964"/>
                </a:gdLst>
                <a:ahLst/>
                <a:cxnLst>
                  <a:cxn ang="0">
                    <a:pos x="T0" y="T1"/>
                  </a:cxn>
                  <a:cxn ang="0">
                    <a:pos x="T2" y="T3"/>
                  </a:cxn>
                  <a:cxn ang="0">
                    <a:pos x="T4" y="T5"/>
                  </a:cxn>
                  <a:cxn ang="0">
                    <a:pos x="T6" y="T7"/>
                  </a:cxn>
                  <a:cxn ang="0">
                    <a:pos x="T8" y="T9"/>
                  </a:cxn>
                  <a:cxn ang="0">
                    <a:pos x="T10" y="T11"/>
                  </a:cxn>
                </a:cxnLst>
                <a:rect l="0" t="0" r="r" b="b"/>
                <a:pathLst>
                  <a:path w="642" h="964">
                    <a:moveTo>
                      <a:pt x="642" y="964"/>
                    </a:moveTo>
                    <a:lnTo>
                      <a:pt x="0" y="771"/>
                    </a:lnTo>
                    <a:lnTo>
                      <a:pt x="0" y="771"/>
                    </a:lnTo>
                    <a:lnTo>
                      <a:pt x="599" y="51"/>
                    </a:lnTo>
                    <a:lnTo>
                      <a:pt x="642" y="0"/>
                    </a:lnTo>
                    <a:lnTo>
                      <a:pt x="642" y="964"/>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8" name="Freeform 478"/>
              <p:cNvSpPr>
                <a:spLocks/>
              </p:cNvSpPr>
              <p:nvPr/>
            </p:nvSpPr>
            <p:spPr bwMode="auto">
              <a:xfrm>
                <a:off x="-922338" y="-1652588"/>
                <a:ext cx="68263" cy="80963"/>
              </a:xfrm>
              <a:custGeom>
                <a:avLst/>
                <a:gdLst>
                  <a:gd name="T0" fmla="*/ 0 w 43"/>
                  <a:gd name="T1" fmla="*/ 51 h 51"/>
                  <a:gd name="T2" fmla="*/ 43 w 43"/>
                  <a:gd name="T3" fmla="*/ 0 h 51"/>
                  <a:gd name="T4" fmla="*/ 43 w 43"/>
                  <a:gd name="T5" fmla="*/ 0 h 51"/>
                  <a:gd name="T6" fmla="*/ 0 w 43"/>
                  <a:gd name="T7" fmla="*/ 51 h 51"/>
                </a:gdLst>
                <a:ahLst/>
                <a:cxnLst>
                  <a:cxn ang="0">
                    <a:pos x="T0" y="T1"/>
                  </a:cxn>
                  <a:cxn ang="0">
                    <a:pos x="T2" y="T3"/>
                  </a:cxn>
                  <a:cxn ang="0">
                    <a:pos x="T4" y="T5"/>
                  </a:cxn>
                  <a:cxn ang="0">
                    <a:pos x="T6" y="T7"/>
                  </a:cxn>
                </a:cxnLst>
                <a:rect l="0" t="0" r="r" b="b"/>
                <a:pathLst>
                  <a:path w="43" h="51">
                    <a:moveTo>
                      <a:pt x="0" y="51"/>
                    </a:moveTo>
                    <a:lnTo>
                      <a:pt x="43" y="0"/>
                    </a:lnTo>
                    <a:lnTo>
                      <a:pt x="43" y="0"/>
                    </a:lnTo>
                    <a:lnTo>
                      <a:pt x="0" y="51"/>
                    </a:lnTo>
                    <a:close/>
                  </a:path>
                </a:pathLst>
              </a:custGeom>
              <a:solidFill>
                <a:srgbClr val="5A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9" name="Freeform 479"/>
              <p:cNvSpPr>
                <a:spLocks/>
              </p:cNvSpPr>
              <p:nvPr/>
            </p:nvSpPr>
            <p:spPr bwMode="auto">
              <a:xfrm>
                <a:off x="-2981325" y="-428626"/>
                <a:ext cx="1108075" cy="1554163"/>
              </a:xfrm>
              <a:custGeom>
                <a:avLst/>
                <a:gdLst>
                  <a:gd name="T0" fmla="*/ 132 w 698"/>
                  <a:gd name="T1" fmla="*/ 979 h 979"/>
                  <a:gd name="T2" fmla="*/ 78 w 698"/>
                  <a:gd name="T3" fmla="*/ 730 h 979"/>
                  <a:gd name="T4" fmla="*/ 0 w 698"/>
                  <a:gd name="T5" fmla="*/ 371 h 979"/>
                  <a:gd name="T6" fmla="*/ 0 w 698"/>
                  <a:gd name="T7" fmla="*/ 371 h 979"/>
                  <a:gd name="T8" fmla="*/ 698 w 698"/>
                  <a:gd name="T9" fmla="*/ 0 h 979"/>
                  <a:gd name="T10" fmla="*/ 132 w 698"/>
                  <a:gd name="T11" fmla="*/ 979 h 979"/>
                </a:gdLst>
                <a:ahLst/>
                <a:cxnLst>
                  <a:cxn ang="0">
                    <a:pos x="T0" y="T1"/>
                  </a:cxn>
                  <a:cxn ang="0">
                    <a:pos x="T2" y="T3"/>
                  </a:cxn>
                  <a:cxn ang="0">
                    <a:pos x="T4" y="T5"/>
                  </a:cxn>
                  <a:cxn ang="0">
                    <a:pos x="T6" y="T7"/>
                  </a:cxn>
                  <a:cxn ang="0">
                    <a:pos x="T8" y="T9"/>
                  </a:cxn>
                  <a:cxn ang="0">
                    <a:pos x="T10" y="T11"/>
                  </a:cxn>
                </a:cxnLst>
                <a:rect l="0" t="0" r="r" b="b"/>
                <a:pathLst>
                  <a:path w="698" h="979">
                    <a:moveTo>
                      <a:pt x="132" y="979"/>
                    </a:moveTo>
                    <a:lnTo>
                      <a:pt x="78" y="730"/>
                    </a:lnTo>
                    <a:lnTo>
                      <a:pt x="0" y="371"/>
                    </a:lnTo>
                    <a:lnTo>
                      <a:pt x="0" y="371"/>
                    </a:lnTo>
                    <a:lnTo>
                      <a:pt x="698" y="0"/>
                    </a:lnTo>
                    <a:lnTo>
                      <a:pt x="132" y="97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0" name="Freeform 480"/>
              <p:cNvSpPr>
                <a:spLocks/>
              </p:cNvSpPr>
              <p:nvPr/>
            </p:nvSpPr>
            <p:spPr bwMode="auto">
              <a:xfrm>
                <a:off x="-2981325" y="160337"/>
                <a:ext cx="123825" cy="569913"/>
              </a:xfrm>
              <a:custGeom>
                <a:avLst/>
                <a:gdLst>
                  <a:gd name="T0" fmla="*/ 78 w 78"/>
                  <a:gd name="T1" fmla="*/ 359 h 359"/>
                  <a:gd name="T2" fmla="*/ 0 w 78"/>
                  <a:gd name="T3" fmla="*/ 0 h 359"/>
                  <a:gd name="T4" fmla="*/ 0 w 78"/>
                  <a:gd name="T5" fmla="*/ 0 h 359"/>
                  <a:gd name="T6" fmla="*/ 78 w 78"/>
                  <a:gd name="T7" fmla="*/ 359 h 359"/>
                </a:gdLst>
                <a:ahLst/>
                <a:cxnLst>
                  <a:cxn ang="0">
                    <a:pos x="T0" y="T1"/>
                  </a:cxn>
                  <a:cxn ang="0">
                    <a:pos x="T2" y="T3"/>
                  </a:cxn>
                  <a:cxn ang="0">
                    <a:pos x="T4" y="T5"/>
                  </a:cxn>
                  <a:cxn ang="0">
                    <a:pos x="T6" y="T7"/>
                  </a:cxn>
                </a:cxnLst>
                <a:rect l="0" t="0" r="r" b="b"/>
                <a:pathLst>
                  <a:path w="78" h="359">
                    <a:moveTo>
                      <a:pt x="78" y="359"/>
                    </a:moveTo>
                    <a:lnTo>
                      <a:pt x="0" y="0"/>
                    </a:lnTo>
                    <a:lnTo>
                      <a:pt x="0" y="0"/>
                    </a:lnTo>
                    <a:lnTo>
                      <a:pt x="78" y="359"/>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1" name="Freeform 481"/>
              <p:cNvSpPr>
                <a:spLocks/>
              </p:cNvSpPr>
              <p:nvPr/>
            </p:nvSpPr>
            <p:spPr bwMode="auto">
              <a:xfrm>
                <a:off x="-2771775" y="-428626"/>
                <a:ext cx="898525" cy="1554163"/>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2" name="Freeform 482"/>
              <p:cNvSpPr>
                <a:spLocks noEditPoints="1"/>
              </p:cNvSpPr>
              <p:nvPr/>
            </p:nvSpPr>
            <p:spPr bwMode="auto">
              <a:xfrm>
                <a:off x="-2771775" y="2682875"/>
                <a:ext cx="898525" cy="2232025"/>
              </a:xfrm>
              <a:custGeom>
                <a:avLst/>
                <a:gdLst>
                  <a:gd name="T0" fmla="*/ 940 w 1179"/>
                  <a:gd name="T1" fmla="*/ 2930 h 2930"/>
                  <a:gd name="T2" fmla="*/ 0 w 1179"/>
                  <a:gd name="T3" fmla="*/ 2041 h 2930"/>
                  <a:gd name="T4" fmla="*/ 1179 w 1179"/>
                  <a:gd name="T5" fmla="*/ 0 h 2930"/>
                  <a:gd name="T6" fmla="*/ 940 w 1179"/>
                  <a:gd name="T7" fmla="*/ 2930 h 2930"/>
                  <a:gd name="T8" fmla="*/ 1179 w 1179"/>
                  <a:gd name="T9" fmla="*/ 0 h 2930"/>
                  <a:gd name="T10" fmla="*/ 1179 w 1179"/>
                  <a:gd name="T11" fmla="*/ 0 h 2930"/>
                </a:gdLst>
                <a:ahLst/>
                <a:cxnLst>
                  <a:cxn ang="0">
                    <a:pos x="T0" y="T1"/>
                  </a:cxn>
                  <a:cxn ang="0">
                    <a:pos x="T2" y="T3"/>
                  </a:cxn>
                  <a:cxn ang="0">
                    <a:pos x="T4" y="T5"/>
                  </a:cxn>
                  <a:cxn ang="0">
                    <a:pos x="T6" y="T7"/>
                  </a:cxn>
                  <a:cxn ang="0">
                    <a:pos x="T8" y="T9"/>
                  </a:cxn>
                  <a:cxn ang="0">
                    <a:pos x="T10" y="T11"/>
                  </a:cxn>
                </a:cxnLst>
                <a:rect l="0" t="0" r="r" b="b"/>
                <a:pathLst>
                  <a:path w="1179" h="2930">
                    <a:moveTo>
                      <a:pt x="940" y="2930"/>
                    </a:moveTo>
                    <a:lnTo>
                      <a:pt x="0" y="2041"/>
                    </a:lnTo>
                    <a:lnTo>
                      <a:pt x="1179" y="0"/>
                    </a:lnTo>
                    <a:lnTo>
                      <a:pt x="940" y="2930"/>
                    </a:lnTo>
                    <a:moveTo>
                      <a:pt x="1179" y="0"/>
                    </a:moveTo>
                    <a:lnTo>
                      <a:pt x="1179"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3" name="Freeform 483"/>
              <p:cNvSpPr>
                <a:spLocks/>
              </p:cNvSpPr>
              <p:nvPr/>
            </p:nvSpPr>
            <p:spPr bwMode="auto">
              <a:xfrm>
                <a:off x="-2771775" y="1125537"/>
                <a:ext cx="1917700" cy="1557338"/>
              </a:xfrm>
              <a:custGeom>
                <a:avLst/>
                <a:gdLst>
                  <a:gd name="T0" fmla="*/ 566 w 1208"/>
                  <a:gd name="T1" fmla="*/ 981 h 981"/>
                  <a:gd name="T2" fmla="*/ 566 w 1208"/>
                  <a:gd name="T3" fmla="*/ 981 h 981"/>
                  <a:gd name="T4" fmla="*/ 0 w 1208"/>
                  <a:gd name="T5" fmla="*/ 0 h 981"/>
                  <a:gd name="T6" fmla="*/ 1208 w 1208"/>
                  <a:gd name="T7" fmla="*/ 410 h 981"/>
                  <a:gd name="T8" fmla="*/ 1208 w 1208"/>
                  <a:gd name="T9" fmla="*/ 621 h 981"/>
                  <a:gd name="T10" fmla="*/ 933 w 1208"/>
                  <a:gd name="T11" fmla="*/ 775 h 981"/>
                  <a:gd name="T12" fmla="*/ 566 w 1208"/>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208" h="981">
                    <a:moveTo>
                      <a:pt x="566" y="981"/>
                    </a:moveTo>
                    <a:lnTo>
                      <a:pt x="566" y="981"/>
                    </a:lnTo>
                    <a:lnTo>
                      <a:pt x="0" y="0"/>
                    </a:lnTo>
                    <a:lnTo>
                      <a:pt x="1208" y="410"/>
                    </a:lnTo>
                    <a:lnTo>
                      <a:pt x="1208" y="621"/>
                    </a:lnTo>
                    <a:lnTo>
                      <a:pt x="933" y="775"/>
                    </a:lnTo>
                    <a:lnTo>
                      <a:pt x="566"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4" name="Freeform 484"/>
              <p:cNvSpPr>
                <a:spLocks/>
              </p:cNvSpPr>
              <p:nvPr/>
            </p:nvSpPr>
            <p:spPr bwMode="auto">
              <a:xfrm>
                <a:off x="-2054225" y="2682875"/>
                <a:ext cx="1200150" cy="2232025"/>
              </a:xfrm>
              <a:custGeom>
                <a:avLst/>
                <a:gdLst>
                  <a:gd name="T0" fmla="*/ 0 w 756"/>
                  <a:gd name="T1" fmla="*/ 1406 h 1406"/>
                  <a:gd name="T2" fmla="*/ 114 w 756"/>
                  <a:gd name="T3" fmla="*/ 0 h 1406"/>
                  <a:gd name="T4" fmla="*/ 756 w 756"/>
                  <a:gd name="T5" fmla="*/ 0 h 1406"/>
                  <a:gd name="T6" fmla="*/ 756 w 756"/>
                  <a:gd name="T7" fmla="*/ 553 h 1406"/>
                  <a:gd name="T8" fmla="*/ 0 w 756"/>
                  <a:gd name="T9" fmla="*/ 1406 h 1406"/>
                </a:gdLst>
                <a:ahLst/>
                <a:cxnLst>
                  <a:cxn ang="0">
                    <a:pos x="T0" y="T1"/>
                  </a:cxn>
                  <a:cxn ang="0">
                    <a:pos x="T2" y="T3"/>
                  </a:cxn>
                  <a:cxn ang="0">
                    <a:pos x="T4" y="T5"/>
                  </a:cxn>
                  <a:cxn ang="0">
                    <a:pos x="T6" y="T7"/>
                  </a:cxn>
                  <a:cxn ang="0">
                    <a:pos x="T8" y="T9"/>
                  </a:cxn>
                </a:cxnLst>
                <a:rect l="0" t="0" r="r" b="b"/>
                <a:pathLst>
                  <a:path w="756" h="1406">
                    <a:moveTo>
                      <a:pt x="0" y="1406"/>
                    </a:moveTo>
                    <a:lnTo>
                      <a:pt x="114" y="0"/>
                    </a:lnTo>
                    <a:lnTo>
                      <a:pt x="756" y="0"/>
                    </a:lnTo>
                    <a:lnTo>
                      <a:pt x="756" y="553"/>
                    </a:lnTo>
                    <a:lnTo>
                      <a:pt x="0" y="140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5" name="Freeform 485"/>
              <p:cNvSpPr>
                <a:spLocks noEditPoints="1"/>
              </p:cNvSpPr>
              <p:nvPr/>
            </p:nvSpPr>
            <p:spPr bwMode="auto">
              <a:xfrm>
                <a:off x="-4413250" y="1125537"/>
                <a:ext cx="2540000" cy="1987550"/>
              </a:xfrm>
              <a:custGeom>
                <a:avLst/>
                <a:gdLst>
                  <a:gd name="T0" fmla="*/ 0 w 3333"/>
                  <a:gd name="T1" fmla="*/ 2608 h 2608"/>
                  <a:gd name="T2" fmla="*/ 0 w 3333"/>
                  <a:gd name="T3" fmla="*/ 2608 h 2608"/>
                  <a:gd name="T4" fmla="*/ 0 w 3333"/>
                  <a:gd name="T5" fmla="*/ 2608 h 2608"/>
                  <a:gd name="T6" fmla="*/ 0 w 3333"/>
                  <a:gd name="T7" fmla="*/ 2608 h 2608"/>
                  <a:gd name="T8" fmla="*/ 0 w 3333"/>
                  <a:gd name="T9" fmla="*/ 2608 h 2608"/>
                  <a:gd name="T10" fmla="*/ 2154 w 3333"/>
                  <a:gd name="T11" fmla="*/ 0 h 2608"/>
                  <a:gd name="T12" fmla="*/ 3333 w 3333"/>
                  <a:gd name="T13" fmla="*/ 2042 h 2608"/>
                  <a:gd name="T14" fmla="*/ 3333 w 3333"/>
                  <a:gd name="T15" fmla="*/ 2042 h 2608"/>
                  <a:gd name="T16" fmla="*/ 0 w 3333"/>
                  <a:gd name="T17" fmla="*/ 2608 h 2608"/>
                  <a:gd name="T18" fmla="*/ 3333 w 3333"/>
                  <a:gd name="T19" fmla="*/ 2042 h 2608"/>
                  <a:gd name="T20" fmla="*/ 3333 w 3333"/>
                  <a:gd name="T21" fmla="*/ 2042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33" h="2608">
                    <a:moveTo>
                      <a:pt x="0" y="2608"/>
                    </a:moveTo>
                    <a:lnTo>
                      <a:pt x="0" y="2608"/>
                    </a:lnTo>
                    <a:lnTo>
                      <a:pt x="0" y="2608"/>
                    </a:lnTo>
                    <a:lnTo>
                      <a:pt x="0" y="2608"/>
                    </a:lnTo>
                    <a:moveTo>
                      <a:pt x="0" y="2608"/>
                    </a:moveTo>
                    <a:lnTo>
                      <a:pt x="2154" y="0"/>
                    </a:lnTo>
                    <a:lnTo>
                      <a:pt x="3333" y="2042"/>
                    </a:lnTo>
                    <a:lnTo>
                      <a:pt x="3333" y="2042"/>
                    </a:lnTo>
                    <a:lnTo>
                      <a:pt x="0" y="2608"/>
                    </a:lnTo>
                    <a:moveTo>
                      <a:pt x="3333" y="2042"/>
                    </a:moveTo>
                    <a:lnTo>
                      <a:pt x="3333" y="2042"/>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6" name="Freeform 486"/>
              <p:cNvSpPr>
                <a:spLocks/>
              </p:cNvSpPr>
              <p:nvPr/>
            </p:nvSpPr>
            <p:spPr bwMode="auto">
              <a:xfrm>
                <a:off x="-1873250" y="2111375"/>
                <a:ext cx="1019175" cy="571500"/>
              </a:xfrm>
              <a:custGeom>
                <a:avLst/>
                <a:gdLst>
                  <a:gd name="T0" fmla="*/ 0 w 642"/>
                  <a:gd name="T1" fmla="*/ 360 h 360"/>
                  <a:gd name="T2" fmla="*/ 0 w 642"/>
                  <a:gd name="T3" fmla="*/ 360 h 360"/>
                  <a:gd name="T4" fmla="*/ 367 w 642"/>
                  <a:gd name="T5" fmla="*/ 154 h 360"/>
                  <a:gd name="T6" fmla="*/ 642 w 642"/>
                  <a:gd name="T7" fmla="*/ 0 h 360"/>
                  <a:gd name="T8" fmla="*/ 642 w 642"/>
                  <a:gd name="T9" fmla="*/ 360 h 360"/>
                  <a:gd name="T10" fmla="*/ 0 w 642"/>
                  <a:gd name="T11" fmla="*/ 360 h 360"/>
                </a:gdLst>
                <a:ahLst/>
                <a:cxnLst>
                  <a:cxn ang="0">
                    <a:pos x="T0" y="T1"/>
                  </a:cxn>
                  <a:cxn ang="0">
                    <a:pos x="T2" y="T3"/>
                  </a:cxn>
                  <a:cxn ang="0">
                    <a:pos x="T4" y="T5"/>
                  </a:cxn>
                  <a:cxn ang="0">
                    <a:pos x="T6" y="T7"/>
                  </a:cxn>
                  <a:cxn ang="0">
                    <a:pos x="T8" y="T9"/>
                  </a:cxn>
                  <a:cxn ang="0">
                    <a:pos x="T10" y="T11"/>
                  </a:cxn>
                </a:cxnLst>
                <a:rect l="0" t="0" r="r" b="b"/>
                <a:pathLst>
                  <a:path w="642" h="360">
                    <a:moveTo>
                      <a:pt x="0" y="360"/>
                    </a:moveTo>
                    <a:lnTo>
                      <a:pt x="0" y="360"/>
                    </a:lnTo>
                    <a:lnTo>
                      <a:pt x="367" y="154"/>
                    </a:lnTo>
                    <a:lnTo>
                      <a:pt x="642" y="0"/>
                    </a:lnTo>
                    <a:lnTo>
                      <a:pt x="642" y="360"/>
                    </a:lnTo>
                    <a:lnTo>
                      <a:pt x="0" y="36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7" name="Freeform 487"/>
              <p:cNvSpPr>
                <a:spLocks/>
              </p:cNvSpPr>
              <p:nvPr/>
            </p:nvSpPr>
            <p:spPr bwMode="auto">
              <a:xfrm>
                <a:off x="-1290638" y="2111375"/>
                <a:ext cx="436563" cy="244475"/>
              </a:xfrm>
              <a:custGeom>
                <a:avLst/>
                <a:gdLst>
                  <a:gd name="T0" fmla="*/ 0 w 275"/>
                  <a:gd name="T1" fmla="*/ 154 h 154"/>
                  <a:gd name="T2" fmla="*/ 275 w 275"/>
                  <a:gd name="T3" fmla="*/ 0 h 154"/>
                  <a:gd name="T4" fmla="*/ 275 w 275"/>
                  <a:gd name="T5" fmla="*/ 0 h 154"/>
                  <a:gd name="T6" fmla="*/ 0 w 275"/>
                  <a:gd name="T7" fmla="*/ 154 h 154"/>
                </a:gdLst>
                <a:ahLst/>
                <a:cxnLst>
                  <a:cxn ang="0">
                    <a:pos x="T0" y="T1"/>
                  </a:cxn>
                  <a:cxn ang="0">
                    <a:pos x="T2" y="T3"/>
                  </a:cxn>
                  <a:cxn ang="0">
                    <a:pos x="T4" y="T5"/>
                  </a:cxn>
                  <a:cxn ang="0">
                    <a:pos x="T6" y="T7"/>
                  </a:cxn>
                </a:cxnLst>
                <a:rect l="0" t="0" r="r" b="b"/>
                <a:pathLst>
                  <a:path w="275" h="154">
                    <a:moveTo>
                      <a:pt x="0" y="154"/>
                    </a:moveTo>
                    <a:lnTo>
                      <a:pt x="275" y="0"/>
                    </a:lnTo>
                    <a:lnTo>
                      <a:pt x="275" y="0"/>
                    </a:lnTo>
                    <a:lnTo>
                      <a:pt x="0" y="15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8" name="Freeform 488"/>
              <p:cNvSpPr>
                <a:spLocks/>
              </p:cNvSpPr>
              <p:nvPr/>
            </p:nvSpPr>
            <p:spPr bwMode="auto">
              <a:xfrm>
                <a:off x="-4413250" y="2682875"/>
                <a:ext cx="2540000" cy="1554163"/>
              </a:xfrm>
              <a:custGeom>
                <a:avLst/>
                <a:gdLst>
                  <a:gd name="T0" fmla="*/ 1034 w 1600"/>
                  <a:gd name="T1" fmla="*/ 979 h 979"/>
                  <a:gd name="T2" fmla="*/ 0 w 1600"/>
                  <a:gd name="T3" fmla="*/ 271 h 979"/>
                  <a:gd name="T4" fmla="*/ 0 w 1600"/>
                  <a:gd name="T5" fmla="*/ 271 h 979"/>
                  <a:gd name="T6" fmla="*/ 1600 w 1600"/>
                  <a:gd name="T7" fmla="*/ 0 h 979"/>
                  <a:gd name="T8" fmla="*/ 1034 w 1600"/>
                  <a:gd name="T9" fmla="*/ 979 h 979"/>
                </a:gdLst>
                <a:ahLst/>
                <a:cxnLst>
                  <a:cxn ang="0">
                    <a:pos x="T0" y="T1"/>
                  </a:cxn>
                  <a:cxn ang="0">
                    <a:pos x="T2" y="T3"/>
                  </a:cxn>
                  <a:cxn ang="0">
                    <a:pos x="T4" y="T5"/>
                  </a:cxn>
                  <a:cxn ang="0">
                    <a:pos x="T6" y="T7"/>
                  </a:cxn>
                  <a:cxn ang="0">
                    <a:pos x="T8" y="T9"/>
                  </a:cxn>
                </a:cxnLst>
                <a:rect l="0" t="0" r="r" b="b"/>
                <a:pathLst>
                  <a:path w="1600" h="979">
                    <a:moveTo>
                      <a:pt x="1034" y="979"/>
                    </a:moveTo>
                    <a:lnTo>
                      <a:pt x="0" y="271"/>
                    </a:lnTo>
                    <a:lnTo>
                      <a:pt x="0" y="271"/>
                    </a:lnTo>
                    <a:lnTo>
                      <a:pt x="1600" y="0"/>
                    </a:lnTo>
                    <a:lnTo>
                      <a:pt x="1034"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9" name="Freeform 489"/>
              <p:cNvSpPr>
                <a:spLocks noEditPoints="1"/>
              </p:cNvSpPr>
              <p:nvPr/>
            </p:nvSpPr>
            <p:spPr bwMode="auto">
              <a:xfrm>
                <a:off x="-2438400" y="5792787"/>
                <a:ext cx="1517650" cy="1866900"/>
              </a:xfrm>
              <a:custGeom>
                <a:avLst/>
                <a:gdLst>
                  <a:gd name="T0" fmla="*/ 184 w 1992"/>
                  <a:gd name="T1" fmla="*/ 2449 h 2449"/>
                  <a:gd name="T2" fmla="*/ 0 w 1992"/>
                  <a:gd name="T3" fmla="*/ 2449 h 2449"/>
                  <a:gd name="T4" fmla="*/ 742 w 1992"/>
                  <a:gd name="T5" fmla="*/ 0 h 2449"/>
                  <a:gd name="T6" fmla="*/ 1342 w 1992"/>
                  <a:gd name="T7" fmla="*/ 650 h 2449"/>
                  <a:gd name="T8" fmla="*/ 1992 w 1992"/>
                  <a:gd name="T9" fmla="*/ 1354 h 2449"/>
                  <a:gd name="T10" fmla="*/ 184 w 1992"/>
                  <a:gd name="T11" fmla="*/ 2449 h 2449"/>
                  <a:gd name="T12" fmla="*/ 742 w 1992"/>
                  <a:gd name="T13" fmla="*/ 0 h 2449"/>
                  <a:gd name="T14" fmla="*/ 742 w 1992"/>
                  <a:gd name="T15" fmla="*/ 0 h 2449"/>
                  <a:gd name="T16" fmla="*/ 742 w 1992"/>
                  <a:gd name="T17" fmla="*/ 0 h 2449"/>
                  <a:gd name="T18" fmla="*/ 742 w 1992"/>
                  <a:gd name="T19" fmla="*/ 0 h 2449"/>
                  <a:gd name="T20" fmla="*/ 742 w 1992"/>
                  <a:gd name="T21" fmla="*/ 0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2" h="2449">
                    <a:moveTo>
                      <a:pt x="184" y="2449"/>
                    </a:moveTo>
                    <a:lnTo>
                      <a:pt x="0" y="2449"/>
                    </a:lnTo>
                    <a:lnTo>
                      <a:pt x="742" y="0"/>
                    </a:lnTo>
                    <a:lnTo>
                      <a:pt x="1342" y="650"/>
                    </a:lnTo>
                    <a:lnTo>
                      <a:pt x="1992" y="1354"/>
                    </a:lnTo>
                    <a:lnTo>
                      <a:pt x="184" y="2449"/>
                    </a:lnTo>
                    <a:moveTo>
                      <a:pt x="742" y="0"/>
                    </a:moveTo>
                    <a:lnTo>
                      <a:pt x="742" y="0"/>
                    </a:lnTo>
                    <a:moveTo>
                      <a:pt x="742" y="0"/>
                    </a:moveTo>
                    <a:lnTo>
                      <a:pt x="742" y="0"/>
                    </a:lnTo>
                    <a:lnTo>
                      <a:pt x="742"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0" name="Freeform 490"/>
              <p:cNvSpPr>
                <a:spLocks/>
              </p:cNvSpPr>
              <p:nvPr/>
            </p:nvSpPr>
            <p:spPr bwMode="auto">
              <a:xfrm>
                <a:off x="-2771775" y="4237037"/>
                <a:ext cx="898525" cy="1555750"/>
              </a:xfrm>
              <a:custGeom>
                <a:avLst/>
                <a:gdLst>
                  <a:gd name="T0" fmla="*/ 566 w 566"/>
                  <a:gd name="T1" fmla="*/ 980 h 980"/>
                  <a:gd name="T2" fmla="*/ 0 w 566"/>
                  <a:gd name="T3" fmla="*/ 0 h 980"/>
                  <a:gd name="T4" fmla="*/ 452 w 566"/>
                  <a:gd name="T5" fmla="*/ 427 h 980"/>
                  <a:gd name="T6" fmla="*/ 547 w 566"/>
                  <a:gd name="T7" fmla="*/ 885 h 980"/>
                  <a:gd name="T8" fmla="*/ 566 w 566"/>
                  <a:gd name="T9" fmla="*/ 980 h 980"/>
                </a:gdLst>
                <a:ahLst/>
                <a:cxnLst>
                  <a:cxn ang="0">
                    <a:pos x="T0" y="T1"/>
                  </a:cxn>
                  <a:cxn ang="0">
                    <a:pos x="T2" y="T3"/>
                  </a:cxn>
                  <a:cxn ang="0">
                    <a:pos x="T4" y="T5"/>
                  </a:cxn>
                  <a:cxn ang="0">
                    <a:pos x="T6" y="T7"/>
                  </a:cxn>
                  <a:cxn ang="0">
                    <a:pos x="T8" y="T9"/>
                  </a:cxn>
                </a:cxnLst>
                <a:rect l="0" t="0" r="r" b="b"/>
                <a:pathLst>
                  <a:path w="566" h="980">
                    <a:moveTo>
                      <a:pt x="566" y="980"/>
                    </a:moveTo>
                    <a:lnTo>
                      <a:pt x="0" y="0"/>
                    </a:lnTo>
                    <a:lnTo>
                      <a:pt x="452" y="427"/>
                    </a:lnTo>
                    <a:lnTo>
                      <a:pt x="547" y="88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1" name="Freeform 491"/>
              <p:cNvSpPr>
                <a:spLocks/>
              </p:cNvSpPr>
              <p:nvPr/>
            </p:nvSpPr>
            <p:spPr bwMode="auto">
              <a:xfrm>
                <a:off x="-1873250" y="5792787"/>
                <a:ext cx="1019175" cy="1031875"/>
              </a:xfrm>
              <a:custGeom>
                <a:avLst/>
                <a:gdLst>
                  <a:gd name="T0" fmla="*/ 600 w 642"/>
                  <a:gd name="T1" fmla="*/ 650 h 650"/>
                  <a:gd name="T2" fmla="*/ 288 w 642"/>
                  <a:gd name="T3" fmla="*/ 312 h 650"/>
                  <a:gd name="T4" fmla="*/ 0 w 642"/>
                  <a:gd name="T5" fmla="*/ 0 h 650"/>
                  <a:gd name="T6" fmla="*/ 642 w 642"/>
                  <a:gd name="T7" fmla="*/ 0 h 650"/>
                  <a:gd name="T8" fmla="*/ 642 w 642"/>
                  <a:gd name="T9" fmla="*/ 600 h 650"/>
                  <a:gd name="T10" fmla="*/ 600 w 642"/>
                  <a:gd name="T11" fmla="*/ 650 h 650"/>
                </a:gdLst>
                <a:ahLst/>
                <a:cxnLst>
                  <a:cxn ang="0">
                    <a:pos x="T0" y="T1"/>
                  </a:cxn>
                  <a:cxn ang="0">
                    <a:pos x="T2" y="T3"/>
                  </a:cxn>
                  <a:cxn ang="0">
                    <a:pos x="T4" y="T5"/>
                  </a:cxn>
                  <a:cxn ang="0">
                    <a:pos x="T6" y="T7"/>
                  </a:cxn>
                  <a:cxn ang="0">
                    <a:pos x="T8" y="T9"/>
                  </a:cxn>
                  <a:cxn ang="0">
                    <a:pos x="T10" y="T11"/>
                  </a:cxn>
                </a:cxnLst>
                <a:rect l="0" t="0" r="r" b="b"/>
                <a:pathLst>
                  <a:path w="642" h="650">
                    <a:moveTo>
                      <a:pt x="600" y="650"/>
                    </a:moveTo>
                    <a:lnTo>
                      <a:pt x="288" y="312"/>
                    </a:lnTo>
                    <a:lnTo>
                      <a:pt x="0" y="0"/>
                    </a:lnTo>
                    <a:lnTo>
                      <a:pt x="642" y="0"/>
                    </a:lnTo>
                    <a:lnTo>
                      <a:pt x="642" y="600"/>
                    </a:lnTo>
                    <a:lnTo>
                      <a:pt x="600" y="650"/>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2" name="Freeform 492"/>
              <p:cNvSpPr>
                <a:spLocks noEditPoints="1"/>
              </p:cNvSpPr>
              <p:nvPr/>
            </p:nvSpPr>
            <p:spPr bwMode="auto">
              <a:xfrm>
                <a:off x="-4214813" y="4237037"/>
                <a:ext cx="2341563" cy="2058988"/>
              </a:xfrm>
              <a:custGeom>
                <a:avLst/>
                <a:gdLst>
                  <a:gd name="T0" fmla="*/ 0 w 3073"/>
                  <a:gd name="T1" fmla="*/ 2701 h 2701"/>
                  <a:gd name="T2" fmla="*/ 0 w 3073"/>
                  <a:gd name="T3" fmla="*/ 2701 h 2701"/>
                  <a:gd name="T4" fmla="*/ 0 w 3073"/>
                  <a:gd name="T5" fmla="*/ 2701 h 2701"/>
                  <a:gd name="T6" fmla="*/ 0 w 3073"/>
                  <a:gd name="T7" fmla="*/ 2701 h 2701"/>
                  <a:gd name="T8" fmla="*/ 0 w 3073"/>
                  <a:gd name="T9" fmla="*/ 2701 h 2701"/>
                  <a:gd name="T10" fmla="*/ 1894 w 3073"/>
                  <a:gd name="T11" fmla="*/ 0 h 2701"/>
                  <a:gd name="T12" fmla="*/ 3073 w 3073"/>
                  <a:gd name="T13" fmla="*/ 2042 h 2701"/>
                  <a:gd name="T14" fmla="*/ 3073 w 3073"/>
                  <a:gd name="T15" fmla="*/ 2042 h 2701"/>
                  <a:gd name="T16" fmla="*/ 0 w 3073"/>
                  <a:gd name="T17" fmla="*/ 2701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701">
                    <a:moveTo>
                      <a:pt x="0" y="2701"/>
                    </a:moveTo>
                    <a:lnTo>
                      <a:pt x="0" y="2701"/>
                    </a:lnTo>
                    <a:lnTo>
                      <a:pt x="0" y="2701"/>
                    </a:lnTo>
                    <a:lnTo>
                      <a:pt x="0" y="2701"/>
                    </a:lnTo>
                    <a:moveTo>
                      <a:pt x="0" y="2701"/>
                    </a:moveTo>
                    <a:lnTo>
                      <a:pt x="1894" y="0"/>
                    </a:lnTo>
                    <a:lnTo>
                      <a:pt x="3073" y="2042"/>
                    </a:lnTo>
                    <a:lnTo>
                      <a:pt x="3073" y="2042"/>
                    </a:lnTo>
                    <a:lnTo>
                      <a:pt x="0" y="270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3" name="Freeform 493"/>
              <p:cNvSpPr>
                <a:spLocks/>
              </p:cNvSpPr>
              <p:nvPr/>
            </p:nvSpPr>
            <p:spPr bwMode="auto">
              <a:xfrm>
                <a:off x="-2054225" y="4914900"/>
                <a:ext cx="1200150" cy="877888"/>
              </a:xfrm>
              <a:custGeom>
                <a:avLst/>
                <a:gdLst>
                  <a:gd name="T0" fmla="*/ 114 w 756"/>
                  <a:gd name="T1" fmla="*/ 553 h 553"/>
                  <a:gd name="T2" fmla="*/ 114 w 756"/>
                  <a:gd name="T3" fmla="*/ 553 h 553"/>
                  <a:gd name="T4" fmla="*/ 114 w 756"/>
                  <a:gd name="T5" fmla="*/ 553 h 553"/>
                  <a:gd name="T6" fmla="*/ 95 w 756"/>
                  <a:gd name="T7" fmla="*/ 458 h 553"/>
                  <a:gd name="T8" fmla="*/ 0 w 756"/>
                  <a:gd name="T9" fmla="*/ 0 h 553"/>
                  <a:gd name="T10" fmla="*/ 756 w 756"/>
                  <a:gd name="T11" fmla="*/ 336 h 553"/>
                  <a:gd name="T12" fmla="*/ 756 w 756"/>
                  <a:gd name="T13" fmla="*/ 553 h 553"/>
                  <a:gd name="T14" fmla="*/ 114 w 756"/>
                  <a:gd name="T15" fmla="*/ 553 h 5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6" h="553">
                    <a:moveTo>
                      <a:pt x="114" y="553"/>
                    </a:moveTo>
                    <a:lnTo>
                      <a:pt x="114" y="553"/>
                    </a:lnTo>
                    <a:lnTo>
                      <a:pt x="114" y="553"/>
                    </a:lnTo>
                    <a:lnTo>
                      <a:pt x="95" y="458"/>
                    </a:lnTo>
                    <a:lnTo>
                      <a:pt x="0" y="0"/>
                    </a:lnTo>
                    <a:lnTo>
                      <a:pt x="756" y="336"/>
                    </a:lnTo>
                    <a:lnTo>
                      <a:pt x="756" y="553"/>
                    </a:lnTo>
                    <a:lnTo>
                      <a:pt x="114" y="5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4" name="Freeform 494"/>
              <p:cNvSpPr>
                <a:spLocks noEditPoints="1"/>
              </p:cNvSpPr>
              <p:nvPr/>
            </p:nvSpPr>
            <p:spPr bwMode="auto">
              <a:xfrm>
                <a:off x="-4214813" y="5792787"/>
                <a:ext cx="2341563" cy="1866900"/>
              </a:xfrm>
              <a:custGeom>
                <a:avLst/>
                <a:gdLst>
                  <a:gd name="T0" fmla="*/ 2331 w 3073"/>
                  <a:gd name="T1" fmla="*/ 2449 h 2449"/>
                  <a:gd name="T2" fmla="*/ 2127 w 3073"/>
                  <a:gd name="T3" fmla="*/ 2449 h 2449"/>
                  <a:gd name="T4" fmla="*/ 0 w 3073"/>
                  <a:gd name="T5" fmla="*/ 659 h 2449"/>
                  <a:gd name="T6" fmla="*/ 3073 w 3073"/>
                  <a:gd name="T7" fmla="*/ 0 h 2449"/>
                  <a:gd name="T8" fmla="*/ 2331 w 3073"/>
                  <a:gd name="T9" fmla="*/ 2449 h 2449"/>
                  <a:gd name="T10" fmla="*/ 0 w 3073"/>
                  <a:gd name="T11" fmla="*/ 659 h 2449"/>
                  <a:gd name="T12" fmla="*/ 0 w 3073"/>
                  <a:gd name="T13" fmla="*/ 659 h 2449"/>
                  <a:gd name="T14" fmla="*/ 0 w 3073"/>
                  <a:gd name="T15" fmla="*/ 659 h 2449"/>
                  <a:gd name="T16" fmla="*/ 0 w 3073"/>
                  <a:gd name="T17" fmla="*/ 659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449">
                    <a:moveTo>
                      <a:pt x="2331" y="2449"/>
                    </a:moveTo>
                    <a:lnTo>
                      <a:pt x="2127" y="2449"/>
                    </a:lnTo>
                    <a:lnTo>
                      <a:pt x="0" y="659"/>
                    </a:lnTo>
                    <a:lnTo>
                      <a:pt x="3073" y="0"/>
                    </a:lnTo>
                    <a:lnTo>
                      <a:pt x="2331" y="2449"/>
                    </a:lnTo>
                    <a:moveTo>
                      <a:pt x="0" y="659"/>
                    </a:moveTo>
                    <a:lnTo>
                      <a:pt x="0" y="659"/>
                    </a:lnTo>
                    <a:lnTo>
                      <a:pt x="0" y="659"/>
                    </a:lnTo>
                    <a:lnTo>
                      <a:pt x="0" y="659"/>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5" name="Rectangle 495"/>
              <p:cNvSpPr>
                <a:spLocks noChangeArrowheads="1"/>
              </p:cNvSpPr>
              <p:nvPr/>
            </p:nvSpPr>
            <p:spPr bwMode="auto">
              <a:xfrm>
                <a:off x="-4214813" y="6296025"/>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6" name="Freeform 496"/>
              <p:cNvSpPr>
                <a:spLocks/>
              </p:cNvSpPr>
              <p:nvPr/>
            </p:nvSpPr>
            <p:spPr bwMode="auto">
              <a:xfrm>
                <a:off x="-2438400" y="5792787"/>
                <a:ext cx="565150" cy="1866900"/>
              </a:xfrm>
              <a:custGeom>
                <a:avLst/>
                <a:gdLst>
                  <a:gd name="T0" fmla="*/ 0 w 356"/>
                  <a:gd name="T1" fmla="*/ 1176 h 1176"/>
                  <a:gd name="T2" fmla="*/ 0 w 356"/>
                  <a:gd name="T3" fmla="*/ 1176 h 1176"/>
                  <a:gd name="T4" fmla="*/ 356 w 356"/>
                  <a:gd name="T5" fmla="*/ 0 h 1176"/>
                  <a:gd name="T6" fmla="*/ 356 w 356"/>
                  <a:gd name="T7" fmla="*/ 0 h 1176"/>
                  <a:gd name="T8" fmla="*/ 0 w 356"/>
                  <a:gd name="T9" fmla="*/ 1176 h 1176"/>
                </a:gdLst>
                <a:ahLst/>
                <a:cxnLst>
                  <a:cxn ang="0">
                    <a:pos x="T0" y="T1"/>
                  </a:cxn>
                  <a:cxn ang="0">
                    <a:pos x="T2" y="T3"/>
                  </a:cxn>
                  <a:cxn ang="0">
                    <a:pos x="T4" y="T5"/>
                  </a:cxn>
                  <a:cxn ang="0">
                    <a:pos x="T6" y="T7"/>
                  </a:cxn>
                  <a:cxn ang="0">
                    <a:pos x="T8" y="T9"/>
                  </a:cxn>
                </a:cxnLst>
                <a:rect l="0" t="0" r="r" b="b"/>
                <a:pathLst>
                  <a:path w="356" h="1176">
                    <a:moveTo>
                      <a:pt x="0" y="1176"/>
                    </a:moveTo>
                    <a:lnTo>
                      <a:pt x="0" y="1176"/>
                    </a:lnTo>
                    <a:lnTo>
                      <a:pt x="356" y="0"/>
                    </a:lnTo>
                    <a:lnTo>
                      <a:pt x="356" y="0"/>
                    </a:lnTo>
                    <a:lnTo>
                      <a:pt x="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7" name="Freeform 497"/>
              <p:cNvSpPr>
                <a:spLocks/>
              </p:cNvSpPr>
              <p:nvPr/>
            </p:nvSpPr>
            <p:spPr bwMode="auto">
              <a:xfrm>
                <a:off x="-4214813" y="5792787"/>
                <a:ext cx="2341563" cy="503238"/>
              </a:xfrm>
              <a:custGeom>
                <a:avLst/>
                <a:gdLst>
                  <a:gd name="T0" fmla="*/ 0 w 1475"/>
                  <a:gd name="T1" fmla="*/ 317 h 317"/>
                  <a:gd name="T2" fmla="*/ 0 w 1475"/>
                  <a:gd name="T3" fmla="*/ 317 h 317"/>
                  <a:gd name="T4" fmla="*/ 0 w 1475"/>
                  <a:gd name="T5" fmla="*/ 317 h 317"/>
                  <a:gd name="T6" fmla="*/ 1475 w 1475"/>
                  <a:gd name="T7" fmla="*/ 0 h 317"/>
                  <a:gd name="T8" fmla="*/ 1475 w 1475"/>
                  <a:gd name="T9" fmla="*/ 0 h 317"/>
                  <a:gd name="T10" fmla="*/ 0 w 1475"/>
                  <a:gd name="T11" fmla="*/ 317 h 317"/>
                </a:gdLst>
                <a:ahLst/>
                <a:cxnLst>
                  <a:cxn ang="0">
                    <a:pos x="T0" y="T1"/>
                  </a:cxn>
                  <a:cxn ang="0">
                    <a:pos x="T2" y="T3"/>
                  </a:cxn>
                  <a:cxn ang="0">
                    <a:pos x="T4" y="T5"/>
                  </a:cxn>
                  <a:cxn ang="0">
                    <a:pos x="T6" y="T7"/>
                  </a:cxn>
                  <a:cxn ang="0">
                    <a:pos x="T8" y="T9"/>
                  </a:cxn>
                  <a:cxn ang="0">
                    <a:pos x="T10" y="T11"/>
                  </a:cxn>
                </a:cxnLst>
                <a:rect l="0" t="0" r="r" b="b"/>
                <a:pathLst>
                  <a:path w="1475" h="317">
                    <a:moveTo>
                      <a:pt x="0" y="317"/>
                    </a:moveTo>
                    <a:lnTo>
                      <a:pt x="0" y="317"/>
                    </a:lnTo>
                    <a:lnTo>
                      <a:pt x="0" y="317"/>
                    </a:lnTo>
                    <a:lnTo>
                      <a:pt x="1475" y="0"/>
                    </a:lnTo>
                    <a:lnTo>
                      <a:pt x="1475" y="0"/>
                    </a:lnTo>
                    <a:lnTo>
                      <a:pt x="0" y="317"/>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8" name="Freeform 498"/>
              <p:cNvSpPr>
                <a:spLocks/>
              </p:cNvSpPr>
              <p:nvPr/>
            </p:nvSpPr>
            <p:spPr bwMode="auto">
              <a:xfrm>
                <a:off x="-2054225" y="3560762"/>
                <a:ext cx="1200150" cy="1354138"/>
              </a:xfrm>
              <a:custGeom>
                <a:avLst/>
                <a:gdLst>
                  <a:gd name="T0" fmla="*/ 0 w 756"/>
                  <a:gd name="T1" fmla="*/ 853 h 853"/>
                  <a:gd name="T2" fmla="*/ 0 w 756"/>
                  <a:gd name="T3" fmla="*/ 853 h 853"/>
                  <a:gd name="T4" fmla="*/ 756 w 756"/>
                  <a:gd name="T5" fmla="*/ 0 h 853"/>
                  <a:gd name="T6" fmla="*/ 756 w 756"/>
                  <a:gd name="T7" fmla="*/ 675 h 853"/>
                  <a:gd name="T8" fmla="*/ 0 w 756"/>
                  <a:gd name="T9" fmla="*/ 853 h 853"/>
                </a:gdLst>
                <a:ahLst/>
                <a:cxnLst>
                  <a:cxn ang="0">
                    <a:pos x="T0" y="T1"/>
                  </a:cxn>
                  <a:cxn ang="0">
                    <a:pos x="T2" y="T3"/>
                  </a:cxn>
                  <a:cxn ang="0">
                    <a:pos x="T4" y="T5"/>
                  </a:cxn>
                  <a:cxn ang="0">
                    <a:pos x="T6" y="T7"/>
                  </a:cxn>
                  <a:cxn ang="0">
                    <a:pos x="T8" y="T9"/>
                  </a:cxn>
                </a:cxnLst>
                <a:rect l="0" t="0" r="r" b="b"/>
                <a:pathLst>
                  <a:path w="756" h="853">
                    <a:moveTo>
                      <a:pt x="0" y="853"/>
                    </a:moveTo>
                    <a:lnTo>
                      <a:pt x="0" y="853"/>
                    </a:lnTo>
                    <a:lnTo>
                      <a:pt x="756" y="0"/>
                    </a:lnTo>
                    <a:lnTo>
                      <a:pt x="756" y="675"/>
                    </a:lnTo>
                    <a:lnTo>
                      <a:pt x="0" y="853"/>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9" name="Freeform 499"/>
              <p:cNvSpPr>
                <a:spLocks/>
              </p:cNvSpPr>
              <p:nvPr/>
            </p:nvSpPr>
            <p:spPr bwMode="auto">
              <a:xfrm>
                <a:off x="-2054225" y="3560762"/>
                <a:ext cx="1200150" cy="1354138"/>
              </a:xfrm>
              <a:custGeom>
                <a:avLst/>
                <a:gdLst>
                  <a:gd name="T0" fmla="*/ 0 w 756"/>
                  <a:gd name="T1" fmla="*/ 853 h 853"/>
                  <a:gd name="T2" fmla="*/ 756 w 756"/>
                  <a:gd name="T3" fmla="*/ 0 h 853"/>
                  <a:gd name="T4" fmla="*/ 756 w 756"/>
                  <a:gd name="T5" fmla="*/ 0 h 853"/>
                  <a:gd name="T6" fmla="*/ 0 w 756"/>
                  <a:gd name="T7" fmla="*/ 853 h 853"/>
                </a:gdLst>
                <a:ahLst/>
                <a:cxnLst>
                  <a:cxn ang="0">
                    <a:pos x="T0" y="T1"/>
                  </a:cxn>
                  <a:cxn ang="0">
                    <a:pos x="T2" y="T3"/>
                  </a:cxn>
                  <a:cxn ang="0">
                    <a:pos x="T4" y="T5"/>
                  </a:cxn>
                  <a:cxn ang="0">
                    <a:pos x="T6" y="T7"/>
                  </a:cxn>
                </a:cxnLst>
                <a:rect l="0" t="0" r="r" b="b"/>
                <a:pathLst>
                  <a:path w="756" h="853">
                    <a:moveTo>
                      <a:pt x="0" y="853"/>
                    </a:moveTo>
                    <a:lnTo>
                      <a:pt x="756" y="0"/>
                    </a:lnTo>
                    <a:lnTo>
                      <a:pt x="756" y="0"/>
                    </a:lnTo>
                    <a:lnTo>
                      <a:pt x="0" y="853"/>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0" name="Freeform 500"/>
              <p:cNvSpPr>
                <a:spLocks/>
              </p:cNvSpPr>
              <p:nvPr/>
            </p:nvSpPr>
            <p:spPr bwMode="auto">
              <a:xfrm>
                <a:off x="-2054225" y="4632325"/>
                <a:ext cx="1200150" cy="815975"/>
              </a:xfrm>
              <a:custGeom>
                <a:avLst/>
                <a:gdLst>
                  <a:gd name="T0" fmla="*/ 756 w 756"/>
                  <a:gd name="T1" fmla="*/ 514 h 514"/>
                  <a:gd name="T2" fmla="*/ 0 w 756"/>
                  <a:gd name="T3" fmla="*/ 178 h 514"/>
                  <a:gd name="T4" fmla="*/ 756 w 756"/>
                  <a:gd name="T5" fmla="*/ 0 h 514"/>
                  <a:gd name="T6" fmla="*/ 756 w 756"/>
                  <a:gd name="T7" fmla="*/ 514 h 514"/>
                </a:gdLst>
                <a:ahLst/>
                <a:cxnLst>
                  <a:cxn ang="0">
                    <a:pos x="T0" y="T1"/>
                  </a:cxn>
                  <a:cxn ang="0">
                    <a:pos x="T2" y="T3"/>
                  </a:cxn>
                  <a:cxn ang="0">
                    <a:pos x="T4" y="T5"/>
                  </a:cxn>
                  <a:cxn ang="0">
                    <a:pos x="T6" y="T7"/>
                  </a:cxn>
                </a:cxnLst>
                <a:rect l="0" t="0" r="r" b="b"/>
                <a:pathLst>
                  <a:path w="756" h="514">
                    <a:moveTo>
                      <a:pt x="756" y="514"/>
                    </a:moveTo>
                    <a:lnTo>
                      <a:pt x="0" y="178"/>
                    </a:lnTo>
                    <a:lnTo>
                      <a:pt x="756" y="0"/>
                    </a:lnTo>
                    <a:lnTo>
                      <a:pt x="756" y="514"/>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1" name="Freeform 501"/>
              <p:cNvSpPr>
                <a:spLocks/>
              </p:cNvSpPr>
              <p:nvPr/>
            </p:nvSpPr>
            <p:spPr bwMode="auto">
              <a:xfrm>
                <a:off x="-2298700" y="6824662"/>
                <a:ext cx="1377950" cy="835025"/>
              </a:xfrm>
              <a:custGeom>
                <a:avLst/>
                <a:gdLst>
                  <a:gd name="T0" fmla="*/ 661 w 868"/>
                  <a:gd name="T1" fmla="*/ 526 h 526"/>
                  <a:gd name="T2" fmla="*/ 0 w 868"/>
                  <a:gd name="T3" fmla="*/ 526 h 526"/>
                  <a:gd name="T4" fmla="*/ 868 w 868"/>
                  <a:gd name="T5" fmla="*/ 0 h 526"/>
                  <a:gd name="T6" fmla="*/ 661 w 868"/>
                  <a:gd name="T7" fmla="*/ 526 h 526"/>
                </a:gdLst>
                <a:ahLst/>
                <a:cxnLst>
                  <a:cxn ang="0">
                    <a:pos x="T0" y="T1"/>
                  </a:cxn>
                  <a:cxn ang="0">
                    <a:pos x="T2" y="T3"/>
                  </a:cxn>
                  <a:cxn ang="0">
                    <a:pos x="T4" y="T5"/>
                  </a:cxn>
                  <a:cxn ang="0">
                    <a:pos x="T6" y="T7"/>
                  </a:cxn>
                </a:cxnLst>
                <a:rect l="0" t="0" r="r" b="b"/>
                <a:pathLst>
                  <a:path w="868" h="526">
                    <a:moveTo>
                      <a:pt x="661" y="526"/>
                    </a:moveTo>
                    <a:lnTo>
                      <a:pt x="0" y="526"/>
                    </a:lnTo>
                    <a:lnTo>
                      <a:pt x="868" y="0"/>
                    </a:lnTo>
                    <a:lnTo>
                      <a:pt x="661" y="526"/>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2" name="Freeform 502"/>
              <p:cNvSpPr>
                <a:spLocks/>
              </p:cNvSpPr>
              <p:nvPr/>
            </p:nvSpPr>
            <p:spPr bwMode="auto">
              <a:xfrm>
                <a:off x="-1249363" y="6824662"/>
                <a:ext cx="395288" cy="835025"/>
              </a:xfrm>
              <a:custGeom>
                <a:avLst/>
                <a:gdLst>
                  <a:gd name="T0" fmla="*/ 249 w 249"/>
                  <a:gd name="T1" fmla="*/ 526 h 526"/>
                  <a:gd name="T2" fmla="*/ 0 w 249"/>
                  <a:gd name="T3" fmla="*/ 526 h 526"/>
                  <a:gd name="T4" fmla="*/ 207 w 249"/>
                  <a:gd name="T5" fmla="*/ 0 h 526"/>
                  <a:gd name="T6" fmla="*/ 249 w 249"/>
                  <a:gd name="T7" fmla="*/ 166 h 526"/>
                  <a:gd name="T8" fmla="*/ 249 w 249"/>
                  <a:gd name="T9" fmla="*/ 526 h 526"/>
                </a:gdLst>
                <a:ahLst/>
                <a:cxnLst>
                  <a:cxn ang="0">
                    <a:pos x="T0" y="T1"/>
                  </a:cxn>
                  <a:cxn ang="0">
                    <a:pos x="T2" y="T3"/>
                  </a:cxn>
                  <a:cxn ang="0">
                    <a:pos x="T4" y="T5"/>
                  </a:cxn>
                  <a:cxn ang="0">
                    <a:pos x="T6" y="T7"/>
                  </a:cxn>
                  <a:cxn ang="0">
                    <a:pos x="T8" y="T9"/>
                  </a:cxn>
                </a:cxnLst>
                <a:rect l="0" t="0" r="r" b="b"/>
                <a:pathLst>
                  <a:path w="249" h="526">
                    <a:moveTo>
                      <a:pt x="249" y="526"/>
                    </a:moveTo>
                    <a:lnTo>
                      <a:pt x="0" y="526"/>
                    </a:lnTo>
                    <a:lnTo>
                      <a:pt x="207" y="0"/>
                    </a:lnTo>
                    <a:lnTo>
                      <a:pt x="249" y="166"/>
                    </a:lnTo>
                    <a:lnTo>
                      <a:pt x="249" y="52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3" name="Freeform 503"/>
              <p:cNvSpPr>
                <a:spLocks/>
              </p:cNvSpPr>
              <p:nvPr/>
            </p:nvSpPr>
            <p:spPr bwMode="auto">
              <a:xfrm>
                <a:off x="-920750" y="6745287"/>
                <a:ext cx="66675" cy="79375"/>
              </a:xfrm>
              <a:custGeom>
                <a:avLst/>
                <a:gdLst>
                  <a:gd name="T0" fmla="*/ 0 w 42"/>
                  <a:gd name="T1" fmla="*/ 50 h 50"/>
                  <a:gd name="T2" fmla="*/ 0 w 42"/>
                  <a:gd name="T3" fmla="*/ 50 h 50"/>
                  <a:gd name="T4" fmla="*/ 42 w 42"/>
                  <a:gd name="T5" fmla="*/ 0 h 50"/>
                  <a:gd name="T6" fmla="*/ 42 w 42"/>
                  <a:gd name="T7" fmla="*/ 47 h 50"/>
                  <a:gd name="T8" fmla="*/ 0 w 42"/>
                  <a:gd name="T9" fmla="*/ 50 h 50"/>
                </a:gdLst>
                <a:ahLst/>
                <a:cxnLst>
                  <a:cxn ang="0">
                    <a:pos x="T0" y="T1"/>
                  </a:cxn>
                  <a:cxn ang="0">
                    <a:pos x="T2" y="T3"/>
                  </a:cxn>
                  <a:cxn ang="0">
                    <a:pos x="T4" y="T5"/>
                  </a:cxn>
                  <a:cxn ang="0">
                    <a:pos x="T6" y="T7"/>
                  </a:cxn>
                  <a:cxn ang="0">
                    <a:pos x="T8" y="T9"/>
                  </a:cxn>
                </a:cxnLst>
                <a:rect l="0" t="0" r="r" b="b"/>
                <a:pathLst>
                  <a:path w="42" h="50">
                    <a:moveTo>
                      <a:pt x="0" y="50"/>
                    </a:moveTo>
                    <a:lnTo>
                      <a:pt x="0" y="50"/>
                    </a:lnTo>
                    <a:lnTo>
                      <a:pt x="42" y="0"/>
                    </a:lnTo>
                    <a:lnTo>
                      <a:pt x="42" y="47"/>
                    </a:lnTo>
                    <a:lnTo>
                      <a:pt x="0" y="5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4" name="Freeform 504"/>
              <p:cNvSpPr>
                <a:spLocks/>
              </p:cNvSpPr>
              <p:nvPr/>
            </p:nvSpPr>
            <p:spPr bwMode="auto">
              <a:xfrm>
                <a:off x="-920750" y="6819900"/>
                <a:ext cx="66675" cy="268288"/>
              </a:xfrm>
              <a:custGeom>
                <a:avLst/>
                <a:gdLst>
                  <a:gd name="T0" fmla="*/ 42 w 42"/>
                  <a:gd name="T1" fmla="*/ 169 h 169"/>
                  <a:gd name="T2" fmla="*/ 0 w 42"/>
                  <a:gd name="T3" fmla="*/ 3 h 169"/>
                  <a:gd name="T4" fmla="*/ 42 w 42"/>
                  <a:gd name="T5" fmla="*/ 0 h 169"/>
                  <a:gd name="T6" fmla="*/ 42 w 42"/>
                  <a:gd name="T7" fmla="*/ 169 h 169"/>
                </a:gdLst>
                <a:ahLst/>
                <a:cxnLst>
                  <a:cxn ang="0">
                    <a:pos x="T0" y="T1"/>
                  </a:cxn>
                  <a:cxn ang="0">
                    <a:pos x="T2" y="T3"/>
                  </a:cxn>
                  <a:cxn ang="0">
                    <a:pos x="T4" y="T5"/>
                  </a:cxn>
                  <a:cxn ang="0">
                    <a:pos x="T6" y="T7"/>
                  </a:cxn>
                </a:cxnLst>
                <a:rect l="0" t="0" r="r" b="b"/>
                <a:pathLst>
                  <a:path w="42" h="169">
                    <a:moveTo>
                      <a:pt x="42" y="169"/>
                    </a:moveTo>
                    <a:lnTo>
                      <a:pt x="0" y="3"/>
                    </a:lnTo>
                    <a:lnTo>
                      <a:pt x="42" y="0"/>
                    </a:lnTo>
                    <a:lnTo>
                      <a:pt x="42" y="16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grpSp>
        <p:sp>
          <p:nvSpPr>
            <p:cNvPr id="39" name="AutoShape 303"/>
            <p:cNvSpPr>
              <a:spLocks noChangeArrowheads="1" noTextEdit="1"/>
            </p:cNvSpPr>
            <p:nvPr/>
          </p:nvSpPr>
          <p:spPr bwMode="auto">
            <a:xfrm>
              <a:off x="749301" y="-1"/>
              <a:ext cx="8961438" cy="6721475"/>
            </a:xfrm>
            <a:prstGeom prst="rect">
              <a:avLst/>
            </a:prstGeom>
            <a:solidFill>
              <a:schemeClr val="accent4">
                <a:alpha val="83000"/>
              </a:schemeClr>
            </a:solidFill>
            <a:ln>
              <a:noFill/>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grpSp>
      <p:sp>
        <p:nvSpPr>
          <p:cNvPr id="2" name="Title 1"/>
          <p:cNvSpPr>
            <a:spLocks noGrp="1"/>
          </p:cNvSpPr>
          <p:nvPr>
            <p:ph type="title"/>
          </p:nvPr>
        </p:nvSpPr>
        <p:spPr>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zh-CN" dirty="0">
                <a:solidFill>
                  <a:schemeClr val="bg1"/>
                </a:solidFill>
                <a:latin typeface="+mn-lt"/>
                <a:ea typeface="楷体" panose="02010609060101010101" pitchFamily="49" charset="-122"/>
                <a:cs typeface="SimSun"/>
              </a:rPr>
              <a:t>深度学习是指</a:t>
            </a:r>
            <a:r>
              <a:rPr lang="zh-CN" altLang="en-US" dirty="0">
                <a:solidFill>
                  <a:schemeClr val="bg1"/>
                </a:solidFill>
                <a:latin typeface="+mn-lt"/>
                <a:ea typeface="楷体" panose="02010609060101010101" pitchFamily="49" charset="-122"/>
                <a:cs typeface="SimSun"/>
              </a:rPr>
              <a:t>对于</a:t>
            </a:r>
            <a:r>
              <a:rPr lang="zh-CN" dirty="0">
                <a:solidFill>
                  <a:schemeClr val="bg1"/>
                </a:solidFill>
                <a:latin typeface="+mn-lt"/>
                <a:ea typeface="楷体" panose="02010609060101010101" pitchFamily="49" charset="-122"/>
                <a:cs typeface="SimSun"/>
              </a:rPr>
              <a:t>‘深度’神经网络的利用</a:t>
            </a:r>
          </a:p>
        </p:txBody>
      </p:sp>
      <p:sp>
        <p:nvSpPr>
          <p:cNvPr id="3" name="TextBox 2"/>
          <p:cNvSpPr txBox="1">
            <a:spLocks/>
          </p:cNvSpPr>
          <p:nvPr/>
        </p:nvSpPr>
        <p:spPr>
          <a:xfrm>
            <a:off x="119063" y="774441"/>
            <a:ext cx="8496018" cy="609398"/>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40000"/>
              </a:spcBef>
              <a:buClr>
                <a:schemeClr val="bg1"/>
              </a:buClr>
            </a:pPr>
            <a:r>
              <a:rPr lang="zh-CN" sz="1100" dirty="0">
                <a:solidFill>
                  <a:schemeClr val="bg1"/>
                </a:solidFill>
                <a:ea typeface="楷体" panose="02010609060101010101" pitchFamily="49" charset="-122"/>
                <a:cs typeface="SimSun"/>
              </a:rPr>
              <a:t>一般</a:t>
            </a:r>
            <a:r>
              <a:rPr lang="zh-CN" sz="1100" b="1" dirty="0">
                <a:solidFill>
                  <a:schemeClr val="bg1"/>
                </a:solidFill>
                <a:ea typeface="楷体" panose="02010609060101010101" pitchFamily="49" charset="-122"/>
                <a:cs typeface="SimSun"/>
              </a:rPr>
              <a:t>神经网络</a:t>
            </a:r>
            <a:r>
              <a:rPr lang="zh-CN" sz="1100" dirty="0">
                <a:solidFill>
                  <a:schemeClr val="bg1"/>
                </a:solidFill>
                <a:ea typeface="楷体" panose="02010609060101010101" pitchFamily="49" charset="-122"/>
                <a:cs typeface="SimSun"/>
              </a:rPr>
              <a:t>（NN）有三层 – 输入层、隐藏层、输出层</a:t>
            </a:r>
          </a:p>
          <a:p>
            <a:pPr lvl="1">
              <a:spcBef>
                <a:spcPct val="40000"/>
              </a:spcBef>
              <a:buClr>
                <a:schemeClr val="bg1"/>
              </a:buClr>
            </a:pPr>
            <a:r>
              <a:rPr lang="zh-CN" sz="1100" b="1" dirty="0">
                <a:solidFill>
                  <a:schemeClr val="bg1"/>
                </a:solidFill>
                <a:ea typeface="楷体" panose="02010609060101010101" pitchFamily="49" charset="-122"/>
                <a:cs typeface="SimSun"/>
              </a:rPr>
              <a:t>深度神经网络</a:t>
            </a:r>
            <a:r>
              <a:rPr lang="zh-CN" sz="1100" dirty="0">
                <a:solidFill>
                  <a:schemeClr val="bg1"/>
                </a:solidFill>
                <a:ea typeface="楷体" panose="02010609060101010101" pitchFamily="49" charset="-122"/>
                <a:cs typeface="SimSun"/>
              </a:rPr>
              <a:t>（DNN）拥有与一般神经网络相似的高阶网络拓扑结构</a:t>
            </a:r>
          </a:p>
          <a:p>
            <a:pPr lvl="2">
              <a:spcBef>
                <a:spcPct val="20000"/>
              </a:spcBef>
              <a:buClr>
                <a:schemeClr val="bg1"/>
              </a:buClr>
            </a:pPr>
            <a:r>
              <a:rPr lang="zh-CN" sz="1100" dirty="0">
                <a:solidFill>
                  <a:schemeClr val="bg1"/>
                </a:solidFill>
                <a:ea typeface="楷体" panose="02010609060101010101" pitchFamily="49" charset="-122"/>
                <a:cs typeface="SimSun"/>
              </a:rPr>
              <a:t>深度网络</a:t>
            </a:r>
            <a:r>
              <a:rPr lang="zh-CN" altLang="en-US" sz="1100" dirty="0">
                <a:solidFill>
                  <a:schemeClr val="bg1"/>
                </a:solidFill>
                <a:ea typeface="楷体" panose="02010609060101010101" pitchFamily="49" charset="-122"/>
                <a:cs typeface="SimSun"/>
              </a:rPr>
              <a:t>还</a:t>
            </a:r>
            <a:r>
              <a:rPr lang="zh-CN" sz="1100" dirty="0">
                <a:solidFill>
                  <a:schemeClr val="bg1"/>
                </a:solidFill>
                <a:ea typeface="楷体" panose="02010609060101010101" pitchFamily="49" charset="-122"/>
                <a:cs typeface="SimSun"/>
              </a:rPr>
              <a:t>有</a:t>
            </a:r>
            <a:r>
              <a:rPr lang="zh-CN" altLang="en-US" sz="1100" dirty="0">
                <a:solidFill>
                  <a:schemeClr val="bg1"/>
                </a:solidFill>
                <a:ea typeface="楷体" panose="02010609060101010101" pitchFamily="49" charset="-122"/>
                <a:cs typeface="SimSun"/>
              </a:rPr>
              <a:t>大量</a:t>
            </a:r>
            <a:r>
              <a:rPr lang="zh-CN" sz="1100" dirty="0">
                <a:solidFill>
                  <a:schemeClr val="bg1"/>
                </a:solidFill>
                <a:ea typeface="楷体" panose="02010609060101010101" pitchFamily="49" charset="-122"/>
                <a:cs typeface="SimSun"/>
              </a:rPr>
              <a:t>细分层；“深度”是指隐藏层的深度</a:t>
            </a:r>
          </a:p>
        </p:txBody>
      </p:sp>
      <p:sp>
        <p:nvSpPr>
          <p:cNvPr id="67" name="TextBox 66"/>
          <p:cNvSpPr txBox="1">
            <a:spLocks/>
          </p:cNvSpPr>
          <p:nvPr/>
        </p:nvSpPr>
        <p:spPr>
          <a:xfrm>
            <a:off x="5509329" y="3991904"/>
            <a:ext cx="3323751" cy="338554"/>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40000"/>
              </a:spcBef>
              <a:buClr>
                <a:srgbClr val="002960"/>
              </a:buClr>
            </a:pPr>
            <a:r>
              <a:rPr lang="zh-CN" altLang="en-US" sz="1100" dirty="0">
                <a:solidFill>
                  <a:schemeClr val="bg1"/>
                </a:solidFill>
                <a:ea typeface="楷体" panose="02010609060101010101" pitchFamily="49" charset="-122"/>
                <a:cs typeface="SimSun"/>
              </a:rPr>
              <a:t>逐层</a:t>
            </a:r>
            <a:r>
              <a:rPr lang="zh-CN" sz="1100" dirty="0">
                <a:solidFill>
                  <a:schemeClr val="bg1"/>
                </a:solidFill>
                <a:ea typeface="楷体" panose="02010609060101010101" pitchFamily="49" charset="-122"/>
                <a:cs typeface="SimSun"/>
              </a:rPr>
              <a:t>递进‘学习’更复杂/高阶的特征，这些</a:t>
            </a:r>
            <a:r>
              <a:rPr lang="zh-CN" altLang="en-US" sz="1100" dirty="0">
                <a:solidFill>
                  <a:schemeClr val="bg1"/>
                </a:solidFill>
                <a:ea typeface="楷体" panose="02010609060101010101" pitchFamily="49" charset="-122"/>
                <a:cs typeface="SimSun"/>
              </a:rPr>
              <a:t>层次为</a:t>
            </a:r>
            <a:r>
              <a:rPr lang="zh-CN" sz="1100" dirty="0">
                <a:solidFill>
                  <a:schemeClr val="bg1"/>
                </a:solidFill>
                <a:ea typeface="楷体" panose="02010609060101010101" pitchFamily="49" charset="-122"/>
                <a:cs typeface="SimSun"/>
              </a:rPr>
              <a:t>人类可读</a:t>
            </a:r>
          </a:p>
        </p:txBody>
      </p:sp>
      <p:cxnSp>
        <p:nvCxnSpPr>
          <p:cNvPr id="68" name="Straight Connector 67"/>
          <p:cNvCxnSpPr>
            <a:cxnSpLocks/>
          </p:cNvCxnSpPr>
          <p:nvPr/>
        </p:nvCxnSpPr>
        <p:spPr>
          <a:xfrm>
            <a:off x="5313476" y="3991904"/>
            <a:ext cx="0" cy="2315725"/>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70" name="Rectangle 69"/>
          <p:cNvSpPr>
            <a:spLocks/>
          </p:cNvSpPr>
          <p:nvPr/>
        </p:nvSpPr>
        <p:spPr>
          <a:xfrm>
            <a:off x="5733302" y="4407785"/>
            <a:ext cx="3099778" cy="387836"/>
          </a:xfrm>
          <a:prstGeom prst="rect">
            <a:avLst/>
          </a:prstGeom>
          <a:solidFill>
            <a:schemeClr val="accent3">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bg1"/>
              </a:solidFill>
              <a:ea typeface="楷体" panose="02010609060101010101" pitchFamily="49" charset="-122"/>
            </a:endParaRPr>
          </a:p>
        </p:txBody>
      </p:sp>
      <p:sp>
        <p:nvSpPr>
          <p:cNvPr id="71" name="TextBox 70"/>
          <p:cNvSpPr txBox="1">
            <a:spLocks/>
          </p:cNvSpPr>
          <p:nvPr/>
        </p:nvSpPr>
        <p:spPr>
          <a:xfrm>
            <a:off x="5509329" y="4407785"/>
            <a:ext cx="223972" cy="387836"/>
          </a:xfrm>
          <a:prstGeom prst="rect">
            <a:avLst/>
          </a:prstGeom>
          <a:solidFill>
            <a:srgbClr val="FFCA21"/>
          </a:solidFill>
          <a:ln>
            <a:noFill/>
          </a:ln>
        </p:spPr>
        <p:txBody>
          <a:bodyPr vert="horz" wrap="square" lIns="72009" tIns="72009" rIns="72009" bIns="72009"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40000"/>
              </a:spcBef>
              <a:buClr>
                <a:srgbClr val="002960"/>
              </a:buClr>
            </a:pPr>
            <a:r>
              <a:rPr lang="zh-CN" dirty="0">
                <a:solidFill>
                  <a:schemeClr val="accent3"/>
                </a:solidFill>
                <a:ea typeface="楷体" panose="02010609060101010101" pitchFamily="49" charset="-122"/>
                <a:cs typeface="SimSun"/>
              </a:rPr>
              <a:t>1</a:t>
            </a:r>
          </a:p>
        </p:txBody>
      </p:sp>
      <p:sp>
        <p:nvSpPr>
          <p:cNvPr id="72" name="Rectangle 71"/>
          <p:cNvSpPr>
            <a:spLocks/>
          </p:cNvSpPr>
          <p:nvPr/>
        </p:nvSpPr>
        <p:spPr>
          <a:xfrm>
            <a:off x="5733302" y="4997433"/>
            <a:ext cx="3099778" cy="387836"/>
          </a:xfrm>
          <a:prstGeom prst="rect">
            <a:avLst/>
          </a:prstGeom>
          <a:solidFill>
            <a:schemeClr val="accent3">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bg1"/>
              </a:solidFill>
              <a:ea typeface="楷体" panose="02010609060101010101" pitchFamily="49" charset="-122"/>
            </a:endParaRPr>
          </a:p>
        </p:txBody>
      </p:sp>
      <p:sp>
        <p:nvSpPr>
          <p:cNvPr id="73" name="TextBox 72"/>
          <p:cNvSpPr txBox="1">
            <a:spLocks/>
          </p:cNvSpPr>
          <p:nvPr/>
        </p:nvSpPr>
        <p:spPr>
          <a:xfrm>
            <a:off x="5509329" y="4997433"/>
            <a:ext cx="223972" cy="387836"/>
          </a:xfrm>
          <a:prstGeom prst="rect">
            <a:avLst/>
          </a:prstGeom>
          <a:solidFill>
            <a:srgbClr val="FFCA21"/>
          </a:solidFill>
          <a:ln>
            <a:noFill/>
          </a:ln>
        </p:spPr>
        <p:txBody>
          <a:bodyPr vert="horz" wrap="square" lIns="72009" tIns="72009" rIns="72009" bIns="72009"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40000"/>
              </a:spcBef>
              <a:buClr>
                <a:srgbClr val="002960"/>
              </a:buClr>
            </a:pPr>
            <a:r>
              <a:rPr lang="zh-CN" dirty="0">
                <a:solidFill>
                  <a:schemeClr val="accent3"/>
                </a:solidFill>
                <a:ea typeface="楷体" panose="02010609060101010101" pitchFamily="49" charset="-122"/>
                <a:cs typeface="SimSun"/>
              </a:rPr>
              <a:t>2</a:t>
            </a:r>
          </a:p>
        </p:txBody>
      </p:sp>
      <p:sp>
        <p:nvSpPr>
          <p:cNvPr id="74" name="Rectangle 73"/>
          <p:cNvSpPr>
            <a:spLocks/>
          </p:cNvSpPr>
          <p:nvPr/>
        </p:nvSpPr>
        <p:spPr>
          <a:xfrm>
            <a:off x="5733302" y="5587081"/>
            <a:ext cx="3099778" cy="387836"/>
          </a:xfrm>
          <a:prstGeom prst="rect">
            <a:avLst/>
          </a:prstGeom>
          <a:solidFill>
            <a:schemeClr val="accent3">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a:solidFill>
                <a:schemeClr val="bg1"/>
              </a:solidFill>
              <a:ea typeface="楷体" panose="02010609060101010101" pitchFamily="49" charset="-122"/>
            </a:endParaRPr>
          </a:p>
        </p:txBody>
      </p:sp>
      <p:sp>
        <p:nvSpPr>
          <p:cNvPr id="75" name="TextBox 74"/>
          <p:cNvSpPr txBox="1">
            <a:spLocks/>
          </p:cNvSpPr>
          <p:nvPr/>
        </p:nvSpPr>
        <p:spPr>
          <a:xfrm>
            <a:off x="5509329" y="5587081"/>
            <a:ext cx="223972" cy="387836"/>
          </a:xfrm>
          <a:prstGeom prst="rect">
            <a:avLst/>
          </a:prstGeom>
          <a:solidFill>
            <a:srgbClr val="FFCA21"/>
          </a:solidFill>
          <a:ln>
            <a:noFill/>
          </a:ln>
        </p:spPr>
        <p:txBody>
          <a:bodyPr vert="horz" wrap="square" lIns="72009" tIns="72009" rIns="72009" bIns="72009"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40000"/>
              </a:spcBef>
              <a:buClr>
                <a:srgbClr val="002960"/>
              </a:buClr>
            </a:pPr>
            <a:r>
              <a:rPr lang="zh-CN" dirty="0">
                <a:solidFill>
                  <a:schemeClr val="accent3"/>
                </a:solidFill>
                <a:ea typeface="楷体" panose="02010609060101010101" pitchFamily="49" charset="-122"/>
                <a:cs typeface="SimSun"/>
              </a:rPr>
              <a:t>3</a:t>
            </a:r>
          </a:p>
        </p:txBody>
      </p:sp>
      <p:sp>
        <p:nvSpPr>
          <p:cNvPr id="76" name="TextBox 75"/>
          <p:cNvSpPr txBox="1">
            <a:spLocks/>
          </p:cNvSpPr>
          <p:nvPr/>
        </p:nvSpPr>
        <p:spPr>
          <a:xfrm>
            <a:off x="5810551" y="4517065"/>
            <a:ext cx="2875999" cy="16927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buClr>
                <a:srgbClr val="002960"/>
              </a:buClr>
            </a:pPr>
            <a:r>
              <a:rPr lang="zh-CN" sz="1100" dirty="0">
                <a:solidFill>
                  <a:schemeClr val="bg1"/>
                </a:solidFill>
                <a:ea typeface="楷体" panose="02010609060101010101" pitchFamily="49" charset="-122"/>
                <a:cs typeface="SimSun"/>
              </a:rPr>
              <a:t>低阶特征，如边、角</a:t>
            </a:r>
          </a:p>
        </p:txBody>
      </p:sp>
      <p:sp>
        <p:nvSpPr>
          <p:cNvPr id="77" name="TextBox 76"/>
          <p:cNvSpPr txBox="1">
            <a:spLocks/>
          </p:cNvSpPr>
          <p:nvPr/>
        </p:nvSpPr>
        <p:spPr>
          <a:xfrm>
            <a:off x="5810551" y="5106713"/>
            <a:ext cx="2875999" cy="16927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buClr>
                <a:srgbClr val="002960"/>
              </a:buClr>
            </a:pPr>
            <a:r>
              <a:rPr lang="zh-CN" sz="1100" dirty="0">
                <a:solidFill>
                  <a:schemeClr val="bg1"/>
                </a:solidFill>
                <a:ea typeface="楷体" panose="02010609060101010101" pitchFamily="49" charset="-122"/>
                <a:cs typeface="SimSun"/>
              </a:rPr>
              <a:t>更高阶特征，如眼睛、鼻子、嘴巴</a:t>
            </a:r>
          </a:p>
        </p:txBody>
      </p:sp>
      <p:sp>
        <p:nvSpPr>
          <p:cNvPr id="78" name="TextBox 77"/>
          <p:cNvSpPr txBox="1">
            <a:spLocks/>
          </p:cNvSpPr>
          <p:nvPr/>
        </p:nvSpPr>
        <p:spPr>
          <a:xfrm>
            <a:off x="5810551" y="5696361"/>
            <a:ext cx="2875999" cy="16927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buClr>
                <a:srgbClr val="002960"/>
              </a:buClr>
            </a:pPr>
            <a:r>
              <a:rPr lang="zh-CN" sz="1100" dirty="0">
                <a:solidFill>
                  <a:schemeClr val="bg1"/>
                </a:solidFill>
                <a:ea typeface="楷体" panose="02010609060101010101" pitchFamily="49" charset="-122"/>
                <a:cs typeface="SimSun"/>
              </a:rPr>
              <a:t>刻画人脸的最高阶特征</a:t>
            </a:r>
          </a:p>
        </p:txBody>
      </p:sp>
      <p:sp>
        <p:nvSpPr>
          <p:cNvPr id="79" name="TextBox 78"/>
          <p:cNvSpPr txBox="1">
            <a:spLocks/>
          </p:cNvSpPr>
          <p:nvPr/>
        </p:nvSpPr>
        <p:spPr>
          <a:xfrm>
            <a:off x="655608" y="3991904"/>
            <a:ext cx="3977253" cy="338554"/>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40000"/>
              </a:spcBef>
              <a:buClr>
                <a:srgbClr val="002960"/>
              </a:buClr>
            </a:pPr>
            <a:r>
              <a:rPr lang="zh-CN" sz="1100" dirty="0">
                <a:solidFill>
                  <a:schemeClr val="bg1"/>
                </a:solidFill>
                <a:ea typeface="楷体" panose="02010609060101010101" pitchFamily="49" charset="-122"/>
                <a:cs typeface="SimSun"/>
              </a:rPr>
              <a:t>网络可达到</a:t>
            </a:r>
            <a:r>
              <a:rPr lang="zh-CN" sz="1100" dirty="0">
                <a:solidFill>
                  <a:srgbClr val="FFCA21"/>
                </a:solidFill>
                <a:ea typeface="楷体" panose="02010609060101010101" pitchFamily="49" charset="-122"/>
                <a:cs typeface="SimSun"/>
              </a:rPr>
              <a:t>100层以上</a:t>
            </a:r>
            <a:r>
              <a:rPr lang="zh-CN" sz="1100" dirty="0">
                <a:solidFill>
                  <a:schemeClr val="bg1"/>
                </a:solidFill>
                <a:ea typeface="楷体" panose="02010609060101010101" pitchFamily="49" charset="-122"/>
                <a:cs typeface="SimSun"/>
              </a:rPr>
              <a:t>的深度，形成数百万个参数；</a:t>
            </a:r>
            <a:r>
              <a:rPr lang="zh-CN" altLang="en-US" sz="1100" dirty="0">
                <a:solidFill>
                  <a:schemeClr val="bg1"/>
                </a:solidFill>
                <a:ea typeface="楷体" panose="02010609060101010101" pitchFamily="49" charset="-122"/>
                <a:cs typeface="SimSun"/>
              </a:rPr>
              <a:t>需要</a:t>
            </a:r>
            <a:r>
              <a:rPr lang="zh-CN" sz="1100" dirty="0">
                <a:solidFill>
                  <a:schemeClr val="bg1"/>
                </a:solidFill>
                <a:ea typeface="楷体" panose="02010609060101010101" pitchFamily="49" charset="-122"/>
                <a:cs typeface="SimSun"/>
              </a:rPr>
              <a:t>细致周密的设计</a:t>
            </a:r>
            <a:r>
              <a:rPr lang="zh-CN" altLang="en-US" sz="1100" dirty="0">
                <a:solidFill>
                  <a:schemeClr val="bg1"/>
                </a:solidFill>
                <a:ea typeface="楷体" panose="02010609060101010101" pitchFamily="49" charset="-122"/>
                <a:cs typeface="SimSun"/>
              </a:rPr>
              <a:t>，</a:t>
            </a:r>
            <a:r>
              <a:rPr lang="zh-CN" sz="1100" dirty="0">
                <a:solidFill>
                  <a:schemeClr val="bg1"/>
                </a:solidFill>
                <a:ea typeface="楷体" panose="02010609060101010101" pitchFamily="49" charset="-122"/>
                <a:cs typeface="SimSun"/>
              </a:rPr>
              <a:t>以处理复杂问题</a:t>
            </a:r>
          </a:p>
        </p:txBody>
      </p:sp>
      <p:grpSp>
        <p:nvGrpSpPr>
          <p:cNvPr id="9" name="Group 8"/>
          <p:cNvGrpSpPr/>
          <p:nvPr/>
        </p:nvGrpSpPr>
        <p:grpSpPr>
          <a:xfrm>
            <a:off x="119063" y="4407785"/>
            <a:ext cx="5284724" cy="1899844"/>
            <a:chOff x="119063" y="4558880"/>
            <a:chExt cx="5284724" cy="1899844"/>
          </a:xfrm>
        </p:grpSpPr>
        <p:sp>
          <p:nvSpPr>
            <p:cNvPr id="81" name="TextBox 80"/>
            <p:cNvSpPr txBox="1">
              <a:spLocks/>
            </p:cNvSpPr>
            <p:nvPr/>
          </p:nvSpPr>
          <p:spPr>
            <a:xfrm>
              <a:off x="655608" y="6258669"/>
              <a:ext cx="3971105" cy="200055"/>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buClr>
                  <a:srgbClr val="002960"/>
                </a:buClr>
              </a:pPr>
              <a:r>
                <a:rPr lang="zh-CN" sz="1300" dirty="0">
                  <a:solidFill>
                    <a:srgbClr val="FFCA21"/>
                  </a:solidFill>
                  <a:ea typeface="楷体" panose="02010609060101010101" pitchFamily="49" charset="-122"/>
                  <a:cs typeface="SimSun"/>
                </a:rPr>
                <a:t>深度网络经训练可侦测</a:t>
              </a:r>
              <a:r>
                <a:rPr lang="zh-CN" altLang="en-US" sz="1300" dirty="0">
                  <a:solidFill>
                    <a:srgbClr val="FFCA21"/>
                  </a:solidFill>
                  <a:ea typeface="楷体" panose="02010609060101010101" pitchFamily="49" charset="-122"/>
                  <a:cs typeface="SimSun"/>
                </a:rPr>
                <a:t>图像</a:t>
              </a:r>
              <a:r>
                <a:rPr lang="zh-CN" sz="1300" dirty="0">
                  <a:solidFill>
                    <a:srgbClr val="FFCA21"/>
                  </a:solidFill>
                  <a:ea typeface="楷体" panose="02010609060101010101" pitchFamily="49" charset="-122"/>
                  <a:cs typeface="SimSun"/>
                </a:rPr>
                <a:t>人脸</a:t>
              </a:r>
            </a:p>
          </p:txBody>
        </p:sp>
        <p:sp>
          <p:nvSpPr>
            <p:cNvPr id="83" name="TextBox 82"/>
            <p:cNvSpPr txBox="1">
              <a:spLocks/>
            </p:cNvSpPr>
            <p:nvPr/>
          </p:nvSpPr>
          <p:spPr>
            <a:xfrm>
              <a:off x="119063" y="5559105"/>
              <a:ext cx="333425" cy="200055"/>
            </a:xfrm>
            <a:prstGeom prst="rect">
              <a:avLst/>
            </a:prstGeom>
          </p:spPr>
          <p:txBody>
            <a:bodyPr vert="horz" wrap="non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40000"/>
                </a:spcBef>
                <a:buClr>
                  <a:srgbClr val="002960"/>
                </a:buClr>
              </a:pPr>
              <a:r>
                <a:rPr lang="zh-CN" altLang="en-US" sz="1300" dirty="0">
                  <a:solidFill>
                    <a:srgbClr val="FFCA21"/>
                  </a:solidFill>
                  <a:ea typeface="楷体" panose="02010609060101010101" pitchFamily="49" charset="-122"/>
                  <a:cs typeface="SimSun"/>
                </a:rPr>
                <a:t>图像</a:t>
              </a:r>
              <a:endParaRPr lang="zh-CN" sz="1300" dirty="0">
                <a:solidFill>
                  <a:srgbClr val="FFCA21"/>
                </a:solidFill>
                <a:ea typeface="楷体" panose="02010609060101010101" pitchFamily="49" charset="-122"/>
                <a:cs typeface="SimSun"/>
              </a:endParaRPr>
            </a:p>
          </p:txBody>
        </p:sp>
        <p:sp>
          <p:nvSpPr>
            <p:cNvPr id="84" name="TextBox 83"/>
            <p:cNvSpPr txBox="1">
              <a:spLocks/>
            </p:cNvSpPr>
            <p:nvPr/>
          </p:nvSpPr>
          <p:spPr>
            <a:xfrm>
              <a:off x="4717702" y="5559105"/>
              <a:ext cx="686085" cy="200055"/>
            </a:xfrm>
            <a:prstGeom prst="rect">
              <a:avLst/>
            </a:prstGeom>
          </p:spPr>
          <p:txBody>
            <a:bodyPr vert="horz" wrap="non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40000"/>
                </a:spcBef>
                <a:buClr>
                  <a:srgbClr val="002960"/>
                </a:buClr>
              </a:pPr>
              <a:r>
                <a:rPr lang="zh-CN" sz="1300" dirty="0">
                  <a:solidFill>
                    <a:srgbClr val="FFCA21"/>
                  </a:solidFill>
                  <a:ea typeface="楷体" panose="02010609060101010101" pitchFamily="49" charset="-122"/>
                  <a:cs typeface="SimSun"/>
                </a:rPr>
                <a:t>“Sara”</a:t>
              </a:r>
            </a:p>
          </p:txBody>
        </p:sp>
        <p:pic>
          <p:nvPicPr>
            <p:cNvPr id="80" name="Picture 79"/>
            <p:cNvPicPr>
              <a:picLocks/>
            </p:cNvPicPr>
            <p:nvPr/>
          </p:nvPicPr>
          <p:blipFill rotWithShape="1">
            <a:blip r:embed="rId4"/>
            <a:srcRect l="10945" t="36481" r="11987" b="2297"/>
            <a:stretch/>
          </p:blipFill>
          <p:spPr>
            <a:xfrm>
              <a:off x="655608" y="5109763"/>
              <a:ext cx="3977253" cy="1098739"/>
            </a:xfrm>
            <a:prstGeom prst="rect">
              <a:avLst/>
            </a:prstGeom>
            <a:noFill/>
            <a:ln w="9525">
              <a:solidFill>
                <a:schemeClr val="accent3"/>
              </a:solidFill>
            </a:ln>
          </p:spPr>
        </p:pic>
        <p:pic>
          <p:nvPicPr>
            <p:cNvPr id="82" name="Picture 81"/>
            <p:cNvPicPr>
              <a:picLocks noChangeAspect="1"/>
            </p:cNvPicPr>
            <p:nvPr/>
          </p:nvPicPr>
          <p:blipFill rotWithShape="1">
            <a:blip r:embed="rId4"/>
            <a:srcRect l="10944" t="6457" r="77684" b="67084"/>
            <a:stretch/>
          </p:blipFill>
          <p:spPr>
            <a:xfrm>
              <a:off x="655608" y="4558880"/>
              <a:ext cx="586841" cy="474849"/>
            </a:xfrm>
            <a:prstGeom prst="rect">
              <a:avLst/>
            </a:prstGeom>
            <a:ln w="9525">
              <a:noFill/>
            </a:ln>
          </p:spPr>
        </p:pic>
        <p:pic>
          <p:nvPicPr>
            <p:cNvPr id="85" name="Picture 84"/>
            <p:cNvPicPr>
              <a:picLocks/>
            </p:cNvPicPr>
            <p:nvPr/>
          </p:nvPicPr>
          <p:blipFill rotWithShape="1">
            <a:blip r:embed="rId4"/>
            <a:srcRect l="30771" t="6457" r="54432" b="67084"/>
            <a:stretch/>
          </p:blipFill>
          <p:spPr>
            <a:xfrm>
              <a:off x="1623184" y="4558880"/>
              <a:ext cx="763609" cy="474849"/>
            </a:xfrm>
            <a:prstGeom prst="rect">
              <a:avLst/>
            </a:prstGeom>
            <a:ln w="9525">
              <a:noFill/>
            </a:ln>
          </p:spPr>
        </p:pic>
        <p:sp>
          <p:nvSpPr>
            <p:cNvPr id="86" name="TextBox 85"/>
            <p:cNvSpPr txBox="1">
              <a:spLocks/>
            </p:cNvSpPr>
            <p:nvPr/>
          </p:nvSpPr>
          <p:spPr>
            <a:xfrm>
              <a:off x="1447589" y="4558880"/>
              <a:ext cx="157080" cy="474849"/>
            </a:xfrm>
            <a:prstGeom prst="rect">
              <a:avLst/>
            </a:prstGeom>
            <a:solidFill>
              <a:srgbClr val="FFCA21"/>
            </a:solidFill>
            <a:ln w="19050">
              <a:noFill/>
            </a:ln>
          </p:spPr>
          <p:txBody>
            <a:bodyPr vert="horz" wrap="square" lIns="72009" tIns="72009" rIns="72009" bIns="72009"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spcBef>
                  <a:spcPct val="40000"/>
                </a:spcBef>
                <a:buClr>
                  <a:srgbClr val="002960"/>
                </a:buClr>
              </a:pPr>
              <a:r>
                <a:rPr lang="zh-CN" dirty="0">
                  <a:solidFill>
                    <a:schemeClr val="accent3"/>
                  </a:solidFill>
                  <a:ea typeface="楷体" panose="02010609060101010101" pitchFamily="49" charset="-122"/>
                  <a:cs typeface="SimSun"/>
                </a:rPr>
                <a:t>1</a:t>
              </a:r>
            </a:p>
          </p:txBody>
        </p:sp>
        <p:pic>
          <p:nvPicPr>
            <p:cNvPr id="87" name="Picture 86"/>
            <p:cNvPicPr>
              <a:picLocks/>
            </p:cNvPicPr>
            <p:nvPr/>
          </p:nvPicPr>
          <p:blipFill rotWithShape="1">
            <a:blip r:embed="rId4"/>
            <a:srcRect l="53899" t="6457" r="31304" b="67084"/>
            <a:stretch/>
          </p:blipFill>
          <p:spPr>
            <a:xfrm>
              <a:off x="2767527" y="4558880"/>
              <a:ext cx="763609" cy="474849"/>
            </a:xfrm>
            <a:prstGeom prst="rect">
              <a:avLst/>
            </a:prstGeom>
            <a:ln w="9525">
              <a:noFill/>
            </a:ln>
          </p:spPr>
        </p:pic>
        <p:pic>
          <p:nvPicPr>
            <p:cNvPr id="88" name="Picture 87"/>
            <p:cNvPicPr>
              <a:picLocks/>
            </p:cNvPicPr>
            <p:nvPr/>
          </p:nvPicPr>
          <p:blipFill rotWithShape="1">
            <a:blip r:embed="rId4"/>
            <a:srcRect l="76903" t="6457" r="8922" b="67084"/>
            <a:stretch/>
          </p:blipFill>
          <p:spPr>
            <a:xfrm>
              <a:off x="3911871" y="4558880"/>
              <a:ext cx="731524" cy="474849"/>
            </a:xfrm>
            <a:prstGeom prst="rect">
              <a:avLst/>
            </a:prstGeom>
            <a:ln w="9525">
              <a:noFill/>
            </a:ln>
          </p:spPr>
        </p:pic>
        <p:sp>
          <p:nvSpPr>
            <p:cNvPr id="89" name="TextBox 88"/>
            <p:cNvSpPr txBox="1">
              <a:spLocks/>
            </p:cNvSpPr>
            <p:nvPr/>
          </p:nvSpPr>
          <p:spPr>
            <a:xfrm>
              <a:off x="2591933" y="4558880"/>
              <a:ext cx="157080" cy="474849"/>
            </a:xfrm>
            <a:prstGeom prst="rect">
              <a:avLst/>
            </a:prstGeom>
            <a:solidFill>
              <a:srgbClr val="FFCA21"/>
            </a:solidFill>
            <a:ln w="19050">
              <a:noFill/>
            </a:ln>
          </p:spPr>
          <p:txBody>
            <a:bodyPr vert="horz" wrap="square" lIns="72009" tIns="72009" rIns="72009" bIns="72009"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spcBef>
                  <a:spcPct val="40000"/>
                </a:spcBef>
                <a:buClr>
                  <a:srgbClr val="002960"/>
                </a:buClr>
              </a:pPr>
              <a:r>
                <a:rPr lang="zh-CN" dirty="0">
                  <a:solidFill>
                    <a:schemeClr val="accent3"/>
                  </a:solidFill>
                  <a:ea typeface="楷体" panose="02010609060101010101" pitchFamily="49" charset="-122"/>
                  <a:cs typeface="SimSun"/>
                </a:rPr>
                <a:t>2</a:t>
              </a:r>
            </a:p>
          </p:txBody>
        </p:sp>
        <p:sp>
          <p:nvSpPr>
            <p:cNvPr id="90" name="TextBox 89"/>
            <p:cNvSpPr txBox="1">
              <a:spLocks/>
            </p:cNvSpPr>
            <p:nvPr/>
          </p:nvSpPr>
          <p:spPr>
            <a:xfrm>
              <a:off x="3752652" y="4558880"/>
              <a:ext cx="157080" cy="474849"/>
            </a:xfrm>
            <a:prstGeom prst="rect">
              <a:avLst/>
            </a:prstGeom>
            <a:solidFill>
              <a:srgbClr val="FFCA21"/>
            </a:solidFill>
            <a:ln w="19050">
              <a:noFill/>
            </a:ln>
          </p:spPr>
          <p:txBody>
            <a:bodyPr vert="horz" wrap="square" lIns="72009" tIns="72009" rIns="72009" bIns="72009"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spcBef>
                  <a:spcPct val="40000"/>
                </a:spcBef>
                <a:buClr>
                  <a:srgbClr val="002960"/>
                </a:buClr>
              </a:pPr>
              <a:r>
                <a:rPr lang="zh-CN" dirty="0">
                  <a:solidFill>
                    <a:schemeClr val="accent3"/>
                  </a:solidFill>
                  <a:ea typeface="楷体" panose="02010609060101010101" pitchFamily="49" charset="-122"/>
                  <a:cs typeface="SimSun"/>
                </a:rPr>
                <a:t>3</a:t>
              </a:r>
            </a:p>
          </p:txBody>
        </p:sp>
      </p:grpSp>
      <p:cxnSp>
        <p:nvCxnSpPr>
          <p:cNvPr id="91" name="Straight Connector 90"/>
          <p:cNvCxnSpPr>
            <a:cxnSpLocks/>
          </p:cNvCxnSpPr>
          <p:nvPr/>
        </p:nvCxnSpPr>
        <p:spPr>
          <a:xfrm>
            <a:off x="128358" y="3791132"/>
            <a:ext cx="870472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4031818" y="1572599"/>
            <a:ext cx="3373020" cy="2020225"/>
            <a:chOff x="4648364" y="1572599"/>
            <a:chExt cx="3373020" cy="2020225"/>
          </a:xfrm>
        </p:grpSpPr>
        <p:pic>
          <p:nvPicPr>
            <p:cNvPr id="11" name="Picture 10"/>
            <p:cNvPicPr>
              <a:picLocks/>
            </p:cNvPicPr>
            <p:nvPr/>
          </p:nvPicPr>
          <p:blipFill rotWithShape="1">
            <a:blip r:embed="rId5" cstate="print">
              <a:extLst>
                <a:ext uri="{28A0092B-C50C-407E-A947-70E740481C1C}">
                  <a14:useLocalDpi xmlns:a14="http://schemas.microsoft.com/office/drawing/2010/main"/>
                </a:ext>
              </a:extLst>
            </a:blip>
            <a:srcRect t="772" b="772"/>
            <a:stretch/>
          </p:blipFill>
          <p:spPr>
            <a:xfrm>
              <a:off x="4648364" y="1842526"/>
              <a:ext cx="3373020" cy="1750298"/>
            </a:xfrm>
            <a:prstGeom prst="rect">
              <a:avLst/>
            </a:prstGeom>
            <a:noFill/>
            <a:ln>
              <a:noFill/>
            </a:ln>
          </p:spPr>
        </p:pic>
        <p:sp>
          <p:nvSpPr>
            <p:cNvPr id="12" name="TextBox 11"/>
            <p:cNvSpPr txBox="1">
              <a:spLocks/>
            </p:cNvSpPr>
            <p:nvPr/>
          </p:nvSpPr>
          <p:spPr>
            <a:xfrm>
              <a:off x="4648364" y="1572599"/>
              <a:ext cx="3373020" cy="200055"/>
            </a:xfrm>
            <a:prstGeom prst="rect">
              <a:avLst/>
            </a:prstGeom>
          </p:spPr>
          <p:txBody>
            <a:bodyPr vert="horz" wrap="square" lIns="0" tIns="0" rIns="0" bIns="0" rtlCol="0">
              <a:spAutoFit/>
            </a:bodyPr>
            <a:lstStyle>
              <a:defPPr>
                <a:defRPr lang="en-US"/>
              </a:defPPr>
              <a:lvl1pPr marL="0" lvl="0" indent="0" defTabSz="895350" eaLnBrk="1" latinLnBrk="0" hangingPunct="1">
                <a:buClr>
                  <a:srgbClr val="002960"/>
                </a:buClr>
                <a:buSzPct val="100000"/>
                <a:defRPr sz="1300" baseline="0">
                  <a:solidFill>
                    <a:srgbClr val="FFCA21"/>
                  </a:solidFill>
                  <a:latin typeface="Georgia" panose="02040502050405020303" pitchFamily="18"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dirty="0">
                  <a:latin typeface="+mn-lt"/>
                  <a:ea typeface="楷体" panose="02010609060101010101" pitchFamily="49" charset="-122"/>
                  <a:cs typeface="SimSun"/>
                </a:rPr>
                <a:t>深度神经网络拓扑结构示例</a:t>
              </a:r>
            </a:p>
          </p:txBody>
        </p:sp>
      </p:grpSp>
      <p:grpSp>
        <p:nvGrpSpPr>
          <p:cNvPr id="20" name="Group 19"/>
          <p:cNvGrpSpPr/>
          <p:nvPr/>
        </p:nvGrpSpPr>
        <p:grpSpPr>
          <a:xfrm>
            <a:off x="119063" y="1572599"/>
            <a:ext cx="2403412" cy="2017761"/>
            <a:chOff x="119063" y="1572599"/>
            <a:chExt cx="2403412" cy="2017761"/>
          </a:xfrm>
        </p:grpSpPr>
        <p:pic>
          <p:nvPicPr>
            <p:cNvPr id="15" name="Picture 14"/>
            <p:cNvPicPr>
              <a:picLocks/>
            </p:cNvPicPr>
            <p:nvPr/>
          </p:nvPicPr>
          <p:blipFill rotWithShape="1">
            <a:blip r:embed="rId6" cstate="screen">
              <a:extLst>
                <a:ext uri="{28A0092B-C50C-407E-A947-70E740481C1C}">
                  <a14:useLocalDpi xmlns:a14="http://schemas.microsoft.com/office/drawing/2010/main"/>
                </a:ext>
              </a:extLst>
            </a:blip>
            <a:srcRect t="1518" b="1518"/>
            <a:stretch/>
          </p:blipFill>
          <p:spPr>
            <a:xfrm>
              <a:off x="119063" y="1842526"/>
              <a:ext cx="2403412" cy="1747834"/>
            </a:xfrm>
            <a:prstGeom prst="rect">
              <a:avLst/>
            </a:prstGeom>
            <a:noFill/>
            <a:ln>
              <a:noFill/>
            </a:ln>
          </p:spPr>
        </p:pic>
        <p:sp>
          <p:nvSpPr>
            <p:cNvPr id="16" name="TextBox 15"/>
            <p:cNvSpPr txBox="1">
              <a:spLocks/>
            </p:cNvSpPr>
            <p:nvPr/>
          </p:nvSpPr>
          <p:spPr>
            <a:xfrm>
              <a:off x="119063" y="1572599"/>
              <a:ext cx="2403412" cy="200055"/>
            </a:xfrm>
            <a:prstGeom prst="rect">
              <a:avLst/>
            </a:prstGeom>
          </p:spPr>
          <p:txBody>
            <a:bodyPr vert="horz" wrap="square" lIns="0" tIns="0" rIns="0" bIns="0" rtlCol="0">
              <a:spAutoFit/>
            </a:bodyPr>
            <a:lstStyle>
              <a:defPPr>
                <a:defRPr lang="en-US"/>
              </a:defPPr>
              <a:lvl1pPr marL="0" lvl="0" indent="0" defTabSz="895350" eaLnBrk="1" latinLnBrk="0" hangingPunct="1">
                <a:buClr>
                  <a:srgbClr val="002960"/>
                </a:buClr>
                <a:buSzPct val="100000"/>
                <a:defRPr sz="1300" baseline="0">
                  <a:solidFill>
                    <a:srgbClr val="FFCA21"/>
                  </a:solidFill>
                  <a:latin typeface="Georgia" panose="02040502050405020303" pitchFamily="18"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dirty="0">
                  <a:latin typeface="+mn-lt"/>
                  <a:ea typeface="楷体" panose="02010609060101010101" pitchFamily="49" charset="-122"/>
                  <a:cs typeface="SimSun"/>
                </a:rPr>
                <a:t>神经网络拓扑结构示例</a:t>
              </a:r>
            </a:p>
          </p:txBody>
        </p:sp>
      </p:grpSp>
      <p:cxnSp>
        <p:nvCxnSpPr>
          <p:cNvPr id="267" name="Straight Connector 266"/>
          <p:cNvCxnSpPr>
            <a:cxnSpLocks/>
          </p:cNvCxnSpPr>
          <p:nvPr/>
        </p:nvCxnSpPr>
        <p:spPr>
          <a:xfrm>
            <a:off x="3277147" y="1572599"/>
            <a:ext cx="0" cy="2017761"/>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268" name="Slide Number"/>
          <p:cNvSpPr txBox="1">
            <a:spLocks/>
          </p:cNvSpPr>
          <p:nvPr/>
        </p:nvSpPr>
        <p:spPr bwMode="auto">
          <a:xfrm>
            <a:off x="8564563" y="6508272"/>
            <a:ext cx="57708"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r>
              <a:rPr lang="zh-CN" sz="800" baseline="0" dirty="0">
                <a:solidFill>
                  <a:schemeClr val="bg1"/>
                </a:solidFill>
                <a:ea typeface="楷体" panose="02010609060101010101" pitchFamily="49" charset="-122"/>
                <a:cs typeface="SimSun"/>
              </a:rPr>
              <a:t>6</a:t>
            </a:r>
          </a:p>
        </p:txBody>
      </p:sp>
      <p:sp>
        <p:nvSpPr>
          <p:cNvPr id="269" name="SlideLogoText"/>
          <p:cNvSpPr>
            <a:spLocks noChangeArrowheads="1"/>
          </p:cNvSpPr>
          <p:nvPr>
            <p:custDataLst>
              <p:tags r:id="rId1"/>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zh-CN" sz="800" baseline="0" dirty="0">
                <a:solidFill>
                  <a:schemeClr val="bg1"/>
                </a:solidFill>
                <a:latin typeface="+mn-lt"/>
                <a:ea typeface="楷体" panose="02010609060101010101" pitchFamily="49" charset="-122"/>
                <a:cs typeface="SimSun"/>
              </a:rPr>
              <a:t>McKinsey &amp; Company</a:t>
            </a:r>
          </a:p>
        </p:txBody>
      </p:sp>
    </p:spTree>
    <p:extLst>
      <p:ext uri="{BB962C8B-B14F-4D97-AF65-F5344CB8AC3E}">
        <p14:creationId xmlns:p14="http://schemas.microsoft.com/office/powerpoint/2010/main" val="2163436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2" name="Group 171"/>
          <p:cNvGrpSpPr>
            <a:grpSpLocks/>
          </p:cNvGrpSpPr>
          <p:nvPr/>
        </p:nvGrpSpPr>
        <p:grpSpPr>
          <a:xfrm>
            <a:off x="0" y="-1"/>
            <a:ext cx="8961438" cy="6721475"/>
            <a:chOff x="749301" y="-1"/>
            <a:chExt cx="8961438" cy="6721475"/>
          </a:xfrm>
        </p:grpSpPr>
        <p:grpSp>
          <p:nvGrpSpPr>
            <p:cNvPr id="173" name="Group 172"/>
            <p:cNvGrpSpPr>
              <a:grpSpLocks/>
            </p:cNvGrpSpPr>
            <p:nvPr/>
          </p:nvGrpSpPr>
          <p:grpSpPr>
            <a:xfrm>
              <a:off x="749301" y="-1"/>
              <a:ext cx="8961438" cy="6721475"/>
              <a:chOff x="-12625388" y="-4110038"/>
              <a:chExt cx="11771313" cy="11769726"/>
            </a:xfrm>
          </p:grpSpPr>
          <p:sp>
            <p:nvSpPr>
              <p:cNvPr id="193" name="Freeform 305"/>
              <p:cNvSpPr>
                <a:spLocks noEditPoints="1"/>
              </p:cNvSpPr>
              <p:nvPr/>
            </p:nvSpPr>
            <p:spPr bwMode="auto">
              <a:xfrm>
                <a:off x="-12625388" y="-4110038"/>
                <a:ext cx="11771313" cy="11769725"/>
              </a:xfrm>
              <a:custGeom>
                <a:avLst/>
                <a:gdLst>
                  <a:gd name="T0" fmla="*/ 15360 w 15446"/>
                  <a:gd name="T1" fmla="*/ 14351 h 15446"/>
                  <a:gd name="T2" fmla="*/ 11037 w 15446"/>
                  <a:gd name="T3" fmla="*/ 13656 h 15446"/>
                  <a:gd name="T4" fmla="*/ 5936 w 15446"/>
                  <a:gd name="T5" fmla="*/ 12632 h 15446"/>
                  <a:gd name="T6" fmla="*/ 13164 w 15446"/>
                  <a:gd name="T7" fmla="*/ 15446 h 15446"/>
                  <a:gd name="T8" fmla="*/ 7984 w 15446"/>
                  <a:gd name="T9" fmla="*/ 14465 h 15446"/>
                  <a:gd name="T10" fmla="*/ 4300 w 15446"/>
                  <a:gd name="T11" fmla="*/ 15446 h 15446"/>
                  <a:gd name="T12" fmla="*/ 750 w 15446"/>
                  <a:gd name="T13" fmla="*/ 12746 h 15446"/>
                  <a:gd name="T14" fmla="*/ 750 w 15446"/>
                  <a:gd name="T15" fmla="*/ 12746 h 15446"/>
                  <a:gd name="T16" fmla="*/ 750 w 15446"/>
                  <a:gd name="T17" fmla="*/ 12746 h 15446"/>
                  <a:gd name="T18" fmla="*/ 371 w 15446"/>
                  <a:gd name="T19" fmla="*/ 15010 h 15446"/>
                  <a:gd name="T20" fmla="*/ 14542 w 15446"/>
                  <a:gd name="T21" fmla="*/ 0 h 15446"/>
                  <a:gd name="T22" fmla="*/ 7468 w 15446"/>
                  <a:gd name="T23" fmla="*/ 1574 h 15446"/>
                  <a:gd name="T24" fmla="*/ 7468 w 15446"/>
                  <a:gd name="T25" fmla="*/ 1574 h 15446"/>
                  <a:gd name="T26" fmla="*/ 3502 w 15446"/>
                  <a:gd name="T27" fmla="*/ 2789 h 15446"/>
                  <a:gd name="T28" fmla="*/ 1065 w 15446"/>
                  <a:gd name="T29" fmla="*/ 1273 h 15446"/>
                  <a:gd name="T30" fmla="*/ 120 w 15446"/>
                  <a:gd name="T31" fmla="*/ 3894 h 15446"/>
                  <a:gd name="T32" fmla="*/ 1145 w 15446"/>
                  <a:gd name="T33" fmla="*/ 6872 h 15446"/>
                  <a:gd name="T34" fmla="*/ 0 w 15446"/>
                  <a:gd name="T35" fmla="*/ 7970 h 15446"/>
                  <a:gd name="T36" fmla="*/ 2324 w 15446"/>
                  <a:gd name="T37" fmla="*/ 8914 h 15446"/>
                  <a:gd name="T38" fmla="*/ 3502 w 15446"/>
                  <a:gd name="T39" fmla="*/ 10955 h 15446"/>
                  <a:gd name="T40" fmla="*/ 2324 w 15446"/>
                  <a:gd name="T41" fmla="*/ 8914 h 15446"/>
                  <a:gd name="T42" fmla="*/ 586 w 15446"/>
                  <a:gd name="T43" fmla="*/ 11428 h 15446"/>
                  <a:gd name="T44" fmla="*/ 3502 w 15446"/>
                  <a:gd name="T45" fmla="*/ 10956 h 15446"/>
                  <a:gd name="T46" fmla="*/ 4943 w 15446"/>
                  <a:gd name="T47" fmla="*/ 15446 h 15446"/>
                  <a:gd name="T48" fmla="*/ 901 w 15446"/>
                  <a:gd name="T49" fmla="*/ 1246 h 15446"/>
                  <a:gd name="T50" fmla="*/ 2324 w 15446"/>
                  <a:gd name="T51" fmla="*/ 748 h 15446"/>
                  <a:gd name="T52" fmla="*/ 45 w 15446"/>
                  <a:gd name="T53" fmla="*/ 0 h 15446"/>
                  <a:gd name="T54" fmla="*/ 3737 w 15446"/>
                  <a:gd name="T55" fmla="*/ 15446 h 15446"/>
                  <a:gd name="T56" fmla="*/ 11037 w 15446"/>
                  <a:gd name="T57" fmla="*/ 13656 h 15446"/>
                  <a:gd name="T58" fmla="*/ 8413 w 15446"/>
                  <a:gd name="T59" fmla="*/ 8879 h 15446"/>
                  <a:gd name="T60" fmla="*/ 10777 w 15446"/>
                  <a:gd name="T61" fmla="*/ 9480 h 15446"/>
                  <a:gd name="T62" fmla="*/ 14110 w 15446"/>
                  <a:gd name="T63" fmla="*/ 8914 h 15446"/>
                  <a:gd name="T64" fmla="*/ 12931 w 15446"/>
                  <a:gd name="T65" fmla="*/ 10955 h 15446"/>
                  <a:gd name="T66" fmla="*/ 14110 w 15446"/>
                  <a:gd name="T67" fmla="*/ 12997 h 15446"/>
                  <a:gd name="T68" fmla="*/ 2324 w 15446"/>
                  <a:gd name="T69" fmla="*/ 12997 h 15446"/>
                  <a:gd name="T70" fmla="*/ 5935 w 15446"/>
                  <a:gd name="T71" fmla="*/ 12631 h 15446"/>
                  <a:gd name="T72" fmla="*/ 5936 w 15446"/>
                  <a:gd name="T73" fmla="*/ 12632 h 15446"/>
                  <a:gd name="T74" fmla="*/ 12931 w 15446"/>
                  <a:gd name="T75" fmla="*/ 6872 h 15446"/>
                  <a:gd name="T76" fmla="*/ 12931 w 15446"/>
                  <a:gd name="T77" fmla="*/ 6872 h 15446"/>
                  <a:gd name="T78" fmla="*/ 5860 w 15446"/>
                  <a:gd name="T79" fmla="*/ 6872 h 15446"/>
                  <a:gd name="T80" fmla="*/ 7038 w 15446"/>
                  <a:gd name="T81" fmla="*/ 8914 h 15446"/>
                  <a:gd name="T82" fmla="*/ 15446 w 15446"/>
                  <a:gd name="T83" fmla="*/ 8914 h 15446"/>
                  <a:gd name="T84" fmla="*/ 8217 w 15446"/>
                  <a:gd name="T85" fmla="*/ 6872 h 15446"/>
                  <a:gd name="T86" fmla="*/ 4159 w 15446"/>
                  <a:gd name="T87" fmla="*/ 4109 h 15446"/>
                  <a:gd name="T88" fmla="*/ 4159 w 15446"/>
                  <a:gd name="T89" fmla="*/ 4109 h 15446"/>
                  <a:gd name="T90" fmla="*/ 2557 w 15446"/>
                  <a:gd name="T91" fmla="*/ 7302 h 15446"/>
                  <a:gd name="T92" fmla="*/ 5860 w 15446"/>
                  <a:gd name="T93" fmla="*/ 6872 h 15446"/>
                  <a:gd name="T94" fmla="*/ 15446 w 15446"/>
                  <a:gd name="T95" fmla="*/ 7072 h 15446"/>
                  <a:gd name="T96" fmla="*/ 10574 w 15446"/>
                  <a:gd name="T97" fmla="*/ 6872 h 15446"/>
                  <a:gd name="T98" fmla="*/ 10574 w 15446"/>
                  <a:gd name="T99" fmla="*/ 6872 h 15446"/>
                  <a:gd name="T100" fmla="*/ 9316 w 15446"/>
                  <a:gd name="T101" fmla="*/ 6257 h 15446"/>
                  <a:gd name="T102" fmla="*/ 12655 w 15446"/>
                  <a:gd name="T103" fmla="*/ 5604 h 15446"/>
                  <a:gd name="T104" fmla="*/ 9316 w 15446"/>
                  <a:gd name="T105" fmla="*/ 6257 h 15446"/>
                  <a:gd name="T106" fmla="*/ 12655 w 15446"/>
                  <a:gd name="T107" fmla="*/ 5604 h 15446"/>
                  <a:gd name="T108" fmla="*/ 8410 w 15446"/>
                  <a:gd name="T109" fmla="*/ 2581 h 15446"/>
                  <a:gd name="T110" fmla="*/ 7038 w 15446"/>
                  <a:gd name="T111" fmla="*/ 4831 h 15446"/>
                  <a:gd name="T112" fmla="*/ 14110 w 15446"/>
                  <a:gd name="T113" fmla="*/ 4831 h 15446"/>
                  <a:gd name="T114" fmla="*/ 14110 w 15446"/>
                  <a:gd name="T115" fmla="*/ 4831 h 15446"/>
                  <a:gd name="T116" fmla="*/ 4603 w 15446"/>
                  <a:gd name="T117" fmla="*/ 3765 h 15446"/>
                  <a:gd name="T118" fmla="*/ 9396 w 15446"/>
                  <a:gd name="T119" fmla="*/ 748 h 15446"/>
                  <a:gd name="T120" fmla="*/ 5859 w 15446"/>
                  <a:gd name="T121" fmla="*/ 2790 h 15446"/>
                  <a:gd name="T122" fmla="*/ 15446 w 15446"/>
                  <a:gd name="T123" fmla="*/ 1876 h 15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46" h="15446">
                    <a:moveTo>
                      <a:pt x="14929" y="15446"/>
                    </a:moveTo>
                    <a:lnTo>
                      <a:pt x="14929" y="15446"/>
                    </a:lnTo>
                    <a:lnTo>
                      <a:pt x="15360" y="14351"/>
                    </a:lnTo>
                    <a:lnTo>
                      <a:pt x="13552" y="15446"/>
                    </a:lnTo>
                    <a:lnTo>
                      <a:pt x="15360" y="14351"/>
                    </a:lnTo>
                    <a:lnTo>
                      <a:pt x="14710" y="13647"/>
                    </a:lnTo>
                    <a:lnTo>
                      <a:pt x="15360" y="14351"/>
                    </a:lnTo>
                    <a:lnTo>
                      <a:pt x="15446" y="14344"/>
                    </a:lnTo>
                    <a:lnTo>
                      <a:pt x="15446" y="14344"/>
                    </a:lnTo>
                    <a:lnTo>
                      <a:pt x="15360" y="14351"/>
                    </a:lnTo>
                    <a:lnTo>
                      <a:pt x="14929" y="15446"/>
                    </a:lnTo>
                    <a:moveTo>
                      <a:pt x="13164" y="15446"/>
                    </a:moveTo>
                    <a:lnTo>
                      <a:pt x="13164" y="15446"/>
                    </a:lnTo>
                    <a:lnTo>
                      <a:pt x="11037" y="13656"/>
                    </a:lnTo>
                    <a:lnTo>
                      <a:pt x="11394" y="15446"/>
                    </a:lnTo>
                    <a:lnTo>
                      <a:pt x="11394" y="15446"/>
                    </a:lnTo>
                    <a:lnTo>
                      <a:pt x="11037" y="13656"/>
                    </a:lnTo>
                    <a:lnTo>
                      <a:pt x="9396" y="12997"/>
                    </a:lnTo>
                    <a:lnTo>
                      <a:pt x="9395" y="12997"/>
                    </a:lnTo>
                    <a:lnTo>
                      <a:pt x="9396" y="12997"/>
                    </a:lnTo>
                    <a:lnTo>
                      <a:pt x="5936" y="12632"/>
                    </a:lnTo>
                    <a:lnTo>
                      <a:pt x="9395" y="12997"/>
                    </a:lnTo>
                    <a:lnTo>
                      <a:pt x="9395" y="12997"/>
                    </a:lnTo>
                    <a:lnTo>
                      <a:pt x="11037" y="13656"/>
                    </a:lnTo>
                    <a:lnTo>
                      <a:pt x="11037" y="13656"/>
                    </a:lnTo>
                    <a:lnTo>
                      <a:pt x="11037" y="13656"/>
                    </a:lnTo>
                    <a:lnTo>
                      <a:pt x="11037" y="13656"/>
                    </a:lnTo>
                    <a:lnTo>
                      <a:pt x="13164" y="15446"/>
                    </a:lnTo>
                    <a:moveTo>
                      <a:pt x="8513" y="15446"/>
                    </a:moveTo>
                    <a:lnTo>
                      <a:pt x="6538" y="15446"/>
                    </a:lnTo>
                    <a:lnTo>
                      <a:pt x="7984" y="14465"/>
                    </a:lnTo>
                    <a:lnTo>
                      <a:pt x="6538" y="15446"/>
                    </a:lnTo>
                    <a:lnTo>
                      <a:pt x="7984" y="14465"/>
                    </a:lnTo>
                    <a:lnTo>
                      <a:pt x="7376" y="13922"/>
                    </a:lnTo>
                    <a:lnTo>
                      <a:pt x="7984" y="14465"/>
                    </a:lnTo>
                    <a:lnTo>
                      <a:pt x="8513" y="15446"/>
                    </a:lnTo>
                    <a:moveTo>
                      <a:pt x="4943" y="15446"/>
                    </a:moveTo>
                    <a:lnTo>
                      <a:pt x="4943" y="15446"/>
                    </a:lnTo>
                    <a:lnTo>
                      <a:pt x="3564" y="14028"/>
                    </a:lnTo>
                    <a:lnTo>
                      <a:pt x="3502" y="15039"/>
                    </a:lnTo>
                    <a:lnTo>
                      <a:pt x="4300" y="15446"/>
                    </a:lnTo>
                    <a:lnTo>
                      <a:pt x="4300" y="15446"/>
                    </a:lnTo>
                    <a:lnTo>
                      <a:pt x="3502" y="15039"/>
                    </a:lnTo>
                    <a:lnTo>
                      <a:pt x="3502" y="15039"/>
                    </a:lnTo>
                    <a:lnTo>
                      <a:pt x="3502" y="15039"/>
                    </a:lnTo>
                    <a:lnTo>
                      <a:pt x="3564" y="14028"/>
                    </a:lnTo>
                    <a:lnTo>
                      <a:pt x="2324" y="12997"/>
                    </a:lnTo>
                    <a:lnTo>
                      <a:pt x="2324" y="12997"/>
                    </a:lnTo>
                    <a:lnTo>
                      <a:pt x="750" y="12746"/>
                    </a:lnTo>
                    <a:lnTo>
                      <a:pt x="750" y="12746"/>
                    </a:lnTo>
                    <a:lnTo>
                      <a:pt x="750" y="12746"/>
                    </a:lnTo>
                    <a:lnTo>
                      <a:pt x="750" y="12746"/>
                    </a:lnTo>
                    <a:lnTo>
                      <a:pt x="586" y="11428"/>
                    </a:lnTo>
                    <a:lnTo>
                      <a:pt x="0" y="11274"/>
                    </a:lnTo>
                    <a:lnTo>
                      <a:pt x="0" y="12062"/>
                    </a:lnTo>
                    <a:lnTo>
                      <a:pt x="750" y="12746"/>
                    </a:lnTo>
                    <a:lnTo>
                      <a:pt x="750" y="12746"/>
                    </a:lnTo>
                    <a:lnTo>
                      <a:pt x="0" y="12062"/>
                    </a:lnTo>
                    <a:lnTo>
                      <a:pt x="750" y="12746"/>
                    </a:lnTo>
                    <a:lnTo>
                      <a:pt x="0" y="13667"/>
                    </a:lnTo>
                    <a:lnTo>
                      <a:pt x="0" y="15111"/>
                    </a:lnTo>
                    <a:lnTo>
                      <a:pt x="371" y="15010"/>
                    </a:lnTo>
                    <a:lnTo>
                      <a:pt x="750" y="12746"/>
                    </a:lnTo>
                    <a:lnTo>
                      <a:pt x="750" y="12746"/>
                    </a:lnTo>
                    <a:lnTo>
                      <a:pt x="372" y="15010"/>
                    </a:lnTo>
                    <a:lnTo>
                      <a:pt x="1152" y="14205"/>
                    </a:lnTo>
                    <a:lnTo>
                      <a:pt x="372" y="15010"/>
                    </a:lnTo>
                    <a:lnTo>
                      <a:pt x="482" y="15446"/>
                    </a:lnTo>
                    <a:lnTo>
                      <a:pt x="482" y="15446"/>
                    </a:lnTo>
                    <a:lnTo>
                      <a:pt x="371" y="15010"/>
                    </a:lnTo>
                    <a:lnTo>
                      <a:pt x="0" y="15111"/>
                    </a:lnTo>
                    <a:lnTo>
                      <a:pt x="0" y="15446"/>
                    </a:lnTo>
                    <a:lnTo>
                      <a:pt x="0" y="0"/>
                    </a:lnTo>
                    <a:lnTo>
                      <a:pt x="15446" y="0"/>
                    </a:lnTo>
                    <a:lnTo>
                      <a:pt x="14542" y="0"/>
                    </a:lnTo>
                    <a:lnTo>
                      <a:pt x="14110" y="748"/>
                    </a:lnTo>
                    <a:lnTo>
                      <a:pt x="14542" y="0"/>
                    </a:lnTo>
                    <a:lnTo>
                      <a:pt x="8964" y="0"/>
                    </a:lnTo>
                    <a:lnTo>
                      <a:pt x="9395" y="747"/>
                    </a:lnTo>
                    <a:lnTo>
                      <a:pt x="9395" y="747"/>
                    </a:lnTo>
                    <a:lnTo>
                      <a:pt x="8964" y="0"/>
                    </a:lnTo>
                    <a:lnTo>
                      <a:pt x="7879" y="0"/>
                    </a:lnTo>
                    <a:lnTo>
                      <a:pt x="7468" y="1574"/>
                    </a:lnTo>
                    <a:lnTo>
                      <a:pt x="7468" y="1574"/>
                    </a:lnTo>
                    <a:lnTo>
                      <a:pt x="7879" y="0"/>
                    </a:lnTo>
                    <a:lnTo>
                      <a:pt x="6111" y="0"/>
                    </a:lnTo>
                    <a:lnTo>
                      <a:pt x="7468" y="1574"/>
                    </a:lnTo>
                    <a:lnTo>
                      <a:pt x="6111" y="0"/>
                    </a:lnTo>
                    <a:lnTo>
                      <a:pt x="4249" y="0"/>
                    </a:lnTo>
                    <a:lnTo>
                      <a:pt x="4681" y="748"/>
                    </a:lnTo>
                    <a:lnTo>
                      <a:pt x="7468" y="1574"/>
                    </a:lnTo>
                    <a:lnTo>
                      <a:pt x="7468" y="1574"/>
                    </a:lnTo>
                    <a:lnTo>
                      <a:pt x="4681" y="748"/>
                    </a:lnTo>
                    <a:lnTo>
                      <a:pt x="5860" y="2789"/>
                    </a:lnTo>
                    <a:lnTo>
                      <a:pt x="5859" y="2789"/>
                    </a:lnTo>
                    <a:lnTo>
                      <a:pt x="4681" y="748"/>
                    </a:lnTo>
                    <a:lnTo>
                      <a:pt x="3502" y="2790"/>
                    </a:lnTo>
                    <a:lnTo>
                      <a:pt x="3502" y="2789"/>
                    </a:lnTo>
                    <a:lnTo>
                      <a:pt x="4681" y="748"/>
                    </a:lnTo>
                    <a:lnTo>
                      <a:pt x="2324" y="748"/>
                    </a:lnTo>
                    <a:lnTo>
                      <a:pt x="3502" y="2789"/>
                    </a:lnTo>
                    <a:lnTo>
                      <a:pt x="3502" y="2789"/>
                    </a:lnTo>
                    <a:lnTo>
                      <a:pt x="2324" y="748"/>
                    </a:lnTo>
                    <a:lnTo>
                      <a:pt x="1065" y="1273"/>
                    </a:lnTo>
                    <a:lnTo>
                      <a:pt x="1065" y="1273"/>
                    </a:lnTo>
                    <a:lnTo>
                      <a:pt x="1065" y="1273"/>
                    </a:lnTo>
                    <a:lnTo>
                      <a:pt x="1065" y="1273"/>
                    </a:lnTo>
                    <a:lnTo>
                      <a:pt x="120" y="3894"/>
                    </a:lnTo>
                    <a:lnTo>
                      <a:pt x="2324" y="4831"/>
                    </a:lnTo>
                    <a:lnTo>
                      <a:pt x="2324" y="4831"/>
                    </a:lnTo>
                    <a:lnTo>
                      <a:pt x="120" y="3894"/>
                    </a:lnTo>
                    <a:lnTo>
                      <a:pt x="120" y="3894"/>
                    </a:lnTo>
                    <a:lnTo>
                      <a:pt x="1065" y="1273"/>
                    </a:lnTo>
                    <a:lnTo>
                      <a:pt x="0" y="1982"/>
                    </a:lnTo>
                    <a:lnTo>
                      <a:pt x="0" y="3795"/>
                    </a:lnTo>
                    <a:lnTo>
                      <a:pt x="120" y="3894"/>
                    </a:lnTo>
                    <a:lnTo>
                      <a:pt x="120" y="3894"/>
                    </a:lnTo>
                    <a:lnTo>
                      <a:pt x="270" y="4331"/>
                    </a:lnTo>
                    <a:lnTo>
                      <a:pt x="1145" y="6872"/>
                    </a:lnTo>
                    <a:lnTo>
                      <a:pt x="270" y="4331"/>
                    </a:lnTo>
                    <a:lnTo>
                      <a:pt x="1145" y="6872"/>
                    </a:lnTo>
                    <a:lnTo>
                      <a:pt x="2088" y="5239"/>
                    </a:lnTo>
                    <a:lnTo>
                      <a:pt x="1145" y="6872"/>
                    </a:lnTo>
                    <a:lnTo>
                      <a:pt x="1145" y="6872"/>
                    </a:lnTo>
                    <a:lnTo>
                      <a:pt x="1109" y="6907"/>
                    </a:lnTo>
                    <a:lnTo>
                      <a:pt x="0" y="7970"/>
                    </a:lnTo>
                    <a:lnTo>
                      <a:pt x="1109" y="6907"/>
                    </a:lnTo>
                    <a:lnTo>
                      <a:pt x="0" y="7970"/>
                    </a:lnTo>
                    <a:lnTo>
                      <a:pt x="0" y="8978"/>
                    </a:lnTo>
                    <a:lnTo>
                      <a:pt x="2324" y="8914"/>
                    </a:lnTo>
                    <a:lnTo>
                      <a:pt x="1145" y="6872"/>
                    </a:lnTo>
                    <a:lnTo>
                      <a:pt x="2324" y="8914"/>
                    </a:lnTo>
                    <a:lnTo>
                      <a:pt x="2324" y="8914"/>
                    </a:lnTo>
                    <a:lnTo>
                      <a:pt x="4116" y="9609"/>
                    </a:lnTo>
                    <a:lnTo>
                      <a:pt x="3114" y="8126"/>
                    </a:lnTo>
                    <a:lnTo>
                      <a:pt x="4116" y="9609"/>
                    </a:lnTo>
                    <a:lnTo>
                      <a:pt x="5860" y="10955"/>
                    </a:lnTo>
                    <a:lnTo>
                      <a:pt x="5859" y="10955"/>
                    </a:lnTo>
                    <a:lnTo>
                      <a:pt x="4116" y="9609"/>
                    </a:lnTo>
                    <a:lnTo>
                      <a:pt x="3502" y="10955"/>
                    </a:lnTo>
                    <a:lnTo>
                      <a:pt x="3502" y="10955"/>
                    </a:lnTo>
                    <a:lnTo>
                      <a:pt x="3502" y="10955"/>
                    </a:lnTo>
                    <a:lnTo>
                      <a:pt x="3502" y="10955"/>
                    </a:lnTo>
                    <a:lnTo>
                      <a:pt x="4116" y="9609"/>
                    </a:lnTo>
                    <a:lnTo>
                      <a:pt x="2324" y="8914"/>
                    </a:lnTo>
                    <a:lnTo>
                      <a:pt x="2324" y="8914"/>
                    </a:lnTo>
                    <a:lnTo>
                      <a:pt x="2324" y="8914"/>
                    </a:lnTo>
                    <a:lnTo>
                      <a:pt x="2324" y="8914"/>
                    </a:lnTo>
                    <a:lnTo>
                      <a:pt x="2324" y="8914"/>
                    </a:lnTo>
                    <a:lnTo>
                      <a:pt x="0" y="8978"/>
                    </a:lnTo>
                    <a:lnTo>
                      <a:pt x="0" y="11274"/>
                    </a:lnTo>
                    <a:lnTo>
                      <a:pt x="586" y="11428"/>
                    </a:lnTo>
                    <a:lnTo>
                      <a:pt x="1542" y="10045"/>
                    </a:lnTo>
                    <a:lnTo>
                      <a:pt x="586" y="11428"/>
                    </a:lnTo>
                    <a:lnTo>
                      <a:pt x="3502" y="10955"/>
                    </a:lnTo>
                    <a:lnTo>
                      <a:pt x="586" y="11428"/>
                    </a:lnTo>
                    <a:lnTo>
                      <a:pt x="750" y="12746"/>
                    </a:lnTo>
                    <a:lnTo>
                      <a:pt x="2324" y="12997"/>
                    </a:lnTo>
                    <a:lnTo>
                      <a:pt x="2324" y="12997"/>
                    </a:lnTo>
                    <a:lnTo>
                      <a:pt x="3564" y="14028"/>
                    </a:lnTo>
                    <a:lnTo>
                      <a:pt x="3502" y="10956"/>
                    </a:lnTo>
                    <a:lnTo>
                      <a:pt x="3564" y="14028"/>
                    </a:lnTo>
                    <a:lnTo>
                      <a:pt x="5860" y="10956"/>
                    </a:lnTo>
                    <a:lnTo>
                      <a:pt x="5860" y="10956"/>
                    </a:lnTo>
                    <a:lnTo>
                      <a:pt x="3564" y="14028"/>
                    </a:lnTo>
                    <a:lnTo>
                      <a:pt x="3564" y="14028"/>
                    </a:lnTo>
                    <a:lnTo>
                      <a:pt x="3564" y="14028"/>
                    </a:lnTo>
                    <a:lnTo>
                      <a:pt x="4943" y="15446"/>
                    </a:lnTo>
                    <a:moveTo>
                      <a:pt x="0" y="3795"/>
                    </a:moveTo>
                    <a:lnTo>
                      <a:pt x="120" y="3894"/>
                    </a:lnTo>
                    <a:lnTo>
                      <a:pt x="0" y="3795"/>
                    </a:lnTo>
                    <a:moveTo>
                      <a:pt x="0" y="1099"/>
                    </a:moveTo>
                    <a:lnTo>
                      <a:pt x="0" y="1982"/>
                    </a:lnTo>
                    <a:lnTo>
                      <a:pt x="1065" y="1273"/>
                    </a:lnTo>
                    <a:lnTo>
                      <a:pt x="901" y="1246"/>
                    </a:lnTo>
                    <a:lnTo>
                      <a:pt x="1065" y="1273"/>
                    </a:lnTo>
                    <a:lnTo>
                      <a:pt x="2324" y="748"/>
                    </a:lnTo>
                    <a:lnTo>
                      <a:pt x="0" y="916"/>
                    </a:lnTo>
                    <a:lnTo>
                      <a:pt x="0" y="1099"/>
                    </a:lnTo>
                    <a:moveTo>
                      <a:pt x="0" y="52"/>
                    </a:moveTo>
                    <a:lnTo>
                      <a:pt x="0" y="916"/>
                    </a:lnTo>
                    <a:lnTo>
                      <a:pt x="2324" y="748"/>
                    </a:lnTo>
                    <a:lnTo>
                      <a:pt x="4681" y="748"/>
                    </a:lnTo>
                    <a:lnTo>
                      <a:pt x="4249" y="0"/>
                    </a:lnTo>
                    <a:lnTo>
                      <a:pt x="1892" y="0"/>
                    </a:lnTo>
                    <a:lnTo>
                      <a:pt x="2324" y="748"/>
                    </a:lnTo>
                    <a:lnTo>
                      <a:pt x="2324" y="748"/>
                    </a:lnTo>
                    <a:lnTo>
                      <a:pt x="1892" y="0"/>
                    </a:lnTo>
                    <a:lnTo>
                      <a:pt x="45" y="0"/>
                    </a:lnTo>
                    <a:lnTo>
                      <a:pt x="0" y="52"/>
                    </a:lnTo>
                    <a:moveTo>
                      <a:pt x="0" y="0"/>
                    </a:moveTo>
                    <a:lnTo>
                      <a:pt x="0" y="52"/>
                    </a:lnTo>
                    <a:lnTo>
                      <a:pt x="44" y="0"/>
                    </a:lnTo>
                    <a:lnTo>
                      <a:pt x="0" y="0"/>
                    </a:lnTo>
                    <a:moveTo>
                      <a:pt x="3737" y="15446"/>
                    </a:moveTo>
                    <a:lnTo>
                      <a:pt x="3737" y="15446"/>
                    </a:lnTo>
                    <a:lnTo>
                      <a:pt x="3502" y="15039"/>
                    </a:lnTo>
                    <a:lnTo>
                      <a:pt x="3737" y="15446"/>
                    </a:lnTo>
                    <a:moveTo>
                      <a:pt x="1074" y="15446"/>
                    </a:moveTo>
                    <a:lnTo>
                      <a:pt x="1074" y="15446"/>
                    </a:lnTo>
                    <a:lnTo>
                      <a:pt x="800" y="15275"/>
                    </a:lnTo>
                    <a:lnTo>
                      <a:pt x="1074" y="15446"/>
                    </a:lnTo>
                    <a:moveTo>
                      <a:pt x="11037" y="13656"/>
                    </a:moveTo>
                    <a:lnTo>
                      <a:pt x="12931" y="10955"/>
                    </a:lnTo>
                    <a:lnTo>
                      <a:pt x="10777" y="9480"/>
                    </a:lnTo>
                    <a:lnTo>
                      <a:pt x="10433" y="11715"/>
                    </a:lnTo>
                    <a:lnTo>
                      <a:pt x="10433" y="11715"/>
                    </a:lnTo>
                    <a:lnTo>
                      <a:pt x="10433" y="11715"/>
                    </a:lnTo>
                    <a:lnTo>
                      <a:pt x="10777" y="9480"/>
                    </a:lnTo>
                    <a:lnTo>
                      <a:pt x="8413" y="8879"/>
                    </a:lnTo>
                    <a:lnTo>
                      <a:pt x="8413" y="8879"/>
                    </a:lnTo>
                    <a:lnTo>
                      <a:pt x="8413" y="8879"/>
                    </a:lnTo>
                    <a:lnTo>
                      <a:pt x="8413" y="8879"/>
                    </a:lnTo>
                    <a:lnTo>
                      <a:pt x="7038" y="8914"/>
                    </a:lnTo>
                    <a:lnTo>
                      <a:pt x="7038" y="8914"/>
                    </a:lnTo>
                    <a:lnTo>
                      <a:pt x="8413" y="8879"/>
                    </a:lnTo>
                    <a:lnTo>
                      <a:pt x="10777" y="9480"/>
                    </a:lnTo>
                    <a:lnTo>
                      <a:pt x="10777" y="9480"/>
                    </a:lnTo>
                    <a:lnTo>
                      <a:pt x="10777" y="9480"/>
                    </a:lnTo>
                    <a:lnTo>
                      <a:pt x="10777" y="9480"/>
                    </a:lnTo>
                    <a:lnTo>
                      <a:pt x="12931" y="10955"/>
                    </a:lnTo>
                    <a:lnTo>
                      <a:pt x="13871" y="11844"/>
                    </a:lnTo>
                    <a:lnTo>
                      <a:pt x="14110" y="8914"/>
                    </a:lnTo>
                    <a:lnTo>
                      <a:pt x="14110" y="8914"/>
                    </a:lnTo>
                    <a:lnTo>
                      <a:pt x="13871" y="11844"/>
                    </a:lnTo>
                    <a:lnTo>
                      <a:pt x="15446" y="11473"/>
                    </a:lnTo>
                    <a:lnTo>
                      <a:pt x="15446" y="11473"/>
                    </a:lnTo>
                    <a:lnTo>
                      <a:pt x="13871" y="11844"/>
                    </a:lnTo>
                    <a:lnTo>
                      <a:pt x="14069" y="12799"/>
                    </a:lnTo>
                    <a:lnTo>
                      <a:pt x="13871" y="11844"/>
                    </a:lnTo>
                    <a:lnTo>
                      <a:pt x="12931" y="10955"/>
                    </a:lnTo>
                    <a:lnTo>
                      <a:pt x="14110" y="12997"/>
                    </a:lnTo>
                    <a:lnTo>
                      <a:pt x="14110" y="12997"/>
                    </a:lnTo>
                    <a:lnTo>
                      <a:pt x="14110" y="12997"/>
                    </a:lnTo>
                    <a:lnTo>
                      <a:pt x="12931" y="10955"/>
                    </a:lnTo>
                    <a:lnTo>
                      <a:pt x="11037" y="13656"/>
                    </a:lnTo>
                    <a:moveTo>
                      <a:pt x="15446" y="12997"/>
                    </a:moveTo>
                    <a:lnTo>
                      <a:pt x="14110" y="12997"/>
                    </a:lnTo>
                    <a:lnTo>
                      <a:pt x="14110" y="12997"/>
                    </a:lnTo>
                    <a:lnTo>
                      <a:pt x="15446" y="12997"/>
                    </a:lnTo>
                    <a:lnTo>
                      <a:pt x="15446" y="12997"/>
                    </a:lnTo>
                    <a:moveTo>
                      <a:pt x="2324" y="12997"/>
                    </a:moveTo>
                    <a:lnTo>
                      <a:pt x="586" y="11428"/>
                    </a:lnTo>
                    <a:lnTo>
                      <a:pt x="2324" y="12997"/>
                    </a:lnTo>
                    <a:lnTo>
                      <a:pt x="2324" y="12997"/>
                    </a:lnTo>
                    <a:moveTo>
                      <a:pt x="750" y="12746"/>
                    </a:moveTo>
                    <a:lnTo>
                      <a:pt x="750" y="12746"/>
                    </a:lnTo>
                    <a:lnTo>
                      <a:pt x="750" y="12746"/>
                    </a:lnTo>
                    <a:lnTo>
                      <a:pt x="750" y="12746"/>
                    </a:lnTo>
                    <a:lnTo>
                      <a:pt x="750" y="12746"/>
                    </a:lnTo>
                    <a:moveTo>
                      <a:pt x="5936" y="12632"/>
                    </a:moveTo>
                    <a:lnTo>
                      <a:pt x="5935" y="12631"/>
                    </a:lnTo>
                    <a:lnTo>
                      <a:pt x="7357" y="11428"/>
                    </a:lnTo>
                    <a:lnTo>
                      <a:pt x="5860" y="10955"/>
                    </a:lnTo>
                    <a:lnTo>
                      <a:pt x="5860" y="10955"/>
                    </a:lnTo>
                    <a:lnTo>
                      <a:pt x="7357" y="11428"/>
                    </a:lnTo>
                    <a:lnTo>
                      <a:pt x="7093" y="9346"/>
                    </a:lnTo>
                    <a:lnTo>
                      <a:pt x="7357" y="11428"/>
                    </a:lnTo>
                    <a:lnTo>
                      <a:pt x="5936" y="12632"/>
                    </a:lnTo>
                    <a:moveTo>
                      <a:pt x="5935" y="12632"/>
                    </a:moveTo>
                    <a:lnTo>
                      <a:pt x="5927" y="12440"/>
                    </a:lnTo>
                    <a:lnTo>
                      <a:pt x="5935" y="12631"/>
                    </a:lnTo>
                    <a:moveTo>
                      <a:pt x="10777" y="9480"/>
                    </a:moveTo>
                    <a:lnTo>
                      <a:pt x="12931" y="6872"/>
                    </a:lnTo>
                    <a:lnTo>
                      <a:pt x="10574" y="6872"/>
                    </a:lnTo>
                    <a:lnTo>
                      <a:pt x="12931" y="6872"/>
                    </a:lnTo>
                    <a:lnTo>
                      <a:pt x="12818" y="6352"/>
                    </a:lnTo>
                    <a:lnTo>
                      <a:pt x="12931" y="6872"/>
                    </a:lnTo>
                    <a:lnTo>
                      <a:pt x="15446" y="7725"/>
                    </a:lnTo>
                    <a:lnTo>
                      <a:pt x="15446" y="7725"/>
                    </a:lnTo>
                    <a:lnTo>
                      <a:pt x="12931" y="6872"/>
                    </a:lnTo>
                    <a:lnTo>
                      <a:pt x="14110" y="8914"/>
                    </a:lnTo>
                    <a:lnTo>
                      <a:pt x="12931" y="6872"/>
                    </a:lnTo>
                    <a:lnTo>
                      <a:pt x="10777" y="9480"/>
                    </a:lnTo>
                    <a:lnTo>
                      <a:pt x="10777" y="9480"/>
                    </a:lnTo>
                    <a:moveTo>
                      <a:pt x="7038" y="8914"/>
                    </a:moveTo>
                    <a:lnTo>
                      <a:pt x="7038" y="8914"/>
                    </a:lnTo>
                    <a:lnTo>
                      <a:pt x="8217" y="6872"/>
                    </a:lnTo>
                    <a:lnTo>
                      <a:pt x="5860" y="6872"/>
                    </a:lnTo>
                    <a:lnTo>
                      <a:pt x="5860" y="6872"/>
                    </a:lnTo>
                    <a:lnTo>
                      <a:pt x="8217" y="6872"/>
                    </a:lnTo>
                    <a:lnTo>
                      <a:pt x="7366" y="5398"/>
                    </a:lnTo>
                    <a:lnTo>
                      <a:pt x="8217" y="6872"/>
                    </a:lnTo>
                    <a:lnTo>
                      <a:pt x="9050" y="6406"/>
                    </a:lnTo>
                    <a:lnTo>
                      <a:pt x="8217" y="6872"/>
                    </a:lnTo>
                    <a:lnTo>
                      <a:pt x="8217" y="6872"/>
                    </a:lnTo>
                    <a:lnTo>
                      <a:pt x="7038" y="8914"/>
                    </a:lnTo>
                    <a:moveTo>
                      <a:pt x="7038" y="8914"/>
                    </a:moveTo>
                    <a:lnTo>
                      <a:pt x="5868" y="6886"/>
                    </a:lnTo>
                    <a:lnTo>
                      <a:pt x="7038" y="8914"/>
                    </a:lnTo>
                    <a:lnTo>
                      <a:pt x="7038" y="8914"/>
                    </a:lnTo>
                    <a:moveTo>
                      <a:pt x="15446" y="8914"/>
                    </a:moveTo>
                    <a:lnTo>
                      <a:pt x="14110" y="8914"/>
                    </a:lnTo>
                    <a:lnTo>
                      <a:pt x="15446" y="8914"/>
                    </a:lnTo>
                    <a:lnTo>
                      <a:pt x="15446" y="8914"/>
                    </a:lnTo>
                    <a:moveTo>
                      <a:pt x="14110" y="8914"/>
                    </a:moveTo>
                    <a:lnTo>
                      <a:pt x="14110" y="8914"/>
                    </a:lnTo>
                    <a:lnTo>
                      <a:pt x="14874" y="8485"/>
                    </a:lnTo>
                    <a:lnTo>
                      <a:pt x="14110" y="8914"/>
                    </a:lnTo>
                    <a:moveTo>
                      <a:pt x="8413" y="8878"/>
                    </a:moveTo>
                    <a:lnTo>
                      <a:pt x="8217" y="6872"/>
                    </a:lnTo>
                    <a:lnTo>
                      <a:pt x="8217" y="6872"/>
                    </a:lnTo>
                    <a:lnTo>
                      <a:pt x="8413" y="8878"/>
                    </a:lnTo>
                    <a:lnTo>
                      <a:pt x="8413" y="8878"/>
                    </a:lnTo>
                    <a:moveTo>
                      <a:pt x="2557" y="7302"/>
                    </a:moveTo>
                    <a:lnTo>
                      <a:pt x="2557" y="7302"/>
                    </a:lnTo>
                    <a:lnTo>
                      <a:pt x="2557" y="7302"/>
                    </a:lnTo>
                    <a:lnTo>
                      <a:pt x="4159" y="4109"/>
                    </a:lnTo>
                    <a:lnTo>
                      <a:pt x="2324" y="4831"/>
                    </a:lnTo>
                    <a:lnTo>
                      <a:pt x="2324" y="4831"/>
                    </a:lnTo>
                    <a:lnTo>
                      <a:pt x="2324" y="4831"/>
                    </a:lnTo>
                    <a:lnTo>
                      <a:pt x="2324" y="4831"/>
                    </a:lnTo>
                    <a:lnTo>
                      <a:pt x="2324" y="4831"/>
                    </a:lnTo>
                    <a:lnTo>
                      <a:pt x="4159" y="4109"/>
                    </a:lnTo>
                    <a:lnTo>
                      <a:pt x="4159" y="4109"/>
                    </a:lnTo>
                    <a:lnTo>
                      <a:pt x="4159" y="4109"/>
                    </a:lnTo>
                    <a:lnTo>
                      <a:pt x="4159" y="4109"/>
                    </a:lnTo>
                    <a:lnTo>
                      <a:pt x="4159" y="4109"/>
                    </a:lnTo>
                    <a:lnTo>
                      <a:pt x="5860" y="6872"/>
                    </a:lnTo>
                    <a:lnTo>
                      <a:pt x="5859" y="6872"/>
                    </a:lnTo>
                    <a:lnTo>
                      <a:pt x="4159" y="4109"/>
                    </a:lnTo>
                    <a:lnTo>
                      <a:pt x="2557" y="7302"/>
                    </a:lnTo>
                    <a:lnTo>
                      <a:pt x="2557" y="7302"/>
                    </a:lnTo>
                    <a:moveTo>
                      <a:pt x="2557" y="7302"/>
                    </a:moveTo>
                    <a:lnTo>
                      <a:pt x="2324" y="4831"/>
                    </a:lnTo>
                    <a:lnTo>
                      <a:pt x="2324" y="4831"/>
                    </a:lnTo>
                    <a:lnTo>
                      <a:pt x="2557" y="7302"/>
                    </a:lnTo>
                    <a:moveTo>
                      <a:pt x="2909" y="7256"/>
                    </a:moveTo>
                    <a:lnTo>
                      <a:pt x="5860" y="6872"/>
                    </a:lnTo>
                    <a:lnTo>
                      <a:pt x="5860" y="6872"/>
                    </a:lnTo>
                    <a:lnTo>
                      <a:pt x="5860" y="6872"/>
                    </a:lnTo>
                    <a:lnTo>
                      <a:pt x="2909" y="7256"/>
                    </a:lnTo>
                    <a:moveTo>
                      <a:pt x="15446" y="7072"/>
                    </a:moveTo>
                    <a:lnTo>
                      <a:pt x="15229" y="6708"/>
                    </a:lnTo>
                    <a:lnTo>
                      <a:pt x="15446" y="7072"/>
                    </a:lnTo>
                    <a:lnTo>
                      <a:pt x="15446" y="7072"/>
                    </a:lnTo>
                    <a:moveTo>
                      <a:pt x="1145" y="6872"/>
                    </a:moveTo>
                    <a:lnTo>
                      <a:pt x="1145" y="6872"/>
                    </a:lnTo>
                    <a:moveTo>
                      <a:pt x="10574" y="6872"/>
                    </a:moveTo>
                    <a:lnTo>
                      <a:pt x="10574" y="6872"/>
                    </a:lnTo>
                    <a:lnTo>
                      <a:pt x="10574" y="6872"/>
                    </a:lnTo>
                    <a:lnTo>
                      <a:pt x="12458" y="5724"/>
                    </a:lnTo>
                    <a:lnTo>
                      <a:pt x="10574" y="6872"/>
                    </a:lnTo>
                    <a:moveTo>
                      <a:pt x="8217" y="6872"/>
                    </a:moveTo>
                    <a:lnTo>
                      <a:pt x="8217" y="6872"/>
                    </a:lnTo>
                    <a:lnTo>
                      <a:pt x="8217" y="6872"/>
                    </a:lnTo>
                    <a:lnTo>
                      <a:pt x="8217" y="6872"/>
                    </a:lnTo>
                    <a:moveTo>
                      <a:pt x="10574" y="6872"/>
                    </a:moveTo>
                    <a:lnTo>
                      <a:pt x="9445" y="6321"/>
                    </a:lnTo>
                    <a:lnTo>
                      <a:pt x="10574" y="6872"/>
                    </a:lnTo>
                    <a:lnTo>
                      <a:pt x="10574" y="6872"/>
                    </a:lnTo>
                    <a:moveTo>
                      <a:pt x="9316" y="6257"/>
                    </a:moveTo>
                    <a:lnTo>
                      <a:pt x="9316" y="6257"/>
                    </a:lnTo>
                    <a:lnTo>
                      <a:pt x="9316" y="6257"/>
                    </a:lnTo>
                    <a:lnTo>
                      <a:pt x="9316" y="6257"/>
                    </a:lnTo>
                    <a:lnTo>
                      <a:pt x="9316" y="6257"/>
                    </a:lnTo>
                    <a:lnTo>
                      <a:pt x="9316" y="6257"/>
                    </a:lnTo>
                    <a:lnTo>
                      <a:pt x="12655" y="5604"/>
                    </a:lnTo>
                    <a:lnTo>
                      <a:pt x="12655" y="5604"/>
                    </a:lnTo>
                    <a:lnTo>
                      <a:pt x="12655" y="5604"/>
                    </a:lnTo>
                    <a:lnTo>
                      <a:pt x="12655" y="5604"/>
                    </a:lnTo>
                    <a:lnTo>
                      <a:pt x="14110" y="4831"/>
                    </a:lnTo>
                    <a:lnTo>
                      <a:pt x="12655" y="5604"/>
                    </a:lnTo>
                    <a:lnTo>
                      <a:pt x="12655" y="5604"/>
                    </a:lnTo>
                    <a:lnTo>
                      <a:pt x="12655" y="5604"/>
                    </a:lnTo>
                    <a:lnTo>
                      <a:pt x="9316" y="6257"/>
                    </a:lnTo>
                    <a:moveTo>
                      <a:pt x="9316" y="6257"/>
                    </a:moveTo>
                    <a:lnTo>
                      <a:pt x="7038" y="4831"/>
                    </a:lnTo>
                    <a:lnTo>
                      <a:pt x="7038" y="4831"/>
                    </a:lnTo>
                    <a:lnTo>
                      <a:pt x="9316" y="6257"/>
                    </a:lnTo>
                    <a:lnTo>
                      <a:pt x="9316" y="6257"/>
                    </a:lnTo>
                    <a:moveTo>
                      <a:pt x="9316" y="6257"/>
                    </a:moveTo>
                    <a:lnTo>
                      <a:pt x="9316" y="3550"/>
                    </a:lnTo>
                    <a:lnTo>
                      <a:pt x="9316" y="6257"/>
                    </a:lnTo>
                    <a:moveTo>
                      <a:pt x="12655" y="5604"/>
                    </a:moveTo>
                    <a:lnTo>
                      <a:pt x="12655" y="5604"/>
                    </a:lnTo>
                    <a:lnTo>
                      <a:pt x="12201" y="3434"/>
                    </a:lnTo>
                    <a:lnTo>
                      <a:pt x="12655" y="5604"/>
                    </a:lnTo>
                    <a:moveTo>
                      <a:pt x="7038" y="4831"/>
                    </a:moveTo>
                    <a:lnTo>
                      <a:pt x="7038" y="4831"/>
                    </a:lnTo>
                    <a:lnTo>
                      <a:pt x="9316" y="3550"/>
                    </a:lnTo>
                    <a:lnTo>
                      <a:pt x="5859" y="2789"/>
                    </a:lnTo>
                    <a:lnTo>
                      <a:pt x="5860" y="2789"/>
                    </a:lnTo>
                    <a:lnTo>
                      <a:pt x="9316" y="3550"/>
                    </a:lnTo>
                    <a:lnTo>
                      <a:pt x="8410" y="2581"/>
                    </a:lnTo>
                    <a:lnTo>
                      <a:pt x="9316" y="3550"/>
                    </a:lnTo>
                    <a:lnTo>
                      <a:pt x="9319" y="3444"/>
                    </a:lnTo>
                    <a:lnTo>
                      <a:pt x="9316" y="3550"/>
                    </a:lnTo>
                    <a:lnTo>
                      <a:pt x="10574" y="2789"/>
                    </a:lnTo>
                    <a:lnTo>
                      <a:pt x="9316" y="3550"/>
                    </a:lnTo>
                    <a:lnTo>
                      <a:pt x="7038" y="4831"/>
                    </a:lnTo>
                    <a:moveTo>
                      <a:pt x="7038" y="4831"/>
                    </a:moveTo>
                    <a:lnTo>
                      <a:pt x="6499" y="3898"/>
                    </a:lnTo>
                    <a:lnTo>
                      <a:pt x="7038" y="4831"/>
                    </a:lnTo>
                    <a:moveTo>
                      <a:pt x="2324" y="4831"/>
                    </a:moveTo>
                    <a:lnTo>
                      <a:pt x="1405" y="2233"/>
                    </a:lnTo>
                    <a:lnTo>
                      <a:pt x="2324" y="4831"/>
                    </a:lnTo>
                    <a:lnTo>
                      <a:pt x="2324" y="4831"/>
                    </a:lnTo>
                    <a:moveTo>
                      <a:pt x="14110" y="4831"/>
                    </a:moveTo>
                    <a:lnTo>
                      <a:pt x="12201" y="3434"/>
                    </a:lnTo>
                    <a:lnTo>
                      <a:pt x="12066" y="2627"/>
                    </a:lnTo>
                    <a:lnTo>
                      <a:pt x="12201" y="3434"/>
                    </a:lnTo>
                    <a:lnTo>
                      <a:pt x="15446" y="2602"/>
                    </a:lnTo>
                    <a:lnTo>
                      <a:pt x="15446" y="2602"/>
                    </a:lnTo>
                    <a:lnTo>
                      <a:pt x="12201" y="3434"/>
                    </a:lnTo>
                    <a:lnTo>
                      <a:pt x="14110" y="4831"/>
                    </a:lnTo>
                    <a:moveTo>
                      <a:pt x="14110" y="4831"/>
                    </a:moveTo>
                    <a:lnTo>
                      <a:pt x="14110" y="4831"/>
                    </a:lnTo>
                    <a:lnTo>
                      <a:pt x="15358" y="3331"/>
                    </a:lnTo>
                    <a:lnTo>
                      <a:pt x="14110" y="4831"/>
                    </a:lnTo>
                    <a:moveTo>
                      <a:pt x="4159" y="4109"/>
                    </a:moveTo>
                    <a:lnTo>
                      <a:pt x="4159" y="4109"/>
                    </a:lnTo>
                    <a:lnTo>
                      <a:pt x="4603" y="3765"/>
                    </a:lnTo>
                    <a:lnTo>
                      <a:pt x="4159" y="4109"/>
                    </a:lnTo>
                    <a:moveTo>
                      <a:pt x="12201" y="3434"/>
                    </a:moveTo>
                    <a:lnTo>
                      <a:pt x="10574" y="2789"/>
                    </a:lnTo>
                    <a:lnTo>
                      <a:pt x="10574" y="2789"/>
                    </a:lnTo>
                    <a:lnTo>
                      <a:pt x="10574" y="2789"/>
                    </a:lnTo>
                    <a:lnTo>
                      <a:pt x="11753" y="748"/>
                    </a:lnTo>
                    <a:lnTo>
                      <a:pt x="9396" y="748"/>
                    </a:lnTo>
                    <a:lnTo>
                      <a:pt x="9396" y="748"/>
                    </a:lnTo>
                    <a:lnTo>
                      <a:pt x="11753" y="748"/>
                    </a:lnTo>
                    <a:lnTo>
                      <a:pt x="11753" y="748"/>
                    </a:lnTo>
                    <a:lnTo>
                      <a:pt x="11753" y="748"/>
                    </a:lnTo>
                    <a:lnTo>
                      <a:pt x="10574" y="2789"/>
                    </a:lnTo>
                    <a:lnTo>
                      <a:pt x="12201" y="3434"/>
                    </a:lnTo>
                    <a:moveTo>
                      <a:pt x="5859" y="2790"/>
                    </a:moveTo>
                    <a:lnTo>
                      <a:pt x="3502" y="2790"/>
                    </a:lnTo>
                    <a:lnTo>
                      <a:pt x="5860" y="2789"/>
                    </a:lnTo>
                    <a:lnTo>
                      <a:pt x="5859" y="2789"/>
                    </a:lnTo>
                    <a:lnTo>
                      <a:pt x="5859" y="2790"/>
                    </a:lnTo>
                    <a:moveTo>
                      <a:pt x="15446" y="1876"/>
                    </a:moveTo>
                    <a:lnTo>
                      <a:pt x="14110" y="748"/>
                    </a:lnTo>
                    <a:lnTo>
                      <a:pt x="15446" y="1876"/>
                    </a:lnTo>
                    <a:lnTo>
                      <a:pt x="15446" y="1876"/>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4" name="Freeform 306"/>
              <p:cNvSpPr>
                <a:spLocks/>
              </p:cNvSpPr>
              <p:nvPr/>
            </p:nvSpPr>
            <p:spPr bwMode="auto">
              <a:xfrm>
                <a:off x="-12625388" y="-3271838"/>
                <a:ext cx="811213" cy="671513"/>
              </a:xfrm>
              <a:custGeom>
                <a:avLst/>
                <a:gdLst>
                  <a:gd name="T0" fmla="*/ 0 w 511"/>
                  <a:gd name="T1" fmla="*/ 423 h 423"/>
                  <a:gd name="T2" fmla="*/ 0 w 511"/>
                  <a:gd name="T3" fmla="*/ 0 h 423"/>
                  <a:gd name="T4" fmla="*/ 433 w 511"/>
                  <a:gd name="T5" fmla="*/ 70 h 423"/>
                  <a:gd name="T6" fmla="*/ 511 w 511"/>
                  <a:gd name="T7" fmla="*/ 83 h 423"/>
                  <a:gd name="T8" fmla="*/ 0 w 511"/>
                  <a:gd name="T9" fmla="*/ 423 h 423"/>
                </a:gdLst>
                <a:ahLst/>
                <a:cxnLst>
                  <a:cxn ang="0">
                    <a:pos x="T0" y="T1"/>
                  </a:cxn>
                  <a:cxn ang="0">
                    <a:pos x="T2" y="T3"/>
                  </a:cxn>
                  <a:cxn ang="0">
                    <a:pos x="T4" y="T5"/>
                  </a:cxn>
                  <a:cxn ang="0">
                    <a:pos x="T6" y="T7"/>
                  </a:cxn>
                  <a:cxn ang="0">
                    <a:pos x="T8" y="T9"/>
                  </a:cxn>
                </a:cxnLst>
                <a:rect l="0" t="0" r="r" b="b"/>
                <a:pathLst>
                  <a:path w="511" h="423">
                    <a:moveTo>
                      <a:pt x="0" y="423"/>
                    </a:moveTo>
                    <a:lnTo>
                      <a:pt x="0" y="0"/>
                    </a:lnTo>
                    <a:lnTo>
                      <a:pt x="433" y="70"/>
                    </a:lnTo>
                    <a:lnTo>
                      <a:pt x="511" y="83"/>
                    </a:lnTo>
                    <a:lnTo>
                      <a:pt x="0" y="42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5" name="Freeform 307"/>
              <p:cNvSpPr>
                <a:spLocks/>
              </p:cNvSpPr>
              <p:nvPr/>
            </p:nvSpPr>
            <p:spPr bwMode="auto">
              <a:xfrm>
                <a:off x="-12625388" y="-4110038"/>
                <a:ext cx="33338" cy="39688"/>
              </a:xfrm>
              <a:custGeom>
                <a:avLst/>
                <a:gdLst>
                  <a:gd name="T0" fmla="*/ 0 w 21"/>
                  <a:gd name="T1" fmla="*/ 25 h 25"/>
                  <a:gd name="T2" fmla="*/ 0 w 21"/>
                  <a:gd name="T3" fmla="*/ 0 h 25"/>
                  <a:gd name="T4" fmla="*/ 21 w 21"/>
                  <a:gd name="T5" fmla="*/ 0 h 25"/>
                  <a:gd name="T6" fmla="*/ 0 w 21"/>
                  <a:gd name="T7" fmla="*/ 25 h 25"/>
                </a:gdLst>
                <a:ahLst/>
                <a:cxnLst>
                  <a:cxn ang="0">
                    <a:pos x="T0" y="T1"/>
                  </a:cxn>
                  <a:cxn ang="0">
                    <a:pos x="T2" y="T3"/>
                  </a:cxn>
                  <a:cxn ang="0">
                    <a:pos x="T4" y="T5"/>
                  </a:cxn>
                  <a:cxn ang="0">
                    <a:pos x="T6" y="T7"/>
                  </a:cxn>
                </a:cxnLst>
                <a:rect l="0" t="0" r="r" b="b"/>
                <a:pathLst>
                  <a:path w="21" h="25">
                    <a:moveTo>
                      <a:pt x="0" y="25"/>
                    </a:moveTo>
                    <a:lnTo>
                      <a:pt x="0" y="0"/>
                    </a:lnTo>
                    <a:lnTo>
                      <a:pt x="21" y="0"/>
                    </a:lnTo>
                    <a:lnTo>
                      <a:pt x="0" y="25"/>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6" name="Freeform 308"/>
              <p:cNvSpPr>
                <a:spLocks/>
              </p:cNvSpPr>
              <p:nvPr/>
            </p:nvSpPr>
            <p:spPr bwMode="auto">
              <a:xfrm>
                <a:off x="-12625388" y="-3540126"/>
                <a:ext cx="1771650" cy="400050"/>
              </a:xfrm>
              <a:custGeom>
                <a:avLst/>
                <a:gdLst>
                  <a:gd name="T0" fmla="*/ 511 w 1116"/>
                  <a:gd name="T1" fmla="*/ 252 h 252"/>
                  <a:gd name="T2" fmla="*/ 433 w 1116"/>
                  <a:gd name="T3" fmla="*/ 239 h 252"/>
                  <a:gd name="T4" fmla="*/ 0 w 1116"/>
                  <a:gd name="T5" fmla="*/ 169 h 252"/>
                  <a:gd name="T6" fmla="*/ 0 w 1116"/>
                  <a:gd name="T7" fmla="*/ 81 h 252"/>
                  <a:gd name="T8" fmla="*/ 1116 w 1116"/>
                  <a:gd name="T9" fmla="*/ 0 h 252"/>
                  <a:gd name="T10" fmla="*/ 511 w 1116"/>
                  <a:gd name="T11" fmla="*/ 252 h 252"/>
                </a:gdLst>
                <a:ahLst/>
                <a:cxnLst>
                  <a:cxn ang="0">
                    <a:pos x="T0" y="T1"/>
                  </a:cxn>
                  <a:cxn ang="0">
                    <a:pos x="T2" y="T3"/>
                  </a:cxn>
                  <a:cxn ang="0">
                    <a:pos x="T4" y="T5"/>
                  </a:cxn>
                  <a:cxn ang="0">
                    <a:pos x="T6" y="T7"/>
                  </a:cxn>
                  <a:cxn ang="0">
                    <a:pos x="T8" y="T9"/>
                  </a:cxn>
                  <a:cxn ang="0">
                    <a:pos x="T10" y="T11"/>
                  </a:cxn>
                </a:cxnLst>
                <a:rect l="0" t="0" r="r" b="b"/>
                <a:pathLst>
                  <a:path w="1116" h="252">
                    <a:moveTo>
                      <a:pt x="511" y="252"/>
                    </a:moveTo>
                    <a:lnTo>
                      <a:pt x="433" y="239"/>
                    </a:lnTo>
                    <a:lnTo>
                      <a:pt x="0" y="169"/>
                    </a:lnTo>
                    <a:lnTo>
                      <a:pt x="0" y="81"/>
                    </a:lnTo>
                    <a:lnTo>
                      <a:pt x="1116" y="0"/>
                    </a:lnTo>
                    <a:lnTo>
                      <a:pt x="511" y="25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7" name="Freeform 309"/>
              <p:cNvSpPr>
                <a:spLocks/>
              </p:cNvSpPr>
              <p:nvPr/>
            </p:nvSpPr>
            <p:spPr bwMode="auto">
              <a:xfrm>
                <a:off x="-12625388" y="-4110038"/>
                <a:ext cx="1771650" cy="698500"/>
              </a:xfrm>
              <a:custGeom>
                <a:avLst/>
                <a:gdLst>
                  <a:gd name="T0" fmla="*/ 0 w 1116"/>
                  <a:gd name="T1" fmla="*/ 440 h 440"/>
                  <a:gd name="T2" fmla="*/ 0 w 1116"/>
                  <a:gd name="T3" fmla="*/ 25 h 440"/>
                  <a:gd name="T4" fmla="*/ 22 w 1116"/>
                  <a:gd name="T5" fmla="*/ 0 h 440"/>
                  <a:gd name="T6" fmla="*/ 908 w 1116"/>
                  <a:gd name="T7" fmla="*/ 0 h 440"/>
                  <a:gd name="T8" fmla="*/ 1116 w 1116"/>
                  <a:gd name="T9" fmla="*/ 359 h 440"/>
                  <a:gd name="T10" fmla="*/ 1116 w 1116"/>
                  <a:gd name="T11" fmla="*/ 359 h 440"/>
                  <a:gd name="T12" fmla="*/ 1116 w 1116"/>
                  <a:gd name="T13" fmla="*/ 359 h 440"/>
                  <a:gd name="T14" fmla="*/ 0 w 1116"/>
                  <a:gd name="T15" fmla="*/ 440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6" h="440">
                    <a:moveTo>
                      <a:pt x="0" y="440"/>
                    </a:moveTo>
                    <a:lnTo>
                      <a:pt x="0" y="25"/>
                    </a:lnTo>
                    <a:lnTo>
                      <a:pt x="22" y="0"/>
                    </a:lnTo>
                    <a:lnTo>
                      <a:pt x="908" y="0"/>
                    </a:lnTo>
                    <a:lnTo>
                      <a:pt x="1116" y="359"/>
                    </a:lnTo>
                    <a:lnTo>
                      <a:pt x="1116" y="359"/>
                    </a:lnTo>
                    <a:lnTo>
                      <a:pt x="1116" y="359"/>
                    </a:lnTo>
                    <a:lnTo>
                      <a:pt x="0" y="440"/>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8" name="Freeform 310"/>
              <p:cNvSpPr>
                <a:spLocks noEditPoints="1"/>
              </p:cNvSpPr>
              <p:nvPr/>
            </p:nvSpPr>
            <p:spPr bwMode="auto">
              <a:xfrm>
                <a:off x="-10853738" y="-4110038"/>
                <a:ext cx="1795463" cy="569913"/>
              </a:xfrm>
              <a:custGeom>
                <a:avLst/>
                <a:gdLst>
                  <a:gd name="T0" fmla="*/ 2357 w 2357"/>
                  <a:gd name="T1" fmla="*/ 748 h 748"/>
                  <a:gd name="T2" fmla="*/ 0 w 2357"/>
                  <a:gd name="T3" fmla="*/ 748 h 748"/>
                  <a:gd name="T4" fmla="*/ 432 w 2357"/>
                  <a:gd name="T5" fmla="*/ 0 h 748"/>
                  <a:gd name="T6" fmla="*/ 1925 w 2357"/>
                  <a:gd name="T7" fmla="*/ 0 h 748"/>
                  <a:gd name="T8" fmla="*/ 2357 w 2357"/>
                  <a:gd name="T9" fmla="*/ 748 h 748"/>
                  <a:gd name="T10" fmla="*/ 0 w 2357"/>
                  <a:gd name="T11" fmla="*/ 748 h 748"/>
                  <a:gd name="T12" fmla="*/ 0 w 2357"/>
                  <a:gd name="T13" fmla="*/ 748 h 748"/>
                  <a:gd name="T14" fmla="*/ 0 w 2357"/>
                  <a:gd name="T15" fmla="*/ 748 h 748"/>
                  <a:gd name="T16" fmla="*/ 0 w 2357"/>
                  <a:gd name="T17" fmla="*/ 748 h 748"/>
                  <a:gd name="T18" fmla="*/ 0 w 2357"/>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7" h="748">
                    <a:moveTo>
                      <a:pt x="2357" y="748"/>
                    </a:moveTo>
                    <a:lnTo>
                      <a:pt x="0" y="748"/>
                    </a:lnTo>
                    <a:lnTo>
                      <a:pt x="432" y="0"/>
                    </a:lnTo>
                    <a:lnTo>
                      <a:pt x="1925" y="0"/>
                    </a:lnTo>
                    <a:lnTo>
                      <a:pt x="2357" y="748"/>
                    </a:lnTo>
                    <a:moveTo>
                      <a:pt x="0" y="748"/>
                    </a:moveTo>
                    <a:lnTo>
                      <a:pt x="0" y="748"/>
                    </a:lnTo>
                    <a:lnTo>
                      <a:pt x="0" y="748"/>
                    </a:lnTo>
                    <a:lnTo>
                      <a:pt x="0" y="748"/>
                    </a:lnTo>
                    <a:lnTo>
                      <a:pt x="0"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9" name="Freeform 311"/>
              <p:cNvSpPr>
                <a:spLocks/>
              </p:cNvSpPr>
              <p:nvPr/>
            </p:nvSpPr>
            <p:spPr bwMode="auto">
              <a:xfrm>
                <a:off x="-9386888" y="-4110038"/>
                <a:ext cx="865188" cy="569913"/>
              </a:xfrm>
              <a:custGeom>
                <a:avLst/>
                <a:gdLst>
                  <a:gd name="T0" fmla="*/ 207 w 545"/>
                  <a:gd name="T1" fmla="*/ 359 h 359"/>
                  <a:gd name="T2" fmla="*/ 0 w 545"/>
                  <a:gd name="T3" fmla="*/ 0 h 359"/>
                  <a:gd name="T4" fmla="*/ 545 w 545"/>
                  <a:gd name="T5" fmla="*/ 0 h 359"/>
                  <a:gd name="T6" fmla="*/ 207 w 545"/>
                  <a:gd name="T7" fmla="*/ 359 h 359"/>
                </a:gdLst>
                <a:ahLst/>
                <a:cxnLst>
                  <a:cxn ang="0">
                    <a:pos x="T0" y="T1"/>
                  </a:cxn>
                  <a:cxn ang="0">
                    <a:pos x="T2" y="T3"/>
                  </a:cxn>
                  <a:cxn ang="0">
                    <a:pos x="T4" y="T5"/>
                  </a:cxn>
                  <a:cxn ang="0">
                    <a:pos x="T6" y="T7"/>
                  </a:cxn>
                </a:cxnLst>
                <a:rect l="0" t="0" r="r" b="b"/>
                <a:pathLst>
                  <a:path w="545" h="359">
                    <a:moveTo>
                      <a:pt x="207" y="359"/>
                    </a:moveTo>
                    <a:lnTo>
                      <a:pt x="0" y="0"/>
                    </a:lnTo>
                    <a:lnTo>
                      <a:pt x="545" y="0"/>
                    </a:lnTo>
                    <a:lnTo>
                      <a:pt x="207"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0" name="Freeform 312"/>
              <p:cNvSpPr>
                <a:spLocks/>
              </p:cNvSpPr>
              <p:nvPr/>
            </p:nvSpPr>
            <p:spPr bwMode="auto">
              <a:xfrm>
                <a:off x="-11183938" y="-4110038"/>
                <a:ext cx="658813" cy="569913"/>
              </a:xfrm>
              <a:custGeom>
                <a:avLst/>
                <a:gdLst>
                  <a:gd name="T0" fmla="*/ 208 w 415"/>
                  <a:gd name="T1" fmla="*/ 359 h 359"/>
                  <a:gd name="T2" fmla="*/ 0 w 415"/>
                  <a:gd name="T3" fmla="*/ 0 h 359"/>
                  <a:gd name="T4" fmla="*/ 415 w 415"/>
                  <a:gd name="T5" fmla="*/ 0 h 359"/>
                  <a:gd name="T6" fmla="*/ 208 w 415"/>
                  <a:gd name="T7" fmla="*/ 359 h 359"/>
                </a:gdLst>
                <a:ahLst/>
                <a:cxnLst>
                  <a:cxn ang="0">
                    <a:pos x="T0" y="T1"/>
                  </a:cxn>
                  <a:cxn ang="0">
                    <a:pos x="T2" y="T3"/>
                  </a:cxn>
                  <a:cxn ang="0">
                    <a:pos x="T4" y="T5"/>
                  </a:cxn>
                  <a:cxn ang="0">
                    <a:pos x="T6" y="T7"/>
                  </a:cxn>
                </a:cxnLst>
                <a:rect l="0" t="0" r="r" b="b"/>
                <a:pathLst>
                  <a:path w="415" h="359">
                    <a:moveTo>
                      <a:pt x="208" y="359"/>
                    </a:moveTo>
                    <a:lnTo>
                      <a:pt x="0" y="0"/>
                    </a:lnTo>
                    <a:lnTo>
                      <a:pt x="415" y="0"/>
                    </a:lnTo>
                    <a:lnTo>
                      <a:pt x="208"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1" name="Freeform 313"/>
              <p:cNvSpPr>
                <a:spLocks/>
              </p:cNvSpPr>
              <p:nvPr/>
            </p:nvSpPr>
            <p:spPr bwMode="auto">
              <a:xfrm>
                <a:off x="-10853738" y="-4110038"/>
                <a:ext cx="328613" cy="569913"/>
              </a:xfrm>
              <a:custGeom>
                <a:avLst/>
                <a:gdLst>
                  <a:gd name="T0" fmla="*/ 0 w 207"/>
                  <a:gd name="T1" fmla="*/ 359 h 359"/>
                  <a:gd name="T2" fmla="*/ 0 w 207"/>
                  <a:gd name="T3" fmla="*/ 359 h 359"/>
                  <a:gd name="T4" fmla="*/ 0 w 207"/>
                  <a:gd name="T5" fmla="*/ 359 h 359"/>
                  <a:gd name="T6" fmla="*/ 207 w 207"/>
                  <a:gd name="T7" fmla="*/ 0 h 359"/>
                  <a:gd name="T8" fmla="*/ 207 w 207"/>
                  <a:gd name="T9" fmla="*/ 0 h 359"/>
                  <a:gd name="T10" fmla="*/ 0 w 207"/>
                  <a:gd name="T11" fmla="*/ 359 h 359"/>
                </a:gdLst>
                <a:ahLst/>
                <a:cxnLst>
                  <a:cxn ang="0">
                    <a:pos x="T0" y="T1"/>
                  </a:cxn>
                  <a:cxn ang="0">
                    <a:pos x="T2" y="T3"/>
                  </a:cxn>
                  <a:cxn ang="0">
                    <a:pos x="T4" y="T5"/>
                  </a:cxn>
                  <a:cxn ang="0">
                    <a:pos x="T6" y="T7"/>
                  </a:cxn>
                  <a:cxn ang="0">
                    <a:pos x="T8" y="T9"/>
                  </a:cxn>
                  <a:cxn ang="0">
                    <a:pos x="T10" y="T11"/>
                  </a:cxn>
                </a:cxnLst>
                <a:rect l="0" t="0" r="r" b="b"/>
                <a:pathLst>
                  <a:path w="207" h="359">
                    <a:moveTo>
                      <a:pt x="0" y="359"/>
                    </a:moveTo>
                    <a:lnTo>
                      <a:pt x="0" y="359"/>
                    </a:lnTo>
                    <a:lnTo>
                      <a:pt x="0" y="359"/>
                    </a:lnTo>
                    <a:lnTo>
                      <a:pt x="207" y="0"/>
                    </a:lnTo>
                    <a:lnTo>
                      <a:pt x="207"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2" name="Freeform 314"/>
              <p:cNvSpPr>
                <a:spLocks noEditPoints="1"/>
              </p:cNvSpPr>
              <p:nvPr/>
            </p:nvSpPr>
            <p:spPr bwMode="auto">
              <a:xfrm>
                <a:off x="-12533313" y="-1143001"/>
                <a:ext cx="781050" cy="2268538"/>
              </a:xfrm>
              <a:custGeom>
                <a:avLst/>
                <a:gdLst>
                  <a:gd name="T0" fmla="*/ 1025 w 1025"/>
                  <a:gd name="T1" fmla="*/ 2978 h 2978"/>
                  <a:gd name="T2" fmla="*/ 150 w 1025"/>
                  <a:gd name="T3" fmla="*/ 437 h 2978"/>
                  <a:gd name="T4" fmla="*/ 1025 w 1025"/>
                  <a:gd name="T5" fmla="*/ 2978 h 2978"/>
                  <a:gd name="T6" fmla="*/ 0 w 1025"/>
                  <a:gd name="T7" fmla="*/ 0 h 2978"/>
                  <a:gd name="T8" fmla="*/ 0 w 1025"/>
                  <a:gd name="T9" fmla="*/ 0 h 2978"/>
                </a:gdLst>
                <a:ahLst/>
                <a:cxnLst>
                  <a:cxn ang="0">
                    <a:pos x="T0" y="T1"/>
                  </a:cxn>
                  <a:cxn ang="0">
                    <a:pos x="T2" y="T3"/>
                  </a:cxn>
                  <a:cxn ang="0">
                    <a:pos x="T4" y="T5"/>
                  </a:cxn>
                  <a:cxn ang="0">
                    <a:pos x="T6" y="T7"/>
                  </a:cxn>
                  <a:cxn ang="0">
                    <a:pos x="T8" y="T9"/>
                  </a:cxn>
                </a:cxnLst>
                <a:rect l="0" t="0" r="r" b="b"/>
                <a:pathLst>
                  <a:path w="1025" h="2978">
                    <a:moveTo>
                      <a:pt x="1025" y="2978"/>
                    </a:moveTo>
                    <a:lnTo>
                      <a:pt x="150" y="437"/>
                    </a:lnTo>
                    <a:lnTo>
                      <a:pt x="1025" y="2978"/>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3" name="Freeform 315"/>
              <p:cNvSpPr>
                <a:spLocks/>
              </p:cNvSpPr>
              <p:nvPr/>
            </p:nvSpPr>
            <p:spPr bwMode="auto">
              <a:xfrm>
                <a:off x="-12625388" y="-3140076"/>
                <a:ext cx="811213" cy="1997075"/>
              </a:xfrm>
              <a:custGeom>
                <a:avLst/>
                <a:gdLst>
                  <a:gd name="T0" fmla="*/ 58 w 511"/>
                  <a:gd name="T1" fmla="*/ 1258 h 1258"/>
                  <a:gd name="T2" fmla="*/ 0 w 511"/>
                  <a:gd name="T3" fmla="*/ 1211 h 1258"/>
                  <a:gd name="T4" fmla="*/ 0 w 511"/>
                  <a:gd name="T5" fmla="*/ 340 h 1258"/>
                  <a:gd name="T6" fmla="*/ 511 w 511"/>
                  <a:gd name="T7" fmla="*/ 0 h 1258"/>
                  <a:gd name="T8" fmla="*/ 58 w 511"/>
                  <a:gd name="T9" fmla="*/ 1258 h 1258"/>
                </a:gdLst>
                <a:ahLst/>
                <a:cxnLst>
                  <a:cxn ang="0">
                    <a:pos x="T0" y="T1"/>
                  </a:cxn>
                  <a:cxn ang="0">
                    <a:pos x="T2" y="T3"/>
                  </a:cxn>
                  <a:cxn ang="0">
                    <a:pos x="T4" y="T5"/>
                  </a:cxn>
                  <a:cxn ang="0">
                    <a:pos x="T6" y="T7"/>
                  </a:cxn>
                  <a:cxn ang="0">
                    <a:pos x="T8" y="T9"/>
                  </a:cxn>
                </a:cxnLst>
                <a:rect l="0" t="0" r="r" b="b"/>
                <a:pathLst>
                  <a:path w="511" h="1258">
                    <a:moveTo>
                      <a:pt x="58" y="1258"/>
                    </a:moveTo>
                    <a:lnTo>
                      <a:pt x="0" y="1211"/>
                    </a:lnTo>
                    <a:lnTo>
                      <a:pt x="0" y="340"/>
                    </a:lnTo>
                    <a:lnTo>
                      <a:pt x="511" y="0"/>
                    </a:lnTo>
                    <a:lnTo>
                      <a:pt x="58" y="1258"/>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4" name="Line 316"/>
              <p:cNvSpPr>
                <a:spLocks noChangeShapeType="1"/>
              </p:cNvSpPr>
              <p:nvPr/>
            </p:nvSpPr>
            <p:spPr bwMode="auto">
              <a:xfrm>
                <a:off x="-12533313" y="-1143001"/>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5" name="Freeform 317"/>
              <p:cNvSpPr>
                <a:spLocks noEditPoints="1"/>
              </p:cNvSpPr>
              <p:nvPr/>
            </p:nvSpPr>
            <p:spPr bwMode="auto">
              <a:xfrm>
                <a:off x="-12533313" y="-1143001"/>
                <a:ext cx="1679575" cy="2268538"/>
              </a:xfrm>
              <a:custGeom>
                <a:avLst/>
                <a:gdLst>
                  <a:gd name="T0" fmla="*/ 1025 w 2204"/>
                  <a:gd name="T1" fmla="*/ 2978 h 2978"/>
                  <a:gd name="T2" fmla="*/ 150 w 2204"/>
                  <a:gd name="T3" fmla="*/ 437 h 2978"/>
                  <a:gd name="T4" fmla="*/ 0 w 2204"/>
                  <a:gd name="T5" fmla="*/ 0 h 2978"/>
                  <a:gd name="T6" fmla="*/ 2204 w 2204"/>
                  <a:gd name="T7" fmla="*/ 937 h 2978"/>
                  <a:gd name="T8" fmla="*/ 2204 w 2204"/>
                  <a:gd name="T9" fmla="*/ 937 h 2978"/>
                  <a:gd name="T10" fmla="*/ 2204 w 2204"/>
                  <a:gd name="T11" fmla="*/ 937 h 2978"/>
                  <a:gd name="T12" fmla="*/ 2204 w 2204"/>
                  <a:gd name="T13" fmla="*/ 937 h 2978"/>
                  <a:gd name="T14" fmla="*/ 2204 w 2204"/>
                  <a:gd name="T15" fmla="*/ 937 h 2978"/>
                  <a:gd name="T16" fmla="*/ 1968 w 2204"/>
                  <a:gd name="T17" fmla="*/ 1345 h 2978"/>
                  <a:gd name="T18" fmla="*/ 1025 w 2204"/>
                  <a:gd name="T19" fmla="*/ 2978 h 2978"/>
                  <a:gd name="T20" fmla="*/ 150 w 2204"/>
                  <a:gd name="T21" fmla="*/ 437 h 2978"/>
                  <a:gd name="T22" fmla="*/ 0 w 2204"/>
                  <a:gd name="T23" fmla="*/ 0 h 2978"/>
                  <a:gd name="T24" fmla="*/ 150 w 2204"/>
                  <a:gd name="T25" fmla="*/ 437 h 2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4" h="2978">
                    <a:moveTo>
                      <a:pt x="1025" y="2978"/>
                    </a:moveTo>
                    <a:lnTo>
                      <a:pt x="150" y="437"/>
                    </a:lnTo>
                    <a:lnTo>
                      <a:pt x="0" y="0"/>
                    </a:lnTo>
                    <a:lnTo>
                      <a:pt x="2204" y="937"/>
                    </a:lnTo>
                    <a:lnTo>
                      <a:pt x="2204" y="937"/>
                    </a:lnTo>
                    <a:lnTo>
                      <a:pt x="2204" y="937"/>
                    </a:lnTo>
                    <a:lnTo>
                      <a:pt x="2204" y="937"/>
                    </a:lnTo>
                    <a:lnTo>
                      <a:pt x="2204" y="937"/>
                    </a:lnTo>
                    <a:lnTo>
                      <a:pt x="1968" y="1345"/>
                    </a:lnTo>
                    <a:lnTo>
                      <a:pt x="1025" y="2978"/>
                    </a:lnTo>
                    <a:moveTo>
                      <a:pt x="150" y="437"/>
                    </a:moveTo>
                    <a:lnTo>
                      <a:pt x="0" y="0"/>
                    </a:lnTo>
                    <a:lnTo>
                      <a:pt x="150" y="437"/>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6" name="Freeform 318"/>
              <p:cNvSpPr>
                <a:spLocks/>
              </p:cNvSpPr>
              <p:nvPr/>
            </p:nvSpPr>
            <p:spPr bwMode="auto">
              <a:xfrm>
                <a:off x="-12533313" y="-1143001"/>
                <a:ext cx="114300" cy="333375"/>
              </a:xfrm>
              <a:custGeom>
                <a:avLst/>
                <a:gdLst>
                  <a:gd name="T0" fmla="*/ 72 w 72"/>
                  <a:gd name="T1" fmla="*/ 210 h 210"/>
                  <a:gd name="T2" fmla="*/ 72 w 72"/>
                  <a:gd name="T3" fmla="*/ 210 h 210"/>
                  <a:gd name="T4" fmla="*/ 0 w 72"/>
                  <a:gd name="T5" fmla="*/ 0 h 210"/>
                  <a:gd name="T6" fmla="*/ 0 w 72"/>
                  <a:gd name="T7" fmla="*/ 0 h 210"/>
                  <a:gd name="T8" fmla="*/ 72 w 72"/>
                  <a:gd name="T9" fmla="*/ 210 h 210"/>
                </a:gdLst>
                <a:ahLst/>
                <a:cxnLst>
                  <a:cxn ang="0">
                    <a:pos x="T0" y="T1"/>
                  </a:cxn>
                  <a:cxn ang="0">
                    <a:pos x="T2" y="T3"/>
                  </a:cxn>
                  <a:cxn ang="0">
                    <a:pos x="T4" y="T5"/>
                  </a:cxn>
                  <a:cxn ang="0">
                    <a:pos x="T6" y="T7"/>
                  </a:cxn>
                  <a:cxn ang="0">
                    <a:pos x="T8" y="T9"/>
                  </a:cxn>
                </a:cxnLst>
                <a:rect l="0" t="0" r="r" b="b"/>
                <a:pathLst>
                  <a:path w="72" h="210">
                    <a:moveTo>
                      <a:pt x="72" y="210"/>
                    </a:moveTo>
                    <a:lnTo>
                      <a:pt x="72" y="210"/>
                    </a:lnTo>
                    <a:lnTo>
                      <a:pt x="0" y="0"/>
                    </a:lnTo>
                    <a:lnTo>
                      <a:pt x="0" y="0"/>
                    </a:lnTo>
                    <a:lnTo>
                      <a:pt x="72" y="210"/>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7" name="Freeform 319"/>
              <p:cNvSpPr>
                <a:spLocks/>
              </p:cNvSpPr>
              <p:nvPr/>
            </p:nvSpPr>
            <p:spPr bwMode="auto">
              <a:xfrm>
                <a:off x="-12625388" y="-1217613"/>
                <a:ext cx="92075" cy="74613"/>
              </a:xfrm>
              <a:custGeom>
                <a:avLst/>
                <a:gdLst>
                  <a:gd name="T0" fmla="*/ 58 w 58"/>
                  <a:gd name="T1" fmla="*/ 47 h 47"/>
                  <a:gd name="T2" fmla="*/ 0 w 58"/>
                  <a:gd name="T3" fmla="*/ 0 h 47"/>
                  <a:gd name="T4" fmla="*/ 58 w 58"/>
                  <a:gd name="T5" fmla="*/ 47 h 47"/>
                </a:gdLst>
                <a:ahLst/>
                <a:cxnLst>
                  <a:cxn ang="0">
                    <a:pos x="T0" y="T1"/>
                  </a:cxn>
                  <a:cxn ang="0">
                    <a:pos x="T2" y="T3"/>
                  </a:cxn>
                  <a:cxn ang="0">
                    <a:pos x="T4" y="T5"/>
                  </a:cxn>
                </a:cxnLst>
                <a:rect l="0" t="0" r="r" b="b"/>
                <a:pathLst>
                  <a:path w="58" h="47">
                    <a:moveTo>
                      <a:pt x="58" y="47"/>
                    </a:moveTo>
                    <a:lnTo>
                      <a:pt x="0" y="0"/>
                    </a:lnTo>
                    <a:lnTo>
                      <a:pt x="58" y="4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8" name="Freeform 320"/>
              <p:cNvSpPr>
                <a:spLocks noEditPoints="1"/>
              </p:cNvSpPr>
              <p:nvPr/>
            </p:nvSpPr>
            <p:spPr bwMode="auto">
              <a:xfrm>
                <a:off x="-12533313" y="-3140076"/>
                <a:ext cx="1679575" cy="2711450"/>
              </a:xfrm>
              <a:custGeom>
                <a:avLst/>
                <a:gdLst>
                  <a:gd name="T0" fmla="*/ 2204 w 2204"/>
                  <a:gd name="T1" fmla="*/ 3558 h 3558"/>
                  <a:gd name="T2" fmla="*/ 0 w 2204"/>
                  <a:gd name="T3" fmla="*/ 2621 h 3558"/>
                  <a:gd name="T4" fmla="*/ 945 w 2204"/>
                  <a:gd name="T5" fmla="*/ 0 h 3558"/>
                  <a:gd name="T6" fmla="*/ 945 w 2204"/>
                  <a:gd name="T7" fmla="*/ 0 h 3558"/>
                  <a:gd name="T8" fmla="*/ 945 w 2204"/>
                  <a:gd name="T9" fmla="*/ 0 h 3558"/>
                  <a:gd name="T10" fmla="*/ 1285 w 2204"/>
                  <a:gd name="T11" fmla="*/ 960 h 3558"/>
                  <a:gd name="T12" fmla="*/ 2204 w 2204"/>
                  <a:gd name="T13" fmla="*/ 3558 h 3558"/>
                  <a:gd name="T14" fmla="*/ 2204 w 2204"/>
                  <a:gd name="T15" fmla="*/ 3558 h 3558"/>
                  <a:gd name="T16" fmla="*/ 2204 w 2204"/>
                  <a:gd name="T17" fmla="*/ 3558 h 3558"/>
                  <a:gd name="T18" fmla="*/ 2204 w 2204"/>
                  <a:gd name="T19" fmla="*/ 3558 h 3558"/>
                  <a:gd name="T20" fmla="*/ 945 w 2204"/>
                  <a:gd name="T21" fmla="*/ 0 h 3558"/>
                  <a:gd name="T22" fmla="*/ 945 w 2204"/>
                  <a:gd name="T23" fmla="*/ 0 h 3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4" h="3558">
                    <a:moveTo>
                      <a:pt x="2204" y="3558"/>
                    </a:moveTo>
                    <a:lnTo>
                      <a:pt x="0" y="2621"/>
                    </a:lnTo>
                    <a:lnTo>
                      <a:pt x="945" y="0"/>
                    </a:lnTo>
                    <a:lnTo>
                      <a:pt x="945" y="0"/>
                    </a:lnTo>
                    <a:lnTo>
                      <a:pt x="945" y="0"/>
                    </a:lnTo>
                    <a:lnTo>
                      <a:pt x="1285" y="960"/>
                    </a:lnTo>
                    <a:lnTo>
                      <a:pt x="2204" y="3558"/>
                    </a:lnTo>
                    <a:lnTo>
                      <a:pt x="2204" y="3558"/>
                    </a:lnTo>
                    <a:lnTo>
                      <a:pt x="2204" y="3558"/>
                    </a:lnTo>
                    <a:lnTo>
                      <a:pt x="2204" y="3558"/>
                    </a:lnTo>
                    <a:moveTo>
                      <a:pt x="945" y="0"/>
                    </a:moveTo>
                    <a:lnTo>
                      <a:pt x="945" y="0"/>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9" name="Rectangle 321"/>
              <p:cNvSpPr>
                <a:spLocks noChangeArrowheads="1"/>
              </p:cNvSpPr>
              <p:nvPr/>
            </p:nvSpPr>
            <p:spPr bwMode="auto">
              <a:xfrm>
                <a:off x="-10853738" y="-428626"/>
                <a:ext cx="1588" cy="1588"/>
              </a:xfrm>
              <a:prstGeom prst="rect">
                <a:avLst/>
              </a:prstGeom>
              <a:solidFill>
                <a:srgbClr val="518DB3"/>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0" name="Freeform 322"/>
              <p:cNvSpPr>
                <a:spLocks/>
              </p:cNvSpPr>
              <p:nvPr/>
            </p:nvSpPr>
            <p:spPr bwMode="auto">
              <a:xfrm>
                <a:off x="-10853738" y="-1984376"/>
                <a:ext cx="1397000" cy="1555750"/>
              </a:xfrm>
              <a:custGeom>
                <a:avLst/>
                <a:gdLst>
                  <a:gd name="T0" fmla="*/ 0 w 880"/>
                  <a:gd name="T1" fmla="*/ 980 h 980"/>
                  <a:gd name="T2" fmla="*/ 565 w 880"/>
                  <a:gd name="T3" fmla="*/ 0 h 980"/>
                  <a:gd name="T4" fmla="*/ 880 w 880"/>
                  <a:gd name="T5" fmla="*/ 633 h 980"/>
                  <a:gd name="T6" fmla="*/ 0 w 880"/>
                  <a:gd name="T7" fmla="*/ 980 h 980"/>
                </a:gdLst>
                <a:ahLst/>
                <a:cxnLst>
                  <a:cxn ang="0">
                    <a:pos x="T0" y="T1"/>
                  </a:cxn>
                  <a:cxn ang="0">
                    <a:pos x="T2" y="T3"/>
                  </a:cxn>
                  <a:cxn ang="0">
                    <a:pos x="T4" y="T5"/>
                  </a:cxn>
                  <a:cxn ang="0">
                    <a:pos x="T6" y="T7"/>
                  </a:cxn>
                </a:cxnLst>
                <a:rect l="0" t="0" r="r" b="b"/>
                <a:pathLst>
                  <a:path w="880" h="980">
                    <a:moveTo>
                      <a:pt x="0" y="980"/>
                    </a:moveTo>
                    <a:lnTo>
                      <a:pt x="565" y="0"/>
                    </a:lnTo>
                    <a:lnTo>
                      <a:pt x="880" y="633"/>
                    </a:lnTo>
                    <a:lnTo>
                      <a:pt x="0"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1" name="Freeform 323"/>
              <p:cNvSpPr>
                <a:spLocks/>
              </p:cNvSpPr>
              <p:nvPr/>
            </p:nvSpPr>
            <p:spPr bwMode="auto">
              <a:xfrm>
                <a:off x="-10853738" y="-3540126"/>
                <a:ext cx="1795463" cy="1555750"/>
              </a:xfrm>
              <a:custGeom>
                <a:avLst/>
                <a:gdLst>
                  <a:gd name="T0" fmla="*/ 565 w 1131"/>
                  <a:gd name="T1" fmla="*/ 980 h 980"/>
                  <a:gd name="T2" fmla="*/ 565 w 1131"/>
                  <a:gd name="T3" fmla="*/ 980 h 980"/>
                  <a:gd name="T4" fmla="*/ 0 w 1131"/>
                  <a:gd name="T5" fmla="*/ 0 h 980"/>
                  <a:gd name="T6" fmla="*/ 1131 w 1131"/>
                  <a:gd name="T7" fmla="*/ 0 h 980"/>
                  <a:gd name="T8" fmla="*/ 565 w 1131"/>
                  <a:gd name="T9" fmla="*/ 980 h 980"/>
                </a:gdLst>
                <a:ahLst/>
                <a:cxnLst>
                  <a:cxn ang="0">
                    <a:pos x="T0" y="T1"/>
                  </a:cxn>
                  <a:cxn ang="0">
                    <a:pos x="T2" y="T3"/>
                  </a:cxn>
                  <a:cxn ang="0">
                    <a:pos x="T4" y="T5"/>
                  </a:cxn>
                  <a:cxn ang="0">
                    <a:pos x="T6" y="T7"/>
                  </a:cxn>
                  <a:cxn ang="0">
                    <a:pos x="T8" y="T9"/>
                  </a:cxn>
                </a:cxnLst>
                <a:rect l="0" t="0" r="r" b="b"/>
                <a:pathLst>
                  <a:path w="1131" h="980">
                    <a:moveTo>
                      <a:pt x="565" y="980"/>
                    </a:moveTo>
                    <a:lnTo>
                      <a:pt x="565" y="980"/>
                    </a:lnTo>
                    <a:lnTo>
                      <a:pt x="0" y="0"/>
                    </a:lnTo>
                    <a:lnTo>
                      <a:pt x="1131" y="0"/>
                    </a:lnTo>
                    <a:lnTo>
                      <a:pt x="565"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2" name="Freeform 324"/>
              <p:cNvSpPr>
                <a:spLocks/>
              </p:cNvSpPr>
              <p:nvPr/>
            </p:nvSpPr>
            <p:spPr bwMode="auto">
              <a:xfrm>
                <a:off x="-9956800" y="-1984376"/>
                <a:ext cx="1797050" cy="1004888"/>
              </a:xfrm>
              <a:custGeom>
                <a:avLst/>
                <a:gdLst>
                  <a:gd name="T0" fmla="*/ 315 w 1132"/>
                  <a:gd name="T1" fmla="*/ 633 h 633"/>
                  <a:gd name="T2" fmla="*/ 315 w 1132"/>
                  <a:gd name="T3" fmla="*/ 633 h 633"/>
                  <a:gd name="T4" fmla="*/ 0 w 1132"/>
                  <a:gd name="T5" fmla="*/ 0 h 633"/>
                  <a:gd name="T6" fmla="*/ 0 w 1132"/>
                  <a:gd name="T7" fmla="*/ 0 h 633"/>
                  <a:gd name="T8" fmla="*/ 1132 w 1132"/>
                  <a:gd name="T9" fmla="*/ 0 h 633"/>
                  <a:gd name="T10" fmla="*/ 529 w 1132"/>
                  <a:gd name="T11" fmla="*/ 468 h 633"/>
                  <a:gd name="T12" fmla="*/ 315 w 1132"/>
                  <a:gd name="T13" fmla="*/ 633 h 633"/>
                  <a:gd name="T14" fmla="*/ 315 w 1132"/>
                  <a:gd name="T15" fmla="*/ 633 h 633"/>
                  <a:gd name="T16" fmla="*/ 315 w 1132"/>
                  <a:gd name="T17" fmla="*/ 633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2" h="633">
                    <a:moveTo>
                      <a:pt x="315" y="633"/>
                    </a:moveTo>
                    <a:lnTo>
                      <a:pt x="315" y="633"/>
                    </a:lnTo>
                    <a:lnTo>
                      <a:pt x="0" y="0"/>
                    </a:lnTo>
                    <a:lnTo>
                      <a:pt x="0" y="0"/>
                    </a:lnTo>
                    <a:lnTo>
                      <a:pt x="1132" y="0"/>
                    </a:lnTo>
                    <a:lnTo>
                      <a:pt x="529" y="468"/>
                    </a:lnTo>
                    <a:lnTo>
                      <a:pt x="315" y="633"/>
                    </a:lnTo>
                    <a:lnTo>
                      <a:pt x="315" y="633"/>
                    </a:lnTo>
                    <a:lnTo>
                      <a:pt x="315" y="633"/>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4" name="Freeform 325"/>
              <p:cNvSpPr>
                <a:spLocks/>
              </p:cNvSpPr>
              <p:nvPr/>
            </p:nvSpPr>
            <p:spPr bwMode="auto">
              <a:xfrm>
                <a:off x="-9956800" y="-1984376"/>
                <a:ext cx="500063" cy="1004888"/>
              </a:xfrm>
              <a:custGeom>
                <a:avLst/>
                <a:gdLst>
                  <a:gd name="T0" fmla="*/ 315 w 315"/>
                  <a:gd name="T1" fmla="*/ 633 h 633"/>
                  <a:gd name="T2" fmla="*/ 0 w 315"/>
                  <a:gd name="T3" fmla="*/ 0 h 633"/>
                  <a:gd name="T4" fmla="*/ 0 w 315"/>
                  <a:gd name="T5" fmla="*/ 0 h 633"/>
                  <a:gd name="T6" fmla="*/ 315 w 315"/>
                  <a:gd name="T7" fmla="*/ 633 h 633"/>
                </a:gdLst>
                <a:ahLst/>
                <a:cxnLst>
                  <a:cxn ang="0">
                    <a:pos x="T0" y="T1"/>
                  </a:cxn>
                  <a:cxn ang="0">
                    <a:pos x="T2" y="T3"/>
                  </a:cxn>
                  <a:cxn ang="0">
                    <a:pos x="T4" y="T5"/>
                  </a:cxn>
                  <a:cxn ang="0">
                    <a:pos x="T6" y="T7"/>
                  </a:cxn>
                </a:cxnLst>
                <a:rect l="0" t="0" r="r" b="b"/>
                <a:pathLst>
                  <a:path w="315" h="633">
                    <a:moveTo>
                      <a:pt x="315" y="633"/>
                    </a:moveTo>
                    <a:lnTo>
                      <a:pt x="0" y="0"/>
                    </a:lnTo>
                    <a:lnTo>
                      <a:pt x="0" y="0"/>
                    </a:lnTo>
                    <a:lnTo>
                      <a:pt x="315" y="63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7" name="Freeform 326"/>
              <p:cNvSpPr>
                <a:spLocks/>
              </p:cNvSpPr>
              <p:nvPr/>
            </p:nvSpPr>
            <p:spPr bwMode="auto">
              <a:xfrm>
                <a:off x="-11814175" y="-3540126"/>
                <a:ext cx="1857375" cy="1555750"/>
              </a:xfrm>
              <a:custGeom>
                <a:avLst/>
                <a:gdLst>
                  <a:gd name="T0" fmla="*/ 1170 w 1170"/>
                  <a:gd name="T1" fmla="*/ 980 h 980"/>
                  <a:gd name="T2" fmla="*/ 0 w 1170"/>
                  <a:gd name="T3" fmla="*/ 252 h 980"/>
                  <a:gd name="T4" fmla="*/ 605 w 1170"/>
                  <a:gd name="T5" fmla="*/ 0 h 980"/>
                  <a:gd name="T6" fmla="*/ 1170 w 1170"/>
                  <a:gd name="T7" fmla="*/ 980 h 980"/>
                </a:gdLst>
                <a:ahLst/>
                <a:cxnLst>
                  <a:cxn ang="0">
                    <a:pos x="T0" y="T1"/>
                  </a:cxn>
                  <a:cxn ang="0">
                    <a:pos x="T2" y="T3"/>
                  </a:cxn>
                  <a:cxn ang="0">
                    <a:pos x="T4" y="T5"/>
                  </a:cxn>
                  <a:cxn ang="0">
                    <a:pos x="T6" y="T7"/>
                  </a:cxn>
                </a:cxnLst>
                <a:rect l="0" t="0" r="r" b="b"/>
                <a:pathLst>
                  <a:path w="1170" h="980">
                    <a:moveTo>
                      <a:pt x="1170" y="980"/>
                    </a:moveTo>
                    <a:lnTo>
                      <a:pt x="0" y="252"/>
                    </a:lnTo>
                    <a:lnTo>
                      <a:pt x="605" y="0"/>
                    </a:lnTo>
                    <a:lnTo>
                      <a:pt x="1170"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0" name="Freeform 327"/>
              <p:cNvSpPr>
                <a:spLocks/>
              </p:cNvSpPr>
              <p:nvPr/>
            </p:nvSpPr>
            <p:spPr bwMode="auto">
              <a:xfrm>
                <a:off x="-9956800" y="-3540126"/>
                <a:ext cx="1797050" cy="1555750"/>
              </a:xfrm>
              <a:custGeom>
                <a:avLst/>
                <a:gdLst>
                  <a:gd name="T0" fmla="*/ 0 w 1132"/>
                  <a:gd name="T1" fmla="*/ 980 h 980"/>
                  <a:gd name="T2" fmla="*/ 0 w 1132"/>
                  <a:gd name="T3" fmla="*/ 980 h 980"/>
                  <a:gd name="T4" fmla="*/ 566 w 1132"/>
                  <a:gd name="T5" fmla="*/ 0 h 980"/>
                  <a:gd name="T6" fmla="*/ 1132 w 1132"/>
                  <a:gd name="T7" fmla="*/ 980 h 980"/>
                  <a:gd name="T8" fmla="*/ 1132 w 1132"/>
                  <a:gd name="T9" fmla="*/ 980 h 980"/>
                  <a:gd name="T10" fmla="*/ 1132 w 1132"/>
                  <a:gd name="T11" fmla="*/ 980 h 980"/>
                  <a:gd name="T12" fmla="*/ 1132 w 1132"/>
                  <a:gd name="T13" fmla="*/ 980 h 980"/>
                  <a:gd name="T14" fmla="*/ 0 w 1132"/>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980">
                    <a:moveTo>
                      <a:pt x="0" y="980"/>
                    </a:moveTo>
                    <a:lnTo>
                      <a:pt x="0" y="980"/>
                    </a:lnTo>
                    <a:lnTo>
                      <a:pt x="566" y="0"/>
                    </a:lnTo>
                    <a:lnTo>
                      <a:pt x="1132" y="980"/>
                    </a:lnTo>
                    <a:lnTo>
                      <a:pt x="1132" y="980"/>
                    </a:lnTo>
                    <a:lnTo>
                      <a:pt x="1132" y="980"/>
                    </a:lnTo>
                    <a:lnTo>
                      <a:pt x="1132" y="980"/>
                    </a:lnTo>
                    <a:lnTo>
                      <a:pt x="0" y="98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1" name="Freeform 328"/>
              <p:cNvSpPr>
                <a:spLocks/>
              </p:cNvSpPr>
              <p:nvPr/>
            </p:nvSpPr>
            <p:spPr bwMode="auto">
              <a:xfrm>
                <a:off x="-11814175" y="-3140076"/>
                <a:ext cx="1857375" cy="2711450"/>
              </a:xfrm>
              <a:custGeom>
                <a:avLst/>
                <a:gdLst>
                  <a:gd name="T0" fmla="*/ 605 w 1170"/>
                  <a:gd name="T1" fmla="*/ 1708 h 1708"/>
                  <a:gd name="T2" fmla="*/ 605 w 1170"/>
                  <a:gd name="T3" fmla="*/ 1708 h 1708"/>
                  <a:gd name="T4" fmla="*/ 605 w 1170"/>
                  <a:gd name="T5" fmla="*/ 1708 h 1708"/>
                  <a:gd name="T6" fmla="*/ 163 w 1170"/>
                  <a:gd name="T7" fmla="*/ 461 h 1708"/>
                  <a:gd name="T8" fmla="*/ 0 w 1170"/>
                  <a:gd name="T9" fmla="*/ 0 h 1708"/>
                  <a:gd name="T10" fmla="*/ 0 w 1170"/>
                  <a:gd name="T11" fmla="*/ 0 h 1708"/>
                  <a:gd name="T12" fmla="*/ 1170 w 1170"/>
                  <a:gd name="T13" fmla="*/ 728 h 1708"/>
                  <a:gd name="T14" fmla="*/ 1170 w 1170"/>
                  <a:gd name="T15" fmla="*/ 728 h 1708"/>
                  <a:gd name="T16" fmla="*/ 1170 w 1170"/>
                  <a:gd name="T17" fmla="*/ 728 h 1708"/>
                  <a:gd name="T18" fmla="*/ 1170 w 1170"/>
                  <a:gd name="T19" fmla="*/ 728 h 1708"/>
                  <a:gd name="T20" fmla="*/ 1170 w 1170"/>
                  <a:gd name="T21" fmla="*/ 728 h 1708"/>
                  <a:gd name="T22" fmla="*/ 1170 w 1170"/>
                  <a:gd name="T23" fmla="*/ 728 h 1708"/>
                  <a:gd name="T24" fmla="*/ 605 w 1170"/>
                  <a:gd name="T25" fmla="*/ 1708 h 1708"/>
                  <a:gd name="T26" fmla="*/ 605 w 1170"/>
                  <a:gd name="T27" fmla="*/ 1708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0" h="1708">
                    <a:moveTo>
                      <a:pt x="605" y="1708"/>
                    </a:moveTo>
                    <a:lnTo>
                      <a:pt x="605" y="1708"/>
                    </a:lnTo>
                    <a:lnTo>
                      <a:pt x="605" y="1708"/>
                    </a:lnTo>
                    <a:lnTo>
                      <a:pt x="163" y="461"/>
                    </a:lnTo>
                    <a:lnTo>
                      <a:pt x="0" y="0"/>
                    </a:lnTo>
                    <a:lnTo>
                      <a:pt x="0" y="0"/>
                    </a:lnTo>
                    <a:lnTo>
                      <a:pt x="1170" y="728"/>
                    </a:lnTo>
                    <a:lnTo>
                      <a:pt x="1170" y="728"/>
                    </a:lnTo>
                    <a:lnTo>
                      <a:pt x="1170" y="728"/>
                    </a:lnTo>
                    <a:lnTo>
                      <a:pt x="1170" y="728"/>
                    </a:lnTo>
                    <a:lnTo>
                      <a:pt x="1170" y="728"/>
                    </a:lnTo>
                    <a:lnTo>
                      <a:pt x="1170" y="728"/>
                    </a:lnTo>
                    <a:lnTo>
                      <a:pt x="605" y="1708"/>
                    </a:lnTo>
                    <a:lnTo>
                      <a:pt x="605" y="1708"/>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3" name="Freeform 329"/>
              <p:cNvSpPr>
                <a:spLocks/>
              </p:cNvSpPr>
              <p:nvPr/>
            </p:nvSpPr>
            <p:spPr bwMode="auto">
              <a:xfrm>
                <a:off x="-12625388" y="3949700"/>
                <a:ext cx="446088" cy="647700"/>
              </a:xfrm>
              <a:custGeom>
                <a:avLst/>
                <a:gdLst>
                  <a:gd name="T0" fmla="*/ 281 w 281"/>
                  <a:gd name="T1" fmla="*/ 408 h 408"/>
                  <a:gd name="T2" fmla="*/ 0 w 281"/>
                  <a:gd name="T3" fmla="*/ 334 h 408"/>
                  <a:gd name="T4" fmla="*/ 0 w 281"/>
                  <a:gd name="T5" fmla="*/ 0 h 408"/>
                  <a:gd name="T6" fmla="*/ 281 w 281"/>
                  <a:gd name="T7" fmla="*/ 408 h 408"/>
                </a:gdLst>
                <a:ahLst/>
                <a:cxnLst>
                  <a:cxn ang="0">
                    <a:pos x="T0" y="T1"/>
                  </a:cxn>
                  <a:cxn ang="0">
                    <a:pos x="T2" y="T3"/>
                  </a:cxn>
                  <a:cxn ang="0">
                    <a:pos x="T4" y="T5"/>
                  </a:cxn>
                  <a:cxn ang="0">
                    <a:pos x="T6" y="T7"/>
                  </a:cxn>
                </a:cxnLst>
                <a:rect l="0" t="0" r="r" b="b"/>
                <a:pathLst>
                  <a:path w="281" h="408">
                    <a:moveTo>
                      <a:pt x="281" y="408"/>
                    </a:moveTo>
                    <a:lnTo>
                      <a:pt x="0" y="334"/>
                    </a:lnTo>
                    <a:lnTo>
                      <a:pt x="0" y="0"/>
                    </a:lnTo>
                    <a:lnTo>
                      <a:pt x="281" y="408"/>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6" name="Freeform 330"/>
              <p:cNvSpPr>
                <a:spLocks/>
              </p:cNvSpPr>
              <p:nvPr/>
            </p:nvSpPr>
            <p:spPr bwMode="auto">
              <a:xfrm>
                <a:off x="-12625388" y="1152525"/>
                <a:ext cx="844550" cy="811213"/>
              </a:xfrm>
              <a:custGeom>
                <a:avLst/>
                <a:gdLst>
                  <a:gd name="T0" fmla="*/ 0 w 532"/>
                  <a:gd name="T1" fmla="*/ 511 h 511"/>
                  <a:gd name="T2" fmla="*/ 0 w 532"/>
                  <a:gd name="T3" fmla="*/ 511 h 511"/>
                  <a:gd name="T4" fmla="*/ 532 w 532"/>
                  <a:gd name="T5" fmla="*/ 0 h 511"/>
                  <a:gd name="T6" fmla="*/ 0 w 532"/>
                  <a:gd name="T7" fmla="*/ 511 h 511"/>
                </a:gdLst>
                <a:ahLst/>
                <a:cxnLst>
                  <a:cxn ang="0">
                    <a:pos x="T0" y="T1"/>
                  </a:cxn>
                  <a:cxn ang="0">
                    <a:pos x="T2" y="T3"/>
                  </a:cxn>
                  <a:cxn ang="0">
                    <a:pos x="T4" y="T5"/>
                  </a:cxn>
                  <a:cxn ang="0">
                    <a:pos x="T6" y="T7"/>
                  </a:cxn>
                </a:cxnLst>
                <a:rect l="0" t="0" r="r" b="b"/>
                <a:pathLst>
                  <a:path w="532" h="511">
                    <a:moveTo>
                      <a:pt x="0" y="511"/>
                    </a:moveTo>
                    <a:lnTo>
                      <a:pt x="0" y="511"/>
                    </a:lnTo>
                    <a:lnTo>
                      <a:pt x="532" y="0"/>
                    </a:lnTo>
                    <a:lnTo>
                      <a:pt x="0" y="51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7" name="Freeform 331"/>
              <p:cNvSpPr>
                <a:spLocks noEditPoints="1"/>
              </p:cNvSpPr>
              <p:nvPr/>
            </p:nvSpPr>
            <p:spPr bwMode="auto">
              <a:xfrm>
                <a:off x="-12625388" y="2682875"/>
                <a:ext cx="1771650" cy="1914525"/>
              </a:xfrm>
              <a:custGeom>
                <a:avLst/>
                <a:gdLst>
                  <a:gd name="T0" fmla="*/ 586 w 2324"/>
                  <a:gd name="T1" fmla="*/ 2514 h 2514"/>
                  <a:gd name="T2" fmla="*/ 586 w 2324"/>
                  <a:gd name="T3" fmla="*/ 2514 h 2514"/>
                  <a:gd name="T4" fmla="*/ 0 w 2324"/>
                  <a:gd name="T5" fmla="*/ 1664 h 2514"/>
                  <a:gd name="T6" fmla="*/ 0 w 2324"/>
                  <a:gd name="T7" fmla="*/ 64 h 2514"/>
                  <a:gd name="T8" fmla="*/ 2324 w 2324"/>
                  <a:gd name="T9" fmla="*/ 0 h 2514"/>
                  <a:gd name="T10" fmla="*/ 1542 w 2324"/>
                  <a:gd name="T11" fmla="*/ 1131 h 2514"/>
                  <a:gd name="T12" fmla="*/ 586 w 2324"/>
                  <a:gd name="T13" fmla="*/ 2514 h 2514"/>
                  <a:gd name="T14" fmla="*/ 2324 w 2324"/>
                  <a:gd name="T15" fmla="*/ 0 h 2514"/>
                  <a:gd name="T16" fmla="*/ 2324 w 2324"/>
                  <a:gd name="T17" fmla="*/ 0 h 2514"/>
                  <a:gd name="T18" fmla="*/ 2324 w 2324"/>
                  <a:gd name="T19"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4" h="2514">
                    <a:moveTo>
                      <a:pt x="586" y="2514"/>
                    </a:moveTo>
                    <a:lnTo>
                      <a:pt x="586" y="2514"/>
                    </a:lnTo>
                    <a:lnTo>
                      <a:pt x="0" y="1664"/>
                    </a:lnTo>
                    <a:lnTo>
                      <a:pt x="0" y="64"/>
                    </a:lnTo>
                    <a:lnTo>
                      <a:pt x="2324" y="0"/>
                    </a:lnTo>
                    <a:lnTo>
                      <a:pt x="1542" y="1131"/>
                    </a:lnTo>
                    <a:lnTo>
                      <a:pt x="586" y="2514"/>
                    </a:lnTo>
                    <a:moveTo>
                      <a:pt x="2324" y="0"/>
                    </a:moveTo>
                    <a:lnTo>
                      <a:pt x="2324" y="0"/>
                    </a:lnTo>
                    <a:lnTo>
                      <a:pt x="2324"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0" name="Freeform 332"/>
              <p:cNvSpPr>
                <a:spLocks/>
              </p:cNvSpPr>
              <p:nvPr/>
            </p:nvSpPr>
            <p:spPr bwMode="auto">
              <a:xfrm>
                <a:off x="-12625388" y="1125537"/>
                <a:ext cx="1771650" cy="1604963"/>
              </a:xfrm>
              <a:custGeom>
                <a:avLst/>
                <a:gdLst>
                  <a:gd name="T0" fmla="*/ 0 w 1116"/>
                  <a:gd name="T1" fmla="*/ 1011 h 1011"/>
                  <a:gd name="T2" fmla="*/ 0 w 1116"/>
                  <a:gd name="T3" fmla="*/ 528 h 1011"/>
                  <a:gd name="T4" fmla="*/ 532 w 1116"/>
                  <a:gd name="T5" fmla="*/ 17 h 1011"/>
                  <a:gd name="T6" fmla="*/ 550 w 1116"/>
                  <a:gd name="T7" fmla="*/ 0 h 1011"/>
                  <a:gd name="T8" fmla="*/ 532 w 1116"/>
                  <a:gd name="T9" fmla="*/ 17 h 1011"/>
                  <a:gd name="T10" fmla="*/ 550 w 1116"/>
                  <a:gd name="T11" fmla="*/ 0 h 1011"/>
                  <a:gd name="T12" fmla="*/ 550 w 1116"/>
                  <a:gd name="T13" fmla="*/ 0 h 1011"/>
                  <a:gd name="T14" fmla="*/ 550 w 1116"/>
                  <a:gd name="T15" fmla="*/ 0 h 1011"/>
                  <a:gd name="T16" fmla="*/ 1116 w 1116"/>
                  <a:gd name="T17" fmla="*/ 981 h 1011"/>
                  <a:gd name="T18" fmla="*/ 0 w 1116"/>
                  <a:gd name="T19" fmla="*/ 1011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6" h="1011">
                    <a:moveTo>
                      <a:pt x="0" y="1011"/>
                    </a:moveTo>
                    <a:lnTo>
                      <a:pt x="0" y="528"/>
                    </a:lnTo>
                    <a:lnTo>
                      <a:pt x="532" y="17"/>
                    </a:lnTo>
                    <a:lnTo>
                      <a:pt x="550" y="0"/>
                    </a:lnTo>
                    <a:lnTo>
                      <a:pt x="532" y="17"/>
                    </a:lnTo>
                    <a:lnTo>
                      <a:pt x="550" y="0"/>
                    </a:lnTo>
                    <a:lnTo>
                      <a:pt x="550" y="0"/>
                    </a:lnTo>
                    <a:lnTo>
                      <a:pt x="550" y="0"/>
                    </a:lnTo>
                    <a:lnTo>
                      <a:pt x="1116" y="981"/>
                    </a:lnTo>
                    <a:lnTo>
                      <a:pt x="0" y="101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1" name="Freeform 333"/>
              <p:cNvSpPr>
                <a:spLocks/>
              </p:cNvSpPr>
              <p:nvPr/>
            </p:nvSpPr>
            <p:spPr bwMode="auto">
              <a:xfrm>
                <a:off x="-11780838" y="1125537"/>
                <a:ext cx="28575" cy="26988"/>
              </a:xfrm>
              <a:custGeom>
                <a:avLst/>
                <a:gdLst>
                  <a:gd name="T0" fmla="*/ 0 w 18"/>
                  <a:gd name="T1" fmla="*/ 17 h 17"/>
                  <a:gd name="T2" fmla="*/ 0 w 18"/>
                  <a:gd name="T3" fmla="*/ 17 h 17"/>
                  <a:gd name="T4" fmla="*/ 18 w 18"/>
                  <a:gd name="T5" fmla="*/ 0 h 17"/>
                  <a:gd name="T6" fmla="*/ 0 w 18"/>
                  <a:gd name="T7" fmla="*/ 17 h 17"/>
                </a:gdLst>
                <a:ahLst/>
                <a:cxnLst>
                  <a:cxn ang="0">
                    <a:pos x="T0" y="T1"/>
                  </a:cxn>
                  <a:cxn ang="0">
                    <a:pos x="T2" y="T3"/>
                  </a:cxn>
                  <a:cxn ang="0">
                    <a:pos x="T4" y="T5"/>
                  </a:cxn>
                  <a:cxn ang="0">
                    <a:pos x="T6" y="T7"/>
                  </a:cxn>
                </a:cxnLst>
                <a:rect l="0" t="0" r="r" b="b"/>
                <a:pathLst>
                  <a:path w="18" h="17">
                    <a:moveTo>
                      <a:pt x="0" y="17"/>
                    </a:moveTo>
                    <a:lnTo>
                      <a:pt x="0" y="17"/>
                    </a:lnTo>
                    <a:lnTo>
                      <a:pt x="18" y="0"/>
                    </a:lnTo>
                    <a:lnTo>
                      <a:pt x="0" y="1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2" name="Freeform 334"/>
              <p:cNvSpPr>
                <a:spLocks noEditPoints="1"/>
              </p:cNvSpPr>
              <p:nvPr/>
            </p:nvSpPr>
            <p:spPr bwMode="auto">
              <a:xfrm>
                <a:off x="-10853738" y="1454150"/>
                <a:ext cx="1365250" cy="1757363"/>
              </a:xfrm>
              <a:custGeom>
                <a:avLst/>
                <a:gdLst>
                  <a:gd name="T0" fmla="*/ 1792 w 1792"/>
                  <a:gd name="T1" fmla="*/ 2307 h 2307"/>
                  <a:gd name="T2" fmla="*/ 0 w 1792"/>
                  <a:gd name="T3" fmla="*/ 1612 h 2307"/>
                  <a:gd name="T4" fmla="*/ 0 w 1792"/>
                  <a:gd name="T5" fmla="*/ 1612 h 2307"/>
                  <a:gd name="T6" fmla="*/ 0 w 1792"/>
                  <a:gd name="T7" fmla="*/ 1612 h 2307"/>
                  <a:gd name="T8" fmla="*/ 233 w 1792"/>
                  <a:gd name="T9" fmla="*/ 0 h 2307"/>
                  <a:gd name="T10" fmla="*/ 790 w 1792"/>
                  <a:gd name="T11" fmla="*/ 824 h 2307"/>
                  <a:gd name="T12" fmla="*/ 1792 w 1792"/>
                  <a:gd name="T13" fmla="*/ 2307 h 2307"/>
                  <a:gd name="T14" fmla="*/ 233 w 1792"/>
                  <a:gd name="T15" fmla="*/ 0 h 2307"/>
                  <a:gd name="T16" fmla="*/ 233 w 1792"/>
                  <a:gd name="T17" fmla="*/ 0 h 2307"/>
                  <a:gd name="T18" fmla="*/ 233 w 1792"/>
                  <a:gd name="T19" fmla="*/ 0 h 2307"/>
                  <a:gd name="T20" fmla="*/ 233 w 1792"/>
                  <a:gd name="T21" fmla="*/ 0 h 2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2" h="2307">
                    <a:moveTo>
                      <a:pt x="1792" y="2307"/>
                    </a:moveTo>
                    <a:lnTo>
                      <a:pt x="0" y="1612"/>
                    </a:lnTo>
                    <a:lnTo>
                      <a:pt x="0" y="1612"/>
                    </a:lnTo>
                    <a:lnTo>
                      <a:pt x="0" y="1612"/>
                    </a:lnTo>
                    <a:lnTo>
                      <a:pt x="233" y="0"/>
                    </a:lnTo>
                    <a:lnTo>
                      <a:pt x="790" y="824"/>
                    </a:lnTo>
                    <a:lnTo>
                      <a:pt x="1792" y="2307"/>
                    </a:lnTo>
                    <a:moveTo>
                      <a:pt x="233" y="0"/>
                    </a:moveTo>
                    <a:lnTo>
                      <a:pt x="233" y="0"/>
                    </a:lnTo>
                    <a:lnTo>
                      <a:pt x="233" y="0"/>
                    </a:lnTo>
                    <a:lnTo>
                      <a:pt x="233"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3" name="Freeform 335"/>
              <p:cNvSpPr>
                <a:spLocks/>
              </p:cNvSpPr>
              <p:nvPr/>
            </p:nvSpPr>
            <p:spPr bwMode="auto">
              <a:xfrm>
                <a:off x="-10853738" y="-979488"/>
                <a:ext cx="1397000" cy="2433638"/>
              </a:xfrm>
              <a:custGeom>
                <a:avLst/>
                <a:gdLst>
                  <a:gd name="T0" fmla="*/ 111 w 880"/>
                  <a:gd name="T1" fmla="*/ 1533 h 1533"/>
                  <a:gd name="T2" fmla="*/ 111 w 880"/>
                  <a:gd name="T3" fmla="*/ 1533 h 1533"/>
                  <a:gd name="T4" fmla="*/ 0 w 880"/>
                  <a:gd name="T5" fmla="*/ 347 h 1533"/>
                  <a:gd name="T6" fmla="*/ 0 w 880"/>
                  <a:gd name="T7" fmla="*/ 347 h 1533"/>
                  <a:gd name="T8" fmla="*/ 0 w 880"/>
                  <a:gd name="T9" fmla="*/ 347 h 1533"/>
                  <a:gd name="T10" fmla="*/ 880 w 880"/>
                  <a:gd name="T11" fmla="*/ 0 h 1533"/>
                  <a:gd name="T12" fmla="*/ 111 w 880"/>
                  <a:gd name="T13" fmla="*/ 1533 h 1533"/>
                </a:gdLst>
                <a:ahLst/>
                <a:cxnLst>
                  <a:cxn ang="0">
                    <a:pos x="T0" y="T1"/>
                  </a:cxn>
                  <a:cxn ang="0">
                    <a:pos x="T2" y="T3"/>
                  </a:cxn>
                  <a:cxn ang="0">
                    <a:pos x="T4" y="T5"/>
                  </a:cxn>
                  <a:cxn ang="0">
                    <a:pos x="T6" y="T7"/>
                  </a:cxn>
                  <a:cxn ang="0">
                    <a:pos x="T8" y="T9"/>
                  </a:cxn>
                  <a:cxn ang="0">
                    <a:pos x="T10" y="T11"/>
                  </a:cxn>
                  <a:cxn ang="0">
                    <a:pos x="T12" y="T13"/>
                  </a:cxn>
                </a:cxnLst>
                <a:rect l="0" t="0" r="r" b="b"/>
                <a:pathLst>
                  <a:path w="880" h="1533">
                    <a:moveTo>
                      <a:pt x="111" y="1533"/>
                    </a:moveTo>
                    <a:lnTo>
                      <a:pt x="111" y="1533"/>
                    </a:lnTo>
                    <a:lnTo>
                      <a:pt x="0" y="347"/>
                    </a:lnTo>
                    <a:lnTo>
                      <a:pt x="0" y="347"/>
                    </a:lnTo>
                    <a:lnTo>
                      <a:pt x="0" y="347"/>
                    </a:lnTo>
                    <a:lnTo>
                      <a:pt x="880" y="0"/>
                    </a:lnTo>
                    <a:lnTo>
                      <a:pt x="111" y="15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4" name="Freeform 336"/>
              <p:cNvSpPr>
                <a:spLocks/>
              </p:cNvSpPr>
              <p:nvPr/>
            </p:nvSpPr>
            <p:spPr bwMode="auto">
              <a:xfrm>
                <a:off x="-10677525" y="1125537"/>
                <a:ext cx="2517775" cy="2085975"/>
              </a:xfrm>
              <a:custGeom>
                <a:avLst/>
                <a:gdLst>
                  <a:gd name="T0" fmla="*/ 749 w 1586"/>
                  <a:gd name="T1" fmla="*/ 1314 h 1314"/>
                  <a:gd name="T2" fmla="*/ 268 w 1586"/>
                  <a:gd name="T3" fmla="*/ 602 h 1314"/>
                  <a:gd name="T4" fmla="*/ 0 w 1586"/>
                  <a:gd name="T5" fmla="*/ 207 h 1314"/>
                  <a:gd name="T6" fmla="*/ 0 w 1586"/>
                  <a:gd name="T7" fmla="*/ 207 h 1314"/>
                  <a:gd name="T8" fmla="*/ 0 w 1586"/>
                  <a:gd name="T9" fmla="*/ 207 h 1314"/>
                  <a:gd name="T10" fmla="*/ 0 w 1586"/>
                  <a:gd name="T11" fmla="*/ 207 h 1314"/>
                  <a:gd name="T12" fmla="*/ 169 w 1586"/>
                  <a:gd name="T13" fmla="*/ 185 h 1314"/>
                  <a:gd name="T14" fmla="*/ 1586 w 1586"/>
                  <a:gd name="T15" fmla="*/ 0 h 1314"/>
                  <a:gd name="T16" fmla="*/ 749 w 1586"/>
                  <a:gd name="T17" fmla="*/ 1314 h 1314"/>
                  <a:gd name="T18" fmla="*/ 749 w 1586"/>
                  <a:gd name="T19" fmla="*/ 1314 h 1314"/>
                  <a:gd name="T20" fmla="*/ 749 w 1586"/>
                  <a:gd name="T21" fmla="*/ 1314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6" h="1314">
                    <a:moveTo>
                      <a:pt x="749" y="1314"/>
                    </a:moveTo>
                    <a:lnTo>
                      <a:pt x="268" y="602"/>
                    </a:lnTo>
                    <a:lnTo>
                      <a:pt x="0" y="207"/>
                    </a:lnTo>
                    <a:lnTo>
                      <a:pt x="0" y="207"/>
                    </a:lnTo>
                    <a:lnTo>
                      <a:pt x="0" y="207"/>
                    </a:lnTo>
                    <a:lnTo>
                      <a:pt x="0" y="207"/>
                    </a:lnTo>
                    <a:lnTo>
                      <a:pt x="169" y="185"/>
                    </a:lnTo>
                    <a:lnTo>
                      <a:pt x="1586" y="0"/>
                    </a:lnTo>
                    <a:lnTo>
                      <a:pt x="749" y="1314"/>
                    </a:lnTo>
                    <a:lnTo>
                      <a:pt x="749" y="1314"/>
                    </a:lnTo>
                    <a:lnTo>
                      <a:pt x="749" y="1314"/>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5" name="Freeform 337"/>
              <p:cNvSpPr>
                <a:spLocks/>
              </p:cNvSpPr>
              <p:nvPr/>
            </p:nvSpPr>
            <p:spPr bwMode="auto">
              <a:xfrm>
                <a:off x="-10677525" y="1454150"/>
                <a:ext cx="425450" cy="627063"/>
              </a:xfrm>
              <a:custGeom>
                <a:avLst/>
                <a:gdLst>
                  <a:gd name="T0" fmla="*/ 268 w 268"/>
                  <a:gd name="T1" fmla="*/ 395 h 395"/>
                  <a:gd name="T2" fmla="*/ 0 w 268"/>
                  <a:gd name="T3" fmla="*/ 0 h 395"/>
                  <a:gd name="T4" fmla="*/ 0 w 268"/>
                  <a:gd name="T5" fmla="*/ 0 h 395"/>
                  <a:gd name="T6" fmla="*/ 268 w 268"/>
                  <a:gd name="T7" fmla="*/ 395 h 395"/>
                </a:gdLst>
                <a:ahLst/>
                <a:cxnLst>
                  <a:cxn ang="0">
                    <a:pos x="T0" y="T1"/>
                  </a:cxn>
                  <a:cxn ang="0">
                    <a:pos x="T2" y="T3"/>
                  </a:cxn>
                  <a:cxn ang="0">
                    <a:pos x="T4" y="T5"/>
                  </a:cxn>
                  <a:cxn ang="0">
                    <a:pos x="T6" y="T7"/>
                  </a:cxn>
                </a:cxnLst>
                <a:rect l="0" t="0" r="r" b="b"/>
                <a:pathLst>
                  <a:path w="268" h="395">
                    <a:moveTo>
                      <a:pt x="268" y="395"/>
                    </a:moveTo>
                    <a:lnTo>
                      <a:pt x="0" y="0"/>
                    </a:lnTo>
                    <a:lnTo>
                      <a:pt x="0" y="0"/>
                    </a:lnTo>
                    <a:lnTo>
                      <a:pt x="268" y="39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6" name="Freeform 338"/>
              <p:cNvSpPr>
                <a:spLocks/>
              </p:cNvSpPr>
              <p:nvPr/>
            </p:nvSpPr>
            <p:spPr bwMode="auto">
              <a:xfrm>
                <a:off x="-11752263" y="-428626"/>
                <a:ext cx="1074738" cy="1882775"/>
              </a:xfrm>
              <a:custGeom>
                <a:avLst/>
                <a:gdLst>
                  <a:gd name="T0" fmla="*/ 677 w 677"/>
                  <a:gd name="T1" fmla="*/ 1186 h 1186"/>
                  <a:gd name="T2" fmla="*/ 0 w 677"/>
                  <a:gd name="T3" fmla="*/ 979 h 1186"/>
                  <a:gd name="T4" fmla="*/ 452 w 677"/>
                  <a:gd name="T5" fmla="*/ 196 h 1186"/>
                  <a:gd name="T6" fmla="*/ 566 w 677"/>
                  <a:gd name="T7" fmla="*/ 0 h 1186"/>
                  <a:gd name="T8" fmla="*/ 677 w 677"/>
                  <a:gd name="T9" fmla="*/ 1186 h 1186"/>
                  <a:gd name="T10" fmla="*/ 677 w 677"/>
                  <a:gd name="T11" fmla="*/ 1186 h 1186"/>
                </a:gdLst>
                <a:ahLst/>
                <a:cxnLst>
                  <a:cxn ang="0">
                    <a:pos x="T0" y="T1"/>
                  </a:cxn>
                  <a:cxn ang="0">
                    <a:pos x="T2" y="T3"/>
                  </a:cxn>
                  <a:cxn ang="0">
                    <a:pos x="T4" y="T5"/>
                  </a:cxn>
                  <a:cxn ang="0">
                    <a:pos x="T6" y="T7"/>
                  </a:cxn>
                  <a:cxn ang="0">
                    <a:pos x="T8" y="T9"/>
                  </a:cxn>
                  <a:cxn ang="0">
                    <a:pos x="T10" y="T11"/>
                  </a:cxn>
                </a:cxnLst>
                <a:rect l="0" t="0" r="r" b="b"/>
                <a:pathLst>
                  <a:path w="677" h="1186">
                    <a:moveTo>
                      <a:pt x="677" y="1186"/>
                    </a:moveTo>
                    <a:lnTo>
                      <a:pt x="0" y="979"/>
                    </a:lnTo>
                    <a:lnTo>
                      <a:pt x="452" y="196"/>
                    </a:lnTo>
                    <a:lnTo>
                      <a:pt x="566" y="0"/>
                    </a:lnTo>
                    <a:lnTo>
                      <a:pt x="677" y="1186"/>
                    </a:lnTo>
                    <a:lnTo>
                      <a:pt x="677" y="118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7" name="Rectangle 339"/>
              <p:cNvSpPr>
                <a:spLocks noChangeArrowheads="1"/>
              </p:cNvSpPr>
              <p:nvPr/>
            </p:nvSpPr>
            <p:spPr bwMode="auto">
              <a:xfrm>
                <a:off x="-10677525" y="1454150"/>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8" name="Rectangle 340"/>
              <p:cNvSpPr>
                <a:spLocks noChangeArrowheads="1"/>
              </p:cNvSpPr>
              <p:nvPr/>
            </p:nvSpPr>
            <p:spPr bwMode="auto">
              <a:xfrm>
                <a:off x="-11752263" y="1125537"/>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9" name="Freeform 341"/>
              <p:cNvSpPr>
                <a:spLocks/>
              </p:cNvSpPr>
              <p:nvPr/>
            </p:nvSpPr>
            <p:spPr bwMode="auto">
              <a:xfrm>
                <a:off x="-10677525" y="-979488"/>
                <a:ext cx="2517775" cy="2433638"/>
              </a:xfrm>
              <a:custGeom>
                <a:avLst/>
                <a:gdLst>
                  <a:gd name="T0" fmla="*/ 0 w 1586"/>
                  <a:gd name="T1" fmla="*/ 1533 h 1533"/>
                  <a:gd name="T2" fmla="*/ 769 w 1586"/>
                  <a:gd name="T3" fmla="*/ 0 h 1533"/>
                  <a:gd name="T4" fmla="*/ 1586 w 1586"/>
                  <a:gd name="T5" fmla="*/ 1326 h 1533"/>
                  <a:gd name="T6" fmla="*/ 1586 w 1586"/>
                  <a:gd name="T7" fmla="*/ 1326 h 1533"/>
                  <a:gd name="T8" fmla="*/ 1586 w 1586"/>
                  <a:gd name="T9" fmla="*/ 1326 h 1533"/>
                  <a:gd name="T10" fmla="*/ 1586 w 1586"/>
                  <a:gd name="T11" fmla="*/ 1326 h 1533"/>
                  <a:gd name="T12" fmla="*/ 169 w 1586"/>
                  <a:gd name="T13" fmla="*/ 1511 h 1533"/>
                  <a:gd name="T14" fmla="*/ 0 w 1586"/>
                  <a:gd name="T15" fmla="*/ 1533 h 15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6" h="1533">
                    <a:moveTo>
                      <a:pt x="0" y="1533"/>
                    </a:moveTo>
                    <a:lnTo>
                      <a:pt x="769" y="0"/>
                    </a:lnTo>
                    <a:lnTo>
                      <a:pt x="1586" y="1326"/>
                    </a:lnTo>
                    <a:lnTo>
                      <a:pt x="1586" y="1326"/>
                    </a:lnTo>
                    <a:lnTo>
                      <a:pt x="1586" y="1326"/>
                    </a:lnTo>
                    <a:lnTo>
                      <a:pt x="1586" y="1326"/>
                    </a:lnTo>
                    <a:lnTo>
                      <a:pt x="169" y="1511"/>
                    </a:lnTo>
                    <a:lnTo>
                      <a:pt x="0" y="1533"/>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0" name="Freeform 342"/>
              <p:cNvSpPr>
                <a:spLocks noEditPoints="1"/>
              </p:cNvSpPr>
              <p:nvPr/>
            </p:nvSpPr>
            <p:spPr bwMode="auto">
              <a:xfrm>
                <a:off x="-11752263" y="1125537"/>
                <a:ext cx="1074738" cy="1557338"/>
              </a:xfrm>
              <a:custGeom>
                <a:avLst/>
                <a:gdLst>
                  <a:gd name="T0" fmla="*/ 1179 w 1412"/>
                  <a:gd name="T1" fmla="*/ 2042 h 2042"/>
                  <a:gd name="T2" fmla="*/ 0 w 1412"/>
                  <a:gd name="T3" fmla="*/ 0 h 2042"/>
                  <a:gd name="T4" fmla="*/ 1412 w 1412"/>
                  <a:gd name="T5" fmla="*/ 430 h 2042"/>
                  <a:gd name="T6" fmla="*/ 1179 w 1412"/>
                  <a:gd name="T7" fmla="*/ 2042 h 2042"/>
                  <a:gd name="T8" fmla="*/ 1412 w 1412"/>
                  <a:gd name="T9" fmla="*/ 430 h 2042"/>
                  <a:gd name="T10" fmla="*/ 1412 w 1412"/>
                  <a:gd name="T11" fmla="*/ 430 h 2042"/>
                  <a:gd name="T12" fmla="*/ 1412 w 1412"/>
                  <a:gd name="T13" fmla="*/ 430 h 2042"/>
                  <a:gd name="T14" fmla="*/ 1412 w 1412"/>
                  <a:gd name="T15" fmla="*/ 430 h 20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2042">
                    <a:moveTo>
                      <a:pt x="1179" y="2042"/>
                    </a:moveTo>
                    <a:lnTo>
                      <a:pt x="0" y="0"/>
                    </a:lnTo>
                    <a:lnTo>
                      <a:pt x="1412" y="430"/>
                    </a:lnTo>
                    <a:lnTo>
                      <a:pt x="1179" y="2042"/>
                    </a:lnTo>
                    <a:moveTo>
                      <a:pt x="1412" y="430"/>
                    </a:moveTo>
                    <a:lnTo>
                      <a:pt x="1412" y="430"/>
                    </a:lnTo>
                    <a:lnTo>
                      <a:pt x="1412" y="430"/>
                    </a:lnTo>
                    <a:lnTo>
                      <a:pt x="1412" y="430"/>
                    </a:lnTo>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1" name="Freeform 343"/>
              <p:cNvSpPr>
                <a:spLocks/>
              </p:cNvSpPr>
              <p:nvPr/>
            </p:nvSpPr>
            <p:spPr bwMode="auto">
              <a:xfrm>
                <a:off x="-10853738" y="1454150"/>
                <a:ext cx="176213" cy="1228725"/>
              </a:xfrm>
              <a:custGeom>
                <a:avLst/>
                <a:gdLst>
                  <a:gd name="T0" fmla="*/ 0 w 111"/>
                  <a:gd name="T1" fmla="*/ 774 h 774"/>
                  <a:gd name="T2" fmla="*/ 0 w 111"/>
                  <a:gd name="T3" fmla="*/ 774 h 774"/>
                  <a:gd name="T4" fmla="*/ 111 w 111"/>
                  <a:gd name="T5" fmla="*/ 0 h 774"/>
                  <a:gd name="T6" fmla="*/ 111 w 111"/>
                  <a:gd name="T7" fmla="*/ 0 h 774"/>
                  <a:gd name="T8" fmla="*/ 111 w 111"/>
                  <a:gd name="T9" fmla="*/ 0 h 774"/>
                  <a:gd name="T10" fmla="*/ 111 w 111"/>
                  <a:gd name="T11" fmla="*/ 0 h 774"/>
                  <a:gd name="T12" fmla="*/ 111 w 111"/>
                  <a:gd name="T13" fmla="*/ 0 h 774"/>
                  <a:gd name="T14" fmla="*/ 111 w 111"/>
                  <a:gd name="T15" fmla="*/ 0 h 774"/>
                  <a:gd name="T16" fmla="*/ 0 w 111"/>
                  <a:gd name="T17" fmla="*/ 77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74">
                    <a:moveTo>
                      <a:pt x="0" y="774"/>
                    </a:moveTo>
                    <a:lnTo>
                      <a:pt x="0" y="774"/>
                    </a:lnTo>
                    <a:lnTo>
                      <a:pt x="111" y="0"/>
                    </a:lnTo>
                    <a:lnTo>
                      <a:pt x="111" y="0"/>
                    </a:lnTo>
                    <a:lnTo>
                      <a:pt x="111" y="0"/>
                    </a:lnTo>
                    <a:lnTo>
                      <a:pt x="111" y="0"/>
                    </a:lnTo>
                    <a:lnTo>
                      <a:pt x="111" y="0"/>
                    </a:lnTo>
                    <a:lnTo>
                      <a:pt x="111" y="0"/>
                    </a:lnTo>
                    <a:lnTo>
                      <a:pt x="0" y="774"/>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2" name="Rectangle 344"/>
              <p:cNvSpPr>
                <a:spLocks noChangeArrowheads="1"/>
              </p:cNvSpPr>
              <p:nvPr/>
            </p:nvSpPr>
            <p:spPr bwMode="auto">
              <a:xfrm>
                <a:off x="-11752263" y="1125537"/>
                <a:ext cx="1588" cy="1588"/>
              </a:xfrm>
              <a:prstGeom prst="rect">
                <a:avLst/>
              </a:prstGeom>
              <a:solidFill>
                <a:srgbClr val="579ABA"/>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3" name="Rectangle 345"/>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4" name="Rectangle 346"/>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5" name="Freeform 347"/>
              <p:cNvSpPr>
                <a:spLocks/>
              </p:cNvSpPr>
              <p:nvPr/>
            </p:nvSpPr>
            <p:spPr bwMode="auto">
              <a:xfrm>
                <a:off x="-11752263" y="1125537"/>
                <a:ext cx="1074738" cy="328613"/>
              </a:xfrm>
              <a:custGeom>
                <a:avLst/>
                <a:gdLst>
                  <a:gd name="T0" fmla="*/ 677 w 677"/>
                  <a:gd name="T1" fmla="*/ 207 h 207"/>
                  <a:gd name="T2" fmla="*/ 0 w 677"/>
                  <a:gd name="T3" fmla="*/ 0 h 207"/>
                  <a:gd name="T4" fmla="*/ 0 w 677"/>
                  <a:gd name="T5" fmla="*/ 0 h 207"/>
                  <a:gd name="T6" fmla="*/ 0 w 677"/>
                  <a:gd name="T7" fmla="*/ 0 h 207"/>
                  <a:gd name="T8" fmla="*/ 677 w 677"/>
                  <a:gd name="T9" fmla="*/ 207 h 207"/>
                  <a:gd name="T10" fmla="*/ 677 w 677"/>
                  <a:gd name="T11" fmla="*/ 207 h 207"/>
                </a:gdLst>
                <a:ahLst/>
                <a:cxnLst>
                  <a:cxn ang="0">
                    <a:pos x="T0" y="T1"/>
                  </a:cxn>
                  <a:cxn ang="0">
                    <a:pos x="T2" y="T3"/>
                  </a:cxn>
                  <a:cxn ang="0">
                    <a:pos x="T4" y="T5"/>
                  </a:cxn>
                  <a:cxn ang="0">
                    <a:pos x="T6" y="T7"/>
                  </a:cxn>
                  <a:cxn ang="0">
                    <a:pos x="T8" y="T9"/>
                  </a:cxn>
                  <a:cxn ang="0">
                    <a:pos x="T10" y="T11"/>
                  </a:cxn>
                </a:cxnLst>
                <a:rect l="0" t="0" r="r" b="b"/>
                <a:pathLst>
                  <a:path w="677" h="207">
                    <a:moveTo>
                      <a:pt x="677" y="207"/>
                    </a:moveTo>
                    <a:lnTo>
                      <a:pt x="0" y="0"/>
                    </a:lnTo>
                    <a:lnTo>
                      <a:pt x="0" y="0"/>
                    </a:lnTo>
                    <a:lnTo>
                      <a:pt x="0" y="0"/>
                    </a:lnTo>
                    <a:lnTo>
                      <a:pt x="677" y="207"/>
                    </a:lnTo>
                    <a:lnTo>
                      <a:pt x="677" y="20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6" name="Rectangle 348"/>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7" name="Freeform 349"/>
              <p:cNvSpPr>
                <a:spLocks noEditPoints="1"/>
              </p:cNvSpPr>
              <p:nvPr/>
            </p:nvSpPr>
            <p:spPr bwMode="auto">
              <a:xfrm>
                <a:off x="-12625388" y="5602287"/>
                <a:ext cx="571500" cy="1801813"/>
              </a:xfrm>
              <a:custGeom>
                <a:avLst/>
                <a:gdLst>
                  <a:gd name="T0" fmla="*/ 0 w 750"/>
                  <a:gd name="T1" fmla="*/ 2365 h 2365"/>
                  <a:gd name="T2" fmla="*/ 0 w 750"/>
                  <a:gd name="T3" fmla="*/ 921 h 2365"/>
                  <a:gd name="T4" fmla="*/ 750 w 750"/>
                  <a:gd name="T5" fmla="*/ 0 h 2365"/>
                  <a:gd name="T6" fmla="*/ 371 w 750"/>
                  <a:gd name="T7" fmla="*/ 2264 h 2365"/>
                  <a:gd name="T8" fmla="*/ 0 w 750"/>
                  <a:gd name="T9" fmla="*/ 2365 h 2365"/>
                  <a:gd name="T10" fmla="*/ 0 w 750"/>
                  <a:gd name="T11" fmla="*/ 921 h 2365"/>
                  <a:gd name="T12" fmla="*/ 0 w 750"/>
                  <a:gd name="T13" fmla="*/ 921 h 2365"/>
                  <a:gd name="T14" fmla="*/ 750 w 750"/>
                  <a:gd name="T15" fmla="*/ 0 h 2365"/>
                  <a:gd name="T16" fmla="*/ 750 w 750"/>
                  <a:gd name="T17" fmla="*/ 0 h 2365"/>
                  <a:gd name="T18" fmla="*/ 750 w 750"/>
                  <a:gd name="T19" fmla="*/ 0 h 2365"/>
                  <a:gd name="T20" fmla="*/ 0 w 750"/>
                  <a:gd name="T21" fmla="*/ 921 h 2365"/>
                  <a:gd name="T22" fmla="*/ 750 w 750"/>
                  <a:gd name="T23" fmla="*/ 0 h 2365"/>
                  <a:gd name="T24" fmla="*/ 750 w 750"/>
                  <a:gd name="T25" fmla="*/ 0 h 2365"/>
                  <a:gd name="T26" fmla="*/ 750 w 750"/>
                  <a:gd name="T27" fmla="*/ 0 h 2365"/>
                  <a:gd name="T28" fmla="*/ 750 w 750"/>
                  <a:gd name="T29" fmla="*/ 0 h 2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0" h="2365">
                    <a:moveTo>
                      <a:pt x="0" y="2365"/>
                    </a:moveTo>
                    <a:lnTo>
                      <a:pt x="0" y="921"/>
                    </a:lnTo>
                    <a:lnTo>
                      <a:pt x="750" y="0"/>
                    </a:lnTo>
                    <a:lnTo>
                      <a:pt x="371" y="2264"/>
                    </a:lnTo>
                    <a:lnTo>
                      <a:pt x="0" y="2365"/>
                    </a:lnTo>
                    <a:moveTo>
                      <a:pt x="0" y="921"/>
                    </a:moveTo>
                    <a:lnTo>
                      <a:pt x="0" y="921"/>
                    </a:lnTo>
                    <a:lnTo>
                      <a:pt x="750" y="0"/>
                    </a:lnTo>
                    <a:lnTo>
                      <a:pt x="750" y="0"/>
                    </a:lnTo>
                    <a:lnTo>
                      <a:pt x="750" y="0"/>
                    </a:lnTo>
                    <a:lnTo>
                      <a:pt x="0" y="921"/>
                    </a:lnTo>
                    <a:moveTo>
                      <a:pt x="750" y="0"/>
                    </a:moveTo>
                    <a:lnTo>
                      <a:pt x="750" y="0"/>
                    </a:lnTo>
                    <a:lnTo>
                      <a:pt x="750" y="0"/>
                    </a:lnTo>
                    <a:lnTo>
                      <a:pt x="750" y="0"/>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8" name="Freeform 350"/>
              <p:cNvSpPr>
                <a:spLocks/>
              </p:cNvSpPr>
              <p:nvPr/>
            </p:nvSpPr>
            <p:spPr bwMode="auto">
              <a:xfrm>
                <a:off x="-12625388" y="4479925"/>
                <a:ext cx="571500" cy="1122363"/>
              </a:xfrm>
              <a:custGeom>
                <a:avLst/>
                <a:gdLst>
                  <a:gd name="T0" fmla="*/ 360 w 360"/>
                  <a:gd name="T1" fmla="*/ 707 h 707"/>
                  <a:gd name="T2" fmla="*/ 0 w 360"/>
                  <a:gd name="T3" fmla="*/ 379 h 707"/>
                  <a:gd name="T4" fmla="*/ 0 w 360"/>
                  <a:gd name="T5" fmla="*/ 0 h 707"/>
                  <a:gd name="T6" fmla="*/ 281 w 360"/>
                  <a:gd name="T7" fmla="*/ 74 h 707"/>
                  <a:gd name="T8" fmla="*/ 360 w 360"/>
                  <a:gd name="T9" fmla="*/ 707 h 707"/>
                </a:gdLst>
                <a:ahLst/>
                <a:cxnLst>
                  <a:cxn ang="0">
                    <a:pos x="T0" y="T1"/>
                  </a:cxn>
                  <a:cxn ang="0">
                    <a:pos x="T2" y="T3"/>
                  </a:cxn>
                  <a:cxn ang="0">
                    <a:pos x="T4" y="T5"/>
                  </a:cxn>
                  <a:cxn ang="0">
                    <a:pos x="T6" y="T7"/>
                  </a:cxn>
                  <a:cxn ang="0">
                    <a:pos x="T8" y="T9"/>
                  </a:cxn>
                </a:cxnLst>
                <a:rect l="0" t="0" r="r" b="b"/>
                <a:pathLst>
                  <a:path w="360" h="707">
                    <a:moveTo>
                      <a:pt x="360" y="707"/>
                    </a:moveTo>
                    <a:lnTo>
                      <a:pt x="0" y="379"/>
                    </a:lnTo>
                    <a:lnTo>
                      <a:pt x="0" y="0"/>
                    </a:lnTo>
                    <a:lnTo>
                      <a:pt x="281" y="74"/>
                    </a:lnTo>
                    <a:lnTo>
                      <a:pt x="360" y="707"/>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9" name="Freeform 351"/>
              <p:cNvSpPr>
                <a:spLocks noEditPoints="1"/>
              </p:cNvSpPr>
              <p:nvPr/>
            </p:nvSpPr>
            <p:spPr bwMode="auto">
              <a:xfrm>
                <a:off x="-12341225" y="5602287"/>
                <a:ext cx="1487488" cy="1725613"/>
              </a:xfrm>
              <a:custGeom>
                <a:avLst/>
                <a:gdLst>
                  <a:gd name="T0" fmla="*/ 0 w 1952"/>
                  <a:gd name="T1" fmla="*/ 2264 h 2264"/>
                  <a:gd name="T2" fmla="*/ 378 w 1952"/>
                  <a:gd name="T3" fmla="*/ 0 h 2264"/>
                  <a:gd name="T4" fmla="*/ 378 w 1952"/>
                  <a:gd name="T5" fmla="*/ 0 h 2264"/>
                  <a:gd name="T6" fmla="*/ 1952 w 1952"/>
                  <a:gd name="T7" fmla="*/ 251 h 2264"/>
                  <a:gd name="T8" fmla="*/ 1952 w 1952"/>
                  <a:gd name="T9" fmla="*/ 251 h 2264"/>
                  <a:gd name="T10" fmla="*/ 1952 w 1952"/>
                  <a:gd name="T11" fmla="*/ 251 h 2264"/>
                  <a:gd name="T12" fmla="*/ 1952 w 1952"/>
                  <a:gd name="T13" fmla="*/ 251 h 2264"/>
                  <a:gd name="T14" fmla="*/ 780 w 1952"/>
                  <a:gd name="T15" fmla="*/ 1459 h 2264"/>
                  <a:gd name="T16" fmla="*/ 0 w 1952"/>
                  <a:gd name="T17" fmla="*/ 2264 h 2264"/>
                  <a:gd name="T18" fmla="*/ 378 w 1952"/>
                  <a:gd name="T19" fmla="*/ 0 h 2264"/>
                  <a:gd name="T20" fmla="*/ 378 w 1952"/>
                  <a:gd name="T21" fmla="*/ 0 h 2264"/>
                  <a:gd name="T22" fmla="*/ 378 w 1952"/>
                  <a:gd name="T23" fmla="*/ 0 h 2264"/>
                  <a:gd name="T24" fmla="*/ 378 w 1952"/>
                  <a:gd name="T25" fmla="*/ 0 h 2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52" h="2264">
                    <a:moveTo>
                      <a:pt x="0" y="2264"/>
                    </a:moveTo>
                    <a:lnTo>
                      <a:pt x="378" y="0"/>
                    </a:lnTo>
                    <a:lnTo>
                      <a:pt x="378" y="0"/>
                    </a:lnTo>
                    <a:lnTo>
                      <a:pt x="1952" y="251"/>
                    </a:lnTo>
                    <a:lnTo>
                      <a:pt x="1952" y="251"/>
                    </a:lnTo>
                    <a:lnTo>
                      <a:pt x="1952" y="251"/>
                    </a:lnTo>
                    <a:lnTo>
                      <a:pt x="1952" y="251"/>
                    </a:lnTo>
                    <a:lnTo>
                      <a:pt x="780" y="1459"/>
                    </a:lnTo>
                    <a:lnTo>
                      <a:pt x="0" y="2264"/>
                    </a:lnTo>
                    <a:moveTo>
                      <a:pt x="378" y="0"/>
                    </a:moveTo>
                    <a:lnTo>
                      <a:pt x="378" y="0"/>
                    </a:lnTo>
                    <a:lnTo>
                      <a:pt x="378" y="0"/>
                    </a:lnTo>
                    <a:lnTo>
                      <a:pt x="378"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0" name="Freeform 352"/>
              <p:cNvSpPr>
                <a:spLocks noEditPoints="1"/>
              </p:cNvSpPr>
              <p:nvPr/>
            </p:nvSpPr>
            <p:spPr bwMode="auto">
              <a:xfrm>
                <a:off x="-12625388" y="5081587"/>
                <a:ext cx="571500" cy="520700"/>
              </a:xfrm>
              <a:custGeom>
                <a:avLst/>
                <a:gdLst>
                  <a:gd name="T0" fmla="*/ 750 w 750"/>
                  <a:gd name="T1" fmla="*/ 684 h 684"/>
                  <a:gd name="T2" fmla="*/ 750 w 750"/>
                  <a:gd name="T3" fmla="*/ 684 h 684"/>
                  <a:gd name="T4" fmla="*/ 750 w 750"/>
                  <a:gd name="T5" fmla="*/ 684 h 684"/>
                  <a:gd name="T6" fmla="*/ 750 w 750"/>
                  <a:gd name="T7" fmla="*/ 684 h 684"/>
                  <a:gd name="T8" fmla="*/ 750 w 750"/>
                  <a:gd name="T9" fmla="*/ 684 h 684"/>
                  <a:gd name="T10" fmla="*/ 0 w 750"/>
                  <a:gd name="T11" fmla="*/ 0 h 684"/>
                  <a:gd name="T12" fmla="*/ 750 w 750"/>
                  <a:gd name="T13" fmla="*/ 684 h 684"/>
                </a:gdLst>
                <a:ahLst/>
                <a:cxnLst>
                  <a:cxn ang="0">
                    <a:pos x="T0" y="T1"/>
                  </a:cxn>
                  <a:cxn ang="0">
                    <a:pos x="T2" y="T3"/>
                  </a:cxn>
                  <a:cxn ang="0">
                    <a:pos x="T4" y="T5"/>
                  </a:cxn>
                  <a:cxn ang="0">
                    <a:pos x="T6" y="T7"/>
                  </a:cxn>
                  <a:cxn ang="0">
                    <a:pos x="T8" y="T9"/>
                  </a:cxn>
                  <a:cxn ang="0">
                    <a:pos x="T10" y="T11"/>
                  </a:cxn>
                  <a:cxn ang="0">
                    <a:pos x="T12" y="T13"/>
                  </a:cxn>
                </a:cxnLst>
                <a:rect l="0" t="0" r="r" b="b"/>
                <a:pathLst>
                  <a:path w="750" h="684">
                    <a:moveTo>
                      <a:pt x="750" y="684"/>
                    </a:moveTo>
                    <a:lnTo>
                      <a:pt x="750" y="684"/>
                    </a:lnTo>
                    <a:lnTo>
                      <a:pt x="750" y="684"/>
                    </a:lnTo>
                    <a:lnTo>
                      <a:pt x="750" y="684"/>
                    </a:lnTo>
                    <a:moveTo>
                      <a:pt x="750" y="684"/>
                    </a:moveTo>
                    <a:lnTo>
                      <a:pt x="0" y="0"/>
                    </a:lnTo>
                    <a:lnTo>
                      <a:pt x="750" y="684"/>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1" name="Rectangle 353"/>
              <p:cNvSpPr>
                <a:spLocks noChangeArrowheads="1"/>
              </p:cNvSpPr>
              <p:nvPr/>
            </p:nvSpPr>
            <p:spPr bwMode="auto">
              <a:xfrm>
                <a:off x="-12053888" y="5602287"/>
                <a:ext cx="1588" cy="1588"/>
              </a:xfrm>
              <a:prstGeom prst="rect">
                <a:avLst/>
              </a:prstGeom>
              <a:solidFill>
                <a:srgbClr val="599DBC"/>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2" name="Line 354"/>
              <p:cNvSpPr>
                <a:spLocks noChangeShapeType="1"/>
              </p:cNvSpPr>
              <p:nvPr/>
            </p:nvSpPr>
            <p:spPr bwMode="auto">
              <a:xfrm>
                <a:off x="-12053888" y="56022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3" name="Freeform 355"/>
              <p:cNvSpPr>
                <a:spLocks/>
              </p:cNvSpPr>
              <p:nvPr/>
            </p:nvSpPr>
            <p:spPr bwMode="auto">
              <a:xfrm>
                <a:off x="-12179300" y="4597400"/>
                <a:ext cx="1325563" cy="1195388"/>
              </a:xfrm>
              <a:custGeom>
                <a:avLst/>
                <a:gdLst>
                  <a:gd name="T0" fmla="*/ 835 w 835"/>
                  <a:gd name="T1" fmla="*/ 753 h 753"/>
                  <a:gd name="T2" fmla="*/ 79 w 835"/>
                  <a:gd name="T3" fmla="*/ 633 h 753"/>
                  <a:gd name="T4" fmla="*/ 0 w 835"/>
                  <a:gd name="T5" fmla="*/ 0 h 753"/>
                  <a:gd name="T6" fmla="*/ 835 w 835"/>
                  <a:gd name="T7" fmla="*/ 753 h 753"/>
                  <a:gd name="T8" fmla="*/ 835 w 835"/>
                  <a:gd name="T9" fmla="*/ 753 h 753"/>
                </a:gdLst>
                <a:ahLst/>
                <a:cxnLst>
                  <a:cxn ang="0">
                    <a:pos x="T0" y="T1"/>
                  </a:cxn>
                  <a:cxn ang="0">
                    <a:pos x="T2" y="T3"/>
                  </a:cxn>
                  <a:cxn ang="0">
                    <a:pos x="T4" y="T5"/>
                  </a:cxn>
                  <a:cxn ang="0">
                    <a:pos x="T6" y="T7"/>
                  </a:cxn>
                  <a:cxn ang="0">
                    <a:pos x="T8" y="T9"/>
                  </a:cxn>
                </a:cxnLst>
                <a:rect l="0" t="0" r="r" b="b"/>
                <a:pathLst>
                  <a:path w="835" h="753">
                    <a:moveTo>
                      <a:pt x="835" y="753"/>
                    </a:moveTo>
                    <a:lnTo>
                      <a:pt x="79" y="633"/>
                    </a:lnTo>
                    <a:lnTo>
                      <a:pt x="0" y="0"/>
                    </a:lnTo>
                    <a:lnTo>
                      <a:pt x="835" y="753"/>
                    </a:lnTo>
                    <a:lnTo>
                      <a:pt x="835" y="753"/>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4" name="Freeform 356"/>
              <p:cNvSpPr>
                <a:spLocks/>
              </p:cNvSpPr>
              <p:nvPr/>
            </p:nvSpPr>
            <p:spPr bwMode="auto">
              <a:xfrm>
                <a:off x="-12625388" y="5602287"/>
                <a:ext cx="571500" cy="701675"/>
              </a:xfrm>
              <a:custGeom>
                <a:avLst/>
                <a:gdLst>
                  <a:gd name="T0" fmla="*/ 0 w 360"/>
                  <a:gd name="T1" fmla="*/ 442 h 442"/>
                  <a:gd name="T2" fmla="*/ 0 w 360"/>
                  <a:gd name="T3" fmla="*/ 442 h 442"/>
                  <a:gd name="T4" fmla="*/ 360 w 360"/>
                  <a:gd name="T5" fmla="*/ 0 h 442"/>
                  <a:gd name="T6" fmla="*/ 360 w 360"/>
                  <a:gd name="T7" fmla="*/ 0 h 442"/>
                  <a:gd name="T8" fmla="*/ 360 w 360"/>
                  <a:gd name="T9" fmla="*/ 0 h 442"/>
                  <a:gd name="T10" fmla="*/ 360 w 360"/>
                  <a:gd name="T11" fmla="*/ 0 h 442"/>
                  <a:gd name="T12" fmla="*/ 360 w 360"/>
                  <a:gd name="T13" fmla="*/ 0 h 442"/>
                  <a:gd name="T14" fmla="*/ 0 w 36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442">
                    <a:moveTo>
                      <a:pt x="0" y="442"/>
                    </a:moveTo>
                    <a:lnTo>
                      <a:pt x="0" y="442"/>
                    </a:lnTo>
                    <a:lnTo>
                      <a:pt x="360" y="0"/>
                    </a:lnTo>
                    <a:lnTo>
                      <a:pt x="360" y="0"/>
                    </a:lnTo>
                    <a:lnTo>
                      <a:pt x="360" y="0"/>
                    </a:lnTo>
                    <a:lnTo>
                      <a:pt x="360" y="0"/>
                    </a:lnTo>
                    <a:lnTo>
                      <a:pt x="360" y="0"/>
                    </a:lnTo>
                    <a:lnTo>
                      <a:pt x="0" y="4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5" name="Freeform 357"/>
              <p:cNvSpPr>
                <a:spLocks noEditPoints="1"/>
              </p:cNvSpPr>
              <p:nvPr/>
            </p:nvSpPr>
            <p:spPr bwMode="auto">
              <a:xfrm>
                <a:off x="-10853738" y="4237037"/>
                <a:ext cx="944563" cy="2341563"/>
              </a:xfrm>
              <a:custGeom>
                <a:avLst/>
                <a:gdLst>
                  <a:gd name="T0" fmla="*/ 1240 w 1240"/>
                  <a:gd name="T1" fmla="*/ 3073 h 3073"/>
                  <a:gd name="T2" fmla="*/ 0 w 1240"/>
                  <a:gd name="T3" fmla="*/ 2042 h 3073"/>
                  <a:gd name="T4" fmla="*/ 0 w 1240"/>
                  <a:gd name="T5" fmla="*/ 2042 h 3073"/>
                  <a:gd name="T6" fmla="*/ 0 w 1240"/>
                  <a:gd name="T7" fmla="*/ 2042 h 3073"/>
                  <a:gd name="T8" fmla="*/ 0 w 1240"/>
                  <a:gd name="T9" fmla="*/ 2042 h 3073"/>
                  <a:gd name="T10" fmla="*/ 1178 w 1240"/>
                  <a:gd name="T11" fmla="*/ 1 h 3073"/>
                  <a:gd name="T12" fmla="*/ 1240 w 1240"/>
                  <a:gd name="T13" fmla="*/ 3073 h 3073"/>
                  <a:gd name="T14" fmla="*/ 1178 w 1240"/>
                  <a:gd name="T15" fmla="*/ 0 h 3073"/>
                  <a:gd name="T16" fmla="*/ 1178 w 1240"/>
                  <a:gd name="T17" fmla="*/ 0 h 3073"/>
                  <a:gd name="T18" fmla="*/ 1178 w 1240"/>
                  <a:gd name="T19" fmla="*/ 0 h 3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0" h="3073">
                    <a:moveTo>
                      <a:pt x="1240" y="3073"/>
                    </a:moveTo>
                    <a:lnTo>
                      <a:pt x="0" y="2042"/>
                    </a:lnTo>
                    <a:lnTo>
                      <a:pt x="0" y="2042"/>
                    </a:lnTo>
                    <a:lnTo>
                      <a:pt x="0" y="2042"/>
                    </a:lnTo>
                    <a:lnTo>
                      <a:pt x="0" y="2042"/>
                    </a:lnTo>
                    <a:lnTo>
                      <a:pt x="1178" y="1"/>
                    </a:lnTo>
                    <a:lnTo>
                      <a:pt x="1240" y="3073"/>
                    </a:lnTo>
                    <a:moveTo>
                      <a:pt x="1178" y="0"/>
                    </a:moveTo>
                    <a:lnTo>
                      <a:pt x="1178" y="0"/>
                    </a:lnTo>
                    <a:lnTo>
                      <a:pt x="1178" y="0"/>
                    </a:lnTo>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6" name="Rectangle 358"/>
              <p:cNvSpPr>
                <a:spLocks noChangeArrowheads="1"/>
              </p:cNvSpPr>
              <p:nvPr/>
            </p:nvSpPr>
            <p:spPr bwMode="auto">
              <a:xfrm>
                <a:off x="-10853738" y="5792787"/>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7" name="Freeform 359"/>
              <p:cNvSpPr>
                <a:spLocks/>
              </p:cNvSpPr>
              <p:nvPr/>
            </p:nvSpPr>
            <p:spPr bwMode="auto">
              <a:xfrm>
                <a:off x="-10853738" y="2682875"/>
                <a:ext cx="1365250" cy="1554163"/>
              </a:xfrm>
              <a:custGeom>
                <a:avLst/>
                <a:gdLst>
                  <a:gd name="T0" fmla="*/ 565 w 860"/>
                  <a:gd name="T1" fmla="*/ 979 h 979"/>
                  <a:gd name="T2" fmla="*/ 565 w 860"/>
                  <a:gd name="T3" fmla="*/ 979 h 979"/>
                  <a:gd name="T4" fmla="*/ 0 w 860"/>
                  <a:gd name="T5" fmla="*/ 0 h 979"/>
                  <a:gd name="T6" fmla="*/ 0 w 860"/>
                  <a:gd name="T7" fmla="*/ 0 h 979"/>
                  <a:gd name="T8" fmla="*/ 860 w 860"/>
                  <a:gd name="T9" fmla="*/ 333 h 979"/>
                  <a:gd name="T10" fmla="*/ 565 w 860"/>
                  <a:gd name="T11" fmla="*/ 979 h 979"/>
                </a:gdLst>
                <a:ahLst/>
                <a:cxnLst>
                  <a:cxn ang="0">
                    <a:pos x="T0" y="T1"/>
                  </a:cxn>
                  <a:cxn ang="0">
                    <a:pos x="T2" y="T3"/>
                  </a:cxn>
                  <a:cxn ang="0">
                    <a:pos x="T4" y="T5"/>
                  </a:cxn>
                  <a:cxn ang="0">
                    <a:pos x="T6" y="T7"/>
                  </a:cxn>
                  <a:cxn ang="0">
                    <a:pos x="T8" y="T9"/>
                  </a:cxn>
                  <a:cxn ang="0">
                    <a:pos x="T10" y="T11"/>
                  </a:cxn>
                </a:cxnLst>
                <a:rect l="0" t="0" r="r" b="b"/>
                <a:pathLst>
                  <a:path w="860" h="979">
                    <a:moveTo>
                      <a:pt x="565" y="979"/>
                    </a:moveTo>
                    <a:lnTo>
                      <a:pt x="565" y="979"/>
                    </a:lnTo>
                    <a:lnTo>
                      <a:pt x="0" y="0"/>
                    </a:lnTo>
                    <a:lnTo>
                      <a:pt x="0" y="0"/>
                    </a:lnTo>
                    <a:lnTo>
                      <a:pt x="860" y="333"/>
                    </a:lnTo>
                    <a:lnTo>
                      <a:pt x="565"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8" name="Freeform 360"/>
              <p:cNvSpPr>
                <a:spLocks/>
              </p:cNvSpPr>
              <p:nvPr/>
            </p:nvSpPr>
            <p:spPr bwMode="auto">
              <a:xfrm>
                <a:off x="-9956800" y="4237037"/>
                <a:ext cx="1797050" cy="2341563"/>
              </a:xfrm>
              <a:custGeom>
                <a:avLst/>
                <a:gdLst>
                  <a:gd name="T0" fmla="*/ 30 w 1132"/>
                  <a:gd name="T1" fmla="*/ 1475 h 1475"/>
                  <a:gd name="T2" fmla="*/ 0 w 1132"/>
                  <a:gd name="T3" fmla="*/ 1 h 1475"/>
                  <a:gd name="T4" fmla="*/ 0 w 1132"/>
                  <a:gd name="T5" fmla="*/ 0 h 1475"/>
                  <a:gd name="T6" fmla="*/ 0 w 1132"/>
                  <a:gd name="T7" fmla="*/ 0 h 1475"/>
                  <a:gd name="T8" fmla="*/ 0 w 1132"/>
                  <a:gd name="T9" fmla="*/ 0 h 1475"/>
                  <a:gd name="T10" fmla="*/ 1132 w 1132"/>
                  <a:gd name="T11" fmla="*/ 0 h 1475"/>
                  <a:gd name="T12" fmla="*/ 1132 w 1132"/>
                  <a:gd name="T13" fmla="*/ 1 h 1475"/>
                  <a:gd name="T14" fmla="*/ 30 w 1132"/>
                  <a:gd name="T15" fmla="*/ 1475 h 14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1475">
                    <a:moveTo>
                      <a:pt x="30" y="1475"/>
                    </a:moveTo>
                    <a:lnTo>
                      <a:pt x="0" y="1"/>
                    </a:lnTo>
                    <a:lnTo>
                      <a:pt x="0" y="0"/>
                    </a:lnTo>
                    <a:lnTo>
                      <a:pt x="0" y="0"/>
                    </a:lnTo>
                    <a:lnTo>
                      <a:pt x="0" y="0"/>
                    </a:lnTo>
                    <a:lnTo>
                      <a:pt x="1132" y="0"/>
                    </a:lnTo>
                    <a:lnTo>
                      <a:pt x="1132" y="1"/>
                    </a:lnTo>
                    <a:lnTo>
                      <a:pt x="30" y="147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9" name="Freeform 361"/>
              <p:cNvSpPr>
                <a:spLocks noEditPoints="1"/>
              </p:cNvSpPr>
              <p:nvPr/>
            </p:nvSpPr>
            <p:spPr bwMode="auto">
              <a:xfrm>
                <a:off x="-12179300" y="2682875"/>
                <a:ext cx="2222500" cy="1914525"/>
              </a:xfrm>
              <a:custGeom>
                <a:avLst/>
                <a:gdLst>
                  <a:gd name="T0" fmla="*/ 0 w 2916"/>
                  <a:gd name="T1" fmla="*/ 2514 h 2514"/>
                  <a:gd name="T2" fmla="*/ 956 w 2916"/>
                  <a:gd name="T3" fmla="*/ 1131 h 2514"/>
                  <a:gd name="T4" fmla="*/ 1738 w 2916"/>
                  <a:gd name="T5" fmla="*/ 0 h 2514"/>
                  <a:gd name="T6" fmla="*/ 2916 w 2916"/>
                  <a:gd name="T7" fmla="*/ 2041 h 2514"/>
                  <a:gd name="T8" fmla="*/ 0 w 2916"/>
                  <a:gd name="T9" fmla="*/ 2514 h 2514"/>
                  <a:gd name="T10" fmla="*/ 1738 w 2916"/>
                  <a:gd name="T11" fmla="*/ 0 h 2514"/>
                  <a:gd name="T12" fmla="*/ 1738 w 2916"/>
                  <a:gd name="T13" fmla="*/ 0 h 2514"/>
                </a:gdLst>
                <a:ahLst/>
                <a:cxnLst>
                  <a:cxn ang="0">
                    <a:pos x="T0" y="T1"/>
                  </a:cxn>
                  <a:cxn ang="0">
                    <a:pos x="T2" y="T3"/>
                  </a:cxn>
                  <a:cxn ang="0">
                    <a:pos x="T4" y="T5"/>
                  </a:cxn>
                  <a:cxn ang="0">
                    <a:pos x="T6" y="T7"/>
                  </a:cxn>
                  <a:cxn ang="0">
                    <a:pos x="T8" y="T9"/>
                  </a:cxn>
                  <a:cxn ang="0">
                    <a:pos x="T10" y="T11"/>
                  </a:cxn>
                  <a:cxn ang="0">
                    <a:pos x="T12" y="T13"/>
                  </a:cxn>
                </a:cxnLst>
                <a:rect l="0" t="0" r="r" b="b"/>
                <a:pathLst>
                  <a:path w="2916" h="2514">
                    <a:moveTo>
                      <a:pt x="0" y="2514"/>
                    </a:moveTo>
                    <a:lnTo>
                      <a:pt x="956" y="1131"/>
                    </a:lnTo>
                    <a:lnTo>
                      <a:pt x="1738" y="0"/>
                    </a:lnTo>
                    <a:lnTo>
                      <a:pt x="2916" y="2041"/>
                    </a:lnTo>
                    <a:lnTo>
                      <a:pt x="0" y="2514"/>
                    </a:lnTo>
                    <a:moveTo>
                      <a:pt x="1738" y="0"/>
                    </a:moveTo>
                    <a:lnTo>
                      <a:pt x="1738"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0" name="Freeform 362"/>
              <p:cNvSpPr>
                <a:spLocks/>
              </p:cNvSpPr>
              <p:nvPr/>
            </p:nvSpPr>
            <p:spPr bwMode="auto">
              <a:xfrm>
                <a:off x="-9956800" y="3211512"/>
                <a:ext cx="1797050" cy="1025525"/>
              </a:xfrm>
              <a:custGeom>
                <a:avLst/>
                <a:gdLst>
                  <a:gd name="T0" fmla="*/ 2358 w 2358"/>
                  <a:gd name="T1" fmla="*/ 1346 h 1346"/>
                  <a:gd name="T2" fmla="*/ 0 w 2358"/>
                  <a:gd name="T3" fmla="*/ 1346 h 1346"/>
                  <a:gd name="T4" fmla="*/ 614 w 2358"/>
                  <a:gd name="T5" fmla="*/ 0 h 1346"/>
                  <a:gd name="T6" fmla="*/ 2358 w 2358"/>
                  <a:gd name="T7" fmla="*/ 1346 h 1346"/>
                  <a:gd name="T8" fmla="*/ 2357 w 2358"/>
                  <a:gd name="T9" fmla="*/ 1346 h 1346"/>
                  <a:gd name="T10" fmla="*/ 2358 w 2358"/>
                  <a:gd name="T11" fmla="*/ 1346 h 1346"/>
                  <a:gd name="T12" fmla="*/ 2358 w 2358"/>
                  <a:gd name="T13" fmla="*/ 1346 h 1346"/>
                  <a:gd name="T14" fmla="*/ 2357 w 2358"/>
                  <a:gd name="T15" fmla="*/ 1346 h 13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8" h="1346">
                    <a:moveTo>
                      <a:pt x="2358" y="1346"/>
                    </a:moveTo>
                    <a:lnTo>
                      <a:pt x="0" y="1346"/>
                    </a:lnTo>
                    <a:lnTo>
                      <a:pt x="614" y="0"/>
                    </a:lnTo>
                    <a:lnTo>
                      <a:pt x="2358" y="1346"/>
                    </a:lnTo>
                    <a:lnTo>
                      <a:pt x="2357" y="1346"/>
                    </a:lnTo>
                    <a:lnTo>
                      <a:pt x="2358" y="1346"/>
                    </a:lnTo>
                    <a:lnTo>
                      <a:pt x="2358" y="1346"/>
                    </a:lnTo>
                    <a:lnTo>
                      <a:pt x="2357" y="1346"/>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1" name="Freeform 363"/>
              <p:cNvSpPr>
                <a:spLocks noEditPoints="1"/>
              </p:cNvSpPr>
              <p:nvPr/>
            </p:nvSpPr>
            <p:spPr bwMode="auto">
              <a:xfrm>
                <a:off x="-12179300" y="4237037"/>
                <a:ext cx="2222500" cy="1555750"/>
              </a:xfrm>
              <a:custGeom>
                <a:avLst/>
                <a:gdLst>
                  <a:gd name="T0" fmla="*/ 1738 w 2916"/>
                  <a:gd name="T1" fmla="*/ 2042 h 2042"/>
                  <a:gd name="T2" fmla="*/ 0 w 2916"/>
                  <a:gd name="T3" fmla="*/ 473 h 2042"/>
                  <a:gd name="T4" fmla="*/ 2916 w 2916"/>
                  <a:gd name="T5" fmla="*/ 0 h 2042"/>
                  <a:gd name="T6" fmla="*/ 1738 w 2916"/>
                  <a:gd name="T7" fmla="*/ 2042 h 2042"/>
                  <a:gd name="T8" fmla="*/ 2916 w 2916"/>
                  <a:gd name="T9" fmla="*/ 1 h 2042"/>
                  <a:gd name="T10" fmla="*/ 2916 w 2916"/>
                  <a:gd name="T11" fmla="*/ 0 h 2042"/>
                  <a:gd name="T12" fmla="*/ 2916 w 2916"/>
                  <a:gd name="T13" fmla="*/ 1 h 2042"/>
                </a:gdLst>
                <a:ahLst/>
                <a:cxnLst>
                  <a:cxn ang="0">
                    <a:pos x="T0" y="T1"/>
                  </a:cxn>
                  <a:cxn ang="0">
                    <a:pos x="T2" y="T3"/>
                  </a:cxn>
                  <a:cxn ang="0">
                    <a:pos x="T4" y="T5"/>
                  </a:cxn>
                  <a:cxn ang="0">
                    <a:pos x="T6" y="T7"/>
                  </a:cxn>
                  <a:cxn ang="0">
                    <a:pos x="T8" y="T9"/>
                  </a:cxn>
                  <a:cxn ang="0">
                    <a:pos x="T10" y="T11"/>
                  </a:cxn>
                  <a:cxn ang="0">
                    <a:pos x="T12" y="T13"/>
                  </a:cxn>
                </a:cxnLst>
                <a:rect l="0" t="0" r="r" b="b"/>
                <a:pathLst>
                  <a:path w="2916" h="2042">
                    <a:moveTo>
                      <a:pt x="1738" y="2042"/>
                    </a:moveTo>
                    <a:lnTo>
                      <a:pt x="0" y="473"/>
                    </a:lnTo>
                    <a:lnTo>
                      <a:pt x="2916" y="0"/>
                    </a:lnTo>
                    <a:lnTo>
                      <a:pt x="1738" y="2042"/>
                    </a:lnTo>
                    <a:moveTo>
                      <a:pt x="2916" y="1"/>
                    </a:moveTo>
                    <a:lnTo>
                      <a:pt x="2916" y="0"/>
                    </a:lnTo>
                    <a:lnTo>
                      <a:pt x="2916" y="1"/>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2" name="Freeform 364"/>
              <p:cNvSpPr>
                <a:spLocks/>
              </p:cNvSpPr>
              <p:nvPr/>
            </p:nvSpPr>
            <p:spPr bwMode="auto">
              <a:xfrm>
                <a:off x="-10853738" y="4237037"/>
                <a:ext cx="896938" cy="1555750"/>
              </a:xfrm>
              <a:custGeom>
                <a:avLst/>
                <a:gdLst>
                  <a:gd name="T0" fmla="*/ 0 w 565"/>
                  <a:gd name="T1" fmla="*/ 980 h 980"/>
                  <a:gd name="T2" fmla="*/ 0 w 565"/>
                  <a:gd name="T3" fmla="*/ 980 h 980"/>
                  <a:gd name="T4" fmla="*/ 565 w 565"/>
                  <a:gd name="T5" fmla="*/ 0 h 980"/>
                  <a:gd name="T6" fmla="*/ 565 w 565"/>
                  <a:gd name="T7" fmla="*/ 1 h 980"/>
                  <a:gd name="T8" fmla="*/ 0 w 565"/>
                  <a:gd name="T9" fmla="*/ 980 h 980"/>
                </a:gdLst>
                <a:ahLst/>
                <a:cxnLst>
                  <a:cxn ang="0">
                    <a:pos x="T0" y="T1"/>
                  </a:cxn>
                  <a:cxn ang="0">
                    <a:pos x="T2" y="T3"/>
                  </a:cxn>
                  <a:cxn ang="0">
                    <a:pos x="T4" y="T5"/>
                  </a:cxn>
                  <a:cxn ang="0">
                    <a:pos x="T6" y="T7"/>
                  </a:cxn>
                  <a:cxn ang="0">
                    <a:pos x="T8" y="T9"/>
                  </a:cxn>
                </a:cxnLst>
                <a:rect l="0" t="0" r="r" b="b"/>
                <a:pathLst>
                  <a:path w="565" h="980">
                    <a:moveTo>
                      <a:pt x="0" y="980"/>
                    </a:moveTo>
                    <a:lnTo>
                      <a:pt x="0" y="980"/>
                    </a:lnTo>
                    <a:lnTo>
                      <a:pt x="565" y="0"/>
                    </a:lnTo>
                    <a:lnTo>
                      <a:pt x="565" y="1"/>
                    </a:lnTo>
                    <a:lnTo>
                      <a:pt x="0" y="980"/>
                    </a:lnTo>
                    <a:close/>
                  </a:path>
                </a:pathLst>
              </a:custGeom>
              <a:solidFill>
                <a:srgbClr val="599FB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3" name="Rectangle 365"/>
              <p:cNvSpPr>
                <a:spLocks noChangeArrowheads="1"/>
              </p:cNvSpPr>
              <p:nvPr/>
            </p:nvSpPr>
            <p:spPr bwMode="auto">
              <a:xfrm>
                <a:off x="-9956800" y="4237037"/>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4" name="Freeform 366"/>
              <p:cNvSpPr>
                <a:spLocks/>
              </p:cNvSpPr>
              <p:nvPr/>
            </p:nvSpPr>
            <p:spPr bwMode="auto">
              <a:xfrm>
                <a:off x="-12625388" y="7327900"/>
                <a:ext cx="366713" cy="331788"/>
              </a:xfrm>
              <a:custGeom>
                <a:avLst/>
                <a:gdLst>
                  <a:gd name="T0" fmla="*/ 231 w 231"/>
                  <a:gd name="T1" fmla="*/ 209 h 209"/>
                  <a:gd name="T2" fmla="*/ 0 w 231"/>
                  <a:gd name="T3" fmla="*/ 209 h 209"/>
                  <a:gd name="T4" fmla="*/ 0 w 231"/>
                  <a:gd name="T5" fmla="*/ 48 h 209"/>
                  <a:gd name="T6" fmla="*/ 178 w 231"/>
                  <a:gd name="T7" fmla="*/ 0 h 209"/>
                  <a:gd name="T8" fmla="*/ 231 w 231"/>
                  <a:gd name="T9" fmla="*/ 209 h 209"/>
                </a:gdLst>
                <a:ahLst/>
                <a:cxnLst>
                  <a:cxn ang="0">
                    <a:pos x="T0" y="T1"/>
                  </a:cxn>
                  <a:cxn ang="0">
                    <a:pos x="T2" y="T3"/>
                  </a:cxn>
                  <a:cxn ang="0">
                    <a:pos x="T4" y="T5"/>
                  </a:cxn>
                  <a:cxn ang="0">
                    <a:pos x="T6" y="T7"/>
                  </a:cxn>
                  <a:cxn ang="0">
                    <a:pos x="T8" y="T9"/>
                  </a:cxn>
                </a:cxnLst>
                <a:rect l="0" t="0" r="r" b="b"/>
                <a:pathLst>
                  <a:path w="231" h="209">
                    <a:moveTo>
                      <a:pt x="231" y="209"/>
                    </a:moveTo>
                    <a:lnTo>
                      <a:pt x="0" y="209"/>
                    </a:lnTo>
                    <a:lnTo>
                      <a:pt x="0" y="48"/>
                    </a:lnTo>
                    <a:lnTo>
                      <a:pt x="178" y="0"/>
                    </a:lnTo>
                    <a:lnTo>
                      <a:pt x="231" y="20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5" name="Freeform 367"/>
              <p:cNvSpPr>
                <a:spLocks/>
              </p:cNvSpPr>
              <p:nvPr/>
            </p:nvSpPr>
            <p:spPr bwMode="auto">
              <a:xfrm>
                <a:off x="-12341225" y="7327900"/>
                <a:ext cx="534988" cy="331788"/>
              </a:xfrm>
              <a:custGeom>
                <a:avLst/>
                <a:gdLst>
                  <a:gd name="T0" fmla="*/ 337 w 337"/>
                  <a:gd name="T1" fmla="*/ 209 h 209"/>
                  <a:gd name="T2" fmla="*/ 52 w 337"/>
                  <a:gd name="T3" fmla="*/ 209 h 209"/>
                  <a:gd name="T4" fmla="*/ 0 w 337"/>
                  <a:gd name="T5" fmla="*/ 0 h 209"/>
                  <a:gd name="T6" fmla="*/ 205 w 337"/>
                  <a:gd name="T7" fmla="*/ 127 h 209"/>
                  <a:gd name="T8" fmla="*/ 337 w 337"/>
                  <a:gd name="T9" fmla="*/ 209 h 209"/>
                </a:gdLst>
                <a:ahLst/>
                <a:cxnLst>
                  <a:cxn ang="0">
                    <a:pos x="T0" y="T1"/>
                  </a:cxn>
                  <a:cxn ang="0">
                    <a:pos x="T2" y="T3"/>
                  </a:cxn>
                  <a:cxn ang="0">
                    <a:pos x="T4" y="T5"/>
                  </a:cxn>
                  <a:cxn ang="0">
                    <a:pos x="T6" y="T7"/>
                  </a:cxn>
                  <a:cxn ang="0">
                    <a:pos x="T8" y="T9"/>
                  </a:cxn>
                </a:cxnLst>
                <a:rect l="0" t="0" r="r" b="b"/>
                <a:pathLst>
                  <a:path w="337" h="209">
                    <a:moveTo>
                      <a:pt x="337" y="209"/>
                    </a:moveTo>
                    <a:lnTo>
                      <a:pt x="52" y="209"/>
                    </a:lnTo>
                    <a:lnTo>
                      <a:pt x="0" y="0"/>
                    </a:lnTo>
                    <a:lnTo>
                      <a:pt x="205" y="127"/>
                    </a:lnTo>
                    <a:lnTo>
                      <a:pt x="337" y="20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6" name="Freeform 368"/>
              <p:cNvSpPr>
                <a:spLocks/>
              </p:cNvSpPr>
              <p:nvPr/>
            </p:nvSpPr>
            <p:spPr bwMode="auto">
              <a:xfrm>
                <a:off x="-10125075" y="7350125"/>
                <a:ext cx="347663" cy="309563"/>
              </a:xfrm>
              <a:custGeom>
                <a:avLst/>
                <a:gdLst>
                  <a:gd name="T0" fmla="*/ 219 w 219"/>
                  <a:gd name="T1" fmla="*/ 195 h 195"/>
                  <a:gd name="T2" fmla="*/ 0 w 219"/>
                  <a:gd name="T3" fmla="*/ 195 h 195"/>
                  <a:gd name="T4" fmla="*/ 106 w 219"/>
                  <a:gd name="T5" fmla="*/ 0 h 195"/>
                  <a:gd name="T6" fmla="*/ 219 w 219"/>
                  <a:gd name="T7" fmla="*/ 195 h 195"/>
                </a:gdLst>
                <a:ahLst/>
                <a:cxnLst>
                  <a:cxn ang="0">
                    <a:pos x="T0" y="T1"/>
                  </a:cxn>
                  <a:cxn ang="0">
                    <a:pos x="T2" y="T3"/>
                  </a:cxn>
                  <a:cxn ang="0">
                    <a:pos x="T4" y="T5"/>
                  </a:cxn>
                  <a:cxn ang="0">
                    <a:pos x="T6" y="T7"/>
                  </a:cxn>
                </a:cxnLst>
                <a:rect l="0" t="0" r="r" b="b"/>
                <a:pathLst>
                  <a:path w="219" h="195">
                    <a:moveTo>
                      <a:pt x="219" y="195"/>
                    </a:moveTo>
                    <a:lnTo>
                      <a:pt x="0" y="195"/>
                    </a:lnTo>
                    <a:lnTo>
                      <a:pt x="106" y="0"/>
                    </a:lnTo>
                    <a:lnTo>
                      <a:pt x="219"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7" name="Freeform 369"/>
              <p:cNvSpPr>
                <a:spLocks/>
              </p:cNvSpPr>
              <p:nvPr/>
            </p:nvSpPr>
            <p:spPr bwMode="auto">
              <a:xfrm>
                <a:off x="-10853738" y="5792787"/>
                <a:ext cx="944563" cy="1557338"/>
              </a:xfrm>
              <a:custGeom>
                <a:avLst/>
                <a:gdLst>
                  <a:gd name="T0" fmla="*/ 565 w 595"/>
                  <a:gd name="T1" fmla="*/ 981 h 981"/>
                  <a:gd name="T2" fmla="*/ 565 w 595"/>
                  <a:gd name="T3" fmla="*/ 981 h 981"/>
                  <a:gd name="T4" fmla="*/ 0 w 595"/>
                  <a:gd name="T5" fmla="*/ 0 h 981"/>
                  <a:gd name="T6" fmla="*/ 0 w 595"/>
                  <a:gd name="T7" fmla="*/ 0 h 981"/>
                  <a:gd name="T8" fmla="*/ 595 w 595"/>
                  <a:gd name="T9" fmla="*/ 495 h 981"/>
                  <a:gd name="T10" fmla="*/ 565 w 595"/>
                  <a:gd name="T11" fmla="*/ 981 h 981"/>
                </a:gdLst>
                <a:ahLst/>
                <a:cxnLst>
                  <a:cxn ang="0">
                    <a:pos x="T0" y="T1"/>
                  </a:cxn>
                  <a:cxn ang="0">
                    <a:pos x="T2" y="T3"/>
                  </a:cxn>
                  <a:cxn ang="0">
                    <a:pos x="T4" y="T5"/>
                  </a:cxn>
                  <a:cxn ang="0">
                    <a:pos x="T6" y="T7"/>
                  </a:cxn>
                  <a:cxn ang="0">
                    <a:pos x="T8" y="T9"/>
                  </a:cxn>
                  <a:cxn ang="0">
                    <a:pos x="T10" y="T11"/>
                  </a:cxn>
                </a:cxnLst>
                <a:rect l="0" t="0" r="r" b="b"/>
                <a:pathLst>
                  <a:path w="595" h="981">
                    <a:moveTo>
                      <a:pt x="565" y="981"/>
                    </a:moveTo>
                    <a:lnTo>
                      <a:pt x="565" y="981"/>
                    </a:lnTo>
                    <a:lnTo>
                      <a:pt x="0" y="0"/>
                    </a:lnTo>
                    <a:lnTo>
                      <a:pt x="0" y="0"/>
                    </a:lnTo>
                    <a:lnTo>
                      <a:pt x="595" y="495"/>
                    </a:lnTo>
                    <a:lnTo>
                      <a:pt x="565"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8" name="Freeform 370"/>
              <p:cNvSpPr>
                <a:spLocks/>
              </p:cNvSpPr>
              <p:nvPr/>
            </p:nvSpPr>
            <p:spPr bwMode="auto">
              <a:xfrm>
                <a:off x="-9956800" y="7350125"/>
                <a:ext cx="608013" cy="309563"/>
              </a:xfrm>
              <a:custGeom>
                <a:avLst/>
                <a:gdLst>
                  <a:gd name="T0" fmla="*/ 383 w 383"/>
                  <a:gd name="T1" fmla="*/ 195 h 195"/>
                  <a:gd name="T2" fmla="*/ 113 w 383"/>
                  <a:gd name="T3" fmla="*/ 195 h 195"/>
                  <a:gd name="T4" fmla="*/ 0 w 383"/>
                  <a:gd name="T5" fmla="*/ 0 h 195"/>
                  <a:gd name="T6" fmla="*/ 0 w 383"/>
                  <a:gd name="T7" fmla="*/ 0 h 195"/>
                  <a:gd name="T8" fmla="*/ 383 w 383"/>
                  <a:gd name="T9" fmla="*/ 195 h 195"/>
                </a:gdLst>
                <a:ahLst/>
                <a:cxnLst>
                  <a:cxn ang="0">
                    <a:pos x="T0" y="T1"/>
                  </a:cxn>
                  <a:cxn ang="0">
                    <a:pos x="T2" y="T3"/>
                  </a:cxn>
                  <a:cxn ang="0">
                    <a:pos x="T4" y="T5"/>
                  </a:cxn>
                  <a:cxn ang="0">
                    <a:pos x="T6" y="T7"/>
                  </a:cxn>
                  <a:cxn ang="0">
                    <a:pos x="T8" y="T9"/>
                  </a:cxn>
                </a:cxnLst>
                <a:rect l="0" t="0" r="r" b="b"/>
                <a:pathLst>
                  <a:path w="383" h="195">
                    <a:moveTo>
                      <a:pt x="383" y="195"/>
                    </a:moveTo>
                    <a:lnTo>
                      <a:pt x="113" y="195"/>
                    </a:lnTo>
                    <a:lnTo>
                      <a:pt x="0" y="0"/>
                    </a:lnTo>
                    <a:lnTo>
                      <a:pt x="0" y="0"/>
                    </a:lnTo>
                    <a:lnTo>
                      <a:pt x="383"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9" name="Freeform 371"/>
              <p:cNvSpPr>
                <a:spLocks/>
              </p:cNvSpPr>
              <p:nvPr/>
            </p:nvSpPr>
            <p:spPr bwMode="auto">
              <a:xfrm>
                <a:off x="-12341225" y="5792787"/>
                <a:ext cx="2384425" cy="1557338"/>
              </a:xfrm>
              <a:custGeom>
                <a:avLst/>
                <a:gdLst>
                  <a:gd name="T0" fmla="*/ 1502 w 1502"/>
                  <a:gd name="T1" fmla="*/ 981 h 981"/>
                  <a:gd name="T2" fmla="*/ 0 w 1502"/>
                  <a:gd name="T3" fmla="*/ 967 h 981"/>
                  <a:gd name="T4" fmla="*/ 0 w 1502"/>
                  <a:gd name="T5" fmla="*/ 967 h 981"/>
                  <a:gd name="T6" fmla="*/ 0 w 1502"/>
                  <a:gd name="T7" fmla="*/ 967 h 981"/>
                  <a:gd name="T8" fmla="*/ 374 w 1502"/>
                  <a:gd name="T9" fmla="*/ 580 h 981"/>
                  <a:gd name="T10" fmla="*/ 937 w 1502"/>
                  <a:gd name="T11" fmla="*/ 0 h 981"/>
                  <a:gd name="T12" fmla="*/ 1502 w 1502"/>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502" h="981">
                    <a:moveTo>
                      <a:pt x="1502" y="981"/>
                    </a:moveTo>
                    <a:lnTo>
                      <a:pt x="0" y="967"/>
                    </a:lnTo>
                    <a:lnTo>
                      <a:pt x="0" y="967"/>
                    </a:lnTo>
                    <a:lnTo>
                      <a:pt x="0" y="967"/>
                    </a:lnTo>
                    <a:lnTo>
                      <a:pt x="374" y="580"/>
                    </a:lnTo>
                    <a:lnTo>
                      <a:pt x="937" y="0"/>
                    </a:lnTo>
                    <a:lnTo>
                      <a:pt x="1502" y="981"/>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0" name="Freeform 372"/>
              <p:cNvSpPr>
                <a:spLocks/>
              </p:cNvSpPr>
              <p:nvPr/>
            </p:nvSpPr>
            <p:spPr bwMode="auto">
              <a:xfrm>
                <a:off x="-9956800" y="6578600"/>
                <a:ext cx="1098550" cy="1081088"/>
              </a:xfrm>
              <a:custGeom>
                <a:avLst/>
                <a:gdLst>
                  <a:gd name="T0" fmla="*/ 692 w 692"/>
                  <a:gd name="T1" fmla="*/ 681 h 681"/>
                  <a:gd name="T2" fmla="*/ 383 w 692"/>
                  <a:gd name="T3" fmla="*/ 681 h 681"/>
                  <a:gd name="T4" fmla="*/ 0 w 692"/>
                  <a:gd name="T5" fmla="*/ 486 h 681"/>
                  <a:gd name="T6" fmla="*/ 30 w 692"/>
                  <a:gd name="T7" fmla="*/ 0 h 681"/>
                  <a:gd name="T8" fmla="*/ 692 w 692"/>
                  <a:gd name="T9" fmla="*/ 681 h 681"/>
                </a:gdLst>
                <a:ahLst/>
                <a:cxnLst>
                  <a:cxn ang="0">
                    <a:pos x="T0" y="T1"/>
                  </a:cxn>
                  <a:cxn ang="0">
                    <a:pos x="T2" y="T3"/>
                  </a:cxn>
                  <a:cxn ang="0">
                    <a:pos x="T4" y="T5"/>
                  </a:cxn>
                  <a:cxn ang="0">
                    <a:pos x="T6" y="T7"/>
                  </a:cxn>
                  <a:cxn ang="0">
                    <a:pos x="T8" y="T9"/>
                  </a:cxn>
                </a:cxnLst>
                <a:rect l="0" t="0" r="r" b="b"/>
                <a:pathLst>
                  <a:path w="692" h="681">
                    <a:moveTo>
                      <a:pt x="692" y="681"/>
                    </a:moveTo>
                    <a:lnTo>
                      <a:pt x="383" y="681"/>
                    </a:lnTo>
                    <a:lnTo>
                      <a:pt x="0" y="486"/>
                    </a:lnTo>
                    <a:lnTo>
                      <a:pt x="30" y="0"/>
                    </a:lnTo>
                    <a:lnTo>
                      <a:pt x="692" y="68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1" name="Freeform 373"/>
              <p:cNvSpPr>
                <a:spLocks noEditPoints="1"/>
              </p:cNvSpPr>
              <p:nvPr/>
            </p:nvSpPr>
            <p:spPr bwMode="auto">
              <a:xfrm>
                <a:off x="-12341225" y="7327900"/>
                <a:ext cx="2384425" cy="331788"/>
              </a:xfrm>
              <a:custGeom>
                <a:avLst/>
                <a:gdLst>
                  <a:gd name="T0" fmla="*/ 2910 w 3130"/>
                  <a:gd name="T1" fmla="*/ 436 h 436"/>
                  <a:gd name="T2" fmla="*/ 702 w 3130"/>
                  <a:gd name="T3" fmla="*/ 436 h 436"/>
                  <a:gd name="T4" fmla="*/ 428 w 3130"/>
                  <a:gd name="T5" fmla="*/ 265 h 436"/>
                  <a:gd name="T6" fmla="*/ 0 w 3130"/>
                  <a:gd name="T7" fmla="*/ 0 h 436"/>
                  <a:gd name="T8" fmla="*/ 3130 w 3130"/>
                  <a:gd name="T9" fmla="*/ 29 h 436"/>
                  <a:gd name="T10" fmla="*/ 2910 w 3130"/>
                  <a:gd name="T11" fmla="*/ 436 h 436"/>
                  <a:gd name="T12" fmla="*/ 3130 w 3130"/>
                  <a:gd name="T13" fmla="*/ 29 h 436"/>
                  <a:gd name="T14" fmla="*/ 3130 w 3130"/>
                  <a:gd name="T15" fmla="*/ 29 h 436"/>
                  <a:gd name="T16" fmla="*/ 3130 w 3130"/>
                  <a:gd name="T17" fmla="*/ 29 h 436"/>
                  <a:gd name="T18" fmla="*/ 3130 w 3130"/>
                  <a:gd name="T19" fmla="*/ 29 h 436"/>
                  <a:gd name="T20" fmla="*/ 3130 w 3130"/>
                  <a:gd name="T21" fmla="*/ 29 h 436"/>
                  <a:gd name="T22" fmla="*/ 3130 w 3130"/>
                  <a:gd name="T23" fmla="*/ 29 h 436"/>
                  <a:gd name="T24" fmla="*/ 0 w 3130"/>
                  <a:gd name="T25" fmla="*/ 0 h 436"/>
                  <a:gd name="T26" fmla="*/ 0 w 3130"/>
                  <a:gd name="T27" fmla="*/ 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30" h="436">
                    <a:moveTo>
                      <a:pt x="2910" y="436"/>
                    </a:moveTo>
                    <a:lnTo>
                      <a:pt x="702" y="436"/>
                    </a:lnTo>
                    <a:lnTo>
                      <a:pt x="428" y="265"/>
                    </a:lnTo>
                    <a:lnTo>
                      <a:pt x="0" y="0"/>
                    </a:lnTo>
                    <a:lnTo>
                      <a:pt x="3130" y="29"/>
                    </a:lnTo>
                    <a:lnTo>
                      <a:pt x="2910" y="436"/>
                    </a:lnTo>
                    <a:moveTo>
                      <a:pt x="3130" y="29"/>
                    </a:moveTo>
                    <a:lnTo>
                      <a:pt x="3130" y="29"/>
                    </a:lnTo>
                    <a:lnTo>
                      <a:pt x="3130" y="29"/>
                    </a:lnTo>
                    <a:lnTo>
                      <a:pt x="3130" y="29"/>
                    </a:lnTo>
                    <a:lnTo>
                      <a:pt x="3130" y="29"/>
                    </a:lnTo>
                    <a:lnTo>
                      <a:pt x="3130" y="29"/>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2" name="Freeform 374"/>
              <p:cNvSpPr>
                <a:spLocks/>
              </p:cNvSpPr>
              <p:nvPr/>
            </p:nvSpPr>
            <p:spPr bwMode="auto">
              <a:xfrm>
                <a:off x="-10125075" y="7350125"/>
                <a:ext cx="168275" cy="309563"/>
              </a:xfrm>
              <a:custGeom>
                <a:avLst/>
                <a:gdLst>
                  <a:gd name="T0" fmla="*/ 0 w 106"/>
                  <a:gd name="T1" fmla="*/ 195 h 195"/>
                  <a:gd name="T2" fmla="*/ 0 w 106"/>
                  <a:gd name="T3" fmla="*/ 195 h 195"/>
                  <a:gd name="T4" fmla="*/ 106 w 106"/>
                  <a:gd name="T5" fmla="*/ 0 h 195"/>
                  <a:gd name="T6" fmla="*/ 106 w 106"/>
                  <a:gd name="T7" fmla="*/ 0 h 195"/>
                  <a:gd name="T8" fmla="*/ 0 w 106"/>
                  <a:gd name="T9" fmla="*/ 195 h 195"/>
                </a:gdLst>
                <a:ahLst/>
                <a:cxnLst>
                  <a:cxn ang="0">
                    <a:pos x="T0" y="T1"/>
                  </a:cxn>
                  <a:cxn ang="0">
                    <a:pos x="T2" y="T3"/>
                  </a:cxn>
                  <a:cxn ang="0">
                    <a:pos x="T4" y="T5"/>
                  </a:cxn>
                  <a:cxn ang="0">
                    <a:pos x="T6" y="T7"/>
                  </a:cxn>
                  <a:cxn ang="0">
                    <a:pos x="T8" y="T9"/>
                  </a:cxn>
                </a:cxnLst>
                <a:rect l="0" t="0" r="r" b="b"/>
                <a:pathLst>
                  <a:path w="106" h="195">
                    <a:moveTo>
                      <a:pt x="0" y="195"/>
                    </a:moveTo>
                    <a:lnTo>
                      <a:pt x="0" y="195"/>
                    </a:lnTo>
                    <a:lnTo>
                      <a:pt x="106" y="0"/>
                    </a:lnTo>
                    <a:lnTo>
                      <a:pt x="106" y="0"/>
                    </a:lnTo>
                    <a:lnTo>
                      <a:pt x="0"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3" name="Rectangle 375"/>
              <p:cNvSpPr>
                <a:spLocks noChangeArrowheads="1"/>
              </p:cNvSpPr>
              <p:nvPr/>
            </p:nvSpPr>
            <p:spPr bwMode="auto">
              <a:xfrm>
                <a:off x="-9956800" y="7350125"/>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4" name="Freeform 376"/>
              <p:cNvSpPr>
                <a:spLocks noEditPoints="1"/>
              </p:cNvSpPr>
              <p:nvPr/>
            </p:nvSpPr>
            <p:spPr bwMode="auto">
              <a:xfrm>
                <a:off x="-12341225" y="7327900"/>
                <a:ext cx="2384425" cy="22225"/>
              </a:xfrm>
              <a:custGeom>
                <a:avLst/>
                <a:gdLst>
                  <a:gd name="T0" fmla="*/ 3130 w 3130"/>
                  <a:gd name="T1" fmla="*/ 29 h 29"/>
                  <a:gd name="T2" fmla="*/ 0 w 3130"/>
                  <a:gd name="T3" fmla="*/ 0 h 29"/>
                  <a:gd name="T4" fmla="*/ 0 w 3130"/>
                  <a:gd name="T5" fmla="*/ 0 h 29"/>
                  <a:gd name="T6" fmla="*/ 3130 w 3130"/>
                  <a:gd name="T7" fmla="*/ 29 h 29"/>
                  <a:gd name="T8" fmla="*/ 3130 w 3130"/>
                  <a:gd name="T9" fmla="*/ 29 h 29"/>
                  <a:gd name="T10" fmla="*/ 0 w 3130"/>
                  <a:gd name="T11" fmla="*/ 0 h 29"/>
                  <a:gd name="T12" fmla="*/ 0 w 3130"/>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130" h="29">
                    <a:moveTo>
                      <a:pt x="3130" y="29"/>
                    </a:moveTo>
                    <a:lnTo>
                      <a:pt x="0" y="0"/>
                    </a:lnTo>
                    <a:lnTo>
                      <a:pt x="0" y="0"/>
                    </a:lnTo>
                    <a:lnTo>
                      <a:pt x="3130" y="29"/>
                    </a:lnTo>
                    <a:lnTo>
                      <a:pt x="3130" y="29"/>
                    </a:lnTo>
                    <a:moveTo>
                      <a:pt x="0" y="0"/>
                    </a:moveTo>
                    <a:lnTo>
                      <a:pt x="0" y="0"/>
                    </a:lnTo>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5" name="Freeform 377"/>
              <p:cNvSpPr>
                <a:spLocks/>
              </p:cNvSpPr>
              <p:nvPr/>
            </p:nvSpPr>
            <p:spPr bwMode="auto">
              <a:xfrm>
                <a:off x="-8159750" y="-2909888"/>
                <a:ext cx="2633663" cy="1504950"/>
              </a:xfrm>
              <a:custGeom>
                <a:avLst/>
                <a:gdLst>
                  <a:gd name="T0" fmla="*/ 1659 w 1659"/>
                  <a:gd name="T1" fmla="*/ 948 h 948"/>
                  <a:gd name="T2" fmla="*/ 0 w 1659"/>
                  <a:gd name="T3" fmla="*/ 583 h 948"/>
                  <a:gd name="T4" fmla="*/ 0 w 1659"/>
                  <a:gd name="T5" fmla="*/ 583 h 948"/>
                  <a:gd name="T6" fmla="*/ 0 w 1659"/>
                  <a:gd name="T7" fmla="*/ 583 h 948"/>
                  <a:gd name="T8" fmla="*/ 0 w 1659"/>
                  <a:gd name="T9" fmla="*/ 583 h 948"/>
                  <a:gd name="T10" fmla="*/ 772 w 1659"/>
                  <a:gd name="T11" fmla="*/ 0 h 948"/>
                  <a:gd name="T12" fmla="*/ 772 w 1659"/>
                  <a:gd name="T13" fmla="*/ 0 h 948"/>
                  <a:gd name="T14" fmla="*/ 772 w 1659"/>
                  <a:gd name="T15" fmla="*/ 0 h 948"/>
                  <a:gd name="T16" fmla="*/ 772 w 1659"/>
                  <a:gd name="T17" fmla="*/ 0 h 948"/>
                  <a:gd name="T18" fmla="*/ 772 w 1659"/>
                  <a:gd name="T19" fmla="*/ 0 h 948"/>
                  <a:gd name="T20" fmla="*/ 1224 w 1659"/>
                  <a:gd name="T21" fmla="*/ 483 h 948"/>
                  <a:gd name="T22" fmla="*/ 1659 w 1659"/>
                  <a:gd name="T23" fmla="*/ 948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9" h="948">
                    <a:moveTo>
                      <a:pt x="1659" y="948"/>
                    </a:moveTo>
                    <a:lnTo>
                      <a:pt x="0" y="583"/>
                    </a:lnTo>
                    <a:lnTo>
                      <a:pt x="0" y="583"/>
                    </a:lnTo>
                    <a:lnTo>
                      <a:pt x="0" y="583"/>
                    </a:lnTo>
                    <a:lnTo>
                      <a:pt x="0" y="583"/>
                    </a:lnTo>
                    <a:lnTo>
                      <a:pt x="772" y="0"/>
                    </a:lnTo>
                    <a:lnTo>
                      <a:pt x="772" y="0"/>
                    </a:lnTo>
                    <a:lnTo>
                      <a:pt x="772" y="0"/>
                    </a:lnTo>
                    <a:lnTo>
                      <a:pt x="772" y="0"/>
                    </a:lnTo>
                    <a:lnTo>
                      <a:pt x="772" y="0"/>
                    </a:lnTo>
                    <a:lnTo>
                      <a:pt x="1224" y="483"/>
                    </a:lnTo>
                    <a:lnTo>
                      <a:pt x="1659" y="948"/>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6" name="Freeform 378"/>
              <p:cNvSpPr>
                <a:spLocks/>
              </p:cNvSpPr>
              <p:nvPr/>
            </p:nvSpPr>
            <p:spPr bwMode="auto">
              <a:xfrm>
                <a:off x="-7967663" y="-4110038"/>
                <a:ext cx="1346200" cy="1200150"/>
              </a:xfrm>
              <a:custGeom>
                <a:avLst/>
                <a:gdLst>
                  <a:gd name="T0" fmla="*/ 651 w 848"/>
                  <a:gd name="T1" fmla="*/ 756 h 756"/>
                  <a:gd name="T2" fmla="*/ 0 w 848"/>
                  <a:gd name="T3" fmla="*/ 0 h 756"/>
                  <a:gd name="T4" fmla="*/ 848 w 848"/>
                  <a:gd name="T5" fmla="*/ 0 h 756"/>
                  <a:gd name="T6" fmla="*/ 651 w 848"/>
                  <a:gd name="T7" fmla="*/ 756 h 756"/>
                </a:gdLst>
                <a:ahLst/>
                <a:cxnLst>
                  <a:cxn ang="0">
                    <a:pos x="T0" y="T1"/>
                  </a:cxn>
                  <a:cxn ang="0">
                    <a:pos x="T2" y="T3"/>
                  </a:cxn>
                  <a:cxn ang="0">
                    <a:pos x="T4" y="T5"/>
                  </a:cxn>
                  <a:cxn ang="0">
                    <a:pos x="T6" y="T7"/>
                  </a:cxn>
                </a:cxnLst>
                <a:rect l="0" t="0" r="r" b="b"/>
                <a:pathLst>
                  <a:path w="848" h="756">
                    <a:moveTo>
                      <a:pt x="651" y="756"/>
                    </a:moveTo>
                    <a:lnTo>
                      <a:pt x="0" y="0"/>
                    </a:lnTo>
                    <a:lnTo>
                      <a:pt x="848" y="0"/>
                    </a:lnTo>
                    <a:lnTo>
                      <a:pt x="651" y="756"/>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7" name="Freeform 379"/>
              <p:cNvSpPr>
                <a:spLocks/>
              </p:cNvSpPr>
              <p:nvPr/>
            </p:nvSpPr>
            <p:spPr bwMode="auto">
              <a:xfrm>
                <a:off x="-6934200" y="-3540126"/>
                <a:ext cx="1468438" cy="2135188"/>
              </a:xfrm>
              <a:custGeom>
                <a:avLst/>
                <a:gdLst>
                  <a:gd name="T0" fmla="*/ 887 w 925"/>
                  <a:gd name="T1" fmla="*/ 1345 h 1345"/>
                  <a:gd name="T2" fmla="*/ 452 w 925"/>
                  <a:gd name="T3" fmla="*/ 880 h 1345"/>
                  <a:gd name="T4" fmla="*/ 0 w 925"/>
                  <a:gd name="T5" fmla="*/ 397 h 1345"/>
                  <a:gd name="T6" fmla="*/ 925 w 925"/>
                  <a:gd name="T7" fmla="*/ 0 h 1345"/>
                  <a:gd name="T8" fmla="*/ 925 w 925"/>
                  <a:gd name="T9" fmla="*/ 0 h 1345"/>
                  <a:gd name="T10" fmla="*/ 888 w 925"/>
                  <a:gd name="T11" fmla="*/ 1294 h 1345"/>
                  <a:gd name="T12" fmla="*/ 887 w 925"/>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925" h="1345">
                    <a:moveTo>
                      <a:pt x="887" y="1345"/>
                    </a:moveTo>
                    <a:lnTo>
                      <a:pt x="452" y="880"/>
                    </a:lnTo>
                    <a:lnTo>
                      <a:pt x="0" y="397"/>
                    </a:lnTo>
                    <a:lnTo>
                      <a:pt x="925" y="0"/>
                    </a:lnTo>
                    <a:lnTo>
                      <a:pt x="925" y="0"/>
                    </a:lnTo>
                    <a:lnTo>
                      <a:pt x="888" y="1294"/>
                    </a:lnTo>
                    <a:lnTo>
                      <a:pt x="887" y="1345"/>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8" name="Freeform 380"/>
              <p:cNvSpPr>
                <a:spLocks/>
              </p:cNvSpPr>
              <p:nvPr/>
            </p:nvSpPr>
            <p:spPr bwMode="auto">
              <a:xfrm>
                <a:off x="-9058275" y="-4110038"/>
                <a:ext cx="2124075" cy="1200150"/>
              </a:xfrm>
              <a:custGeom>
                <a:avLst/>
                <a:gdLst>
                  <a:gd name="T0" fmla="*/ 1338 w 1338"/>
                  <a:gd name="T1" fmla="*/ 756 h 756"/>
                  <a:gd name="T2" fmla="*/ 1338 w 1338"/>
                  <a:gd name="T3" fmla="*/ 756 h 756"/>
                  <a:gd name="T4" fmla="*/ 0 w 1338"/>
                  <a:gd name="T5" fmla="*/ 359 h 756"/>
                  <a:gd name="T6" fmla="*/ 338 w 1338"/>
                  <a:gd name="T7" fmla="*/ 0 h 756"/>
                  <a:gd name="T8" fmla="*/ 687 w 1338"/>
                  <a:gd name="T9" fmla="*/ 0 h 756"/>
                  <a:gd name="T10" fmla="*/ 1338 w 1338"/>
                  <a:gd name="T11" fmla="*/ 756 h 756"/>
                </a:gdLst>
                <a:ahLst/>
                <a:cxnLst>
                  <a:cxn ang="0">
                    <a:pos x="T0" y="T1"/>
                  </a:cxn>
                  <a:cxn ang="0">
                    <a:pos x="T2" y="T3"/>
                  </a:cxn>
                  <a:cxn ang="0">
                    <a:pos x="T4" y="T5"/>
                  </a:cxn>
                  <a:cxn ang="0">
                    <a:pos x="T6" y="T7"/>
                  </a:cxn>
                  <a:cxn ang="0">
                    <a:pos x="T8" y="T9"/>
                  </a:cxn>
                  <a:cxn ang="0">
                    <a:pos x="T10" y="T11"/>
                  </a:cxn>
                </a:cxnLst>
                <a:rect l="0" t="0" r="r" b="b"/>
                <a:pathLst>
                  <a:path w="1338" h="756">
                    <a:moveTo>
                      <a:pt x="1338" y="756"/>
                    </a:moveTo>
                    <a:lnTo>
                      <a:pt x="1338" y="756"/>
                    </a:lnTo>
                    <a:lnTo>
                      <a:pt x="0" y="359"/>
                    </a:lnTo>
                    <a:lnTo>
                      <a:pt x="338" y="0"/>
                    </a:lnTo>
                    <a:lnTo>
                      <a:pt x="687" y="0"/>
                    </a:lnTo>
                    <a:lnTo>
                      <a:pt x="1338"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9" name="Freeform 381"/>
              <p:cNvSpPr>
                <a:spLocks/>
              </p:cNvSpPr>
              <p:nvPr/>
            </p:nvSpPr>
            <p:spPr bwMode="auto">
              <a:xfrm>
                <a:off x="-6934200" y="-4110038"/>
                <a:ext cx="1468438" cy="1200150"/>
              </a:xfrm>
              <a:custGeom>
                <a:avLst/>
                <a:gdLst>
                  <a:gd name="T0" fmla="*/ 0 w 925"/>
                  <a:gd name="T1" fmla="*/ 756 h 756"/>
                  <a:gd name="T2" fmla="*/ 0 w 925"/>
                  <a:gd name="T3" fmla="*/ 756 h 756"/>
                  <a:gd name="T4" fmla="*/ 197 w 925"/>
                  <a:gd name="T5" fmla="*/ 0 h 756"/>
                  <a:gd name="T6" fmla="*/ 718 w 925"/>
                  <a:gd name="T7" fmla="*/ 0 h 756"/>
                  <a:gd name="T8" fmla="*/ 925 w 925"/>
                  <a:gd name="T9" fmla="*/ 359 h 756"/>
                  <a:gd name="T10" fmla="*/ 925 w 925"/>
                  <a:gd name="T11" fmla="*/ 359 h 756"/>
                  <a:gd name="T12" fmla="*/ 925 w 925"/>
                  <a:gd name="T13" fmla="*/ 359 h 756"/>
                  <a:gd name="T14" fmla="*/ 925 w 925"/>
                  <a:gd name="T15" fmla="*/ 359 h 756"/>
                  <a:gd name="T16" fmla="*/ 925 w 925"/>
                  <a:gd name="T17" fmla="*/ 359 h 756"/>
                  <a:gd name="T18" fmla="*/ 925 w 925"/>
                  <a:gd name="T19" fmla="*/ 359 h 756"/>
                  <a:gd name="T20" fmla="*/ 0 w 925"/>
                  <a:gd name="T21" fmla="*/ 756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5" h="756">
                    <a:moveTo>
                      <a:pt x="0" y="756"/>
                    </a:moveTo>
                    <a:lnTo>
                      <a:pt x="0" y="756"/>
                    </a:lnTo>
                    <a:lnTo>
                      <a:pt x="197" y="0"/>
                    </a:lnTo>
                    <a:lnTo>
                      <a:pt x="718" y="0"/>
                    </a:lnTo>
                    <a:lnTo>
                      <a:pt x="925" y="359"/>
                    </a:lnTo>
                    <a:lnTo>
                      <a:pt x="925" y="359"/>
                    </a:lnTo>
                    <a:lnTo>
                      <a:pt x="925" y="359"/>
                    </a:lnTo>
                    <a:lnTo>
                      <a:pt x="925" y="359"/>
                    </a:lnTo>
                    <a:lnTo>
                      <a:pt x="925" y="359"/>
                    </a:lnTo>
                    <a:lnTo>
                      <a:pt x="925" y="359"/>
                    </a:lnTo>
                    <a:lnTo>
                      <a:pt x="0"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0" name="Freeform 382"/>
              <p:cNvSpPr>
                <a:spLocks/>
              </p:cNvSpPr>
              <p:nvPr/>
            </p:nvSpPr>
            <p:spPr bwMode="auto">
              <a:xfrm>
                <a:off x="-9058275" y="-3540126"/>
                <a:ext cx="2124075" cy="1555750"/>
              </a:xfrm>
              <a:custGeom>
                <a:avLst/>
                <a:gdLst>
                  <a:gd name="T0" fmla="*/ 566 w 1338"/>
                  <a:gd name="T1" fmla="*/ 980 h 980"/>
                  <a:gd name="T2" fmla="*/ 0 w 1338"/>
                  <a:gd name="T3" fmla="*/ 0 h 980"/>
                  <a:gd name="T4" fmla="*/ 1338 w 1338"/>
                  <a:gd name="T5" fmla="*/ 397 h 980"/>
                  <a:gd name="T6" fmla="*/ 566 w 1338"/>
                  <a:gd name="T7" fmla="*/ 980 h 980"/>
                </a:gdLst>
                <a:ahLst/>
                <a:cxnLst>
                  <a:cxn ang="0">
                    <a:pos x="T0" y="T1"/>
                  </a:cxn>
                  <a:cxn ang="0">
                    <a:pos x="T2" y="T3"/>
                  </a:cxn>
                  <a:cxn ang="0">
                    <a:pos x="T4" y="T5"/>
                  </a:cxn>
                  <a:cxn ang="0">
                    <a:pos x="T6" y="T7"/>
                  </a:cxn>
                </a:cxnLst>
                <a:rect l="0" t="0" r="r" b="b"/>
                <a:pathLst>
                  <a:path w="1338" h="980">
                    <a:moveTo>
                      <a:pt x="566" y="980"/>
                    </a:moveTo>
                    <a:lnTo>
                      <a:pt x="0" y="0"/>
                    </a:lnTo>
                    <a:lnTo>
                      <a:pt x="1338" y="397"/>
                    </a:lnTo>
                    <a:lnTo>
                      <a:pt x="566"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1" name="Freeform 383"/>
              <p:cNvSpPr>
                <a:spLocks/>
              </p:cNvSpPr>
              <p:nvPr/>
            </p:nvSpPr>
            <p:spPr bwMode="auto">
              <a:xfrm>
                <a:off x="-8159750" y="-2909888"/>
                <a:ext cx="1225550" cy="925513"/>
              </a:xfrm>
              <a:custGeom>
                <a:avLst/>
                <a:gdLst>
                  <a:gd name="T0" fmla="*/ 0 w 772"/>
                  <a:gd name="T1" fmla="*/ 583 h 583"/>
                  <a:gd name="T2" fmla="*/ 0 w 772"/>
                  <a:gd name="T3" fmla="*/ 583 h 583"/>
                  <a:gd name="T4" fmla="*/ 772 w 772"/>
                  <a:gd name="T5" fmla="*/ 0 h 583"/>
                  <a:gd name="T6" fmla="*/ 772 w 772"/>
                  <a:gd name="T7" fmla="*/ 0 h 583"/>
                  <a:gd name="T8" fmla="*/ 0 w 772"/>
                  <a:gd name="T9" fmla="*/ 583 h 583"/>
                </a:gdLst>
                <a:ahLst/>
                <a:cxnLst>
                  <a:cxn ang="0">
                    <a:pos x="T0" y="T1"/>
                  </a:cxn>
                  <a:cxn ang="0">
                    <a:pos x="T2" y="T3"/>
                  </a:cxn>
                  <a:cxn ang="0">
                    <a:pos x="T4" y="T5"/>
                  </a:cxn>
                  <a:cxn ang="0">
                    <a:pos x="T6" y="T7"/>
                  </a:cxn>
                  <a:cxn ang="0">
                    <a:pos x="T8" y="T9"/>
                  </a:cxn>
                </a:cxnLst>
                <a:rect l="0" t="0" r="r" b="b"/>
                <a:pathLst>
                  <a:path w="772" h="583">
                    <a:moveTo>
                      <a:pt x="0" y="583"/>
                    </a:moveTo>
                    <a:lnTo>
                      <a:pt x="0" y="583"/>
                    </a:lnTo>
                    <a:lnTo>
                      <a:pt x="772" y="0"/>
                    </a:lnTo>
                    <a:lnTo>
                      <a:pt x="772" y="0"/>
                    </a:lnTo>
                    <a:lnTo>
                      <a:pt x="0" y="58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2" name="Freeform 384"/>
              <p:cNvSpPr>
                <a:spLocks noEditPoints="1"/>
              </p:cNvSpPr>
              <p:nvPr/>
            </p:nvSpPr>
            <p:spPr bwMode="auto">
              <a:xfrm>
                <a:off x="-5465763" y="-4110038"/>
                <a:ext cx="1797050" cy="569913"/>
              </a:xfrm>
              <a:custGeom>
                <a:avLst/>
                <a:gdLst>
                  <a:gd name="T0" fmla="*/ 2358 w 2358"/>
                  <a:gd name="T1" fmla="*/ 748 h 748"/>
                  <a:gd name="T2" fmla="*/ 1 w 2358"/>
                  <a:gd name="T3" fmla="*/ 748 h 748"/>
                  <a:gd name="T4" fmla="*/ 247 w 2358"/>
                  <a:gd name="T5" fmla="*/ 0 h 748"/>
                  <a:gd name="T6" fmla="*/ 1489 w 2358"/>
                  <a:gd name="T7" fmla="*/ 0 h 748"/>
                  <a:gd name="T8" fmla="*/ 2358 w 2358"/>
                  <a:gd name="T9" fmla="*/ 748 h 748"/>
                  <a:gd name="T10" fmla="*/ 1 w 2358"/>
                  <a:gd name="T11" fmla="*/ 748 h 748"/>
                  <a:gd name="T12" fmla="*/ 0 w 2358"/>
                  <a:gd name="T13" fmla="*/ 748 h 748"/>
                  <a:gd name="T14" fmla="*/ 0 w 2358"/>
                  <a:gd name="T15" fmla="*/ 747 h 748"/>
                  <a:gd name="T16" fmla="*/ 0 w 2358"/>
                  <a:gd name="T17" fmla="*/ 747 h 748"/>
                  <a:gd name="T18" fmla="*/ 1 w 2358"/>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8" h="748">
                    <a:moveTo>
                      <a:pt x="2358" y="748"/>
                    </a:moveTo>
                    <a:lnTo>
                      <a:pt x="1" y="748"/>
                    </a:lnTo>
                    <a:lnTo>
                      <a:pt x="247" y="0"/>
                    </a:lnTo>
                    <a:lnTo>
                      <a:pt x="1489" y="0"/>
                    </a:lnTo>
                    <a:lnTo>
                      <a:pt x="2358" y="748"/>
                    </a:lnTo>
                    <a:moveTo>
                      <a:pt x="1" y="748"/>
                    </a:moveTo>
                    <a:lnTo>
                      <a:pt x="0" y="748"/>
                    </a:lnTo>
                    <a:lnTo>
                      <a:pt x="0" y="747"/>
                    </a:lnTo>
                    <a:lnTo>
                      <a:pt x="0" y="747"/>
                    </a:lnTo>
                    <a:lnTo>
                      <a:pt x="1"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3" name="Freeform 385"/>
              <p:cNvSpPr>
                <a:spLocks/>
              </p:cNvSpPr>
              <p:nvPr/>
            </p:nvSpPr>
            <p:spPr bwMode="auto">
              <a:xfrm>
                <a:off x="-4330700" y="-4110038"/>
                <a:ext cx="1114425" cy="569913"/>
              </a:xfrm>
              <a:custGeom>
                <a:avLst/>
                <a:gdLst>
                  <a:gd name="T0" fmla="*/ 417 w 702"/>
                  <a:gd name="T1" fmla="*/ 359 h 359"/>
                  <a:gd name="T2" fmla="*/ 417 w 702"/>
                  <a:gd name="T3" fmla="*/ 359 h 359"/>
                  <a:gd name="T4" fmla="*/ 417 w 702"/>
                  <a:gd name="T5" fmla="*/ 359 h 359"/>
                  <a:gd name="T6" fmla="*/ 0 w 702"/>
                  <a:gd name="T7" fmla="*/ 0 h 359"/>
                  <a:gd name="T8" fmla="*/ 702 w 702"/>
                  <a:gd name="T9" fmla="*/ 0 h 359"/>
                  <a:gd name="T10" fmla="*/ 417 w 702"/>
                  <a:gd name="T11" fmla="*/ 359 h 359"/>
                  <a:gd name="T12" fmla="*/ 417 w 702"/>
                  <a:gd name="T13" fmla="*/ 359 h 359"/>
                  <a:gd name="T14" fmla="*/ 417 w 702"/>
                  <a:gd name="T15" fmla="*/ 359 h 359"/>
                  <a:gd name="T16" fmla="*/ 417 w 702"/>
                  <a:gd name="T17"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2" h="359">
                    <a:moveTo>
                      <a:pt x="417" y="359"/>
                    </a:moveTo>
                    <a:lnTo>
                      <a:pt x="417" y="359"/>
                    </a:lnTo>
                    <a:lnTo>
                      <a:pt x="417" y="359"/>
                    </a:lnTo>
                    <a:lnTo>
                      <a:pt x="0" y="0"/>
                    </a:lnTo>
                    <a:lnTo>
                      <a:pt x="702" y="0"/>
                    </a:lnTo>
                    <a:lnTo>
                      <a:pt x="417" y="359"/>
                    </a:lnTo>
                    <a:lnTo>
                      <a:pt x="417" y="359"/>
                    </a:lnTo>
                    <a:lnTo>
                      <a:pt x="417" y="359"/>
                    </a:lnTo>
                    <a:lnTo>
                      <a:pt x="417"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4" name="Freeform 386"/>
              <p:cNvSpPr>
                <a:spLocks/>
              </p:cNvSpPr>
              <p:nvPr/>
            </p:nvSpPr>
            <p:spPr bwMode="auto">
              <a:xfrm>
                <a:off x="-4330700" y="-4110038"/>
                <a:ext cx="661988" cy="569913"/>
              </a:xfrm>
              <a:custGeom>
                <a:avLst/>
                <a:gdLst>
                  <a:gd name="T0" fmla="*/ 417 w 417"/>
                  <a:gd name="T1" fmla="*/ 359 h 359"/>
                  <a:gd name="T2" fmla="*/ 417 w 417"/>
                  <a:gd name="T3" fmla="*/ 359 h 359"/>
                  <a:gd name="T4" fmla="*/ 0 w 417"/>
                  <a:gd name="T5" fmla="*/ 0 h 359"/>
                  <a:gd name="T6" fmla="*/ 0 w 417"/>
                  <a:gd name="T7" fmla="*/ 0 h 359"/>
                  <a:gd name="T8" fmla="*/ 417 w 417"/>
                  <a:gd name="T9" fmla="*/ 359 h 359"/>
                </a:gdLst>
                <a:ahLst/>
                <a:cxnLst>
                  <a:cxn ang="0">
                    <a:pos x="T0" y="T1"/>
                  </a:cxn>
                  <a:cxn ang="0">
                    <a:pos x="T2" y="T3"/>
                  </a:cxn>
                  <a:cxn ang="0">
                    <a:pos x="T4" y="T5"/>
                  </a:cxn>
                  <a:cxn ang="0">
                    <a:pos x="T6" y="T7"/>
                  </a:cxn>
                  <a:cxn ang="0">
                    <a:pos x="T8" y="T9"/>
                  </a:cxn>
                </a:cxnLst>
                <a:rect l="0" t="0" r="r" b="b"/>
                <a:pathLst>
                  <a:path w="417" h="359">
                    <a:moveTo>
                      <a:pt x="417" y="359"/>
                    </a:moveTo>
                    <a:lnTo>
                      <a:pt x="417" y="359"/>
                    </a:lnTo>
                    <a:lnTo>
                      <a:pt x="0" y="0"/>
                    </a:lnTo>
                    <a:lnTo>
                      <a:pt x="0" y="0"/>
                    </a:lnTo>
                    <a:lnTo>
                      <a:pt x="417"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5" name="Freeform 387"/>
              <p:cNvSpPr>
                <a:spLocks/>
              </p:cNvSpPr>
              <p:nvPr/>
            </p:nvSpPr>
            <p:spPr bwMode="auto">
              <a:xfrm>
                <a:off x="-5794375" y="-4110038"/>
                <a:ext cx="517525" cy="569913"/>
              </a:xfrm>
              <a:custGeom>
                <a:avLst/>
                <a:gdLst>
                  <a:gd name="T0" fmla="*/ 207 w 326"/>
                  <a:gd name="T1" fmla="*/ 359 h 359"/>
                  <a:gd name="T2" fmla="*/ 0 w 326"/>
                  <a:gd name="T3" fmla="*/ 0 h 359"/>
                  <a:gd name="T4" fmla="*/ 326 w 326"/>
                  <a:gd name="T5" fmla="*/ 0 h 359"/>
                  <a:gd name="T6" fmla="*/ 207 w 326"/>
                  <a:gd name="T7" fmla="*/ 359 h 359"/>
                </a:gdLst>
                <a:ahLst/>
                <a:cxnLst>
                  <a:cxn ang="0">
                    <a:pos x="T0" y="T1"/>
                  </a:cxn>
                  <a:cxn ang="0">
                    <a:pos x="T2" y="T3"/>
                  </a:cxn>
                  <a:cxn ang="0">
                    <a:pos x="T4" y="T5"/>
                  </a:cxn>
                  <a:cxn ang="0">
                    <a:pos x="T6" y="T7"/>
                  </a:cxn>
                </a:cxnLst>
                <a:rect l="0" t="0" r="r" b="b"/>
                <a:pathLst>
                  <a:path w="326" h="359">
                    <a:moveTo>
                      <a:pt x="207" y="359"/>
                    </a:moveTo>
                    <a:lnTo>
                      <a:pt x="0" y="0"/>
                    </a:lnTo>
                    <a:lnTo>
                      <a:pt x="326" y="0"/>
                    </a:lnTo>
                    <a:lnTo>
                      <a:pt x="207" y="35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6" name="Freeform 388"/>
              <p:cNvSpPr>
                <a:spLocks/>
              </p:cNvSpPr>
              <p:nvPr/>
            </p:nvSpPr>
            <p:spPr bwMode="auto">
              <a:xfrm>
                <a:off x="-5465763" y="-4110038"/>
                <a:ext cx="188913" cy="569913"/>
              </a:xfrm>
              <a:custGeom>
                <a:avLst/>
                <a:gdLst>
                  <a:gd name="T0" fmla="*/ 0 w 119"/>
                  <a:gd name="T1" fmla="*/ 359 h 359"/>
                  <a:gd name="T2" fmla="*/ 0 w 119"/>
                  <a:gd name="T3" fmla="*/ 359 h 359"/>
                  <a:gd name="T4" fmla="*/ 0 w 119"/>
                  <a:gd name="T5" fmla="*/ 359 h 359"/>
                  <a:gd name="T6" fmla="*/ 119 w 119"/>
                  <a:gd name="T7" fmla="*/ 0 h 359"/>
                  <a:gd name="T8" fmla="*/ 119 w 119"/>
                  <a:gd name="T9" fmla="*/ 0 h 359"/>
                  <a:gd name="T10" fmla="*/ 0 w 119"/>
                  <a:gd name="T11" fmla="*/ 359 h 359"/>
                </a:gdLst>
                <a:ahLst/>
                <a:cxnLst>
                  <a:cxn ang="0">
                    <a:pos x="T0" y="T1"/>
                  </a:cxn>
                  <a:cxn ang="0">
                    <a:pos x="T2" y="T3"/>
                  </a:cxn>
                  <a:cxn ang="0">
                    <a:pos x="T4" y="T5"/>
                  </a:cxn>
                  <a:cxn ang="0">
                    <a:pos x="T6" y="T7"/>
                  </a:cxn>
                  <a:cxn ang="0">
                    <a:pos x="T8" y="T9"/>
                  </a:cxn>
                  <a:cxn ang="0">
                    <a:pos x="T10" y="T11"/>
                  </a:cxn>
                </a:cxnLst>
                <a:rect l="0" t="0" r="r" b="b"/>
                <a:pathLst>
                  <a:path w="119" h="359">
                    <a:moveTo>
                      <a:pt x="0" y="359"/>
                    </a:moveTo>
                    <a:lnTo>
                      <a:pt x="0" y="359"/>
                    </a:lnTo>
                    <a:lnTo>
                      <a:pt x="0" y="359"/>
                    </a:lnTo>
                    <a:lnTo>
                      <a:pt x="119" y="0"/>
                    </a:lnTo>
                    <a:lnTo>
                      <a:pt x="119"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7" name="Freeform 389"/>
              <p:cNvSpPr>
                <a:spLocks noEditPoints="1"/>
              </p:cNvSpPr>
              <p:nvPr/>
            </p:nvSpPr>
            <p:spPr bwMode="auto">
              <a:xfrm>
                <a:off x="-8159750" y="-428626"/>
                <a:ext cx="1795463" cy="1554163"/>
              </a:xfrm>
              <a:custGeom>
                <a:avLst/>
                <a:gdLst>
                  <a:gd name="T0" fmla="*/ 2358 w 2358"/>
                  <a:gd name="T1" fmla="*/ 2041 h 2041"/>
                  <a:gd name="T2" fmla="*/ 1 w 2358"/>
                  <a:gd name="T3" fmla="*/ 2041 h 2041"/>
                  <a:gd name="T4" fmla="*/ 1179 w 2358"/>
                  <a:gd name="T5" fmla="*/ 0 h 2041"/>
                  <a:gd name="T6" fmla="*/ 1179 w 2358"/>
                  <a:gd name="T7" fmla="*/ 0 h 2041"/>
                  <a:gd name="T8" fmla="*/ 1179 w 2358"/>
                  <a:gd name="T9" fmla="*/ 0 h 2041"/>
                  <a:gd name="T10" fmla="*/ 1507 w 2358"/>
                  <a:gd name="T11" fmla="*/ 567 h 2041"/>
                  <a:gd name="T12" fmla="*/ 2358 w 2358"/>
                  <a:gd name="T13" fmla="*/ 2041 h 2041"/>
                  <a:gd name="T14" fmla="*/ 1 w 2358"/>
                  <a:gd name="T15" fmla="*/ 2041 h 2041"/>
                  <a:gd name="T16" fmla="*/ 0 w 2358"/>
                  <a:gd name="T17" fmla="*/ 2041 h 2041"/>
                  <a:gd name="T18" fmla="*/ 1 w 2358"/>
                  <a:gd name="T19" fmla="*/ 2041 h 2041"/>
                  <a:gd name="T20" fmla="*/ 1 w 2358"/>
                  <a:gd name="T21" fmla="*/ 2041 h 2041"/>
                  <a:gd name="T22" fmla="*/ 1179 w 2358"/>
                  <a:gd name="T23" fmla="*/ 0 h 2041"/>
                  <a:gd name="T24" fmla="*/ 1179 w 2358"/>
                  <a:gd name="T25" fmla="*/ 0 h 2041"/>
                  <a:gd name="T26" fmla="*/ 1179 w 2358"/>
                  <a:gd name="T27" fmla="*/ 0 h 2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8" h="2041">
                    <a:moveTo>
                      <a:pt x="2358" y="2041"/>
                    </a:moveTo>
                    <a:lnTo>
                      <a:pt x="1" y="2041"/>
                    </a:lnTo>
                    <a:lnTo>
                      <a:pt x="1179" y="0"/>
                    </a:lnTo>
                    <a:lnTo>
                      <a:pt x="1179" y="0"/>
                    </a:lnTo>
                    <a:lnTo>
                      <a:pt x="1179" y="0"/>
                    </a:lnTo>
                    <a:lnTo>
                      <a:pt x="1507" y="567"/>
                    </a:lnTo>
                    <a:lnTo>
                      <a:pt x="2358" y="2041"/>
                    </a:lnTo>
                    <a:moveTo>
                      <a:pt x="1" y="2041"/>
                    </a:moveTo>
                    <a:lnTo>
                      <a:pt x="0" y="2041"/>
                    </a:lnTo>
                    <a:lnTo>
                      <a:pt x="1" y="2041"/>
                    </a:lnTo>
                    <a:lnTo>
                      <a:pt x="1" y="2041"/>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8" name="Freeform 390"/>
              <p:cNvSpPr>
                <a:spLocks/>
              </p:cNvSpPr>
              <p:nvPr/>
            </p:nvSpPr>
            <p:spPr bwMode="auto">
              <a:xfrm>
                <a:off x="-8159750" y="-1984376"/>
                <a:ext cx="2633663" cy="1555750"/>
              </a:xfrm>
              <a:custGeom>
                <a:avLst/>
                <a:gdLst>
                  <a:gd name="T0" fmla="*/ 566 w 1659"/>
                  <a:gd name="T1" fmla="*/ 980 h 980"/>
                  <a:gd name="T2" fmla="*/ 566 w 1659"/>
                  <a:gd name="T3" fmla="*/ 980 h 980"/>
                  <a:gd name="T4" fmla="*/ 307 w 1659"/>
                  <a:gd name="T5" fmla="*/ 532 h 980"/>
                  <a:gd name="T6" fmla="*/ 0 w 1659"/>
                  <a:gd name="T7" fmla="*/ 0 h 980"/>
                  <a:gd name="T8" fmla="*/ 0 w 1659"/>
                  <a:gd name="T9" fmla="*/ 0 h 980"/>
                  <a:gd name="T10" fmla="*/ 1659 w 1659"/>
                  <a:gd name="T11" fmla="*/ 365 h 980"/>
                  <a:gd name="T12" fmla="*/ 566 w 1659"/>
                  <a:gd name="T13" fmla="*/ 980 h 980"/>
                </a:gdLst>
                <a:ahLst/>
                <a:cxnLst>
                  <a:cxn ang="0">
                    <a:pos x="T0" y="T1"/>
                  </a:cxn>
                  <a:cxn ang="0">
                    <a:pos x="T2" y="T3"/>
                  </a:cxn>
                  <a:cxn ang="0">
                    <a:pos x="T4" y="T5"/>
                  </a:cxn>
                  <a:cxn ang="0">
                    <a:pos x="T6" y="T7"/>
                  </a:cxn>
                  <a:cxn ang="0">
                    <a:pos x="T8" y="T9"/>
                  </a:cxn>
                  <a:cxn ang="0">
                    <a:pos x="T10" y="T11"/>
                  </a:cxn>
                  <a:cxn ang="0">
                    <a:pos x="T12" y="T13"/>
                  </a:cxn>
                </a:cxnLst>
                <a:rect l="0" t="0" r="r" b="b"/>
                <a:pathLst>
                  <a:path w="1659" h="980">
                    <a:moveTo>
                      <a:pt x="566" y="980"/>
                    </a:moveTo>
                    <a:lnTo>
                      <a:pt x="566" y="980"/>
                    </a:lnTo>
                    <a:lnTo>
                      <a:pt x="307" y="532"/>
                    </a:lnTo>
                    <a:lnTo>
                      <a:pt x="0" y="0"/>
                    </a:lnTo>
                    <a:lnTo>
                      <a:pt x="0" y="0"/>
                    </a:lnTo>
                    <a:lnTo>
                      <a:pt x="1659" y="36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99" name="Freeform 391"/>
              <p:cNvSpPr>
                <a:spLocks/>
              </p:cNvSpPr>
              <p:nvPr/>
            </p:nvSpPr>
            <p:spPr bwMode="auto">
              <a:xfrm>
                <a:off x="-7261225" y="-428626"/>
                <a:ext cx="1735138" cy="1554163"/>
              </a:xfrm>
              <a:custGeom>
                <a:avLst/>
                <a:gdLst>
                  <a:gd name="T0" fmla="*/ 565 w 1093"/>
                  <a:gd name="T1" fmla="*/ 979 h 979"/>
                  <a:gd name="T2" fmla="*/ 157 w 1093"/>
                  <a:gd name="T3" fmla="*/ 272 h 979"/>
                  <a:gd name="T4" fmla="*/ 0 w 1093"/>
                  <a:gd name="T5" fmla="*/ 0 h 979"/>
                  <a:gd name="T6" fmla="*/ 1093 w 1093"/>
                  <a:gd name="T7" fmla="*/ 684 h 979"/>
                  <a:gd name="T8" fmla="*/ 1093 w 1093"/>
                  <a:gd name="T9" fmla="*/ 684 h 979"/>
                  <a:gd name="T10" fmla="*/ 1093 w 1093"/>
                  <a:gd name="T11" fmla="*/ 684 h 979"/>
                  <a:gd name="T12" fmla="*/ 1093 w 1093"/>
                  <a:gd name="T13" fmla="*/ 684 h 979"/>
                  <a:gd name="T14" fmla="*/ 1093 w 1093"/>
                  <a:gd name="T15" fmla="*/ 684 h 979"/>
                  <a:gd name="T16" fmla="*/ 965 w 1093"/>
                  <a:gd name="T17" fmla="*/ 756 h 979"/>
                  <a:gd name="T18" fmla="*/ 565 w 1093"/>
                  <a:gd name="T19" fmla="*/ 979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3" h="979">
                    <a:moveTo>
                      <a:pt x="565" y="979"/>
                    </a:moveTo>
                    <a:lnTo>
                      <a:pt x="157" y="272"/>
                    </a:lnTo>
                    <a:lnTo>
                      <a:pt x="0" y="0"/>
                    </a:lnTo>
                    <a:lnTo>
                      <a:pt x="1093" y="684"/>
                    </a:lnTo>
                    <a:lnTo>
                      <a:pt x="1093" y="684"/>
                    </a:lnTo>
                    <a:lnTo>
                      <a:pt x="1093" y="684"/>
                    </a:lnTo>
                    <a:lnTo>
                      <a:pt x="1093" y="684"/>
                    </a:lnTo>
                    <a:lnTo>
                      <a:pt x="1093" y="684"/>
                    </a:lnTo>
                    <a:lnTo>
                      <a:pt x="965" y="756"/>
                    </a:lnTo>
                    <a:lnTo>
                      <a:pt x="565" y="97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0" name="Freeform 392"/>
              <p:cNvSpPr>
                <a:spLocks noEditPoints="1"/>
              </p:cNvSpPr>
              <p:nvPr/>
            </p:nvSpPr>
            <p:spPr bwMode="auto">
              <a:xfrm>
                <a:off x="-9456738" y="-1984376"/>
                <a:ext cx="2195513" cy="1555750"/>
              </a:xfrm>
              <a:custGeom>
                <a:avLst/>
                <a:gdLst>
                  <a:gd name="T0" fmla="*/ 2879 w 2879"/>
                  <a:gd name="T1" fmla="*/ 2042 h 2042"/>
                  <a:gd name="T2" fmla="*/ 0 w 2879"/>
                  <a:gd name="T3" fmla="*/ 1320 h 2042"/>
                  <a:gd name="T4" fmla="*/ 444 w 2879"/>
                  <a:gd name="T5" fmla="*/ 976 h 2042"/>
                  <a:gd name="T6" fmla="*/ 1701 w 2879"/>
                  <a:gd name="T7" fmla="*/ 1 h 2042"/>
                  <a:gd name="T8" fmla="*/ 2340 w 2879"/>
                  <a:gd name="T9" fmla="*/ 1109 h 2042"/>
                  <a:gd name="T10" fmla="*/ 2879 w 2879"/>
                  <a:gd name="T11" fmla="*/ 2042 h 2042"/>
                  <a:gd name="T12" fmla="*/ 2879 w 2879"/>
                  <a:gd name="T13" fmla="*/ 2042 h 2042"/>
                  <a:gd name="T14" fmla="*/ 1701 w 2879"/>
                  <a:gd name="T15" fmla="*/ 1 h 2042"/>
                  <a:gd name="T16" fmla="*/ 1700 w 2879"/>
                  <a:gd name="T17" fmla="*/ 1 h 2042"/>
                  <a:gd name="T18" fmla="*/ 1701 w 2879"/>
                  <a:gd name="T19" fmla="*/ 0 h 2042"/>
                  <a:gd name="T20" fmla="*/ 1701 w 2879"/>
                  <a:gd name="T21" fmla="*/ 1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9" h="2042">
                    <a:moveTo>
                      <a:pt x="2879" y="2042"/>
                    </a:moveTo>
                    <a:lnTo>
                      <a:pt x="0" y="1320"/>
                    </a:lnTo>
                    <a:lnTo>
                      <a:pt x="444" y="976"/>
                    </a:lnTo>
                    <a:lnTo>
                      <a:pt x="1701" y="1"/>
                    </a:lnTo>
                    <a:lnTo>
                      <a:pt x="2340" y="1109"/>
                    </a:lnTo>
                    <a:lnTo>
                      <a:pt x="2879" y="2042"/>
                    </a:lnTo>
                    <a:lnTo>
                      <a:pt x="2879" y="2042"/>
                    </a:lnTo>
                    <a:moveTo>
                      <a:pt x="1701" y="1"/>
                    </a:moveTo>
                    <a:lnTo>
                      <a:pt x="1700" y="1"/>
                    </a:lnTo>
                    <a:lnTo>
                      <a:pt x="1701" y="0"/>
                    </a:lnTo>
                    <a:lnTo>
                      <a:pt x="170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1" name="Freeform 393"/>
              <p:cNvSpPr>
                <a:spLocks/>
              </p:cNvSpPr>
              <p:nvPr/>
            </p:nvSpPr>
            <p:spPr bwMode="auto">
              <a:xfrm>
                <a:off x="-9117013" y="-1984376"/>
                <a:ext cx="957263" cy="742950"/>
              </a:xfrm>
              <a:custGeom>
                <a:avLst/>
                <a:gdLst>
                  <a:gd name="T0" fmla="*/ 0 w 603"/>
                  <a:gd name="T1" fmla="*/ 468 h 468"/>
                  <a:gd name="T2" fmla="*/ 603 w 603"/>
                  <a:gd name="T3" fmla="*/ 0 h 468"/>
                  <a:gd name="T4" fmla="*/ 603 w 603"/>
                  <a:gd name="T5" fmla="*/ 0 h 468"/>
                  <a:gd name="T6" fmla="*/ 603 w 603"/>
                  <a:gd name="T7" fmla="*/ 0 h 468"/>
                  <a:gd name="T8" fmla="*/ 0 w 603"/>
                  <a:gd name="T9" fmla="*/ 468 h 468"/>
                </a:gdLst>
                <a:ahLst/>
                <a:cxnLst>
                  <a:cxn ang="0">
                    <a:pos x="T0" y="T1"/>
                  </a:cxn>
                  <a:cxn ang="0">
                    <a:pos x="T2" y="T3"/>
                  </a:cxn>
                  <a:cxn ang="0">
                    <a:pos x="T4" y="T5"/>
                  </a:cxn>
                  <a:cxn ang="0">
                    <a:pos x="T6" y="T7"/>
                  </a:cxn>
                  <a:cxn ang="0">
                    <a:pos x="T8" y="T9"/>
                  </a:cxn>
                </a:cxnLst>
                <a:rect l="0" t="0" r="r" b="b"/>
                <a:pathLst>
                  <a:path w="603" h="468">
                    <a:moveTo>
                      <a:pt x="0" y="468"/>
                    </a:moveTo>
                    <a:lnTo>
                      <a:pt x="603" y="0"/>
                    </a:lnTo>
                    <a:lnTo>
                      <a:pt x="603" y="0"/>
                    </a:lnTo>
                    <a:lnTo>
                      <a:pt x="603" y="0"/>
                    </a:lnTo>
                    <a:lnTo>
                      <a:pt x="0" y="468"/>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2" name="Freeform 394"/>
              <p:cNvSpPr>
                <a:spLocks/>
              </p:cNvSpPr>
              <p:nvPr/>
            </p:nvSpPr>
            <p:spPr bwMode="auto">
              <a:xfrm>
                <a:off x="-8159750" y="-1984376"/>
                <a:ext cx="487363" cy="844550"/>
              </a:xfrm>
              <a:custGeom>
                <a:avLst/>
                <a:gdLst>
                  <a:gd name="T0" fmla="*/ 307 w 307"/>
                  <a:gd name="T1" fmla="*/ 532 h 532"/>
                  <a:gd name="T2" fmla="*/ 0 w 307"/>
                  <a:gd name="T3" fmla="*/ 0 h 532"/>
                  <a:gd name="T4" fmla="*/ 0 w 307"/>
                  <a:gd name="T5" fmla="*/ 0 h 532"/>
                  <a:gd name="T6" fmla="*/ 0 w 307"/>
                  <a:gd name="T7" fmla="*/ 0 h 532"/>
                  <a:gd name="T8" fmla="*/ 0 w 307"/>
                  <a:gd name="T9" fmla="*/ 0 h 532"/>
                  <a:gd name="T10" fmla="*/ 307 w 307"/>
                  <a:gd name="T11" fmla="*/ 532 h 532"/>
                </a:gdLst>
                <a:ahLst/>
                <a:cxnLst>
                  <a:cxn ang="0">
                    <a:pos x="T0" y="T1"/>
                  </a:cxn>
                  <a:cxn ang="0">
                    <a:pos x="T2" y="T3"/>
                  </a:cxn>
                  <a:cxn ang="0">
                    <a:pos x="T4" y="T5"/>
                  </a:cxn>
                  <a:cxn ang="0">
                    <a:pos x="T6" y="T7"/>
                  </a:cxn>
                  <a:cxn ang="0">
                    <a:pos x="T8" y="T9"/>
                  </a:cxn>
                  <a:cxn ang="0">
                    <a:pos x="T10" y="T11"/>
                  </a:cxn>
                </a:cxnLst>
                <a:rect l="0" t="0" r="r" b="b"/>
                <a:pathLst>
                  <a:path w="307" h="532">
                    <a:moveTo>
                      <a:pt x="307" y="532"/>
                    </a:moveTo>
                    <a:lnTo>
                      <a:pt x="0" y="0"/>
                    </a:lnTo>
                    <a:lnTo>
                      <a:pt x="0" y="0"/>
                    </a:lnTo>
                    <a:lnTo>
                      <a:pt x="0" y="0"/>
                    </a:lnTo>
                    <a:lnTo>
                      <a:pt x="0" y="0"/>
                    </a:lnTo>
                    <a:lnTo>
                      <a:pt x="307" y="5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3" name="Freeform 395"/>
              <p:cNvSpPr>
                <a:spLocks noEditPoints="1"/>
              </p:cNvSpPr>
              <p:nvPr/>
            </p:nvSpPr>
            <p:spPr bwMode="auto">
              <a:xfrm>
                <a:off x="-7261225" y="-1404938"/>
                <a:ext cx="1735138" cy="2062163"/>
              </a:xfrm>
              <a:custGeom>
                <a:avLst/>
                <a:gdLst>
                  <a:gd name="T0" fmla="*/ 2278 w 2278"/>
                  <a:gd name="T1" fmla="*/ 2707 h 2707"/>
                  <a:gd name="T2" fmla="*/ 2278 w 2278"/>
                  <a:gd name="T3" fmla="*/ 2707 h 2707"/>
                  <a:gd name="T4" fmla="*/ 2278 w 2278"/>
                  <a:gd name="T5" fmla="*/ 2707 h 2707"/>
                  <a:gd name="T6" fmla="*/ 2278 w 2278"/>
                  <a:gd name="T7" fmla="*/ 2707 h 2707"/>
                  <a:gd name="T8" fmla="*/ 2278 w 2278"/>
                  <a:gd name="T9" fmla="*/ 2707 h 2707"/>
                  <a:gd name="T10" fmla="*/ 0 w 2278"/>
                  <a:gd name="T11" fmla="*/ 1281 h 2707"/>
                  <a:gd name="T12" fmla="*/ 0 w 2278"/>
                  <a:gd name="T13" fmla="*/ 1281 h 2707"/>
                  <a:gd name="T14" fmla="*/ 2278 w 2278"/>
                  <a:gd name="T15" fmla="*/ 0 h 2707"/>
                  <a:gd name="T16" fmla="*/ 2278 w 2278"/>
                  <a:gd name="T17" fmla="*/ 2707 h 2707"/>
                  <a:gd name="T18" fmla="*/ 2278 w 2278"/>
                  <a:gd name="T19" fmla="*/ 2707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8" h="2707">
                    <a:moveTo>
                      <a:pt x="2278" y="2707"/>
                    </a:moveTo>
                    <a:lnTo>
                      <a:pt x="2278" y="2707"/>
                    </a:lnTo>
                    <a:lnTo>
                      <a:pt x="2278" y="2707"/>
                    </a:lnTo>
                    <a:lnTo>
                      <a:pt x="2278" y="2707"/>
                    </a:lnTo>
                    <a:moveTo>
                      <a:pt x="2278" y="2707"/>
                    </a:moveTo>
                    <a:lnTo>
                      <a:pt x="0" y="1281"/>
                    </a:lnTo>
                    <a:lnTo>
                      <a:pt x="0" y="1281"/>
                    </a:lnTo>
                    <a:lnTo>
                      <a:pt x="2278" y="0"/>
                    </a:lnTo>
                    <a:lnTo>
                      <a:pt x="2278" y="2707"/>
                    </a:lnTo>
                    <a:lnTo>
                      <a:pt x="2278" y="2707"/>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4" name="Freeform 396"/>
              <p:cNvSpPr>
                <a:spLocks/>
              </p:cNvSpPr>
              <p:nvPr/>
            </p:nvSpPr>
            <p:spPr bwMode="auto">
              <a:xfrm>
                <a:off x="-9456738" y="-979488"/>
                <a:ext cx="2195513" cy="2105025"/>
              </a:xfrm>
              <a:custGeom>
                <a:avLst/>
                <a:gdLst>
                  <a:gd name="T0" fmla="*/ 817 w 1383"/>
                  <a:gd name="T1" fmla="*/ 1326 h 1326"/>
                  <a:gd name="T2" fmla="*/ 0 w 1383"/>
                  <a:gd name="T3" fmla="*/ 0 h 1326"/>
                  <a:gd name="T4" fmla="*/ 1383 w 1383"/>
                  <a:gd name="T5" fmla="*/ 347 h 1326"/>
                  <a:gd name="T6" fmla="*/ 817 w 1383"/>
                  <a:gd name="T7" fmla="*/ 1326 h 1326"/>
                </a:gdLst>
                <a:ahLst/>
                <a:cxnLst>
                  <a:cxn ang="0">
                    <a:pos x="T0" y="T1"/>
                  </a:cxn>
                  <a:cxn ang="0">
                    <a:pos x="T2" y="T3"/>
                  </a:cxn>
                  <a:cxn ang="0">
                    <a:pos x="T4" y="T5"/>
                  </a:cxn>
                  <a:cxn ang="0">
                    <a:pos x="T6" y="T7"/>
                  </a:cxn>
                </a:cxnLst>
                <a:rect l="0" t="0" r="r" b="b"/>
                <a:pathLst>
                  <a:path w="1383" h="1326">
                    <a:moveTo>
                      <a:pt x="817" y="1326"/>
                    </a:moveTo>
                    <a:lnTo>
                      <a:pt x="0" y="0"/>
                    </a:lnTo>
                    <a:lnTo>
                      <a:pt x="1383" y="347"/>
                    </a:lnTo>
                    <a:lnTo>
                      <a:pt x="817" y="132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5" name="Freeform 397"/>
              <p:cNvSpPr>
                <a:spLocks/>
              </p:cNvSpPr>
              <p:nvPr/>
            </p:nvSpPr>
            <p:spPr bwMode="auto">
              <a:xfrm>
                <a:off x="-8159750" y="-428626"/>
                <a:ext cx="898525" cy="1554163"/>
              </a:xfrm>
              <a:custGeom>
                <a:avLst/>
                <a:gdLst>
                  <a:gd name="T0" fmla="*/ 0 w 566"/>
                  <a:gd name="T1" fmla="*/ 979 h 979"/>
                  <a:gd name="T2" fmla="*/ 0 w 566"/>
                  <a:gd name="T3" fmla="*/ 979 h 979"/>
                  <a:gd name="T4" fmla="*/ 0 w 566"/>
                  <a:gd name="T5" fmla="*/ 979 h 979"/>
                  <a:gd name="T6" fmla="*/ 566 w 566"/>
                  <a:gd name="T7" fmla="*/ 0 h 979"/>
                  <a:gd name="T8" fmla="*/ 566 w 566"/>
                  <a:gd name="T9" fmla="*/ 0 h 979"/>
                  <a:gd name="T10" fmla="*/ 0 w 566"/>
                  <a:gd name="T11" fmla="*/ 979 h 979"/>
                </a:gdLst>
                <a:ahLst/>
                <a:cxnLst>
                  <a:cxn ang="0">
                    <a:pos x="T0" y="T1"/>
                  </a:cxn>
                  <a:cxn ang="0">
                    <a:pos x="T2" y="T3"/>
                  </a:cxn>
                  <a:cxn ang="0">
                    <a:pos x="T4" y="T5"/>
                  </a:cxn>
                  <a:cxn ang="0">
                    <a:pos x="T6" y="T7"/>
                  </a:cxn>
                  <a:cxn ang="0">
                    <a:pos x="T8" y="T9"/>
                  </a:cxn>
                  <a:cxn ang="0">
                    <a:pos x="T10" y="T11"/>
                  </a:cxn>
                </a:cxnLst>
                <a:rect l="0" t="0" r="r" b="b"/>
                <a:pathLst>
                  <a:path w="566" h="979">
                    <a:moveTo>
                      <a:pt x="0" y="979"/>
                    </a:moveTo>
                    <a:lnTo>
                      <a:pt x="0" y="979"/>
                    </a:ln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6" name="Freeform 398"/>
              <p:cNvSpPr>
                <a:spLocks noEditPoints="1"/>
              </p:cNvSpPr>
              <p:nvPr/>
            </p:nvSpPr>
            <p:spPr bwMode="auto">
              <a:xfrm>
                <a:off x="-5526088" y="-1984376"/>
                <a:ext cx="2544763" cy="2641600"/>
              </a:xfrm>
              <a:custGeom>
                <a:avLst/>
                <a:gdLst>
                  <a:gd name="T0" fmla="*/ 0 w 3339"/>
                  <a:gd name="T1" fmla="*/ 3468 h 3468"/>
                  <a:gd name="T2" fmla="*/ 0 w 3339"/>
                  <a:gd name="T3" fmla="*/ 3468 h 3468"/>
                  <a:gd name="T4" fmla="*/ 0 w 3339"/>
                  <a:gd name="T5" fmla="*/ 3468 h 3468"/>
                  <a:gd name="T6" fmla="*/ 0 w 3339"/>
                  <a:gd name="T7" fmla="*/ 3468 h 3468"/>
                  <a:gd name="T8" fmla="*/ 0 w 3339"/>
                  <a:gd name="T9" fmla="*/ 3468 h 3468"/>
                  <a:gd name="T10" fmla="*/ 0 w 3339"/>
                  <a:gd name="T11" fmla="*/ 3468 h 3468"/>
                  <a:gd name="T12" fmla="*/ 0 w 3339"/>
                  <a:gd name="T13" fmla="*/ 3468 h 3468"/>
                  <a:gd name="T14" fmla="*/ 0 w 3339"/>
                  <a:gd name="T15" fmla="*/ 3468 h 3468"/>
                  <a:gd name="T16" fmla="*/ 1258 w 3339"/>
                  <a:gd name="T17" fmla="*/ 0 h 3468"/>
                  <a:gd name="T18" fmla="*/ 3339 w 3339"/>
                  <a:gd name="T19" fmla="*/ 2815 h 3468"/>
                  <a:gd name="T20" fmla="*/ 0 w 3339"/>
                  <a:gd name="T21" fmla="*/ 3468 h 3468"/>
                  <a:gd name="T22" fmla="*/ 3339 w 3339"/>
                  <a:gd name="T23" fmla="*/ 2815 h 3468"/>
                  <a:gd name="T24" fmla="*/ 3339 w 3339"/>
                  <a:gd name="T25" fmla="*/ 2815 h 3468"/>
                  <a:gd name="T26" fmla="*/ 3339 w 3339"/>
                  <a:gd name="T27" fmla="*/ 2815 h 3468"/>
                  <a:gd name="T28" fmla="*/ 1258 w 3339"/>
                  <a:gd name="T29" fmla="*/ 0 h 3468"/>
                  <a:gd name="T30" fmla="*/ 1258 w 3339"/>
                  <a:gd name="T31" fmla="*/ 0 h 3468"/>
                  <a:gd name="T32" fmla="*/ 1258 w 3339"/>
                  <a:gd name="T33" fmla="*/ 1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39" h="3468">
                    <a:moveTo>
                      <a:pt x="0" y="3468"/>
                    </a:moveTo>
                    <a:lnTo>
                      <a:pt x="0" y="3468"/>
                    </a:lnTo>
                    <a:lnTo>
                      <a:pt x="0" y="3468"/>
                    </a:lnTo>
                    <a:lnTo>
                      <a:pt x="0" y="3468"/>
                    </a:lnTo>
                    <a:lnTo>
                      <a:pt x="0" y="3468"/>
                    </a:lnTo>
                    <a:lnTo>
                      <a:pt x="0" y="3468"/>
                    </a:lnTo>
                    <a:lnTo>
                      <a:pt x="0" y="3468"/>
                    </a:lnTo>
                    <a:moveTo>
                      <a:pt x="0" y="3468"/>
                    </a:moveTo>
                    <a:lnTo>
                      <a:pt x="1258" y="0"/>
                    </a:lnTo>
                    <a:lnTo>
                      <a:pt x="3339" y="2815"/>
                    </a:lnTo>
                    <a:lnTo>
                      <a:pt x="0" y="3468"/>
                    </a:lnTo>
                    <a:moveTo>
                      <a:pt x="3339" y="2815"/>
                    </a:moveTo>
                    <a:lnTo>
                      <a:pt x="3339" y="2815"/>
                    </a:lnTo>
                    <a:lnTo>
                      <a:pt x="3339" y="2815"/>
                    </a:lnTo>
                    <a:moveTo>
                      <a:pt x="1258" y="0"/>
                    </a:moveTo>
                    <a:lnTo>
                      <a:pt x="1258" y="0"/>
                    </a:lnTo>
                    <a:lnTo>
                      <a:pt x="1258" y="1"/>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7" name="Freeform 399"/>
              <p:cNvSpPr>
                <a:spLocks/>
              </p:cNvSpPr>
              <p:nvPr/>
            </p:nvSpPr>
            <p:spPr bwMode="auto">
              <a:xfrm>
                <a:off x="-5465763" y="-3540126"/>
                <a:ext cx="1797050" cy="1555750"/>
              </a:xfrm>
              <a:custGeom>
                <a:avLst/>
                <a:gdLst>
                  <a:gd name="T0" fmla="*/ 566 w 1132"/>
                  <a:gd name="T1" fmla="*/ 980 h 980"/>
                  <a:gd name="T2" fmla="*/ 566 w 1132"/>
                  <a:gd name="T3" fmla="*/ 980 h 980"/>
                  <a:gd name="T4" fmla="*/ 0 w 1132"/>
                  <a:gd name="T5" fmla="*/ 0 h 980"/>
                  <a:gd name="T6" fmla="*/ 0 w 1132"/>
                  <a:gd name="T7" fmla="*/ 0 h 980"/>
                  <a:gd name="T8" fmla="*/ 1132 w 1132"/>
                  <a:gd name="T9" fmla="*/ 0 h 980"/>
                  <a:gd name="T10" fmla="*/ 566 w 1132"/>
                  <a:gd name="T11" fmla="*/ 980 h 980"/>
                </a:gdLst>
                <a:ahLst/>
                <a:cxnLst>
                  <a:cxn ang="0">
                    <a:pos x="T0" y="T1"/>
                  </a:cxn>
                  <a:cxn ang="0">
                    <a:pos x="T2" y="T3"/>
                  </a:cxn>
                  <a:cxn ang="0">
                    <a:pos x="T4" y="T5"/>
                  </a:cxn>
                  <a:cxn ang="0">
                    <a:pos x="T6" y="T7"/>
                  </a:cxn>
                  <a:cxn ang="0">
                    <a:pos x="T8" y="T9"/>
                  </a:cxn>
                  <a:cxn ang="0">
                    <a:pos x="T10" y="T11"/>
                  </a:cxn>
                </a:cxnLst>
                <a:rect l="0" t="0" r="r" b="b"/>
                <a:pathLst>
                  <a:path w="1132" h="980">
                    <a:moveTo>
                      <a:pt x="566" y="980"/>
                    </a:moveTo>
                    <a:lnTo>
                      <a:pt x="566" y="980"/>
                    </a:lnTo>
                    <a:lnTo>
                      <a:pt x="0" y="0"/>
                    </a:lnTo>
                    <a:lnTo>
                      <a:pt x="0" y="0"/>
                    </a:lnTo>
                    <a:lnTo>
                      <a:pt x="1132" y="0"/>
                    </a:lnTo>
                    <a:lnTo>
                      <a:pt x="566"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8" name="Freeform 400"/>
              <p:cNvSpPr>
                <a:spLocks/>
              </p:cNvSpPr>
              <p:nvPr/>
            </p:nvSpPr>
            <p:spPr bwMode="auto">
              <a:xfrm>
                <a:off x="-5465763" y="-354012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99D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09" name="Rectangle 401"/>
              <p:cNvSpPr>
                <a:spLocks noChangeArrowheads="1"/>
              </p:cNvSpPr>
              <p:nvPr/>
            </p:nvSpPr>
            <p:spPr bwMode="auto">
              <a:xfrm>
                <a:off x="-5465763" y="-3540126"/>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0" name="Freeform 402"/>
              <p:cNvSpPr>
                <a:spLocks noEditPoints="1"/>
              </p:cNvSpPr>
              <p:nvPr/>
            </p:nvSpPr>
            <p:spPr bwMode="auto">
              <a:xfrm>
                <a:off x="-4567238" y="-1984376"/>
                <a:ext cx="1585913" cy="2144713"/>
              </a:xfrm>
              <a:custGeom>
                <a:avLst/>
                <a:gdLst>
                  <a:gd name="T0" fmla="*/ 2081 w 2081"/>
                  <a:gd name="T1" fmla="*/ 2815 h 2815"/>
                  <a:gd name="T2" fmla="*/ 2081 w 2081"/>
                  <a:gd name="T3" fmla="*/ 2815 h 2815"/>
                  <a:gd name="T4" fmla="*/ 2081 w 2081"/>
                  <a:gd name="T5" fmla="*/ 2815 h 2815"/>
                  <a:gd name="T6" fmla="*/ 2081 w 2081"/>
                  <a:gd name="T7" fmla="*/ 2815 h 2815"/>
                  <a:gd name="T8" fmla="*/ 0 w 2081"/>
                  <a:gd name="T9" fmla="*/ 0 h 2815"/>
                  <a:gd name="T10" fmla="*/ 0 w 2081"/>
                  <a:gd name="T11" fmla="*/ 0 h 2815"/>
                  <a:gd name="T12" fmla="*/ 1627 w 2081"/>
                  <a:gd name="T13" fmla="*/ 645 h 2815"/>
                  <a:gd name="T14" fmla="*/ 2081 w 2081"/>
                  <a:gd name="T15" fmla="*/ 2815 h 28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1" h="2815">
                    <a:moveTo>
                      <a:pt x="2081" y="2815"/>
                    </a:moveTo>
                    <a:lnTo>
                      <a:pt x="2081" y="2815"/>
                    </a:lnTo>
                    <a:lnTo>
                      <a:pt x="2081" y="2815"/>
                    </a:lnTo>
                    <a:moveTo>
                      <a:pt x="2081" y="2815"/>
                    </a:moveTo>
                    <a:lnTo>
                      <a:pt x="0" y="0"/>
                    </a:lnTo>
                    <a:lnTo>
                      <a:pt x="0" y="0"/>
                    </a:lnTo>
                    <a:lnTo>
                      <a:pt x="1627" y="645"/>
                    </a:lnTo>
                    <a:lnTo>
                      <a:pt x="2081" y="2815"/>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1" name="Freeform 403"/>
              <p:cNvSpPr>
                <a:spLocks/>
              </p:cNvSpPr>
              <p:nvPr/>
            </p:nvSpPr>
            <p:spPr bwMode="auto">
              <a:xfrm>
                <a:off x="-4567238" y="-1984376"/>
                <a:ext cx="1585913" cy="2144713"/>
              </a:xfrm>
              <a:custGeom>
                <a:avLst/>
                <a:gdLst>
                  <a:gd name="T0" fmla="*/ 999 w 999"/>
                  <a:gd name="T1" fmla="*/ 1351 h 1351"/>
                  <a:gd name="T2" fmla="*/ 0 w 999"/>
                  <a:gd name="T3" fmla="*/ 0 h 1351"/>
                  <a:gd name="T4" fmla="*/ 0 w 999"/>
                  <a:gd name="T5" fmla="*/ 0 h 1351"/>
                  <a:gd name="T6" fmla="*/ 999 w 999"/>
                  <a:gd name="T7" fmla="*/ 1351 h 1351"/>
                  <a:gd name="T8" fmla="*/ 999 w 999"/>
                  <a:gd name="T9" fmla="*/ 1351 h 1351"/>
                  <a:gd name="T10" fmla="*/ 999 w 999"/>
                  <a:gd name="T11" fmla="*/ 1351 h 1351"/>
                </a:gdLst>
                <a:ahLst/>
                <a:cxnLst>
                  <a:cxn ang="0">
                    <a:pos x="T0" y="T1"/>
                  </a:cxn>
                  <a:cxn ang="0">
                    <a:pos x="T2" y="T3"/>
                  </a:cxn>
                  <a:cxn ang="0">
                    <a:pos x="T4" y="T5"/>
                  </a:cxn>
                  <a:cxn ang="0">
                    <a:pos x="T6" y="T7"/>
                  </a:cxn>
                  <a:cxn ang="0">
                    <a:pos x="T8" y="T9"/>
                  </a:cxn>
                  <a:cxn ang="0">
                    <a:pos x="T10" y="T11"/>
                  </a:cxn>
                </a:cxnLst>
                <a:rect l="0" t="0" r="r" b="b"/>
                <a:pathLst>
                  <a:path w="999" h="1351">
                    <a:moveTo>
                      <a:pt x="999" y="1351"/>
                    </a:moveTo>
                    <a:lnTo>
                      <a:pt x="0" y="0"/>
                    </a:lnTo>
                    <a:lnTo>
                      <a:pt x="0" y="0"/>
                    </a:lnTo>
                    <a:lnTo>
                      <a:pt x="999" y="1351"/>
                    </a:lnTo>
                    <a:lnTo>
                      <a:pt x="999" y="1351"/>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2" name="Rectangle 404"/>
              <p:cNvSpPr>
                <a:spLocks noChangeArrowheads="1"/>
              </p:cNvSpPr>
              <p:nvPr/>
            </p:nvSpPr>
            <p:spPr bwMode="auto">
              <a:xfrm>
                <a:off x="-4567238" y="-1984376"/>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3" name="Freeform 405"/>
              <p:cNvSpPr>
                <a:spLocks/>
              </p:cNvSpPr>
              <p:nvPr/>
            </p:nvSpPr>
            <p:spPr bwMode="auto">
              <a:xfrm>
                <a:off x="-5526088" y="-3540126"/>
                <a:ext cx="958850" cy="2135188"/>
              </a:xfrm>
              <a:custGeom>
                <a:avLst/>
                <a:gdLst>
                  <a:gd name="T0" fmla="*/ 0 w 604"/>
                  <a:gd name="T1" fmla="*/ 1345 h 1345"/>
                  <a:gd name="T2" fmla="*/ 1 w 604"/>
                  <a:gd name="T3" fmla="*/ 1294 h 1345"/>
                  <a:gd name="T4" fmla="*/ 38 w 604"/>
                  <a:gd name="T5" fmla="*/ 0 h 1345"/>
                  <a:gd name="T6" fmla="*/ 38 w 604"/>
                  <a:gd name="T7" fmla="*/ 0 h 1345"/>
                  <a:gd name="T8" fmla="*/ 38 w 604"/>
                  <a:gd name="T9" fmla="*/ 0 h 1345"/>
                  <a:gd name="T10" fmla="*/ 604 w 604"/>
                  <a:gd name="T11" fmla="*/ 980 h 1345"/>
                  <a:gd name="T12" fmla="*/ 0 w 604"/>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604" h="1345">
                    <a:moveTo>
                      <a:pt x="0" y="1345"/>
                    </a:moveTo>
                    <a:lnTo>
                      <a:pt x="1" y="1294"/>
                    </a:lnTo>
                    <a:lnTo>
                      <a:pt x="38" y="0"/>
                    </a:lnTo>
                    <a:lnTo>
                      <a:pt x="38" y="0"/>
                    </a:lnTo>
                    <a:lnTo>
                      <a:pt x="38" y="0"/>
                    </a:lnTo>
                    <a:lnTo>
                      <a:pt x="604" y="980"/>
                    </a:lnTo>
                    <a:lnTo>
                      <a:pt x="0" y="134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4" name="Freeform 406"/>
              <p:cNvSpPr>
                <a:spLocks/>
              </p:cNvSpPr>
              <p:nvPr/>
            </p:nvSpPr>
            <p:spPr bwMode="auto">
              <a:xfrm>
                <a:off x="-4567238" y="-3540126"/>
                <a:ext cx="1239838" cy="2046288"/>
              </a:xfrm>
              <a:custGeom>
                <a:avLst/>
                <a:gdLst>
                  <a:gd name="T0" fmla="*/ 781 w 781"/>
                  <a:gd name="T1" fmla="*/ 1289 h 1289"/>
                  <a:gd name="T2" fmla="*/ 0 w 781"/>
                  <a:gd name="T3" fmla="*/ 980 h 1289"/>
                  <a:gd name="T4" fmla="*/ 566 w 781"/>
                  <a:gd name="T5" fmla="*/ 0 h 1289"/>
                  <a:gd name="T6" fmla="*/ 716 w 781"/>
                  <a:gd name="T7" fmla="*/ 902 h 1289"/>
                  <a:gd name="T8" fmla="*/ 781 w 781"/>
                  <a:gd name="T9" fmla="*/ 1289 h 1289"/>
                </a:gdLst>
                <a:ahLst/>
                <a:cxnLst>
                  <a:cxn ang="0">
                    <a:pos x="T0" y="T1"/>
                  </a:cxn>
                  <a:cxn ang="0">
                    <a:pos x="T2" y="T3"/>
                  </a:cxn>
                  <a:cxn ang="0">
                    <a:pos x="T4" y="T5"/>
                  </a:cxn>
                  <a:cxn ang="0">
                    <a:pos x="T6" y="T7"/>
                  </a:cxn>
                  <a:cxn ang="0">
                    <a:pos x="T8" y="T9"/>
                  </a:cxn>
                </a:cxnLst>
                <a:rect l="0" t="0" r="r" b="b"/>
                <a:pathLst>
                  <a:path w="781" h="1289">
                    <a:moveTo>
                      <a:pt x="781" y="1289"/>
                    </a:moveTo>
                    <a:lnTo>
                      <a:pt x="0" y="980"/>
                    </a:lnTo>
                    <a:lnTo>
                      <a:pt x="566" y="0"/>
                    </a:lnTo>
                    <a:lnTo>
                      <a:pt x="716" y="902"/>
                    </a:lnTo>
                    <a:lnTo>
                      <a:pt x="781" y="128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5" name="Freeform 407"/>
              <p:cNvSpPr>
                <a:spLocks noEditPoints="1"/>
              </p:cNvSpPr>
              <p:nvPr/>
            </p:nvSpPr>
            <p:spPr bwMode="auto">
              <a:xfrm>
                <a:off x="-5526088" y="-1984376"/>
                <a:ext cx="958850" cy="2641600"/>
              </a:xfrm>
              <a:custGeom>
                <a:avLst/>
                <a:gdLst>
                  <a:gd name="T0" fmla="*/ 0 w 1258"/>
                  <a:gd name="T1" fmla="*/ 3467 h 3467"/>
                  <a:gd name="T2" fmla="*/ 0 w 1258"/>
                  <a:gd name="T3" fmla="*/ 3467 h 3467"/>
                  <a:gd name="T4" fmla="*/ 0 w 1258"/>
                  <a:gd name="T5" fmla="*/ 3467 h 3467"/>
                  <a:gd name="T6" fmla="*/ 0 w 1258"/>
                  <a:gd name="T7" fmla="*/ 3467 h 3467"/>
                  <a:gd name="T8" fmla="*/ 0 w 1258"/>
                  <a:gd name="T9" fmla="*/ 3467 h 3467"/>
                  <a:gd name="T10" fmla="*/ 0 w 1258"/>
                  <a:gd name="T11" fmla="*/ 760 h 3467"/>
                  <a:gd name="T12" fmla="*/ 1258 w 1258"/>
                  <a:gd name="T13" fmla="*/ 0 h 3467"/>
                  <a:gd name="T14" fmla="*/ 0 w 1258"/>
                  <a:gd name="T15" fmla="*/ 3467 h 3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8" h="3467">
                    <a:moveTo>
                      <a:pt x="0" y="3467"/>
                    </a:moveTo>
                    <a:lnTo>
                      <a:pt x="0" y="3467"/>
                    </a:lnTo>
                    <a:lnTo>
                      <a:pt x="0" y="3467"/>
                    </a:lnTo>
                    <a:lnTo>
                      <a:pt x="0" y="3467"/>
                    </a:lnTo>
                    <a:moveTo>
                      <a:pt x="0" y="3467"/>
                    </a:moveTo>
                    <a:lnTo>
                      <a:pt x="0" y="760"/>
                    </a:lnTo>
                    <a:lnTo>
                      <a:pt x="1258" y="0"/>
                    </a:lnTo>
                    <a:lnTo>
                      <a:pt x="0" y="3467"/>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6" name="Freeform 408"/>
              <p:cNvSpPr>
                <a:spLocks/>
              </p:cNvSpPr>
              <p:nvPr/>
            </p:nvSpPr>
            <p:spPr bwMode="auto">
              <a:xfrm>
                <a:off x="-5526088" y="-1984376"/>
                <a:ext cx="958850" cy="2641600"/>
              </a:xfrm>
              <a:custGeom>
                <a:avLst/>
                <a:gdLst>
                  <a:gd name="T0" fmla="*/ 0 w 604"/>
                  <a:gd name="T1" fmla="*/ 1664 h 1664"/>
                  <a:gd name="T2" fmla="*/ 0 w 604"/>
                  <a:gd name="T3" fmla="*/ 1664 h 1664"/>
                  <a:gd name="T4" fmla="*/ 604 w 604"/>
                  <a:gd name="T5" fmla="*/ 0 h 1664"/>
                  <a:gd name="T6" fmla="*/ 604 w 604"/>
                  <a:gd name="T7" fmla="*/ 0 h 1664"/>
                  <a:gd name="T8" fmla="*/ 604 w 604"/>
                  <a:gd name="T9" fmla="*/ 0 h 1664"/>
                  <a:gd name="T10" fmla="*/ 0 w 604"/>
                  <a:gd name="T11" fmla="*/ 1664 h 1664"/>
                  <a:gd name="T12" fmla="*/ 0 w 604"/>
                  <a:gd name="T13" fmla="*/ 1664 h 1664"/>
                </a:gdLst>
                <a:ahLst/>
                <a:cxnLst>
                  <a:cxn ang="0">
                    <a:pos x="T0" y="T1"/>
                  </a:cxn>
                  <a:cxn ang="0">
                    <a:pos x="T2" y="T3"/>
                  </a:cxn>
                  <a:cxn ang="0">
                    <a:pos x="T4" y="T5"/>
                  </a:cxn>
                  <a:cxn ang="0">
                    <a:pos x="T6" y="T7"/>
                  </a:cxn>
                  <a:cxn ang="0">
                    <a:pos x="T8" y="T9"/>
                  </a:cxn>
                  <a:cxn ang="0">
                    <a:pos x="T10" y="T11"/>
                  </a:cxn>
                  <a:cxn ang="0">
                    <a:pos x="T12" y="T13"/>
                  </a:cxn>
                </a:cxnLst>
                <a:rect l="0" t="0" r="r" b="b"/>
                <a:pathLst>
                  <a:path w="604" h="1664">
                    <a:moveTo>
                      <a:pt x="0" y="1664"/>
                    </a:moveTo>
                    <a:lnTo>
                      <a:pt x="0" y="1664"/>
                    </a:lnTo>
                    <a:lnTo>
                      <a:pt x="604" y="0"/>
                    </a:lnTo>
                    <a:lnTo>
                      <a:pt x="604" y="0"/>
                    </a:lnTo>
                    <a:lnTo>
                      <a:pt x="604" y="0"/>
                    </a:lnTo>
                    <a:lnTo>
                      <a:pt x="0" y="1664"/>
                    </a:lnTo>
                    <a:lnTo>
                      <a:pt x="0" y="166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7" name="Freeform 409"/>
              <p:cNvSpPr>
                <a:spLocks/>
              </p:cNvSpPr>
              <p:nvPr/>
            </p:nvSpPr>
            <p:spPr bwMode="auto">
              <a:xfrm>
                <a:off x="-4567238" y="-19843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8" name="Freeform 410"/>
              <p:cNvSpPr>
                <a:spLocks noEditPoints="1"/>
              </p:cNvSpPr>
              <p:nvPr/>
            </p:nvSpPr>
            <p:spPr bwMode="auto">
              <a:xfrm>
                <a:off x="-8159750" y="2682875"/>
                <a:ext cx="1141413" cy="1914525"/>
              </a:xfrm>
              <a:custGeom>
                <a:avLst/>
                <a:gdLst>
                  <a:gd name="T0" fmla="*/ 1498 w 1498"/>
                  <a:gd name="T1" fmla="*/ 2514 h 2514"/>
                  <a:gd name="T2" fmla="*/ 1 w 1498"/>
                  <a:gd name="T3" fmla="*/ 2041 h 2514"/>
                  <a:gd name="T4" fmla="*/ 0 w 1498"/>
                  <a:gd name="T5" fmla="*/ 2041 h 2514"/>
                  <a:gd name="T6" fmla="*/ 1 w 1498"/>
                  <a:gd name="T7" fmla="*/ 2041 h 2514"/>
                  <a:gd name="T8" fmla="*/ 1179 w 1498"/>
                  <a:gd name="T9" fmla="*/ 0 h 2514"/>
                  <a:gd name="T10" fmla="*/ 1179 w 1498"/>
                  <a:gd name="T11" fmla="*/ 0 h 2514"/>
                  <a:gd name="T12" fmla="*/ 1179 w 1498"/>
                  <a:gd name="T13" fmla="*/ 0 h 2514"/>
                  <a:gd name="T14" fmla="*/ 1179 w 1498"/>
                  <a:gd name="T15" fmla="*/ 0 h 2514"/>
                  <a:gd name="T16" fmla="*/ 1179 w 1498"/>
                  <a:gd name="T17" fmla="*/ 0 h 2514"/>
                  <a:gd name="T18" fmla="*/ 1234 w 1498"/>
                  <a:gd name="T19" fmla="*/ 432 h 2514"/>
                  <a:gd name="T20" fmla="*/ 1498 w 1498"/>
                  <a:gd name="T21" fmla="*/ 2514 h 2514"/>
                  <a:gd name="T22" fmla="*/ 1179 w 1498"/>
                  <a:gd name="T23" fmla="*/ 0 h 2514"/>
                  <a:gd name="T24" fmla="*/ 1179 w 1498"/>
                  <a:gd name="T25" fmla="*/ 0 h 2514"/>
                  <a:gd name="T26" fmla="*/ 1179 w 1498"/>
                  <a:gd name="T27"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8" h="2514">
                    <a:moveTo>
                      <a:pt x="1498" y="2514"/>
                    </a:moveTo>
                    <a:lnTo>
                      <a:pt x="1" y="2041"/>
                    </a:lnTo>
                    <a:lnTo>
                      <a:pt x="0" y="2041"/>
                    </a:lnTo>
                    <a:lnTo>
                      <a:pt x="1" y="2041"/>
                    </a:lnTo>
                    <a:lnTo>
                      <a:pt x="1179" y="0"/>
                    </a:lnTo>
                    <a:lnTo>
                      <a:pt x="1179" y="0"/>
                    </a:lnTo>
                    <a:lnTo>
                      <a:pt x="1179" y="0"/>
                    </a:lnTo>
                    <a:lnTo>
                      <a:pt x="1179" y="0"/>
                    </a:lnTo>
                    <a:lnTo>
                      <a:pt x="1179" y="0"/>
                    </a:lnTo>
                    <a:lnTo>
                      <a:pt x="1234" y="432"/>
                    </a:lnTo>
                    <a:lnTo>
                      <a:pt x="1498" y="2514"/>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19" name="Freeform 411"/>
              <p:cNvSpPr>
                <a:spLocks/>
              </p:cNvSpPr>
              <p:nvPr/>
            </p:nvSpPr>
            <p:spPr bwMode="auto">
              <a:xfrm>
                <a:off x="-8159750" y="1125537"/>
                <a:ext cx="1795463" cy="1557338"/>
              </a:xfrm>
              <a:custGeom>
                <a:avLst/>
                <a:gdLst>
                  <a:gd name="T0" fmla="*/ 566 w 1131"/>
                  <a:gd name="T1" fmla="*/ 981 h 981"/>
                  <a:gd name="T2" fmla="*/ 4 w 1131"/>
                  <a:gd name="T3" fmla="*/ 7 h 981"/>
                  <a:gd name="T4" fmla="*/ 0 w 1131"/>
                  <a:gd name="T5" fmla="*/ 0 h 981"/>
                  <a:gd name="T6" fmla="*/ 0 w 1131"/>
                  <a:gd name="T7" fmla="*/ 0 h 981"/>
                  <a:gd name="T8" fmla="*/ 0 w 1131"/>
                  <a:gd name="T9" fmla="*/ 0 h 981"/>
                  <a:gd name="T10" fmla="*/ 0 w 1131"/>
                  <a:gd name="T11" fmla="*/ 0 h 981"/>
                  <a:gd name="T12" fmla="*/ 1131 w 1131"/>
                  <a:gd name="T13" fmla="*/ 0 h 981"/>
                  <a:gd name="T14" fmla="*/ 566 w 1131"/>
                  <a:gd name="T15" fmla="*/ 981 h 9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981">
                    <a:moveTo>
                      <a:pt x="566" y="981"/>
                    </a:moveTo>
                    <a:lnTo>
                      <a:pt x="4" y="7"/>
                    </a:lnTo>
                    <a:lnTo>
                      <a:pt x="0" y="0"/>
                    </a:lnTo>
                    <a:lnTo>
                      <a:pt x="0" y="0"/>
                    </a:lnTo>
                    <a:lnTo>
                      <a:pt x="0" y="0"/>
                    </a:lnTo>
                    <a:lnTo>
                      <a:pt x="0" y="0"/>
                    </a:lnTo>
                    <a:lnTo>
                      <a:pt x="1131" y="0"/>
                    </a:lnTo>
                    <a:lnTo>
                      <a:pt x="566" y="98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0" name="Freeform 412"/>
              <p:cNvSpPr>
                <a:spLocks noEditPoints="1"/>
              </p:cNvSpPr>
              <p:nvPr/>
            </p:nvSpPr>
            <p:spPr bwMode="auto">
              <a:xfrm>
                <a:off x="-7261225" y="2655887"/>
                <a:ext cx="1047750" cy="1941513"/>
              </a:xfrm>
              <a:custGeom>
                <a:avLst/>
                <a:gdLst>
                  <a:gd name="T0" fmla="*/ 319 w 1375"/>
                  <a:gd name="T1" fmla="*/ 2549 h 2549"/>
                  <a:gd name="T2" fmla="*/ 55 w 1375"/>
                  <a:gd name="T3" fmla="*/ 467 h 2549"/>
                  <a:gd name="T4" fmla="*/ 0 w 1375"/>
                  <a:gd name="T5" fmla="*/ 35 h 2549"/>
                  <a:gd name="T6" fmla="*/ 1375 w 1375"/>
                  <a:gd name="T7" fmla="*/ 0 h 2549"/>
                  <a:gd name="T8" fmla="*/ 1375 w 1375"/>
                  <a:gd name="T9" fmla="*/ 0 h 2549"/>
                  <a:gd name="T10" fmla="*/ 319 w 1375"/>
                  <a:gd name="T11" fmla="*/ 2549 h 2549"/>
                  <a:gd name="T12" fmla="*/ 1375 w 1375"/>
                  <a:gd name="T13" fmla="*/ 0 h 2549"/>
                  <a:gd name="T14" fmla="*/ 1375 w 1375"/>
                  <a:gd name="T15" fmla="*/ 0 h 2549"/>
                  <a:gd name="T16" fmla="*/ 1375 w 1375"/>
                  <a:gd name="T17" fmla="*/ 0 h 2549"/>
                  <a:gd name="T18" fmla="*/ 1375 w 1375"/>
                  <a:gd name="T19" fmla="*/ 0 h 2549"/>
                  <a:gd name="T20" fmla="*/ 1375 w 1375"/>
                  <a:gd name="T21" fmla="*/ 0 h 2549"/>
                  <a:gd name="T22" fmla="*/ 1375 w 1375"/>
                  <a:gd name="T23" fmla="*/ 0 h 2549"/>
                  <a:gd name="T24" fmla="*/ 1375 w 1375"/>
                  <a:gd name="T25" fmla="*/ 0 h 2549"/>
                  <a:gd name="T26" fmla="*/ 1375 w 1375"/>
                  <a:gd name="T27" fmla="*/ 0 h 2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5" h="2549">
                    <a:moveTo>
                      <a:pt x="319" y="2549"/>
                    </a:moveTo>
                    <a:lnTo>
                      <a:pt x="55" y="467"/>
                    </a:lnTo>
                    <a:lnTo>
                      <a:pt x="0" y="35"/>
                    </a:lnTo>
                    <a:lnTo>
                      <a:pt x="1375" y="0"/>
                    </a:lnTo>
                    <a:lnTo>
                      <a:pt x="1375" y="0"/>
                    </a:lnTo>
                    <a:lnTo>
                      <a:pt x="319" y="2549"/>
                    </a:lnTo>
                    <a:moveTo>
                      <a:pt x="1375" y="0"/>
                    </a:moveTo>
                    <a:lnTo>
                      <a:pt x="1375" y="0"/>
                    </a:lnTo>
                    <a:lnTo>
                      <a:pt x="1375" y="0"/>
                    </a:lnTo>
                    <a:lnTo>
                      <a:pt x="1375" y="0"/>
                    </a:lnTo>
                    <a:moveTo>
                      <a:pt x="1375" y="0"/>
                    </a:moveTo>
                    <a:lnTo>
                      <a:pt x="1375" y="0"/>
                    </a:lnTo>
                    <a:lnTo>
                      <a:pt x="1375" y="0"/>
                    </a:lnTo>
                    <a:lnTo>
                      <a:pt x="1375"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1" name="Freeform 413"/>
              <p:cNvSpPr>
                <a:spLocks noEditPoints="1"/>
              </p:cNvSpPr>
              <p:nvPr/>
            </p:nvSpPr>
            <p:spPr bwMode="auto">
              <a:xfrm>
                <a:off x="-9488488" y="1125537"/>
                <a:ext cx="2227263" cy="2085975"/>
              </a:xfrm>
              <a:custGeom>
                <a:avLst/>
                <a:gdLst>
                  <a:gd name="T0" fmla="*/ 0 w 2922"/>
                  <a:gd name="T1" fmla="*/ 2737 h 2737"/>
                  <a:gd name="T2" fmla="*/ 0 w 2922"/>
                  <a:gd name="T3" fmla="*/ 2737 h 2737"/>
                  <a:gd name="T4" fmla="*/ 0 w 2922"/>
                  <a:gd name="T5" fmla="*/ 2737 h 2737"/>
                  <a:gd name="T6" fmla="*/ 0 w 2922"/>
                  <a:gd name="T7" fmla="*/ 2737 h 2737"/>
                  <a:gd name="T8" fmla="*/ 1744 w 2922"/>
                  <a:gd name="T9" fmla="*/ 0 h 2737"/>
                  <a:gd name="T10" fmla="*/ 1752 w 2922"/>
                  <a:gd name="T11" fmla="*/ 14 h 2737"/>
                  <a:gd name="T12" fmla="*/ 2922 w 2922"/>
                  <a:gd name="T13" fmla="*/ 2042 h 2737"/>
                  <a:gd name="T14" fmla="*/ 2922 w 2922"/>
                  <a:gd name="T15" fmla="*/ 2042 h 2737"/>
                  <a:gd name="T16" fmla="*/ 0 w 2922"/>
                  <a:gd name="T17" fmla="*/ 2737 h 2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22" h="2737">
                    <a:moveTo>
                      <a:pt x="0" y="2737"/>
                    </a:moveTo>
                    <a:lnTo>
                      <a:pt x="0" y="2737"/>
                    </a:lnTo>
                    <a:lnTo>
                      <a:pt x="0" y="2737"/>
                    </a:lnTo>
                    <a:moveTo>
                      <a:pt x="0" y="2737"/>
                    </a:moveTo>
                    <a:lnTo>
                      <a:pt x="1744" y="0"/>
                    </a:lnTo>
                    <a:lnTo>
                      <a:pt x="1752" y="14"/>
                    </a:lnTo>
                    <a:lnTo>
                      <a:pt x="2922" y="2042"/>
                    </a:lnTo>
                    <a:lnTo>
                      <a:pt x="2922" y="2042"/>
                    </a:lnTo>
                    <a:lnTo>
                      <a:pt x="0" y="2737"/>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2" name="Freeform 414"/>
              <p:cNvSpPr>
                <a:spLocks/>
              </p:cNvSpPr>
              <p:nvPr/>
            </p:nvSpPr>
            <p:spPr bwMode="auto">
              <a:xfrm>
                <a:off x="-7261225" y="1125537"/>
                <a:ext cx="1047750" cy="1557338"/>
              </a:xfrm>
              <a:custGeom>
                <a:avLst/>
                <a:gdLst>
                  <a:gd name="T0" fmla="*/ 0 w 660"/>
                  <a:gd name="T1" fmla="*/ 981 h 981"/>
                  <a:gd name="T2" fmla="*/ 0 w 660"/>
                  <a:gd name="T3" fmla="*/ 981 h 981"/>
                  <a:gd name="T4" fmla="*/ 565 w 660"/>
                  <a:gd name="T5" fmla="*/ 0 h 981"/>
                  <a:gd name="T6" fmla="*/ 565 w 660"/>
                  <a:gd name="T7" fmla="*/ 0 h 981"/>
                  <a:gd name="T8" fmla="*/ 565 w 660"/>
                  <a:gd name="T9" fmla="*/ 0 h 981"/>
                  <a:gd name="T10" fmla="*/ 660 w 660"/>
                  <a:gd name="T11" fmla="*/ 963 h 981"/>
                  <a:gd name="T12" fmla="*/ 660 w 660"/>
                  <a:gd name="T13" fmla="*/ 963 h 981"/>
                  <a:gd name="T14" fmla="*/ 660 w 660"/>
                  <a:gd name="T15" fmla="*/ 964 h 981"/>
                  <a:gd name="T16" fmla="*/ 660 w 660"/>
                  <a:gd name="T17" fmla="*/ 964 h 981"/>
                  <a:gd name="T18" fmla="*/ 0 w 660"/>
                  <a:gd name="T19" fmla="*/ 981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0" h="981">
                    <a:moveTo>
                      <a:pt x="0" y="981"/>
                    </a:moveTo>
                    <a:lnTo>
                      <a:pt x="0" y="981"/>
                    </a:lnTo>
                    <a:lnTo>
                      <a:pt x="565" y="0"/>
                    </a:lnTo>
                    <a:lnTo>
                      <a:pt x="565" y="0"/>
                    </a:lnTo>
                    <a:lnTo>
                      <a:pt x="565" y="0"/>
                    </a:lnTo>
                    <a:lnTo>
                      <a:pt x="660" y="963"/>
                    </a:lnTo>
                    <a:lnTo>
                      <a:pt x="660" y="963"/>
                    </a:lnTo>
                    <a:lnTo>
                      <a:pt x="660" y="964"/>
                    </a:lnTo>
                    <a:lnTo>
                      <a:pt x="660" y="964"/>
                    </a:lnTo>
                    <a:lnTo>
                      <a:pt x="0"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3" name="Freeform 415"/>
              <p:cNvSpPr>
                <a:spLocks/>
              </p:cNvSpPr>
              <p:nvPr/>
            </p:nvSpPr>
            <p:spPr bwMode="auto">
              <a:xfrm>
                <a:off x="-9488488" y="2682875"/>
                <a:ext cx="2227263" cy="1554163"/>
              </a:xfrm>
              <a:custGeom>
                <a:avLst/>
                <a:gdLst>
                  <a:gd name="T0" fmla="*/ 1744 w 2922"/>
                  <a:gd name="T1" fmla="*/ 2041 h 2041"/>
                  <a:gd name="T2" fmla="*/ 0 w 2922"/>
                  <a:gd name="T3" fmla="*/ 695 h 2041"/>
                  <a:gd name="T4" fmla="*/ 2922 w 2922"/>
                  <a:gd name="T5" fmla="*/ 0 h 2041"/>
                  <a:gd name="T6" fmla="*/ 1743 w 2922"/>
                  <a:gd name="T7" fmla="*/ 2041 h 2041"/>
                </a:gdLst>
                <a:ahLst/>
                <a:cxnLst>
                  <a:cxn ang="0">
                    <a:pos x="T0" y="T1"/>
                  </a:cxn>
                  <a:cxn ang="0">
                    <a:pos x="T2" y="T3"/>
                  </a:cxn>
                  <a:cxn ang="0">
                    <a:pos x="T4" y="T5"/>
                  </a:cxn>
                  <a:cxn ang="0">
                    <a:pos x="T6" y="T7"/>
                  </a:cxn>
                </a:cxnLst>
                <a:rect l="0" t="0" r="r" b="b"/>
                <a:pathLst>
                  <a:path w="2922" h="2041">
                    <a:moveTo>
                      <a:pt x="1744" y="2041"/>
                    </a:moveTo>
                    <a:lnTo>
                      <a:pt x="0" y="695"/>
                    </a:lnTo>
                    <a:lnTo>
                      <a:pt x="2922" y="0"/>
                    </a:lnTo>
                    <a:lnTo>
                      <a:pt x="1743" y="204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4" name="Freeform 416"/>
              <p:cNvSpPr>
                <a:spLocks/>
              </p:cNvSpPr>
              <p:nvPr/>
            </p:nvSpPr>
            <p:spPr bwMode="auto">
              <a:xfrm>
                <a:off x="-8159750" y="2682875"/>
                <a:ext cx="898525" cy="1554163"/>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5" name="Freeform 417"/>
              <p:cNvSpPr>
                <a:spLocks/>
              </p:cNvSpPr>
              <p:nvPr/>
            </p:nvSpPr>
            <p:spPr bwMode="auto">
              <a:xfrm>
                <a:off x="-9488488" y="2682875"/>
                <a:ext cx="2227263" cy="528638"/>
              </a:xfrm>
              <a:custGeom>
                <a:avLst/>
                <a:gdLst>
                  <a:gd name="T0" fmla="*/ 0 w 1403"/>
                  <a:gd name="T1" fmla="*/ 333 h 333"/>
                  <a:gd name="T2" fmla="*/ 0 w 1403"/>
                  <a:gd name="T3" fmla="*/ 333 h 333"/>
                  <a:gd name="T4" fmla="*/ 1403 w 1403"/>
                  <a:gd name="T5" fmla="*/ 0 h 333"/>
                  <a:gd name="T6" fmla="*/ 1403 w 1403"/>
                  <a:gd name="T7" fmla="*/ 0 h 333"/>
                  <a:gd name="T8" fmla="*/ 0 w 1403"/>
                  <a:gd name="T9" fmla="*/ 333 h 333"/>
                </a:gdLst>
                <a:ahLst/>
                <a:cxnLst>
                  <a:cxn ang="0">
                    <a:pos x="T0" y="T1"/>
                  </a:cxn>
                  <a:cxn ang="0">
                    <a:pos x="T2" y="T3"/>
                  </a:cxn>
                  <a:cxn ang="0">
                    <a:pos x="T4" y="T5"/>
                  </a:cxn>
                  <a:cxn ang="0">
                    <a:pos x="T6" y="T7"/>
                  </a:cxn>
                  <a:cxn ang="0">
                    <a:pos x="T8" y="T9"/>
                  </a:cxn>
                </a:cxnLst>
                <a:rect l="0" t="0" r="r" b="b"/>
                <a:pathLst>
                  <a:path w="1403" h="333">
                    <a:moveTo>
                      <a:pt x="0" y="333"/>
                    </a:moveTo>
                    <a:lnTo>
                      <a:pt x="0" y="333"/>
                    </a:lnTo>
                    <a:lnTo>
                      <a:pt x="1403" y="0"/>
                    </a:lnTo>
                    <a:lnTo>
                      <a:pt x="1403" y="0"/>
                    </a:lnTo>
                    <a:lnTo>
                      <a:pt x="0" y="3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6" name="Freeform 418"/>
              <p:cNvSpPr>
                <a:spLocks noEditPoints="1"/>
              </p:cNvSpPr>
              <p:nvPr/>
            </p:nvSpPr>
            <p:spPr bwMode="auto">
              <a:xfrm>
                <a:off x="-6213475" y="1125537"/>
                <a:ext cx="1800225" cy="1987550"/>
              </a:xfrm>
              <a:custGeom>
                <a:avLst/>
                <a:gdLst>
                  <a:gd name="T0" fmla="*/ 2364 w 2364"/>
                  <a:gd name="T1" fmla="*/ 2608 h 2608"/>
                  <a:gd name="T2" fmla="*/ 0 w 2364"/>
                  <a:gd name="T3" fmla="*/ 2007 h 2608"/>
                  <a:gd name="T4" fmla="*/ 0 w 2364"/>
                  <a:gd name="T5" fmla="*/ 2006 h 2608"/>
                  <a:gd name="T6" fmla="*/ 0 w 2364"/>
                  <a:gd name="T7" fmla="*/ 2006 h 2608"/>
                  <a:gd name="T8" fmla="*/ 0 w 2364"/>
                  <a:gd name="T9" fmla="*/ 2006 h 2608"/>
                  <a:gd name="T10" fmla="*/ 2161 w 2364"/>
                  <a:gd name="T11" fmla="*/ 0 h 2608"/>
                  <a:gd name="T12" fmla="*/ 2364 w 2364"/>
                  <a:gd name="T13" fmla="*/ 2608 h 2608"/>
                  <a:gd name="T14" fmla="*/ 2161 w 2364"/>
                  <a:gd name="T15" fmla="*/ 0 h 2608"/>
                  <a:gd name="T16" fmla="*/ 2161 w 2364"/>
                  <a:gd name="T17" fmla="*/ 0 h 2608"/>
                  <a:gd name="T18" fmla="*/ 2161 w 2364"/>
                  <a:gd name="T19" fmla="*/ 0 h 2608"/>
                  <a:gd name="T20" fmla="*/ 2161 w 2364"/>
                  <a:gd name="T21" fmla="*/ 0 h 2608"/>
                  <a:gd name="T22" fmla="*/ 2161 w 2364"/>
                  <a:gd name="T23" fmla="*/ 0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64" h="2608">
                    <a:moveTo>
                      <a:pt x="2364" y="2608"/>
                    </a:moveTo>
                    <a:lnTo>
                      <a:pt x="0" y="2007"/>
                    </a:lnTo>
                    <a:lnTo>
                      <a:pt x="0" y="2006"/>
                    </a:lnTo>
                    <a:lnTo>
                      <a:pt x="0" y="2006"/>
                    </a:lnTo>
                    <a:lnTo>
                      <a:pt x="0" y="2006"/>
                    </a:lnTo>
                    <a:lnTo>
                      <a:pt x="2161" y="0"/>
                    </a:lnTo>
                    <a:lnTo>
                      <a:pt x="2364" y="2608"/>
                    </a:lnTo>
                    <a:moveTo>
                      <a:pt x="2161" y="0"/>
                    </a:moveTo>
                    <a:lnTo>
                      <a:pt x="2161" y="0"/>
                    </a:lnTo>
                    <a:lnTo>
                      <a:pt x="2161" y="0"/>
                    </a:lnTo>
                    <a:lnTo>
                      <a:pt x="2161" y="0"/>
                    </a:lnTo>
                    <a:lnTo>
                      <a:pt x="2161" y="0"/>
                    </a:lnTo>
                  </a:path>
                </a:pathLst>
              </a:custGeom>
              <a:solidFill>
                <a:srgbClr val="59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7" name="Rectangle 419"/>
              <p:cNvSpPr>
                <a:spLocks noChangeArrowheads="1"/>
              </p:cNvSpPr>
              <p:nvPr/>
            </p:nvSpPr>
            <p:spPr bwMode="auto">
              <a:xfrm>
                <a:off x="-6213475" y="2654300"/>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8" name="Freeform 420"/>
              <p:cNvSpPr>
                <a:spLocks/>
              </p:cNvSpPr>
              <p:nvPr/>
            </p:nvSpPr>
            <p:spPr bwMode="auto">
              <a:xfrm>
                <a:off x="-5526088" y="160337"/>
                <a:ext cx="2544763" cy="965200"/>
              </a:xfrm>
              <a:custGeom>
                <a:avLst/>
                <a:gdLst>
                  <a:gd name="T0" fmla="*/ 604 w 1603"/>
                  <a:gd name="T1" fmla="*/ 608 h 608"/>
                  <a:gd name="T2" fmla="*/ 62 w 1603"/>
                  <a:gd name="T3" fmla="*/ 344 h 608"/>
                  <a:gd name="T4" fmla="*/ 0 w 1603"/>
                  <a:gd name="T5" fmla="*/ 313 h 608"/>
                  <a:gd name="T6" fmla="*/ 0 w 1603"/>
                  <a:gd name="T7" fmla="*/ 313 h 608"/>
                  <a:gd name="T8" fmla="*/ 1603 w 1603"/>
                  <a:gd name="T9" fmla="*/ 0 h 608"/>
                  <a:gd name="T10" fmla="*/ 1508 w 1603"/>
                  <a:gd name="T11" fmla="*/ 57 h 608"/>
                  <a:gd name="T12" fmla="*/ 604 w 1603"/>
                  <a:gd name="T13" fmla="*/ 608 h 608"/>
                </a:gdLst>
                <a:ahLst/>
                <a:cxnLst>
                  <a:cxn ang="0">
                    <a:pos x="T0" y="T1"/>
                  </a:cxn>
                  <a:cxn ang="0">
                    <a:pos x="T2" y="T3"/>
                  </a:cxn>
                  <a:cxn ang="0">
                    <a:pos x="T4" y="T5"/>
                  </a:cxn>
                  <a:cxn ang="0">
                    <a:pos x="T6" y="T7"/>
                  </a:cxn>
                  <a:cxn ang="0">
                    <a:pos x="T8" y="T9"/>
                  </a:cxn>
                  <a:cxn ang="0">
                    <a:pos x="T10" y="T11"/>
                  </a:cxn>
                  <a:cxn ang="0">
                    <a:pos x="T12" y="T13"/>
                  </a:cxn>
                </a:cxnLst>
                <a:rect l="0" t="0" r="r" b="b"/>
                <a:pathLst>
                  <a:path w="1603" h="608">
                    <a:moveTo>
                      <a:pt x="604" y="608"/>
                    </a:moveTo>
                    <a:lnTo>
                      <a:pt x="62" y="344"/>
                    </a:lnTo>
                    <a:lnTo>
                      <a:pt x="0" y="313"/>
                    </a:lnTo>
                    <a:lnTo>
                      <a:pt x="0" y="313"/>
                    </a:lnTo>
                    <a:lnTo>
                      <a:pt x="1603" y="0"/>
                    </a:lnTo>
                    <a:lnTo>
                      <a:pt x="1508" y="57"/>
                    </a:lnTo>
                    <a:lnTo>
                      <a:pt x="604" y="608"/>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29" name="Freeform 421"/>
              <p:cNvSpPr>
                <a:spLocks/>
              </p:cNvSpPr>
              <p:nvPr/>
            </p:nvSpPr>
            <p:spPr bwMode="auto">
              <a:xfrm>
                <a:off x="-5526088" y="65722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89C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0" name="Freeform 422"/>
              <p:cNvSpPr>
                <a:spLocks/>
              </p:cNvSpPr>
              <p:nvPr/>
            </p:nvSpPr>
            <p:spPr bwMode="auto">
              <a:xfrm>
                <a:off x="-4567238" y="1125537"/>
                <a:ext cx="1795463" cy="1987550"/>
              </a:xfrm>
              <a:custGeom>
                <a:avLst/>
                <a:gdLst>
                  <a:gd name="T0" fmla="*/ 97 w 1131"/>
                  <a:gd name="T1" fmla="*/ 1252 h 1252"/>
                  <a:gd name="T2" fmla="*/ 97 w 1131"/>
                  <a:gd name="T3" fmla="*/ 1252 h 1252"/>
                  <a:gd name="T4" fmla="*/ 0 w 1131"/>
                  <a:gd name="T5" fmla="*/ 0 h 1252"/>
                  <a:gd name="T6" fmla="*/ 0 w 1131"/>
                  <a:gd name="T7" fmla="*/ 0 h 1252"/>
                  <a:gd name="T8" fmla="*/ 1131 w 1131"/>
                  <a:gd name="T9" fmla="*/ 0 h 1252"/>
                  <a:gd name="T10" fmla="*/ 97 w 1131"/>
                  <a:gd name="T11" fmla="*/ 1252 h 1252"/>
                  <a:gd name="T12" fmla="*/ 97 w 1131"/>
                  <a:gd name="T13" fmla="*/ 1252 h 1252"/>
                  <a:gd name="T14" fmla="*/ 97 w 1131"/>
                  <a:gd name="T15" fmla="*/ 1252 h 1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1252">
                    <a:moveTo>
                      <a:pt x="97" y="1252"/>
                    </a:moveTo>
                    <a:lnTo>
                      <a:pt x="97" y="1252"/>
                    </a:lnTo>
                    <a:lnTo>
                      <a:pt x="0" y="0"/>
                    </a:lnTo>
                    <a:lnTo>
                      <a:pt x="0" y="0"/>
                    </a:lnTo>
                    <a:lnTo>
                      <a:pt x="1131" y="0"/>
                    </a:lnTo>
                    <a:lnTo>
                      <a:pt x="97" y="1252"/>
                    </a:lnTo>
                    <a:lnTo>
                      <a:pt x="97" y="1252"/>
                    </a:lnTo>
                    <a:lnTo>
                      <a:pt x="97" y="1252"/>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1" name="Freeform 423"/>
              <p:cNvSpPr>
                <a:spLocks/>
              </p:cNvSpPr>
              <p:nvPr/>
            </p:nvSpPr>
            <p:spPr bwMode="auto">
              <a:xfrm>
                <a:off x="-4567238" y="1125537"/>
                <a:ext cx="153988" cy="1987550"/>
              </a:xfrm>
              <a:custGeom>
                <a:avLst/>
                <a:gdLst>
                  <a:gd name="T0" fmla="*/ 97 w 97"/>
                  <a:gd name="T1" fmla="*/ 1252 h 1252"/>
                  <a:gd name="T2" fmla="*/ 97 w 97"/>
                  <a:gd name="T3" fmla="*/ 1252 h 1252"/>
                  <a:gd name="T4" fmla="*/ 0 w 97"/>
                  <a:gd name="T5" fmla="*/ 0 h 1252"/>
                  <a:gd name="T6" fmla="*/ 0 w 97"/>
                  <a:gd name="T7" fmla="*/ 0 h 1252"/>
                  <a:gd name="T8" fmla="*/ 97 w 97"/>
                  <a:gd name="T9" fmla="*/ 1252 h 1252"/>
                </a:gdLst>
                <a:ahLst/>
                <a:cxnLst>
                  <a:cxn ang="0">
                    <a:pos x="T0" y="T1"/>
                  </a:cxn>
                  <a:cxn ang="0">
                    <a:pos x="T2" y="T3"/>
                  </a:cxn>
                  <a:cxn ang="0">
                    <a:pos x="T4" y="T5"/>
                  </a:cxn>
                  <a:cxn ang="0">
                    <a:pos x="T6" y="T7"/>
                  </a:cxn>
                  <a:cxn ang="0">
                    <a:pos x="T8" y="T9"/>
                  </a:cxn>
                </a:cxnLst>
                <a:rect l="0" t="0" r="r" b="b"/>
                <a:pathLst>
                  <a:path w="97" h="1252">
                    <a:moveTo>
                      <a:pt x="97" y="1252"/>
                    </a:moveTo>
                    <a:lnTo>
                      <a:pt x="97" y="1252"/>
                    </a:lnTo>
                    <a:lnTo>
                      <a:pt x="0" y="0"/>
                    </a:lnTo>
                    <a:lnTo>
                      <a:pt x="0" y="0"/>
                    </a:lnTo>
                    <a:lnTo>
                      <a:pt x="97" y="1252"/>
                    </a:lnTo>
                    <a:close/>
                  </a:path>
                </a:pathLst>
              </a:custGeom>
              <a:solidFill>
                <a:srgbClr val="5BA2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2" name="Freeform 424"/>
              <p:cNvSpPr>
                <a:spLocks noEditPoints="1"/>
              </p:cNvSpPr>
              <p:nvPr/>
            </p:nvSpPr>
            <p:spPr bwMode="auto">
              <a:xfrm>
                <a:off x="-6364288" y="657225"/>
                <a:ext cx="1797050" cy="468313"/>
              </a:xfrm>
              <a:custGeom>
                <a:avLst/>
                <a:gdLst>
                  <a:gd name="T0" fmla="*/ 0 w 2357"/>
                  <a:gd name="T1" fmla="*/ 615 h 615"/>
                  <a:gd name="T2" fmla="*/ 0 w 2357"/>
                  <a:gd name="T3" fmla="*/ 615 h 615"/>
                  <a:gd name="T4" fmla="*/ 0 w 2357"/>
                  <a:gd name="T5" fmla="*/ 615 h 615"/>
                  <a:gd name="T6" fmla="*/ 0 w 2357"/>
                  <a:gd name="T7" fmla="*/ 615 h 615"/>
                  <a:gd name="T8" fmla="*/ 0 w 2357"/>
                  <a:gd name="T9" fmla="*/ 615 h 615"/>
                  <a:gd name="T10" fmla="*/ 2357 w 2357"/>
                  <a:gd name="T11" fmla="*/ 615 h 615"/>
                  <a:gd name="T12" fmla="*/ 0 w 2357"/>
                  <a:gd name="T13" fmla="*/ 615 h 615"/>
                  <a:gd name="T14" fmla="*/ 833 w 2357"/>
                  <a:gd name="T15" fmla="*/ 149 h 615"/>
                  <a:gd name="T16" fmla="*/ 1099 w 2357"/>
                  <a:gd name="T17" fmla="*/ 0 h 615"/>
                  <a:gd name="T18" fmla="*/ 1228 w 2357"/>
                  <a:gd name="T19" fmla="*/ 64 h 615"/>
                  <a:gd name="T20" fmla="*/ 2357 w 2357"/>
                  <a:gd name="T21" fmla="*/ 615 h 615"/>
                  <a:gd name="T22" fmla="*/ 2357 w 2357"/>
                  <a:gd name="T23"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7" h="615">
                    <a:moveTo>
                      <a:pt x="0" y="615"/>
                    </a:moveTo>
                    <a:lnTo>
                      <a:pt x="0" y="615"/>
                    </a:lnTo>
                    <a:lnTo>
                      <a:pt x="0" y="615"/>
                    </a:lnTo>
                    <a:lnTo>
                      <a:pt x="0" y="615"/>
                    </a:lnTo>
                    <a:lnTo>
                      <a:pt x="0" y="615"/>
                    </a:lnTo>
                    <a:moveTo>
                      <a:pt x="2357" y="615"/>
                    </a:moveTo>
                    <a:lnTo>
                      <a:pt x="0" y="615"/>
                    </a:lnTo>
                    <a:lnTo>
                      <a:pt x="833" y="149"/>
                    </a:lnTo>
                    <a:lnTo>
                      <a:pt x="1099" y="0"/>
                    </a:lnTo>
                    <a:lnTo>
                      <a:pt x="1228" y="64"/>
                    </a:lnTo>
                    <a:lnTo>
                      <a:pt x="2357" y="615"/>
                    </a:lnTo>
                    <a:lnTo>
                      <a:pt x="2357" y="615"/>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3" name="Freeform 425"/>
              <p:cNvSpPr>
                <a:spLocks/>
              </p:cNvSpPr>
              <p:nvPr/>
            </p:nvSpPr>
            <p:spPr bwMode="auto">
              <a:xfrm>
                <a:off x="-5729288" y="657225"/>
                <a:ext cx="203200" cy="114300"/>
              </a:xfrm>
              <a:custGeom>
                <a:avLst/>
                <a:gdLst>
                  <a:gd name="T0" fmla="*/ 0 w 128"/>
                  <a:gd name="T1" fmla="*/ 72 h 72"/>
                  <a:gd name="T2" fmla="*/ 128 w 128"/>
                  <a:gd name="T3" fmla="*/ 0 h 72"/>
                  <a:gd name="T4" fmla="*/ 128 w 128"/>
                  <a:gd name="T5" fmla="*/ 0 h 72"/>
                  <a:gd name="T6" fmla="*/ 0 w 128"/>
                  <a:gd name="T7" fmla="*/ 72 h 72"/>
                </a:gdLst>
                <a:ahLst/>
                <a:cxnLst>
                  <a:cxn ang="0">
                    <a:pos x="T0" y="T1"/>
                  </a:cxn>
                  <a:cxn ang="0">
                    <a:pos x="T2" y="T3"/>
                  </a:cxn>
                  <a:cxn ang="0">
                    <a:pos x="T4" y="T5"/>
                  </a:cxn>
                  <a:cxn ang="0">
                    <a:pos x="T6" y="T7"/>
                  </a:cxn>
                </a:cxnLst>
                <a:rect l="0" t="0" r="r" b="b"/>
                <a:pathLst>
                  <a:path w="128" h="72">
                    <a:moveTo>
                      <a:pt x="0" y="72"/>
                    </a:moveTo>
                    <a:lnTo>
                      <a:pt x="128" y="0"/>
                    </a:lnTo>
                    <a:lnTo>
                      <a:pt x="128" y="0"/>
                    </a:lnTo>
                    <a:lnTo>
                      <a:pt x="0" y="72"/>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4" name="Freeform 426"/>
              <p:cNvSpPr>
                <a:spLocks/>
              </p:cNvSpPr>
              <p:nvPr/>
            </p:nvSpPr>
            <p:spPr bwMode="auto">
              <a:xfrm>
                <a:off x="-5526088" y="657225"/>
                <a:ext cx="98425" cy="49213"/>
              </a:xfrm>
              <a:custGeom>
                <a:avLst/>
                <a:gdLst>
                  <a:gd name="T0" fmla="*/ 62 w 62"/>
                  <a:gd name="T1" fmla="*/ 31 h 31"/>
                  <a:gd name="T2" fmla="*/ 0 w 62"/>
                  <a:gd name="T3" fmla="*/ 0 h 31"/>
                  <a:gd name="T4" fmla="*/ 0 w 62"/>
                  <a:gd name="T5" fmla="*/ 0 h 31"/>
                  <a:gd name="T6" fmla="*/ 62 w 62"/>
                  <a:gd name="T7" fmla="*/ 31 h 31"/>
                </a:gdLst>
                <a:ahLst/>
                <a:cxnLst>
                  <a:cxn ang="0">
                    <a:pos x="T0" y="T1"/>
                  </a:cxn>
                  <a:cxn ang="0">
                    <a:pos x="T2" y="T3"/>
                  </a:cxn>
                  <a:cxn ang="0">
                    <a:pos x="T4" y="T5"/>
                  </a:cxn>
                  <a:cxn ang="0">
                    <a:pos x="T6" y="T7"/>
                  </a:cxn>
                </a:cxnLst>
                <a:rect l="0" t="0" r="r" b="b"/>
                <a:pathLst>
                  <a:path w="62" h="31">
                    <a:moveTo>
                      <a:pt x="62" y="31"/>
                    </a:moveTo>
                    <a:lnTo>
                      <a:pt x="0" y="0"/>
                    </a:lnTo>
                    <a:lnTo>
                      <a:pt x="0" y="0"/>
                    </a:lnTo>
                    <a:lnTo>
                      <a:pt x="62" y="31"/>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5" name="Rectangle 427"/>
              <p:cNvSpPr>
                <a:spLocks noChangeArrowheads="1"/>
              </p:cNvSpPr>
              <p:nvPr/>
            </p:nvSpPr>
            <p:spPr bwMode="auto">
              <a:xfrm>
                <a:off x="-5526088" y="657225"/>
                <a:ext cx="1588" cy="1588"/>
              </a:xfrm>
              <a:prstGeom prst="rect">
                <a:avLst/>
              </a:prstGeom>
              <a:solidFill>
                <a:srgbClr val="589CBB"/>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6" name="Freeform 428"/>
              <p:cNvSpPr>
                <a:spLocks/>
              </p:cNvSpPr>
              <p:nvPr/>
            </p:nvSpPr>
            <p:spPr bwMode="auto">
              <a:xfrm>
                <a:off x="-4567238" y="160337"/>
                <a:ext cx="1795463" cy="965200"/>
              </a:xfrm>
              <a:custGeom>
                <a:avLst/>
                <a:gdLst>
                  <a:gd name="T0" fmla="*/ 0 w 1131"/>
                  <a:gd name="T1" fmla="*/ 608 h 608"/>
                  <a:gd name="T2" fmla="*/ 0 w 1131"/>
                  <a:gd name="T3" fmla="*/ 608 h 608"/>
                  <a:gd name="T4" fmla="*/ 904 w 1131"/>
                  <a:gd name="T5" fmla="*/ 57 h 608"/>
                  <a:gd name="T6" fmla="*/ 999 w 1131"/>
                  <a:gd name="T7" fmla="*/ 0 h 608"/>
                  <a:gd name="T8" fmla="*/ 999 w 1131"/>
                  <a:gd name="T9" fmla="*/ 0 h 608"/>
                  <a:gd name="T10" fmla="*/ 1077 w 1131"/>
                  <a:gd name="T11" fmla="*/ 359 h 608"/>
                  <a:gd name="T12" fmla="*/ 1131 w 1131"/>
                  <a:gd name="T13" fmla="*/ 608 h 608"/>
                  <a:gd name="T14" fmla="*/ 0 w 1131"/>
                  <a:gd name="T15" fmla="*/ 608 h 6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608">
                    <a:moveTo>
                      <a:pt x="0" y="608"/>
                    </a:moveTo>
                    <a:lnTo>
                      <a:pt x="0" y="608"/>
                    </a:lnTo>
                    <a:lnTo>
                      <a:pt x="904" y="57"/>
                    </a:lnTo>
                    <a:lnTo>
                      <a:pt x="999" y="0"/>
                    </a:lnTo>
                    <a:lnTo>
                      <a:pt x="999" y="0"/>
                    </a:lnTo>
                    <a:lnTo>
                      <a:pt x="1077" y="359"/>
                    </a:lnTo>
                    <a:lnTo>
                      <a:pt x="1131" y="608"/>
                    </a:lnTo>
                    <a:lnTo>
                      <a:pt x="0" y="608"/>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7" name="Freeform 429"/>
              <p:cNvSpPr>
                <a:spLocks/>
              </p:cNvSpPr>
              <p:nvPr/>
            </p:nvSpPr>
            <p:spPr bwMode="auto">
              <a:xfrm>
                <a:off x="-3132138" y="160337"/>
                <a:ext cx="150813" cy="90488"/>
              </a:xfrm>
              <a:custGeom>
                <a:avLst/>
                <a:gdLst>
                  <a:gd name="T0" fmla="*/ 0 w 95"/>
                  <a:gd name="T1" fmla="*/ 57 h 57"/>
                  <a:gd name="T2" fmla="*/ 95 w 95"/>
                  <a:gd name="T3" fmla="*/ 0 h 57"/>
                  <a:gd name="T4" fmla="*/ 95 w 95"/>
                  <a:gd name="T5" fmla="*/ 0 h 57"/>
                  <a:gd name="T6" fmla="*/ 0 w 95"/>
                  <a:gd name="T7" fmla="*/ 57 h 57"/>
                </a:gdLst>
                <a:ahLst/>
                <a:cxnLst>
                  <a:cxn ang="0">
                    <a:pos x="T0" y="T1"/>
                  </a:cxn>
                  <a:cxn ang="0">
                    <a:pos x="T2" y="T3"/>
                  </a:cxn>
                  <a:cxn ang="0">
                    <a:pos x="T4" y="T5"/>
                  </a:cxn>
                  <a:cxn ang="0">
                    <a:pos x="T6" y="T7"/>
                  </a:cxn>
                </a:cxnLst>
                <a:rect l="0" t="0" r="r" b="b"/>
                <a:pathLst>
                  <a:path w="95" h="57">
                    <a:moveTo>
                      <a:pt x="0" y="57"/>
                    </a:moveTo>
                    <a:lnTo>
                      <a:pt x="95" y="0"/>
                    </a:lnTo>
                    <a:lnTo>
                      <a:pt x="95" y="0"/>
                    </a:lnTo>
                    <a:lnTo>
                      <a:pt x="0" y="5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8" name="Freeform 430"/>
              <p:cNvSpPr>
                <a:spLocks noEditPoints="1"/>
              </p:cNvSpPr>
              <p:nvPr/>
            </p:nvSpPr>
            <p:spPr bwMode="auto">
              <a:xfrm>
                <a:off x="-6364288" y="1125537"/>
                <a:ext cx="1797050" cy="1528763"/>
              </a:xfrm>
              <a:custGeom>
                <a:avLst/>
                <a:gdLst>
                  <a:gd name="T0" fmla="*/ 196 w 2357"/>
                  <a:gd name="T1" fmla="*/ 2006 h 2006"/>
                  <a:gd name="T2" fmla="*/ 0 w 2357"/>
                  <a:gd name="T3" fmla="*/ 0 h 2006"/>
                  <a:gd name="T4" fmla="*/ 2357 w 2357"/>
                  <a:gd name="T5" fmla="*/ 0 h 2006"/>
                  <a:gd name="T6" fmla="*/ 196 w 2357"/>
                  <a:gd name="T7" fmla="*/ 2006 h 2006"/>
                  <a:gd name="T8" fmla="*/ 2357 w 2357"/>
                  <a:gd name="T9" fmla="*/ 0 h 2006"/>
                  <a:gd name="T10" fmla="*/ 2357 w 2357"/>
                  <a:gd name="T11" fmla="*/ 0 h 2006"/>
                  <a:gd name="T12" fmla="*/ 2357 w 2357"/>
                  <a:gd name="T13" fmla="*/ 0 h 2006"/>
                  <a:gd name="T14" fmla="*/ 0 w 2357"/>
                  <a:gd name="T15" fmla="*/ 0 h 2006"/>
                  <a:gd name="T16" fmla="*/ 0 w 2357"/>
                  <a:gd name="T17" fmla="*/ 0 h 2006"/>
                  <a:gd name="T18" fmla="*/ 0 w 2357"/>
                  <a:gd name="T19" fmla="*/ 0 h 2006"/>
                  <a:gd name="T20" fmla="*/ 0 w 2357"/>
                  <a:gd name="T21" fmla="*/ 0 h 2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7" h="2006">
                    <a:moveTo>
                      <a:pt x="196" y="2006"/>
                    </a:moveTo>
                    <a:lnTo>
                      <a:pt x="0" y="0"/>
                    </a:lnTo>
                    <a:lnTo>
                      <a:pt x="2357" y="0"/>
                    </a:lnTo>
                    <a:lnTo>
                      <a:pt x="196" y="2006"/>
                    </a:lnTo>
                    <a:moveTo>
                      <a:pt x="2357" y="0"/>
                    </a:moveTo>
                    <a:lnTo>
                      <a:pt x="2357" y="0"/>
                    </a:lnTo>
                    <a:lnTo>
                      <a:pt x="2357" y="0"/>
                    </a:lnTo>
                    <a:moveTo>
                      <a:pt x="0" y="0"/>
                    </a:moveTo>
                    <a:lnTo>
                      <a:pt x="0" y="0"/>
                    </a:lnTo>
                    <a:lnTo>
                      <a:pt x="0" y="0"/>
                    </a:ln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39" name="Freeform 431"/>
              <p:cNvSpPr>
                <a:spLocks/>
              </p:cNvSpPr>
              <p:nvPr/>
            </p:nvSpPr>
            <p:spPr bwMode="auto">
              <a:xfrm>
                <a:off x="-6213475" y="1125537"/>
                <a:ext cx="1646238" cy="1528763"/>
              </a:xfrm>
              <a:custGeom>
                <a:avLst/>
                <a:gdLst>
                  <a:gd name="T0" fmla="*/ 0 w 1037"/>
                  <a:gd name="T1" fmla="*/ 963 h 963"/>
                  <a:gd name="T2" fmla="*/ 0 w 1037"/>
                  <a:gd name="T3" fmla="*/ 963 h 963"/>
                  <a:gd name="T4" fmla="*/ 1037 w 1037"/>
                  <a:gd name="T5" fmla="*/ 0 h 963"/>
                  <a:gd name="T6" fmla="*/ 1037 w 1037"/>
                  <a:gd name="T7" fmla="*/ 0 h 963"/>
                  <a:gd name="T8" fmla="*/ 1037 w 1037"/>
                  <a:gd name="T9" fmla="*/ 0 h 963"/>
                  <a:gd name="T10" fmla="*/ 1037 w 1037"/>
                  <a:gd name="T11" fmla="*/ 0 h 963"/>
                  <a:gd name="T12" fmla="*/ 0 w 1037"/>
                  <a:gd name="T13" fmla="*/ 963 h 963"/>
                </a:gdLst>
                <a:ahLst/>
                <a:cxnLst>
                  <a:cxn ang="0">
                    <a:pos x="T0" y="T1"/>
                  </a:cxn>
                  <a:cxn ang="0">
                    <a:pos x="T2" y="T3"/>
                  </a:cxn>
                  <a:cxn ang="0">
                    <a:pos x="T4" y="T5"/>
                  </a:cxn>
                  <a:cxn ang="0">
                    <a:pos x="T6" y="T7"/>
                  </a:cxn>
                  <a:cxn ang="0">
                    <a:pos x="T8" y="T9"/>
                  </a:cxn>
                  <a:cxn ang="0">
                    <a:pos x="T10" y="T11"/>
                  </a:cxn>
                  <a:cxn ang="0">
                    <a:pos x="T12" y="T13"/>
                  </a:cxn>
                </a:cxnLst>
                <a:rect l="0" t="0" r="r" b="b"/>
                <a:pathLst>
                  <a:path w="1037" h="963">
                    <a:moveTo>
                      <a:pt x="0" y="963"/>
                    </a:moveTo>
                    <a:lnTo>
                      <a:pt x="0" y="963"/>
                    </a:lnTo>
                    <a:lnTo>
                      <a:pt x="1037" y="0"/>
                    </a:lnTo>
                    <a:lnTo>
                      <a:pt x="1037" y="0"/>
                    </a:lnTo>
                    <a:lnTo>
                      <a:pt x="1037" y="0"/>
                    </a:lnTo>
                    <a:lnTo>
                      <a:pt x="1037" y="0"/>
                    </a:lnTo>
                    <a:lnTo>
                      <a:pt x="0" y="963"/>
                    </a:lnTo>
                    <a:close/>
                  </a:path>
                </a:pathLst>
              </a:custGeom>
              <a:solidFill>
                <a:srgbClr val="5AA1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0" name="Freeform 432"/>
              <p:cNvSpPr>
                <a:spLocks noEditPoints="1"/>
              </p:cNvSpPr>
              <p:nvPr/>
            </p:nvSpPr>
            <p:spPr bwMode="auto">
              <a:xfrm>
                <a:off x="-8323263" y="5514975"/>
                <a:ext cx="1782763" cy="2144713"/>
              </a:xfrm>
              <a:custGeom>
                <a:avLst/>
                <a:gdLst>
                  <a:gd name="T0" fmla="*/ 893 w 2339"/>
                  <a:gd name="T1" fmla="*/ 2815 h 2815"/>
                  <a:gd name="T2" fmla="*/ 0 w 2339"/>
                  <a:gd name="T3" fmla="*/ 2815 h 2815"/>
                  <a:gd name="T4" fmla="*/ 290 w 2339"/>
                  <a:gd name="T5" fmla="*/ 1 h 2815"/>
                  <a:gd name="T6" fmla="*/ 290 w 2339"/>
                  <a:gd name="T7" fmla="*/ 0 h 2815"/>
                  <a:gd name="T8" fmla="*/ 291 w 2339"/>
                  <a:gd name="T9" fmla="*/ 1 h 2815"/>
                  <a:gd name="T10" fmla="*/ 290 w 2339"/>
                  <a:gd name="T11" fmla="*/ 1 h 2815"/>
                  <a:gd name="T12" fmla="*/ 1731 w 2339"/>
                  <a:gd name="T13" fmla="*/ 1291 h 2815"/>
                  <a:gd name="T14" fmla="*/ 2339 w 2339"/>
                  <a:gd name="T15" fmla="*/ 1834 h 2815"/>
                  <a:gd name="T16" fmla="*/ 893 w 2339"/>
                  <a:gd name="T17" fmla="*/ 2815 h 2815"/>
                  <a:gd name="T18" fmla="*/ 291 w 2339"/>
                  <a:gd name="T19" fmla="*/ 1 h 2815"/>
                  <a:gd name="T20" fmla="*/ 290 w 2339"/>
                  <a:gd name="T21" fmla="*/ 1 h 2815"/>
                  <a:gd name="T22" fmla="*/ 291 w 2339"/>
                  <a:gd name="T23" fmla="*/ 1 h 2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39" h="2815">
                    <a:moveTo>
                      <a:pt x="893" y="2815"/>
                    </a:moveTo>
                    <a:lnTo>
                      <a:pt x="0" y="2815"/>
                    </a:lnTo>
                    <a:lnTo>
                      <a:pt x="290" y="1"/>
                    </a:lnTo>
                    <a:lnTo>
                      <a:pt x="290" y="0"/>
                    </a:lnTo>
                    <a:lnTo>
                      <a:pt x="291" y="1"/>
                    </a:lnTo>
                    <a:lnTo>
                      <a:pt x="290" y="1"/>
                    </a:lnTo>
                    <a:lnTo>
                      <a:pt x="1731" y="1291"/>
                    </a:lnTo>
                    <a:lnTo>
                      <a:pt x="2339" y="1834"/>
                    </a:lnTo>
                    <a:lnTo>
                      <a:pt x="893" y="2815"/>
                    </a:lnTo>
                    <a:moveTo>
                      <a:pt x="291" y="1"/>
                    </a:moveTo>
                    <a:lnTo>
                      <a:pt x="290" y="1"/>
                    </a:lnTo>
                    <a:lnTo>
                      <a:pt x="29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1" name="Freeform 433"/>
              <p:cNvSpPr>
                <a:spLocks/>
              </p:cNvSpPr>
              <p:nvPr/>
            </p:nvSpPr>
            <p:spPr bwMode="auto">
              <a:xfrm>
                <a:off x="-8159750" y="4237037"/>
                <a:ext cx="1141413" cy="1277938"/>
              </a:xfrm>
              <a:custGeom>
                <a:avLst/>
                <a:gdLst>
                  <a:gd name="T0" fmla="*/ 36 w 719"/>
                  <a:gd name="T1" fmla="*/ 805 h 805"/>
                  <a:gd name="T2" fmla="*/ 36 w 719"/>
                  <a:gd name="T3" fmla="*/ 805 h 805"/>
                  <a:gd name="T4" fmla="*/ 32 w 719"/>
                  <a:gd name="T5" fmla="*/ 713 h 805"/>
                  <a:gd name="T6" fmla="*/ 0 w 719"/>
                  <a:gd name="T7" fmla="*/ 1 h 805"/>
                  <a:gd name="T8" fmla="*/ 0 w 719"/>
                  <a:gd name="T9" fmla="*/ 1 h 805"/>
                  <a:gd name="T10" fmla="*/ 0 w 719"/>
                  <a:gd name="T11" fmla="*/ 0 h 805"/>
                  <a:gd name="T12" fmla="*/ 0 w 719"/>
                  <a:gd name="T13" fmla="*/ 0 h 805"/>
                  <a:gd name="T14" fmla="*/ 719 w 719"/>
                  <a:gd name="T15" fmla="*/ 227 h 805"/>
                  <a:gd name="T16" fmla="*/ 36 w 719"/>
                  <a:gd name="T17" fmla="*/ 805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9" h="805">
                    <a:moveTo>
                      <a:pt x="36" y="805"/>
                    </a:moveTo>
                    <a:lnTo>
                      <a:pt x="36" y="805"/>
                    </a:lnTo>
                    <a:lnTo>
                      <a:pt x="32" y="713"/>
                    </a:lnTo>
                    <a:lnTo>
                      <a:pt x="0" y="1"/>
                    </a:lnTo>
                    <a:lnTo>
                      <a:pt x="0" y="1"/>
                    </a:lnTo>
                    <a:lnTo>
                      <a:pt x="0" y="0"/>
                    </a:lnTo>
                    <a:lnTo>
                      <a:pt x="0" y="0"/>
                    </a:lnTo>
                    <a:lnTo>
                      <a:pt x="719" y="227"/>
                    </a:lnTo>
                    <a:lnTo>
                      <a:pt x="36" y="80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2" name="Freeform 434"/>
              <p:cNvSpPr>
                <a:spLocks/>
              </p:cNvSpPr>
              <p:nvPr/>
            </p:nvSpPr>
            <p:spPr bwMode="auto">
              <a:xfrm>
                <a:off x="-8101013" y="5514975"/>
                <a:ext cx="2635250" cy="1397000"/>
              </a:xfrm>
              <a:custGeom>
                <a:avLst/>
                <a:gdLst>
                  <a:gd name="T0" fmla="*/ 983 w 1660"/>
                  <a:gd name="T1" fmla="*/ 880 h 880"/>
                  <a:gd name="T2" fmla="*/ 691 w 1660"/>
                  <a:gd name="T3" fmla="*/ 619 h 880"/>
                  <a:gd name="T4" fmla="*/ 0 w 1660"/>
                  <a:gd name="T5" fmla="*/ 0 h 880"/>
                  <a:gd name="T6" fmla="*/ 1660 w 1660"/>
                  <a:gd name="T7" fmla="*/ 175 h 880"/>
                  <a:gd name="T8" fmla="*/ 1660 w 1660"/>
                  <a:gd name="T9" fmla="*/ 175 h 880"/>
                  <a:gd name="T10" fmla="*/ 1660 w 1660"/>
                  <a:gd name="T11" fmla="*/ 175 h 880"/>
                  <a:gd name="T12" fmla="*/ 1660 w 1660"/>
                  <a:gd name="T13" fmla="*/ 175 h 880"/>
                  <a:gd name="T14" fmla="*/ 983 w 1660"/>
                  <a:gd name="T15" fmla="*/ 880 h 8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0" h="880">
                    <a:moveTo>
                      <a:pt x="983" y="880"/>
                    </a:moveTo>
                    <a:lnTo>
                      <a:pt x="691" y="619"/>
                    </a:lnTo>
                    <a:lnTo>
                      <a:pt x="0" y="0"/>
                    </a:lnTo>
                    <a:lnTo>
                      <a:pt x="1660" y="175"/>
                    </a:lnTo>
                    <a:lnTo>
                      <a:pt x="1660" y="175"/>
                    </a:lnTo>
                    <a:lnTo>
                      <a:pt x="1660" y="175"/>
                    </a:lnTo>
                    <a:lnTo>
                      <a:pt x="1660" y="175"/>
                    </a:lnTo>
                    <a:lnTo>
                      <a:pt x="983" y="8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3" name="Freeform 435"/>
              <p:cNvSpPr>
                <a:spLocks/>
              </p:cNvSpPr>
              <p:nvPr/>
            </p:nvSpPr>
            <p:spPr bwMode="auto">
              <a:xfrm>
                <a:off x="-8102600" y="5514975"/>
                <a:ext cx="1098550" cy="982663"/>
              </a:xfrm>
              <a:custGeom>
                <a:avLst/>
                <a:gdLst>
                  <a:gd name="T0" fmla="*/ 692 w 692"/>
                  <a:gd name="T1" fmla="*/ 619 h 619"/>
                  <a:gd name="T2" fmla="*/ 0 w 692"/>
                  <a:gd name="T3" fmla="*/ 0 h 619"/>
                  <a:gd name="T4" fmla="*/ 1 w 692"/>
                  <a:gd name="T5" fmla="*/ 0 h 619"/>
                  <a:gd name="T6" fmla="*/ 692 w 692"/>
                  <a:gd name="T7" fmla="*/ 619 h 619"/>
                </a:gdLst>
                <a:ahLst/>
                <a:cxnLst>
                  <a:cxn ang="0">
                    <a:pos x="T0" y="T1"/>
                  </a:cxn>
                  <a:cxn ang="0">
                    <a:pos x="T2" y="T3"/>
                  </a:cxn>
                  <a:cxn ang="0">
                    <a:pos x="T4" y="T5"/>
                  </a:cxn>
                  <a:cxn ang="0">
                    <a:pos x="T6" y="T7"/>
                  </a:cxn>
                </a:cxnLst>
                <a:rect l="0" t="0" r="r" b="b"/>
                <a:pathLst>
                  <a:path w="692" h="619">
                    <a:moveTo>
                      <a:pt x="692" y="619"/>
                    </a:moveTo>
                    <a:lnTo>
                      <a:pt x="0" y="0"/>
                    </a:lnTo>
                    <a:lnTo>
                      <a:pt x="1" y="0"/>
                    </a:lnTo>
                    <a:lnTo>
                      <a:pt x="692" y="61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4" name="Freeform 436"/>
              <p:cNvSpPr>
                <a:spLocks noEditPoints="1"/>
              </p:cNvSpPr>
              <p:nvPr/>
            </p:nvSpPr>
            <p:spPr bwMode="auto">
              <a:xfrm>
                <a:off x="-9909175" y="4238625"/>
                <a:ext cx="1806575" cy="2339975"/>
              </a:xfrm>
              <a:custGeom>
                <a:avLst/>
                <a:gdLst>
                  <a:gd name="T0" fmla="*/ 0 w 2371"/>
                  <a:gd name="T1" fmla="*/ 3072 h 3072"/>
                  <a:gd name="T2" fmla="*/ 0 w 2371"/>
                  <a:gd name="T3" fmla="*/ 3072 h 3072"/>
                  <a:gd name="T4" fmla="*/ 0 w 2371"/>
                  <a:gd name="T5" fmla="*/ 3072 h 3072"/>
                  <a:gd name="T6" fmla="*/ 0 w 2371"/>
                  <a:gd name="T7" fmla="*/ 3072 h 3072"/>
                  <a:gd name="T8" fmla="*/ 2296 w 2371"/>
                  <a:gd name="T9" fmla="*/ 0 h 3072"/>
                  <a:gd name="T10" fmla="*/ 2363 w 2371"/>
                  <a:gd name="T11" fmla="*/ 1484 h 3072"/>
                  <a:gd name="T12" fmla="*/ 2371 w 2371"/>
                  <a:gd name="T13" fmla="*/ 1676 h 3072"/>
                  <a:gd name="T14" fmla="*/ 2371 w 2371"/>
                  <a:gd name="T15" fmla="*/ 1676 h 3072"/>
                  <a:gd name="T16" fmla="*/ 0 w 2371"/>
                  <a:gd name="T17" fmla="*/ 3072 h 3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1" h="3072">
                    <a:moveTo>
                      <a:pt x="0" y="3072"/>
                    </a:moveTo>
                    <a:lnTo>
                      <a:pt x="0" y="3072"/>
                    </a:lnTo>
                    <a:lnTo>
                      <a:pt x="0" y="3072"/>
                    </a:lnTo>
                    <a:moveTo>
                      <a:pt x="0" y="3072"/>
                    </a:moveTo>
                    <a:lnTo>
                      <a:pt x="2296" y="0"/>
                    </a:lnTo>
                    <a:lnTo>
                      <a:pt x="2363" y="1484"/>
                    </a:lnTo>
                    <a:lnTo>
                      <a:pt x="2371" y="1676"/>
                    </a:lnTo>
                    <a:lnTo>
                      <a:pt x="2371" y="1676"/>
                    </a:lnTo>
                    <a:lnTo>
                      <a:pt x="0" y="3072"/>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5" name="Freeform 437"/>
              <p:cNvSpPr>
                <a:spLocks/>
              </p:cNvSpPr>
              <p:nvPr/>
            </p:nvSpPr>
            <p:spPr bwMode="auto">
              <a:xfrm>
                <a:off x="-8102600" y="551497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6" name="Freeform 438"/>
              <p:cNvSpPr>
                <a:spLocks/>
              </p:cNvSpPr>
              <p:nvPr/>
            </p:nvSpPr>
            <p:spPr bwMode="auto">
              <a:xfrm>
                <a:off x="-8159750" y="4238625"/>
                <a:ext cx="50800" cy="1130300"/>
              </a:xfrm>
              <a:custGeom>
                <a:avLst/>
                <a:gdLst>
                  <a:gd name="T0" fmla="*/ 32 w 32"/>
                  <a:gd name="T1" fmla="*/ 712 h 712"/>
                  <a:gd name="T2" fmla="*/ 0 w 32"/>
                  <a:gd name="T3" fmla="*/ 0 h 712"/>
                  <a:gd name="T4" fmla="*/ 0 w 32"/>
                  <a:gd name="T5" fmla="*/ 0 h 712"/>
                  <a:gd name="T6" fmla="*/ 32 w 32"/>
                  <a:gd name="T7" fmla="*/ 712 h 712"/>
                </a:gdLst>
                <a:ahLst/>
                <a:cxnLst>
                  <a:cxn ang="0">
                    <a:pos x="T0" y="T1"/>
                  </a:cxn>
                  <a:cxn ang="0">
                    <a:pos x="T2" y="T3"/>
                  </a:cxn>
                  <a:cxn ang="0">
                    <a:pos x="T4" y="T5"/>
                  </a:cxn>
                  <a:cxn ang="0">
                    <a:pos x="T6" y="T7"/>
                  </a:cxn>
                </a:cxnLst>
                <a:rect l="0" t="0" r="r" b="b"/>
                <a:pathLst>
                  <a:path w="32" h="712">
                    <a:moveTo>
                      <a:pt x="32" y="712"/>
                    </a:moveTo>
                    <a:lnTo>
                      <a:pt x="0" y="0"/>
                    </a:lnTo>
                    <a:lnTo>
                      <a:pt x="0" y="0"/>
                    </a:lnTo>
                    <a:lnTo>
                      <a:pt x="32" y="71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7" name="Freeform 439"/>
              <p:cNvSpPr>
                <a:spLocks/>
              </p:cNvSpPr>
              <p:nvPr/>
            </p:nvSpPr>
            <p:spPr bwMode="auto">
              <a:xfrm>
                <a:off x="-8101013" y="4597400"/>
                <a:ext cx="2635250" cy="1195388"/>
              </a:xfrm>
              <a:custGeom>
                <a:avLst/>
                <a:gdLst>
                  <a:gd name="T0" fmla="*/ 1660 w 1660"/>
                  <a:gd name="T1" fmla="*/ 753 h 753"/>
                  <a:gd name="T2" fmla="*/ 0 w 1660"/>
                  <a:gd name="T3" fmla="*/ 578 h 753"/>
                  <a:gd name="T4" fmla="*/ 0 w 1660"/>
                  <a:gd name="T5" fmla="*/ 578 h 753"/>
                  <a:gd name="T6" fmla="*/ 682 w 1660"/>
                  <a:gd name="T7" fmla="*/ 0 h 753"/>
                  <a:gd name="T8" fmla="*/ 1660 w 1660"/>
                  <a:gd name="T9" fmla="*/ 753 h 753"/>
                  <a:gd name="T10" fmla="*/ 1660 w 1660"/>
                  <a:gd name="T11" fmla="*/ 753 h 753"/>
                </a:gdLst>
                <a:ahLst/>
                <a:cxnLst>
                  <a:cxn ang="0">
                    <a:pos x="T0" y="T1"/>
                  </a:cxn>
                  <a:cxn ang="0">
                    <a:pos x="T2" y="T3"/>
                  </a:cxn>
                  <a:cxn ang="0">
                    <a:pos x="T4" y="T5"/>
                  </a:cxn>
                  <a:cxn ang="0">
                    <a:pos x="T6" y="T7"/>
                  </a:cxn>
                  <a:cxn ang="0">
                    <a:pos x="T8" y="T9"/>
                  </a:cxn>
                  <a:cxn ang="0">
                    <a:pos x="T10" y="T11"/>
                  </a:cxn>
                </a:cxnLst>
                <a:rect l="0" t="0" r="r" b="b"/>
                <a:pathLst>
                  <a:path w="1660" h="753">
                    <a:moveTo>
                      <a:pt x="1660" y="753"/>
                    </a:moveTo>
                    <a:lnTo>
                      <a:pt x="0" y="578"/>
                    </a:lnTo>
                    <a:lnTo>
                      <a:pt x="0" y="578"/>
                    </a:lnTo>
                    <a:lnTo>
                      <a:pt x="682" y="0"/>
                    </a:lnTo>
                    <a:lnTo>
                      <a:pt x="1660" y="753"/>
                    </a:lnTo>
                    <a:lnTo>
                      <a:pt x="1660" y="753"/>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8" name="Freeform 440"/>
              <p:cNvSpPr>
                <a:spLocks/>
              </p:cNvSpPr>
              <p:nvPr/>
            </p:nvSpPr>
            <p:spPr bwMode="auto">
              <a:xfrm>
                <a:off x="-8102600" y="5514975"/>
                <a:ext cx="1588"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49" name="Freeform 441"/>
              <p:cNvSpPr>
                <a:spLocks/>
              </p:cNvSpPr>
              <p:nvPr/>
            </p:nvSpPr>
            <p:spPr bwMode="auto">
              <a:xfrm>
                <a:off x="-9909175" y="5514975"/>
                <a:ext cx="1806575" cy="2144713"/>
              </a:xfrm>
              <a:custGeom>
                <a:avLst/>
                <a:gdLst>
                  <a:gd name="T0" fmla="*/ 999 w 1138"/>
                  <a:gd name="T1" fmla="*/ 1351 h 1351"/>
                  <a:gd name="T2" fmla="*/ 662 w 1138"/>
                  <a:gd name="T3" fmla="*/ 1351 h 1351"/>
                  <a:gd name="T4" fmla="*/ 0 w 1138"/>
                  <a:gd name="T5" fmla="*/ 670 h 1351"/>
                  <a:gd name="T6" fmla="*/ 0 w 1138"/>
                  <a:gd name="T7" fmla="*/ 670 h 1351"/>
                  <a:gd name="T8" fmla="*/ 1138 w 1138"/>
                  <a:gd name="T9" fmla="*/ 0 h 1351"/>
                  <a:gd name="T10" fmla="*/ 999 w 1138"/>
                  <a:gd name="T11" fmla="*/ 1351 h 1351"/>
                </a:gdLst>
                <a:ahLst/>
                <a:cxnLst>
                  <a:cxn ang="0">
                    <a:pos x="T0" y="T1"/>
                  </a:cxn>
                  <a:cxn ang="0">
                    <a:pos x="T2" y="T3"/>
                  </a:cxn>
                  <a:cxn ang="0">
                    <a:pos x="T4" y="T5"/>
                  </a:cxn>
                  <a:cxn ang="0">
                    <a:pos x="T6" y="T7"/>
                  </a:cxn>
                  <a:cxn ang="0">
                    <a:pos x="T8" y="T9"/>
                  </a:cxn>
                  <a:cxn ang="0">
                    <a:pos x="T10" y="T11"/>
                  </a:cxn>
                </a:cxnLst>
                <a:rect l="0" t="0" r="r" b="b"/>
                <a:pathLst>
                  <a:path w="1138" h="1351">
                    <a:moveTo>
                      <a:pt x="999" y="1351"/>
                    </a:moveTo>
                    <a:lnTo>
                      <a:pt x="662" y="1351"/>
                    </a:lnTo>
                    <a:lnTo>
                      <a:pt x="0" y="670"/>
                    </a:lnTo>
                    <a:lnTo>
                      <a:pt x="0" y="670"/>
                    </a:lnTo>
                    <a:lnTo>
                      <a:pt x="1138" y="0"/>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0" name="Freeform 442"/>
              <p:cNvSpPr>
                <a:spLocks/>
              </p:cNvSpPr>
              <p:nvPr/>
            </p:nvSpPr>
            <p:spPr bwMode="auto">
              <a:xfrm>
                <a:off x="-5465763" y="4816475"/>
                <a:ext cx="1250950" cy="1479550"/>
              </a:xfrm>
              <a:custGeom>
                <a:avLst/>
                <a:gdLst>
                  <a:gd name="T0" fmla="*/ 788 w 788"/>
                  <a:gd name="T1" fmla="*/ 932 h 932"/>
                  <a:gd name="T2" fmla="*/ 0 w 788"/>
                  <a:gd name="T3" fmla="*/ 615 h 932"/>
                  <a:gd name="T4" fmla="*/ 0 w 788"/>
                  <a:gd name="T5" fmla="*/ 615 h 932"/>
                  <a:gd name="T6" fmla="*/ 0 w 788"/>
                  <a:gd name="T7" fmla="*/ 615 h 932"/>
                  <a:gd name="T8" fmla="*/ 498 w 788"/>
                  <a:gd name="T9" fmla="*/ 0 h 932"/>
                  <a:gd name="T10" fmla="*/ 788 w 788"/>
                  <a:gd name="T11" fmla="*/ 932 h 932"/>
                </a:gdLst>
                <a:ahLst/>
                <a:cxnLst>
                  <a:cxn ang="0">
                    <a:pos x="T0" y="T1"/>
                  </a:cxn>
                  <a:cxn ang="0">
                    <a:pos x="T2" y="T3"/>
                  </a:cxn>
                  <a:cxn ang="0">
                    <a:pos x="T4" y="T5"/>
                  </a:cxn>
                  <a:cxn ang="0">
                    <a:pos x="T6" y="T7"/>
                  </a:cxn>
                  <a:cxn ang="0">
                    <a:pos x="T8" y="T9"/>
                  </a:cxn>
                  <a:cxn ang="0">
                    <a:pos x="T10" y="T11"/>
                  </a:cxn>
                </a:cxnLst>
                <a:rect l="0" t="0" r="r" b="b"/>
                <a:pathLst>
                  <a:path w="788" h="932">
                    <a:moveTo>
                      <a:pt x="788" y="932"/>
                    </a:moveTo>
                    <a:lnTo>
                      <a:pt x="0" y="615"/>
                    </a:lnTo>
                    <a:lnTo>
                      <a:pt x="0" y="615"/>
                    </a:lnTo>
                    <a:lnTo>
                      <a:pt x="0" y="615"/>
                    </a:lnTo>
                    <a:lnTo>
                      <a:pt x="498" y="0"/>
                    </a:lnTo>
                    <a:lnTo>
                      <a:pt x="788"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1" name="Freeform 443"/>
              <p:cNvSpPr>
                <a:spLocks/>
              </p:cNvSpPr>
              <p:nvPr/>
            </p:nvSpPr>
            <p:spPr bwMode="auto">
              <a:xfrm>
                <a:off x="-6213475" y="2655887"/>
                <a:ext cx="1800225" cy="2160588"/>
              </a:xfrm>
              <a:custGeom>
                <a:avLst/>
                <a:gdLst>
                  <a:gd name="T0" fmla="*/ 969 w 1134"/>
                  <a:gd name="T1" fmla="*/ 1361 h 1361"/>
                  <a:gd name="T2" fmla="*/ 969 w 1134"/>
                  <a:gd name="T3" fmla="*/ 1361 h 1361"/>
                  <a:gd name="T4" fmla="*/ 0 w 1134"/>
                  <a:gd name="T5" fmla="*/ 0 h 1361"/>
                  <a:gd name="T6" fmla="*/ 0 w 1134"/>
                  <a:gd name="T7" fmla="*/ 0 h 1361"/>
                  <a:gd name="T8" fmla="*/ 1134 w 1134"/>
                  <a:gd name="T9" fmla="*/ 288 h 1361"/>
                  <a:gd name="T10" fmla="*/ 969 w 1134"/>
                  <a:gd name="T11" fmla="*/ 1361 h 1361"/>
                </a:gdLst>
                <a:ahLst/>
                <a:cxnLst>
                  <a:cxn ang="0">
                    <a:pos x="T0" y="T1"/>
                  </a:cxn>
                  <a:cxn ang="0">
                    <a:pos x="T2" y="T3"/>
                  </a:cxn>
                  <a:cxn ang="0">
                    <a:pos x="T4" y="T5"/>
                  </a:cxn>
                  <a:cxn ang="0">
                    <a:pos x="T6" y="T7"/>
                  </a:cxn>
                  <a:cxn ang="0">
                    <a:pos x="T8" y="T9"/>
                  </a:cxn>
                  <a:cxn ang="0">
                    <a:pos x="T10" y="T11"/>
                  </a:cxn>
                </a:cxnLst>
                <a:rect l="0" t="0" r="r" b="b"/>
                <a:pathLst>
                  <a:path w="1134" h="1361">
                    <a:moveTo>
                      <a:pt x="969" y="1361"/>
                    </a:moveTo>
                    <a:lnTo>
                      <a:pt x="969" y="1361"/>
                    </a:lnTo>
                    <a:lnTo>
                      <a:pt x="0" y="0"/>
                    </a:lnTo>
                    <a:lnTo>
                      <a:pt x="0" y="0"/>
                    </a:lnTo>
                    <a:lnTo>
                      <a:pt x="1134" y="288"/>
                    </a:lnTo>
                    <a:lnTo>
                      <a:pt x="969" y="1361"/>
                    </a:lnTo>
                    <a:close/>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2" name="Rectangle 444"/>
              <p:cNvSpPr>
                <a:spLocks noChangeArrowheads="1"/>
              </p:cNvSpPr>
              <p:nvPr/>
            </p:nvSpPr>
            <p:spPr bwMode="auto">
              <a:xfrm>
                <a:off x="-6213475" y="2655887"/>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3" name="Rectangle 445"/>
              <p:cNvSpPr>
                <a:spLocks noChangeArrowheads="1"/>
              </p:cNvSpPr>
              <p:nvPr/>
            </p:nvSpPr>
            <p:spPr bwMode="auto">
              <a:xfrm>
                <a:off x="-6213475" y="2655887"/>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4" name="Freeform 446"/>
              <p:cNvSpPr>
                <a:spLocks/>
              </p:cNvSpPr>
              <p:nvPr/>
            </p:nvSpPr>
            <p:spPr bwMode="auto">
              <a:xfrm>
                <a:off x="-4675188" y="4237037"/>
                <a:ext cx="1903413" cy="2058988"/>
              </a:xfrm>
              <a:custGeom>
                <a:avLst/>
                <a:gdLst>
                  <a:gd name="T0" fmla="*/ 290 w 1199"/>
                  <a:gd name="T1" fmla="*/ 1297 h 1297"/>
                  <a:gd name="T2" fmla="*/ 290 w 1199"/>
                  <a:gd name="T3" fmla="*/ 1297 h 1297"/>
                  <a:gd name="T4" fmla="*/ 0 w 1199"/>
                  <a:gd name="T5" fmla="*/ 365 h 1297"/>
                  <a:gd name="T6" fmla="*/ 0 w 1199"/>
                  <a:gd name="T7" fmla="*/ 365 h 1297"/>
                  <a:gd name="T8" fmla="*/ 0 w 1199"/>
                  <a:gd name="T9" fmla="*/ 365 h 1297"/>
                  <a:gd name="T10" fmla="*/ 0 w 1199"/>
                  <a:gd name="T11" fmla="*/ 365 h 1297"/>
                  <a:gd name="T12" fmla="*/ 1199 w 1199"/>
                  <a:gd name="T13" fmla="*/ 0 h 1297"/>
                  <a:gd name="T14" fmla="*/ 290 w 1199"/>
                  <a:gd name="T15" fmla="*/ 1297 h 1297"/>
                  <a:gd name="T16" fmla="*/ 290 w 1199"/>
                  <a:gd name="T17" fmla="*/ 1297 h 1297"/>
                  <a:gd name="T18" fmla="*/ 290 w 1199"/>
                  <a:gd name="T19" fmla="*/ 129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9" h="1297">
                    <a:moveTo>
                      <a:pt x="290" y="1297"/>
                    </a:moveTo>
                    <a:lnTo>
                      <a:pt x="290" y="1297"/>
                    </a:lnTo>
                    <a:lnTo>
                      <a:pt x="0" y="365"/>
                    </a:lnTo>
                    <a:lnTo>
                      <a:pt x="0" y="365"/>
                    </a:lnTo>
                    <a:lnTo>
                      <a:pt x="0" y="365"/>
                    </a:lnTo>
                    <a:lnTo>
                      <a:pt x="0" y="365"/>
                    </a:lnTo>
                    <a:lnTo>
                      <a:pt x="1199" y="0"/>
                    </a:lnTo>
                    <a:lnTo>
                      <a:pt x="290" y="1297"/>
                    </a:lnTo>
                    <a:lnTo>
                      <a:pt x="290" y="1297"/>
                    </a:lnTo>
                    <a:lnTo>
                      <a:pt x="290" y="1297"/>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5" name="Freeform 447"/>
              <p:cNvSpPr>
                <a:spLocks/>
              </p:cNvSpPr>
              <p:nvPr/>
            </p:nvSpPr>
            <p:spPr bwMode="auto">
              <a:xfrm>
                <a:off x="-4675188" y="4816475"/>
                <a:ext cx="460375" cy="1479550"/>
              </a:xfrm>
              <a:custGeom>
                <a:avLst/>
                <a:gdLst>
                  <a:gd name="T0" fmla="*/ 290 w 290"/>
                  <a:gd name="T1" fmla="*/ 932 h 932"/>
                  <a:gd name="T2" fmla="*/ 290 w 290"/>
                  <a:gd name="T3" fmla="*/ 932 h 932"/>
                  <a:gd name="T4" fmla="*/ 0 w 290"/>
                  <a:gd name="T5" fmla="*/ 0 h 932"/>
                  <a:gd name="T6" fmla="*/ 0 w 290"/>
                  <a:gd name="T7" fmla="*/ 0 h 932"/>
                  <a:gd name="T8" fmla="*/ 290 w 290"/>
                  <a:gd name="T9" fmla="*/ 932 h 932"/>
                </a:gdLst>
                <a:ahLst/>
                <a:cxnLst>
                  <a:cxn ang="0">
                    <a:pos x="T0" y="T1"/>
                  </a:cxn>
                  <a:cxn ang="0">
                    <a:pos x="T2" y="T3"/>
                  </a:cxn>
                  <a:cxn ang="0">
                    <a:pos x="T4" y="T5"/>
                  </a:cxn>
                  <a:cxn ang="0">
                    <a:pos x="T6" y="T7"/>
                  </a:cxn>
                  <a:cxn ang="0">
                    <a:pos x="T8" y="T9"/>
                  </a:cxn>
                </a:cxnLst>
                <a:rect l="0" t="0" r="r" b="b"/>
                <a:pathLst>
                  <a:path w="290" h="932">
                    <a:moveTo>
                      <a:pt x="290" y="932"/>
                    </a:moveTo>
                    <a:lnTo>
                      <a:pt x="290" y="932"/>
                    </a:lnTo>
                    <a:lnTo>
                      <a:pt x="0" y="0"/>
                    </a:lnTo>
                    <a:lnTo>
                      <a:pt x="0" y="0"/>
                    </a:lnTo>
                    <a:lnTo>
                      <a:pt x="290"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6" name="Freeform 448"/>
              <p:cNvSpPr>
                <a:spLocks/>
              </p:cNvSpPr>
              <p:nvPr/>
            </p:nvSpPr>
            <p:spPr bwMode="auto">
              <a:xfrm>
                <a:off x="-7018338" y="2655887"/>
                <a:ext cx="2343150" cy="2160588"/>
              </a:xfrm>
              <a:custGeom>
                <a:avLst/>
                <a:gdLst>
                  <a:gd name="T0" fmla="*/ 1476 w 1476"/>
                  <a:gd name="T1" fmla="*/ 1361 h 1361"/>
                  <a:gd name="T2" fmla="*/ 0 w 1476"/>
                  <a:gd name="T3" fmla="*/ 1223 h 1361"/>
                  <a:gd name="T4" fmla="*/ 507 w 1476"/>
                  <a:gd name="T5" fmla="*/ 0 h 1361"/>
                  <a:gd name="T6" fmla="*/ 1476 w 1476"/>
                  <a:gd name="T7" fmla="*/ 1361 h 1361"/>
                </a:gdLst>
                <a:ahLst/>
                <a:cxnLst>
                  <a:cxn ang="0">
                    <a:pos x="T0" y="T1"/>
                  </a:cxn>
                  <a:cxn ang="0">
                    <a:pos x="T2" y="T3"/>
                  </a:cxn>
                  <a:cxn ang="0">
                    <a:pos x="T4" y="T5"/>
                  </a:cxn>
                  <a:cxn ang="0">
                    <a:pos x="T6" y="T7"/>
                  </a:cxn>
                </a:cxnLst>
                <a:rect l="0" t="0" r="r" b="b"/>
                <a:pathLst>
                  <a:path w="1476" h="1361">
                    <a:moveTo>
                      <a:pt x="1476" y="1361"/>
                    </a:moveTo>
                    <a:lnTo>
                      <a:pt x="0" y="1223"/>
                    </a:lnTo>
                    <a:lnTo>
                      <a:pt x="507" y="0"/>
                    </a:lnTo>
                    <a:lnTo>
                      <a:pt x="1476" y="136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7" name="Freeform 449"/>
              <p:cNvSpPr>
                <a:spLocks/>
              </p:cNvSpPr>
              <p:nvPr/>
            </p:nvSpPr>
            <p:spPr bwMode="auto">
              <a:xfrm>
                <a:off x="-7018338" y="2655887"/>
                <a:ext cx="804863" cy="1941513"/>
              </a:xfrm>
              <a:custGeom>
                <a:avLst/>
                <a:gdLst>
                  <a:gd name="T0" fmla="*/ 0 w 507"/>
                  <a:gd name="T1" fmla="*/ 1223 h 1223"/>
                  <a:gd name="T2" fmla="*/ 507 w 507"/>
                  <a:gd name="T3" fmla="*/ 0 h 1223"/>
                  <a:gd name="T4" fmla="*/ 507 w 507"/>
                  <a:gd name="T5" fmla="*/ 0 h 1223"/>
                  <a:gd name="T6" fmla="*/ 0 w 507"/>
                  <a:gd name="T7" fmla="*/ 1223 h 1223"/>
                </a:gdLst>
                <a:ahLst/>
                <a:cxnLst>
                  <a:cxn ang="0">
                    <a:pos x="T0" y="T1"/>
                  </a:cxn>
                  <a:cxn ang="0">
                    <a:pos x="T2" y="T3"/>
                  </a:cxn>
                  <a:cxn ang="0">
                    <a:pos x="T4" y="T5"/>
                  </a:cxn>
                  <a:cxn ang="0">
                    <a:pos x="T6" y="T7"/>
                  </a:cxn>
                </a:cxnLst>
                <a:rect l="0" t="0" r="r" b="b"/>
                <a:pathLst>
                  <a:path w="507" h="1223">
                    <a:moveTo>
                      <a:pt x="0" y="1223"/>
                    </a:moveTo>
                    <a:lnTo>
                      <a:pt x="507" y="0"/>
                    </a:lnTo>
                    <a:lnTo>
                      <a:pt x="507" y="0"/>
                    </a:lnTo>
                    <a:lnTo>
                      <a:pt x="0" y="122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8" name="Rectangle 450"/>
              <p:cNvSpPr>
                <a:spLocks noChangeArrowheads="1"/>
              </p:cNvSpPr>
              <p:nvPr/>
            </p:nvSpPr>
            <p:spPr bwMode="auto">
              <a:xfrm>
                <a:off x="-6213475" y="2655887"/>
                <a:ext cx="1588" cy="1588"/>
              </a:xfrm>
              <a:prstGeom prst="rect">
                <a:avLst/>
              </a:prstGeom>
              <a:solidFill>
                <a:srgbClr val="5698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59" name="Freeform 451"/>
              <p:cNvSpPr>
                <a:spLocks/>
              </p:cNvSpPr>
              <p:nvPr/>
            </p:nvSpPr>
            <p:spPr bwMode="auto">
              <a:xfrm>
                <a:off x="-6213475" y="2655887"/>
                <a:ext cx="1538288" cy="2160588"/>
              </a:xfrm>
              <a:custGeom>
                <a:avLst/>
                <a:gdLst>
                  <a:gd name="T0" fmla="*/ 969 w 969"/>
                  <a:gd name="T1" fmla="*/ 1361 h 1361"/>
                  <a:gd name="T2" fmla="*/ 969 w 969"/>
                  <a:gd name="T3" fmla="*/ 1361 h 1361"/>
                  <a:gd name="T4" fmla="*/ 0 w 969"/>
                  <a:gd name="T5" fmla="*/ 0 h 1361"/>
                  <a:gd name="T6" fmla="*/ 0 w 969"/>
                  <a:gd name="T7" fmla="*/ 0 h 1361"/>
                  <a:gd name="T8" fmla="*/ 969 w 969"/>
                  <a:gd name="T9" fmla="*/ 1361 h 1361"/>
                </a:gdLst>
                <a:ahLst/>
                <a:cxnLst>
                  <a:cxn ang="0">
                    <a:pos x="T0" y="T1"/>
                  </a:cxn>
                  <a:cxn ang="0">
                    <a:pos x="T2" y="T3"/>
                  </a:cxn>
                  <a:cxn ang="0">
                    <a:pos x="T4" y="T5"/>
                  </a:cxn>
                  <a:cxn ang="0">
                    <a:pos x="T6" y="T7"/>
                  </a:cxn>
                  <a:cxn ang="0">
                    <a:pos x="T8" y="T9"/>
                  </a:cxn>
                </a:cxnLst>
                <a:rect l="0" t="0" r="r" b="b"/>
                <a:pathLst>
                  <a:path w="969" h="1361">
                    <a:moveTo>
                      <a:pt x="969" y="1361"/>
                    </a:moveTo>
                    <a:lnTo>
                      <a:pt x="969" y="1361"/>
                    </a:lnTo>
                    <a:lnTo>
                      <a:pt x="0" y="0"/>
                    </a:lnTo>
                    <a:lnTo>
                      <a:pt x="0" y="0"/>
                    </a:lnTo>
                    <a:lnTo>
                      <a:pt x="969" y="1361"/>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0" name="Freeform 452"/>
              <p:cNvSpPr>
                <a:spLocks/>
              </p:cNvSpPr>
              <p:nvPr/>
            </p:nvSpPr>
            <p:spPr bwMode="auto">
              <a:xfrm>
                <a:off x="-6213475" y="2655887"/>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1" name="Freeform 453"/>
              <p:cNvSpPr>
                <a:spLocks/>
              </p:cNvSpPr>
              <p:nvPr/>
            </p:nvSpPr>
            <p:spPr bwMode="auto">
              <a:xfrm>
                <a:off x="-4675188" y="3113087"/>
                <a:ext cx="1903413" cy="1703388"/>
              </a:xfrm>
              <a:custGeom>
                <a:avLst/>
                <a:gdLst>
                  <a:gd name="T0" fmla="*/ 0 w 1199"/>
                  <a:gd name="T1" fmla="*/ 1073 h 1073"/>
                  <a:gd name="T2" fmla="*/ 165 w 1199"/>
                  <a:gd name="T3" fmla="*/ 0 h 1073"/>
                  <a:gd name="T4" fmla="*/ 1199 w 1199"/>
                  <a:gd name="T5" fmla="*/ 708 h 1073"/>
                  <a:gd name="T6" fmla="*/ 0 w 1199"/>
                  <a:gd name="T7" fmla="*/ 1073 h 1073"/>
                </a:gdLst>
                <a:ahLst/>
                <a:cxnLst>
                  <a:cxn ang="0">
                    <a:pos x="T0" y="T1"/>
                  </a:cxn>
                  <a:cxn ang="0">
                    <a:pos x="T2" y="T3"/>
                  </a:cxn>
                  <a:cxn ang="0">
                    <a:pos x="T4" y="T5"/>
                  </a:cxn>
                  <a:cxn ang="0">
                    <a:pos x="T6" y="T7"/>
                  </a:cxn>
                </a:cxnLst>
                <a:rect l="0" t="0" r="r" b="b"/>
                <a:pathLst>
                  <a:path w="1199" h="1073">
                    <a:moveTo>
                      <a:pt x="0" y="1073"/>
                    </a:moveTo>
                    <a:lnTo>
                      <a:pt x="165" y="0"/>
                    </a:lnTo>
                    <a:lnTo>
                      <a:pt x="1199" y="708"/>
                    </a:lnTo>
                    <a:lnTo>
                      <a:pt x="0" y="1073"/>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2" name="Freeform 454"/>
              <p:cNvSpPr>
                <a:spLocks/>
              </p:cNvSpPr>
              <p:nvPr/>
            </p:nvSpPr>
            <p:spPr bwMode="auto">
              <a:xfrm>
                <a:off x="-7018338" y="4597400"/>
                <a:ext cx="2343150" cy="1195388"/>
              </a:xfrm>
              <a:custGeom>
                <a:avLst/>
                <a:gdLst>
                  <a:gd name="T0" fmla="*/ 978 w 1476"/>
                  <a:gd name="T1" fmla="*/ 753 h 753"/>
                  <a:gd name="T2" fmla="*/ 978 w 1476"/>
                  <a:gd name="T3" fmla="*/ 753 h 753"/>
                  <a:gd name="T4" fmla="*/ 0 w 1476"/>
                  <a:gd name="T5" fmla="*/ 0 h 753"/>
                  <a:gd name="T6" fmla="*/ 1476 w 1476"/>
                  <a:gd name="T7" fmla="*/ 138 h 753"/>
                  <a:gd name="T8" fmla="*/ 978 w 1476"/>
                  <a:gd name="T9" fmla="*/ 753 h 753"/>
                </a:gdLst>
                <a:ahLst/>
                <a:cxnLst>
                  <a:cxn ang="0">
                    <a:pos x="T0" y="T1"/>
                  </a:cxn>
                  <a:cxn ang="0">
                    <a:pos x="T2" y="T3"/>
                  </a:cxn>
                  <a:cxn ang="0">
                    <a:pos x="T4" y="T5"/>
                  </a:cxn>
                  <a:cxn ang="0">
                    <a:pos x="T6" y="T7"/>
                  </a:cxn>
                  <a:cxn ang="0">
                    <a:pos x="T8" y="T9"/>
                  </a:cxn>
                </a:cxnLst>
                <a:rect l="0" t="0" r="r" b="b"/>
                <a:pathLst>
                  <a:path w="1476" h="753">
                    <a:moveTo>
                      <a:pt x="978" y="753"/>
                    </a:moveTo>
                    <a:lnTo>
                      <a:pt x="978" y="753"/>
                    </a:lnTo>
                    <a:lnTo>
                      <a:pt x="0" y="0"/>
                    </a:lnTo>
                    <a:lnTo>
                      <a:pt x="1476" y="138"/>
                    </a:lnTo>
                    <a:lnTo>
                      <a:pt x="978" y="7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3" name="Line 455"/>
              <p:cNvSpPr>
                <a:spLocks noChangeShapeType="1"/>
              </p:cNvSpPr>
              <p:nvPr/>
            </p:nvSpPr>
            <p:spPr bwMode="auto">
              <a:xfrm>
                <a:off x="-7643813" y="76596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4" name="Freeform 456"/>
              <p:cNvSpPr>
                <a:spLocks/>
              </p:cNvSpPr>
              <p:nvPr/>
            </p:nvSpPr>
            <p:spPr bwMode="auto">
              <a:xfrm>
                <a:off x="-7643813" y="6911975"/>
                <a:ext cx="1103313" cy="747713"/>
              </a:xfrm>
              <a:custGeom>
                <a:avLst/>
                <a:gdLst>
                  <a:gd name="T0" fmla="*/ 0 w 695"/>
                  <a:gd name="T1" fmla="*/ 471 h 471"/>
                  <a:gd name="T2" fmla="*/ 0 w 695"/>
                  <a:gd name="T3" fmla="*/ 471 h 471"/>
                  <a:gd name="T4" fmla="*/ 695 w 695"/>
                  <a:gd name="T5" fmla="*/ 0 h 471"/>
                  <a:gd name="T6" fmla="*/ 0 w 695"/>
                  <a:gd name="T7" fmla="*/ 471 h 471"/>
                </a:gdLst>
                <a:ahLst/>
                <a:cxnLst>
                  <a:cxn ang="0">
                    <a:pos x="T0" y="T1"/>
                  </a:cxn>
                  <a:cxn ang="0">
                    <a:pos x="T2" y="T3"/>
                  </a:cxn>
                  <a:cxn ang="0">
                    <a:pos x="T4" y="T5"/>
                  </a:cxn>
                  <a:cxn ang="0">
                    <a:pos x="T6" y="T7"/>
                  </a:cxn>
                </a:cxnLst>
                <a:rect l="0" t="0" r="r" b="b"/>
                <a:pathLst>
                  <a:path w="695" h="471">
                    <a:moveTo>
                      <a:pt x="0" y="471"/>
                    </a:moveTo>
                    <a:lnTo>
                      <a:pt x="0" y="471"/>
                    </a:lnTo>
                    <a:lnTo>
                      <a:pt x="695" y="0"/>
                    </a:lnTo>
                    <a:lnTo>
                      <a:pt x="0" y="47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5" name="Freeform 457"/>
              <p:cNvSpPr>
                <a:spLocks/>
              </p:cNvSpPr>
              <p:nvPr/>
            </p:nvSpPr>
            <p:spPr bwMode="auto">
              <a:xfrm>
                <a:off x="-5465763" y="5792787"/>
                <a:ext cx="1524000" cy="1866900"/>
              </a:xfrm>
              <a:custGeom>
                <a:avLst/>
                <a:gdLst>
                  <a:gd name="T0" fmla="*/ 960 w 960"/>
                  <a:gd name="T1" fmla="*/ 1176 h 1176"/>
                  <a:gd name="T2" fmla="*/ 823 w 960"/>
                  <a:gd name="T3" fmla="*/ 1176 h 1176"/>
                  <a:gd name="T4" fmla="*/ 0 w 960"/>
                  <a:gd name="T5" fmla="*/ 0 h 1176"/>
                  <a:gd name="T6" fmla="*/ 788 w 960"/>
                  <a:gd name="T7" fmla="*/ 317 h 1176"/>
                  <a:gd name="T8" fmla="*/ 960 w 960"/>
                  <a:gd name="T9" fmla="*/ 1176 h 1176"/>
                </a:gdLst>
                <a:ahLst/>
                <a:cxnLst>
                  <a:cxn ang="0">
                    <a:pos x="T0" y="T1"/>
                  </a:cxn>
                  <a:cxn ang="0">
                    <a:pos x="T2" y="T3"/>
                  </a:cxn>
                  <a:cxn ang="0">
                    <a:pos x="T4" y="T5"/>
                  </a:cxn>
                  <a:cxn ang="0">
                    <a:pos x="T6" y="T7"/>
                  </a:cxn>
                  <a:cxn ang="0">
                    <a:pos x="T8" y="T9"/>
                  </a:cxn>
                </a:cxnLst>
                <a:rect l="0" t="0" r="r" b="b"/>
                <a:pathLst>
                  <a:path w="960" h="1176">
                    <a:moveTo>
                      <a:pt x="960" y="1176"/>
                    </a:moveTo>
                    <a:lnTo>
                      <a:pt x="823" y="1176"/>
                    </a:lnTo>
                    <a:lnTo>
                      <a:pt x="0" y="0"/>
                    </a:lnTo>
                    <a:lnTo>
                      <a:pt x="788" y="317"/>
                    </a:lnTo>
                    <a:lnTo>
                      <a:pt x="960" y="117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6" name="Rectangle 458"/>
              <p:cNvSpPr>
                <a:spLocks noChangeArrowheads="1"/>
              </p:cNvSpPr>
              <p:nvPr/>
            </p:nvSpPr>
            <p:spPr bwMode="auto">
              <a:xfrm>
                <a:off x="-5465763" y="5792787"/>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7" name="Freeform 459"/>
              <p:cNvSpPr>
                <a:spLocks/>
              </p:cNvSpPr>
              <p:nvPr/>
            </p:nvSpPr>
            <p:spPr bwMode="auto">
              <a:xfrm>
                <a:off x="-6540500" y="5792787"/>
                <a:ext cx="2381250" cy="1866900"/>
              </a:xfrm>
              <a:custGeom>
                <a:avLst/>
                <a:gdLst>
                  <a:gd name="T0" fmla="*/ 1500 w 1500"/>
                  <a:gd name="T1" fmla="*/ 1176 h 1176"/>
                  <a:gd name="T2" fmla="*/ 1072 w 1500"/>
                  <a:gd name="T3" fmla="*/ 1176 h 1176"/>
                  <a:gd name="T4" fmla="*/ 0 w 1500"/>
                  <a:gd name="T5" fmla="*/ 705 h 1176"/>
                  <a:gd name="T6" fmla="*/ 677 w 1500"/>
                  <a:gd name="T7" fmla="*/ 0 h 1176"/>
                  <a:gd name="T8" fmla="*/ 677 w 1500"/>
                  <a:gd name="T9" fmla="*/ 0 h 1176"/>
                  <a:gd name="T10" fmla="*/ 1500 w 1500"/>
                  <a:gd name="T11" fmla="*/ 1176 h 1176"/>
                </a:gdLst>
                <a:ahLst/>
                <a:cxnLst>
                  <a:cxn ang="0">
                    <a:pos x="T0" y="T1"/>
                  </a:cxn>
                  <a:cxn ang="0">
                    <a:pos x="T2" y="T3"/>
                  </a:cxn>
                  <a:cxn ang="0">
                    <a:pos x="T4" y="T5"/>
                  </a:cxn>
                  <a:cxn ang="0">
                    <a:pos x="T6" y="T7"/>
                  </a:cxn>
                  <a:cxn ang="0">
                    <a:pos x="T8" y="T9"/>
                  </a:cxn>
                  <a:cxn ang="0">
                    <a:pos x="T10" y="T11"/>
                  </a:cxn>
                </a:cxnLst>
                <a:rect l="0" t="0" r="r" b="b"/>
                <a:pathLst>
                  <a:path w="1500" h="1176">
                    <a:moveTo>
                      <a:pt x="1500" y="1176"/>
                    </a:moveTo>
                    <a:lnTo>
                      <a:pt x="1072" y="1176"/>
                    </a:lnTo>
                    <a:lnTo>
                      <a:pt x="0" y="705"/>
                    </a:lnTo>
                    <a:lnTo>
                      <a:pt x="677" y="0"/>
                    </a:lnTo>
                    <a:lnTo>
                      <a:pt x="677" y="0"/>
                    </a:lnTo>
                    <a:lnTo>
                      <a:pt x="150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8" name="Freeform 460"/>
              <p:cNvSpPr>
                <a:spLocks/>
              </p:cNvSpPr>
              <p:nvPr/>
            </p:nvSpPr>
            <p:spPr bwMode="auto">
              <a:xfrm>
                <a:off x="-4214813" y="6296025"/>
                <a:ext cx="1620838" cy="1363663"/>
              </a:xfrm>
              <a:custGeom>
                <a:avLst/>
                <a:gdLst>
                  <a:gd name="T0" fmla="*/ 1021 w 1021"/>
                  <a:gd name="T1" fmla="*/ 859 h 859"/>
                  <a:gd name="T2" fmla="*/ 172 w 1021"/>
                  <a:gd name="T3" fmla="*/ 859 h 859"/>
                  <a:gd name="T4" fmla="*/ 0 w 1021"/>
                  <a:gd name="T5" fmla="*/ 0 h 859"/>
                  <a:gd name="T6" fmla="*/ 1021 w 1021"/>
                  <a:gd name="T7" fmla="*/ 859 h 859"/>
                </a:gdLst>
                <a:ahLst/>
                <a:cxnLst>
                  <a:cxn ang="0">
                    <a:pos x="T0" y="T1"/>
                  </a:cxn>
                  <a:cxn ang="0">
                    <a:pos x="T2" y="T3"/>
                  </a:cxn>
                  <a:cxn ang="0">
                    <a:pos x="T4" y="T5"/>
                  </a:cxn>
                  <a:cxn ang="0">
                    <a:pos x="T6" y="T7"/>
                  </a:cxn>
                </a:cxnLst>
                <a:rect l="0" t="0" r="r" b="b"/>
                <a:pathLst>
                  <a:path w="1021" h="859">
                    <a:moveTo>
                      <a:pt x="1021" y="859"/>
                    </a:moveTo>
                    <a:lnTo>
                      <a:pt x="172" y="859"/>
                    </a:lnTo>
                    <a:lnTo>
                      <a:pt x="0" y="0"/>
                    </a:lnTo>
                    <a:lnTo>
                      <a:pt x="1021" y="8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69" name="Freeform 461"/>
              <p:cNvSpPr>
                <a:spLocks/>
              </p:cNvSpPr>
              <p:nvPr/>
            </p:nvSpPr>
            <p:spPr bwMode="auto">
              <a:xfrm>
                <a:off x="-6540500" y="6911975"/>
                <a:ext cx="1701800" cy="747713"/>
              </a:xfrm>
              <a:custGeom>
                <a:avLst/>
                <a:gdLst>
                  <a:gd name="T0" fmla="*/ 1072 w 1072"/>
                  <a:gd name="T1" fmla="*/ 471 h 471"/>
                  <a:gd name="T2" fmla="*/ 254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254" y="471"/>
                    </a:lnTo>
                    <a:lnTo>
                      <a:pt x="0" y="0"/>
                    </a:lnTo>
                    <a:lnTo>
                      <a:pt x="1072" y="471"/>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0" name="Line 462"/>
              <p:cNvSpPr>
                <a:spLocks noChangeShapeType="1"/>
              </p:cNvSpPr>
              <p:nvPr/>
            </p:nvSpPr>
            <p:spPr bwMode="auto">
              <a:xfrm>
                <a:off x="-6137275" y="76596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1" name="Freeform 463"/>
              <p:cNvSpPr>
                <a:spLocks/>
              </p:cNvSpPr>
              <p:nvPr/>
            </p:nvSpPr>
            <p:spPr bwMode="auto">
              <a:xfrm>
                <a:off x="-6540500" y="6911975"/>
                <a:ext cx="403225" cy="747713"/>
              </a:xfrm>
              <a:custGeom>
                <a:avLst/>
                <a:gdLst>
                  <a:gd name="T0" fmla="*/ 254 w 254"/>
                  <a:gd name="T1" fmla="*/ 471 h 471"/>
                  <a:gd name="T2" fmla="*/ 254 w 254"/>
                  <a:gd name="T3" fmla="*/ 471 h 471"/>
                  <a:gd name="T4" fmla="*/ 0 w 254"/>
                  <a:gd name="T5" fmla="*/ 0 h 471"/>
                  <a:gd name="T6" fmla="*/ 254 w 254"/>
                  <a:gd name="T7" fmla="*/ 471 h 471"/>
                </a:gdLst>
                <a:ahLst/>
                <a:cxnLst>
                  <a:cxn ang="0">
                    <a:pos x="T0" y="T1"/>
                  </a:cxn>
                  <a:cxn ang="0">
                    <a:pos x="T2" y="T3"/>
                  </a:cxn>
                  <a:cxn ang="0">
                    <a:pos x="T4" y="T5"/>
                  </a:cxn>
                  <a:cxn ang="0">
                    <a:pos x="T6" y="T7"/>
                  </a:cxn>
                </a:cxnLst>
                <a:rect l="0" t="0" r="r" b="b"/>
                <a:pathLst>
                  <a:path w="254" h="471">
                    <a:moveTo>
                      <a:pt x="254" y="471"/>
                    </a:moveTo>
                    <a:lnTo>
                      <a:pt x="254" y="471"/>
                    </a:lnTo>
                    <a:lnTo>
                      <a:pt x="0" y="0"/>
                    </a:lnTo>
                    <a:lnTo>
                      <a:pt x="254" y="471"/>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2" name="Freeform 464"/>
              <p:cNvSpPr>
                <a:spLocks/>
              </p:cNvSpPr>
              <p:nvPr/>
            </p:nvSpPr>
            <p:spPr bwMode="auto">
              <a:xfrm>
                <a:off x="-6540500" y="6911975"/>
                <a:ext cx="1701800" cy="747713"/>
              </a:xfrm>
              <a:custGeom>
                <a:avLst/>
                <a:gdLst>
                  <a:gd name="T0" fmla="*/ 1072 w 1072"/>
                  <a:gd name="T1" fmla="*/ 471 h 471"/>
                  <a:gd name="T2" fmla="*/ 1072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1072" y="471"/>
                    </a:lnTo>
                    <a:lnTo>
                      <a:pt x="0" y="0"/>
                    </a:lnTo>
                    <a:lnTo>
                      <a:pt x="1072" y="47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3" name="Freeform 465"/>
              <p:cNvSpPr>
                <a:spLocks/>
              </p:cNvSpPr>
              <p:nvPr/>
            </p:nvSpPr>
            <p:spPr bwMode="auto">
              <a:xfrm>
                <a:off x="-3327400" y="-3540126"/>
                <a:ext cx="2473325" cy="2046288"/>
              </a:xfrm>
              <a:custGeom>
                <a:avLst/>
                <a:gdLst>
                  <a:gd name="T0" fmla="*/ 0 w 1558"/>
                  <a:gd name="T1" fmla="*/ 1289 h 1289"/>
                  <a:gd name="T2" fmla="*/ 916 w 1558"/>
                  <a:gd name="T3" fmla="*/ 0 h 1289"/>
                  <a:gd name="T4" fmla="*/ 1558 w 1558"/>
                  <a:gd name="T5" fmla="*/ 541 h 1289"/>
                  <a:gd name="T6" fmla="*/ 1558 w 1558"/>
                  <a:gd name="T7" fmla="*/ 890 h 1289"/>
                  <a:gd name="T8" fmla="*/ 0 w 1558"/>
                  <a:gd name="T9" fmla="*/ 1289 h 1289"/>
                </a:gdLst>
                <a:ahLst/>
                <a:cxnLst>
                  <a:cxn ang="0">
                    <a:pos x="T0" y="T1"/>
                  </a:cxn>
                  <a:cxn ang="0">
                    <a:pos x="T2" y="T3"/>
                  </a:cxn>
                  <a:cxn ang="0">
                    <a:pos x="T4" y="T5"/>
                  </a:cxn>
                  <a:cxn ang="0">
                    <a:pos x="T6" y="T7"/>
                  </a:cxn>
                  <a:cxn ang="0">
                    <a:pos x="T8" y="T9"/>
                  </a:cxn>
                </a:cxnLst>
                <a:rect l="0" t="0" r="r" b="b"/>
                <a:pathLst>
                  <a:path w="1558" h="1289">
                    <a:moveTo>
                      <a:pt x="0" y="1289"/>
                    </a:moveTo>
                    <a:lnTo>
                      <a:pt x="916" y="0"/>
                    </a:lnTo>
                    <a:lnTo>
                      <a:pt x="1558" y="541"/>
                    </a:lnTo>
                    <a:lnTo>
                      <a:pt x="1558" y="890"/>
                    </a:lnTo>
                    <a:lnTo>
                      <a:pt x="0" y="128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4" name="Freeform 466"/>
              <p:cNvSpPr>
                <a:spLocks/>
              </p:cNvSpPr>
              <p:nvPr/>
            </p:nvSpPr>
            <p:spPr bwMode="auto">
              <a:xfrm>
                <a:off x="-2697163" y="-4110038"/>
                <a:ext cx="1154113" cy="569913"/>
              </a:xfrm>
              <a:custGeom>
                <a:avLst/>
                <a:gdLst>
                  <a:gd name="T0" fmla="*/ 519 w 727"/>
                  <a:gd name="T1" fmla="*/ 359 h 359"/>
                  <a:gd name="T2" fmla="*/ 519 w 727"/>
                  <a:gd name="T3" fmla="*/ 359 h 359"/>
                  <a:gd name="T4" fmla="*/ 0 w 727"/>
                  <a:gd name="T5" fmla="*/ 0 h 359"/>
                  <a:gd name="T6" fmla="*/ 727 w 727"/>
                  <a:gd name="T7" fmla="*/ 0 h 359"/>
                  <a:gd name="T8" fmla="*/ 519 w 727"/>
                  <a:gd name="T9" fmla="*/ 359 h 359"/>
                </a:gdLst>
                <a:ahLst/>
                <a:cxnLst>
                  <a:cxn ang="0">
                    <a:pos x="T0" y="T1"/>
                  </a:cxn>
                  <a:cxn ang="0">
                    <a:pos x="T2" y="T3"/>
                  </a:cxn>
                  <a:cxn ang="0">
                    <a:pos x="T4" y="T5"/>
                  </a:cxn>
                  <a:cxn ang="0">
                    <a:pos x="T6" y="T7"/>
                  </a:cxn>
                  <a:cxn ang="0">
                    <a:pos x="T8" y="T9"/>
                  </a:cxn>
                </a:cxnLst>
                <a:rect l="0" t="0" r="r" b="b"/>
                <a:pathLst>
                  <a:path w="727" h="359">
                    <a:moveTo>
                      <a:pt x="519" y="359"/>
                    </a:moveTo>
                    <a:lnTo>
                      <a:pt x="519" y="359"/>
                    </a:lnTo>
                    <a:lnTo>
                      <a:pt x="0" y="0"/>
                    </a:lnTo>
                    <a:lnTo>
                      <a:pt x="727" y="0"/>
                    </a:lnTo>
                    <a:lnTo>
                      <a:pt x="519"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5" name="Freeform 467"/>
              <p:cNvSpPr>
                <a:spLocks/>
              </p:cNvSpPr>
              <p:nvPr/>
            </p:nvSpPr>
            <p:spPr bwMode="auto">
              <a:xfrm>
                <a:off x="-1873250" y="-3540126"/>
                <a:ext cx="1019175" cy="858838"/>
              </a:xfrm>
              <a:custGeom>
                <a:avLst/>
                <a:gdLst>
                  <a:gd name="T0" fmla="*/ 642 w 642"/>
                  <a:gd name="T1" fmla="*/ 541 h 541"/>
                  <a:gd name="T2" fmla="*/ 0 w 642"/>
                  <a:gd name="T3" fmla="*/ 0 h 541"/>
                  <a:gd name="T4" fmla="*/ 642 w 642"/>
                  <a:gd name="T5" fmla="*/ 0 h 541"/>
                  <a:gd name="T6" fmla="*/ 642 w 642"/>
                  <a:gd name="T7" fmla="*/ 541 h 541"/>
                </a:gdLst>
                <a:ahLst/>
                <a:cxnLst>
                  <a:cxn ang="0">
                    <a:pos x="T0" y="T1"/>
                  </a:cxn>
                  <a:cxn ang="0">
                    <a:pos x="T2" y="T3"/>
                  </a:cxn>
                  <a:cxn ang="0">
                    <a:pos x="T4" y="T5"/>
                  </a:cxn>
                  <a:cxn ang="0">
                    <a:pos x="T6" y="T7"/>
                  </a:cxn>
                </a:cxnLst>
                <a:rect l="0" t="0" r="r" b="b"/>
                <a:pathLst>
                  <a:path w="642" h="541">
                    <a:moveTo>
                      <a:pt x="642" y="541"/>
                    </a:moveTo>
                    <a:lnTo>
                      <a:pt x="0" y="0"/>
                    </a:lnTo>
                    <a:lnTo>
                      <a:pt x="642" y="0"/>
                    </a:lnTo>
                    <a:lnTo>
                      <a:pt x="642" y="541"/>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6" name="Freeform 468"/>
              <p:cNvSpPr>
                <a:spLocks/>
              </p:cNvSpPr>
              <p:nvPr/>
            </p:nvSpPr>
            <p:spPr bwMode="auto">
              <a:xfrm>
                <a:off x="-3668713" y="-4110038"/>
                <a:ext cx="1795463" cy="569913"/>
              </a:xfrm>
              <a:custGeom>
                <a:avLst/>
                <a:gdLst>
                  <a:gd name="T0" fmla="*/ 1131 w 1131"/>
                  <a:gd name="T1" fmla="*/ 359 h 359"/>
                  <a:gd name="T2" fmla="*/ 0 w 1131"/>
                  <a:gd name="T3" fmla="*/ 359 h 359"/>
                  <a:gd name="T4" fmla="*/ 285 w 1131"/>
                  <a:gd name="T5" fmla="*/ 0 h 359"/>
                  <a:gd name="T6" fmla="*/ 612 w 1131"/>
                  <a:gd name="T7" fmla="*/ 0 h 359"/>
                  <a:gd name="T8" fmla="*/ 1131 w 1131"/>
                  <a:gd name="T9" fmla="*/ 359 h 359"/>
                </a:gdLst>
                <a:ahLst/>
                <a:cxnLst>
                  <a:cxn ang="0">
                    <a:pos x="T0" y="T1"/>
                  </a:cxn>
                  <a:cxn ang="0">
                    <a:pos x="T2" y="T3"/>
                  </a:cxn>
                  <a:cxn ang="0">
                    <a:pos x="T4" y="T5"/>
                  </a:cxn>
                  <a:cxn ang="0">
                    <a:pos x="T6" y="T7"/>
                  </a:cxn>
                  <a:cxn ang="0">
                    <a:pos x="T8" y="T9"/>
                  </a:cxn>
                </a:cxnLst>
                <a:rect l="0" t="0" r="r" b="b"/>
                <a:pathLst>
                  <a:path w="1131" h="359">
                    <a:moveTo>
                      <a:pt x="1131" y="359"/>
                    </a:moveTo>
                    <a:lnTo>
                      <a:pt x="0" y="359"/>
                    </a:lnTo>
                    <a:lnTo>
                      <a:pt x="285" y="0"/>
                    </a:lnTo>
                    <a:lnTo>
                      <a:pt x="612" y="0"/>
                    </a:lnTo>
                    <a:lnTo>
                      <a:pt x="1131"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7" name="Freeform 469"/>
              <p:cNvSpPr>
                <a:spLocks/>
              </p:cNvSpPr>
              <p:nvPr/>
            </p:nvSpPr>
            <p:spPr bwMode="auto">
              <a:xfrm>
                <a:off x="-1873250" y="-4110038"/>
                <a:ext cx="1019175" cy="569913"/>
              </a:xfrm>
              <a:custGeom>
                <a:avLst/>
                <a:gdLst>
                  <a:gd name="T0" fmla="*/ 642 w 642"/>
                  <a:gd name="T1" fmla="*/ 359 h 359"/>
                  <a:gd name="T2" fmla="*/ 0 w 642"/>
                  <a:gd name="T3" fmla="*/ 359 h 359"/>
                  <a:gd name="T4" fmla="*/ 208 w 642"/>
                  <a:gd name="T5" fmla="*/ 0 h 359"/>
                  <a:gd name="T6" fmla="*/ 642 w 642"/>
                  <a:gd name="T7" fmla="*/ 0 h 359"/>
                  <a:gd name="T8" fmla="*/ 642 w 642"/>
                  <a:gd name="T9" fmla="*/ 359 h 359"/>
                </a:gdLst>
                <a:ahLst/>
                <a:cxnLst>
                  <a:cxn ang="0">
                    <a:pos x="T0" y="T1"/>
                  </a:cxn>
                  <a:cxn ang="0">
                    <a:pos x="T2" y="T3"/>
                  </a:cxn>
                  <a:cxn ang="0">
                    <a:pos x="T4" y="T5"/>
                  </a:cxn>
                  <a:cxn ang="0">
                    <a:pos x="T6" y="T7"/>
                  </a:cxn>
                  <a:cxn ang="0">
                    <a:pos x="T8" y="T9"/>
                  </a:cxn>
                </a:cxnLst>
                <a:rect l="0" t="0" r="r" b="b"/>
                <a:pathLst>
                  <a:path w="642" h="359">
                    <a:moveTo>
                      <a:pt x="642" y="359"/>
                    </a:moveTo>
                    <a:lnTo>
                      <a:pt x="0" y="359"/>
                    </a:lnTo>
                    <a:lnTo>
                      <a:pt x="208" y="0"/>
                    </a:lnTo>
                    <a:lnTo>
                      <a:pt x="642" y="0"/>
                    </a:lnTo>
                    <a:lnTo>
                      <a:pt x="642"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8" name="Freeform 470"/>
              <p:cNvSpPr>
                <a:spLocks/>
              </p:cNvSpPr>
              <p:nvPr/>
            </p:nvSpPr>
            <p:spPr bwMode="auto">
              <a:xfrm>
                <a:off x="-3668713" y="-3540126"/>
                <a:ext cx="1795463" cy="2046288"/>
              </a:xfrm>
              <a:custGeom>
                <a:avLst/>
                <a:gdLst>
                  <a:gd name="T0" fmla="*/ 215 w 1131"/>
                  <a:gd name="T1" fmla="*/ 1289 h 1289"/>
                  <a:gd name="T2" fmla="*/ 150 w 1131"/>
                  <a:gd name="T3" fmla="*/ 902 h 1289"/>
                  <a:gd name="T4" fmla="*/ 0 w 1131"/>
                  <a:gd name="T5" fmla="*/ 0 h 1289"/>
                  <a:gd name="T6" fmla="*/ 0 w 1131"/>
                  <a:gd name="T7" fmla="*/ 0 h 1289"/>
                  <a:gd name="T8" fmla="*/ 0 w 1131"/>
                  <a:gd name="T9" fmla="*/ 0 h 1289"/>
                  <a:gd name="T10" fmla="*/ 1131 w 1131"/>
                  <a:gd name="T11" fmla="*/ 0 h 1289"/>
                  <a:gd name="T12" fmla="*/ 215 w 1131"/>
                  <a:gd name="T13" fmla="*/ 1289 h 1289"/>
                </a:gdLst>
                <a:ahLst/>
                <a:cxnLst>
                  <a:cxn ang="0">
                    <a:pos x="T0" y="T1"/>
                  </a:cxn>
                  <a:cxn ang="0">
                    <a:pos x="T2" y="T3"/>
                  </a:cxn>
                  <a:cxn ang="0">
                    <a:pos x="T4" y="T5"/>
                  </a:cxn>
                  <a:cxn ang="0">
                    <a:pos x="T6" y="T7"/>
                  </a:cxn>
                  <a:cxn ang="0">
                    <a:pos x="T8" y="T9"/>
                  </a:cxn>
                  <a:cxn ang="0">
                    <a:pos x="T10" y="T11"/>
                  </a:cxn>
                  <a:cxn ang="0">
                    <a:pos x="T12" y="T13"/>
                  </a:cxn>
                </a:cxnLst>
                <a:rect l="0" t="0" r="r" b="b"/>
                <a:pathLst>
                  <a:path w="1131" h="1289">
                    <a:moveTo>
                      <a:pt x="215" y="1289"/>
                    </a:moveTo>
                    <a:lnTo>
                      <a:pt x="150" y="902"/>
                    </a:lnTo>
                    <a:lnTo>
                      <a:pt x="0" y="0"/>
                    </a:lnTo>
                    <a:lnTo>
                      <a:pt x="0" y="0"/>
                    </a:lnTo>
                    <a:lnTo>
                      <a:pt x="0" y="0"/>
                    </a:lnTo>
                    <a:lnTo>
                      <a:pt x="1131" y="0"/>
                    </a:lnTo>
                    <a:lnTo>
                      <a:pt x="215" y="128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79" name="Freeform 471"/>
              <p:cNvSpPr>
                <a:spLocks/>
              </p:cNvSpPr>
              <p:nvPr/>
            </p:nvSpPr>
            <p:spPr bwMode="auto">
              <a:xfrm>
                <a:off x="-3668713" y="-35401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0" name="Freeform 472"/>
              <p:cNvSpPr>
                <a:spLocks/>
              </p:cNvSpPr>
              <p:nvPr/>
            </p:nvSpPr>
            <p:spPr bwMode="auto">
              <a:xfrm>
                <a:off x="-3668713" y="-3540126"/>
                <a:ext cx="238125" cy="1431925"/>
              </a:xfrm>
              <a:custGeom>
                <a:avLst/>
                <a:gdLst>
                  <a:gd name="T0" fmla="*/ 150 w 150"/>
                  <a:gd name="T1" fmla="*/ 902 h 902"/>
                  <a:gd name="T2" fmla="*/ 0 w 150"/>
                  <a:gd name="T3" fmla="*/ 0 h 902"/>
                  <a:gd name="T4" fmla="*/ 0 w 150"/>
                  <a:gd name="T5" fmla="*/ 0 h 902"/>
                  <a:gd name="T6" fmla="*/ 150 w 150"/>
                  <a:gd name="T7" fmla="*/ 902 h 902"/>
                </a:gdLst>
                <a:ahLst/>
                <a:cxnLst>
                  <a:cxn ang="0">
                    <a:pos x="T0" y="T1"/>
                  </a:cxn>
                  <a:cxn ang="0">
                    <a:pos x="T2" y="T3"/>
                  </a:cxn>
                  <a:cxn ang="0">
                    <a:pos x="T4" y="T5"/>
                  </a:cxn>
                  <a:cxn ang="0">
                    <a:pos x="T6" y="T7"/>
                  </a:cxn>
                </a:cxnLst>
                <a:rect l="0" t="0" r="r" b="b"/>
                <a:pathLst>
                  <a:path w="150" h="902">
                    <a:moveTo>
                      <a:pt x="150" y="902"/>
                    </a:moveTo>
                    <a:lnTo>
                      <a:pt x="0" y="0"/>
                    </a:lnTo>
                    <a:lnTo>
                      <a:pt x="0" y="0"/>
                    </a:lnTo>
                    <a:lnTo>
                      <a:pt x="150" y="902"/>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1" name="Freeform 473"/>
              <p:cNvSpPr>
                <a:spLocks/>
              </p:cNvSpPr>
              <p:nvPr/>
            </p:nvSpPr>
            <p:spPr bwMode="auto">
              <a:xfrm>
                <a:off x="-2771775" y="-428626"/>
                <a:ext cx="1917700" cy="2205038"/>
              </a:xfrm>
              <a:custGeom>
                <a:avLst/>
                <a:gdLst>
                  <a:gd name="T0" fmla="*/ 1208 w 1208"/>
                  <a:gd name="T1" fmla="*/ 1389 h 1389"/>
                  <a:gd name="T2" fmla="*/ 0 w 1208"/>
                  <a:gd name="T3" fmla="*/ 979 h 1389"/>
                  <a:gd name="T4" fmla="*/ 566 w 1208"/>
                  <a:gd name="T5" fmla="*/ 0 h 1389"/>
                  <a:gd name="T6" fmla="*/ 566 w 1208"/>
                  <a:gd name="T7" fmla="*/ 0 h 1389"/>
                  <a:gd name="T8" fmla="*/ 566 w 1208"/>
                  <a:gd name="T9" fmla="*/ 0 h 1389"/>
                  <a:gd name="T10" fmla="*/ 566 w 1208"/>
                  <a:gd name="T11" fmla="*/ 0 h 1389"/>
                  <a:gd name="T12" fmla="*/ 566 w 1208"/>
                  <a:gd name="T13" fmla="*/ 0 h 1389"/>
                  <a:gd name="T14" fmla="*/ 1104 w 1208"/>
                  <a:gd name="T15" fmla="*/ 901 h 1389"/>
                  <a:gd name="T16" fmla="*/ 1208 w 1208"/>
                  <a:gd name="T17" fmla="*/ 1075 h 1389"/>
                  <a:gd name="T18" fmla="*/ 1208 w 1208"/>
                  <a:gd name="T19" fmla="*/ 1389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8" h="1389">
                    <a:moveTo>
                      <a:pt x="1208" y="1389"/>
                    </a:moveTo>
                    <a:lnTo>
                      <a:pt x="0" y="979"/>
                    </a:lnTo>
                    <a:lnTo>
                      <a:pt x="566" y="0"/>
                    </a:lnTo>
                    <a:lnTo>
                      <a:pt x="566" y="0"/>
                    </a:lnTo>
                    <a:lnTo>
                      <a:pt x="566" y="0"/>
                    </a:lnTo>
                    <a:lnTo>
                      <a:pt x="566" y="0"/>
                    </a:lnTo>
                    <a:lnTo>
                      <a:pt x="566" y="0"/>
                    </a:lnTo>
                    <a:lnTo>
                      <a:pt x="1104" y="901"/>
                    </a:lnTo>
                    <a:lnTo>
                      <a:pt x="1208" y="1075"/>
                    </a:lnTo>
                    <a:lnTo>
                      <a:pt x="1208" y="138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2" name="Freeform 474"/>
              <p:cNvSpPr>
                <a:spLocks/>
              </p:cNvSpPr>
              <p:nvPr/>
            </p:nvSpPr>
            <p:spPr bwMode="auto">
              <a:xfrm>
                <a:off x="-3327400" y="-2127251"/>
                <a:ext cx="2473325" cy="1698625"/>
              </a:xfrm>
              <a:custGeom>
                <a:avLst/>
                <a:gdLst>
                  <a:gd name="T0" fmla="*/ 916 w 1558"/>
                  <a:gd name="T1" fmla="*/ 1070 h 1070"/>
                  <a:gd name="T2" fmla="*/ 916 w 1558"/>
                  <a:gd name="T3" fmla="*/ 1070 h 1070"/>
                  <a:gd name="T4" fmla="*/ 0 w 1558"/>
                  <a:gd name="T5" fmla="*/ 399 h 1070"/>
                  <a:gd name="T6" fmla="*/ 1558 w 1558"/>
                  <a:gd name="T7" fmla="*/ 0 h 1070"/>
                  <a:gd name="T8" fmla="*/ 1558 w 1558"/>
                  <a:gd name="T9" fmla="*/ 299 h 1070"/>
                  <a:gd name="T10" fmla="*/ 1515 w 1558"/>
                  <a:gd name="T11" fmla="*/ 350 h 1070"/>
                  <a:gd name="T12" fmla="*/ 916 w 1558"/>
                  <a:gd name="T13" fmla="*/ 1070 h 1070"/>
                </a:gdLst>
                <a:ahLst/>
                <a:cxnLst>
                  <a:cxn ang="0">
                    <a:pos x="T0" y="T1"/>
                  </a:cxn>
                  <a:cxn ang="0">
                    <a:pos x="T2" y="T3"/>
                  </a:cxn>
                  <a:cxn ang="0">
                    <a:pos x="T4" y="T5"/>
                  </a:cxn>
                  <a:cxn ang="0">
                    <a:pos x="T6" y="T7"/>
                  </a:cxn>
                  <a:cxn ang="0">
                    <a:pos x="T8" y="T9"/>
                  </a:cxn>
                  <a:cxn ang="0">
                    <a:pos x="T10" y="T11"/>
                  </a:cxn>
                  <a:cxn ang="0">
                    <a:pos x="T12" y="T13"/>
                  </a:cxn>
                </a:cxnLst>
                <a:rect l="0" t="0" r="r" b="b"/>
                <a:pathLst>
                  <a:path w="1558" h="1070">
                    <a:moveTo>
                      <a:pt x="916" y="1070"/>
                    </a:moveTo>
                    <a:lnTo>
                      <a:pt x="916" y="1070"/>
                    </a:lnTo>
                    <a:lnTo>
                      <a:pt x="0" y="399"/>
                    </a:lnTo>
                    <a:lnTo>
                      <a:pt x="1558" y="0"/>
                    </a:lnTo>
                    <a:lnTo>
                      <a:pt x="1558" y="299"/>
                    </a:lnTo>
                    <a:lnTo>
                      <a:pt x="1515" y="350"/>
                    </a:lnTo>
                    <a:lnTo>
                      <a:pt x="916" y="107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3" name="Freeform 475"/>
              <p:cNvSpPr>
                <a:spLocks/>
              </p:cNvSpPr>
              <p:nvPr/>
            </p:nvSpPr>
            <p:spPr bwMode="auto">
              <a:xfrm>
                <a:off x="-1873250" y="-428626"/>
                <a:ext cx="1019175" cy="1706563"/>
              </a:xfrm>
              <a:custGeom>
                <a:avLst/>
                <a:gdLst>
                  <a:gd name="T0" fmla="*/ 642 w 642"/>
                  <a:gd name="T1" fmla="*/ 1075 h 1075"/>
                  <a:gd name="T2" fmla="*/ 538 w 642"/>
                  <a:gd name="T3" fmla="*/ 901 h 1075"/>
                  <a:gd name="T4" fmla="*/ 0 w 642"/>
                  <a:gd name="T5" fmla="*/ 0 h 1075"/>
                  <a:gd name="T6" fmla="*/ 642 w 642"/>
                  <a:gd name="T7" fmla="*/ 193 h 1075"/>
                  <a:gd name="T8" fmla="*/ 642 w 642"/>
                  <a:gd name="T9" fmla="*/ 1075 h 1075"/>
                </a:gdLst>
                <a:ahLst/>
                <a:cxnLst>
                  <a:cxn ang="0">
                    <a:pos x="T0" y="T1"/>
                  </a:cxn>
                  <a:cxn ang="0">
                    <a:pos x="T2" y="T3"/>
                  </a:cxn>
                  <a:cxn ang="0">
                    <a:pos x="T4" y="T5"/>
                  </a:cxn>
                  <a:cxn ang="0">
                    <a:pos x="T6" y="T7"/>
                  </a:cxn>
                  <a:cxn ang="0">
                    <a:pos x="T8" y="T9"/>
                  </a:cxn>
                </a:cxnLst>
                <a:rect l="0" t="0" r="r" b="b"/>
                <a:pathLst>
                  <a:path w="642" h="1075">
                    <a:moveTo>
                      <a:pt x="642" y="1075"/>
                    </a:moveTo>
                    <a:lnTo>
                      <a:pt x="538" y="901"/>
                    </a:lnTo>
                    <a:lnTo>
                      <a:pt x="0" y="0"/>
                    </a:lnTo>
                    <a:lnTo>
                      <a:pt x="642" y="193"/>
                    </a:lnTo>
                    <a:lnTo>
                      <a:pt x="642" y="107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4" name="Freeform 476"/>
              <p:cNvSpPr>
                <a:spLocks/>
              </p:cNvSpPr>
              <p:nvPr/>
            </p:nvSpPr>
            <p:spPr bwMode="auto">
              <a:xfrm>
                <a:off x="-3327400" y="-1493838"/>
                <a:ext cx="1454150" cy="1654175"/>
              </a:xfrm>
              <a:custGeom>
                <a:avLst/>
                <a:gdLst>
                  <a:gd name="T0" fmla="*/ 218 w 916"/>
                  <a:gd name="T1" fmla="*/ 1042 h 1042"/>
                  <a:gd name="T2" fmla="*/ 218 w 916"/>
                  <a:gd name="T3" fmla="*/ 1042 h 1042"/>
                  <a:gd name="T4" fmla="*/ 0 w 916"/>
                  <a:gd name="T5" fmla="*/ 0 h 1042"/>
                  <a:gd name="T6" fmla="*/ 916 w 916"/>
                  <a:gd name="T7" fmla="*/ 671 h 1042"/>
                  <a:gd name="T8" fmla="*/ 916 w 916"/>
                  <a:gd name="T9" fmla="*/ 671 h 1042"/>
                  <a:gd name="T10" fmla="*/ 218 w 916"/>
                  <a:gd name="T11" fmla="*/ 1042 h 1042"/>
                </a:gdLst>
                <a:ahLst/>
                <a:cxnLst>
                  <a:cxn ang="0">
                    <a:pos x="T0" y="T1"/>
                  </a:cxn>
                  <a:cxn ang="0">
                    <a:pos x="T2" y="T3"/>
                  </a:cxn>
                  <a:cxn ang="0">
                    <a:pos x="T4" y="T5"/>
                  </a:cxn>
                  <a:cxn ang="0">
                    <a:pos x="T6" y="T7"/>
                  </a:cxn>
                  <a:cxn ang="0">
                    <a:pos x="T8" y="T9"/>
                  </a:cxn>
                  <a:cxn ang="0">
                    <a:pos x="T10" y="T11"/>
                  </a:cxn>
                </a:cxnLst>
                <a:rect l="0" t="0" r="r" b="b"/>
                <a:pathLst>
                  <a:path w="916" h="1042">
                    <a:moveTo>
                      <a:pt x="218" y="1042"/>
                    </a:moveTo>
                    <a:lnTo>
                      <a:pt x="218" y="1042"/>
                    </a:lnTo>
                    <a:lnTo>
                      <a:pt x="0" y="0"/>
                    </a:lnTo>
                    <a:lnTo>
                      <a:pt x="916" y="671"/>
                    </a:lnTo>
                    <a:lnTo>
                      <a:pt x="916" y="671"/>
                    </a:lnTo>
                    <a:lnTo>
                      <a:pt x="218" y="10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5" name="Freeform 477"/>
              <p:cNvSpPr>
                <a:spLocks/>
              </p:cNvSpPr>
              <p:nvPr/>
            </p:nvSpPr>
            <p:spPr bwMode="auto">
              <a:xfrm>
                <a:off x="-1873250" y="-1652588"/>
                <a:ext cx="1019175" cy="1530350"/>
              </a:xfrm>
              <a:custGeom>
                <a:avLst/>
                <a:gdLst>
                  <a:gd name="T0" fmla="*/ 642 w 642"/>
                  <a:gd name="T1" fmla="*/ 964 h 964"/>
                  <a:gd name="T2" fmla="*/ 0 w 642"/>
                  <a:gd name="T3" fmla="*/ 771 h 964"/>
                  <a:gd name="T4" fmla="*/ 0 w 642"/>
                  <a:gd name="T5" fmla="*/ 771 h 964"/>
                  <a:gd name="T6" fmla="*/ 599 w 642"/>
                  <a:gd name="T7" fmla="*/ 51 h 964"/>
                  <a:gd name="T8" fmla="*/ 642 w 642"/>
                  <a:gd name="T9" fmla="*/ 0 h 964"/>
                  <a:gd name="T10" fmla="*/ 642 w 642"/>
                  <a:gd name="T11" fmla="*/ 964 h 964"/>
                </a:gdLst>
                <a:ahLst/>
                <a:cxnLst>
                  <a:cxn ang="0">
                    <a:pos x="T0" y="T1"/>
                  </a:cxn>
                  <a:cxn ang="0">
                    <a:pos x="T2" y="T3"/>
                  </a:cxn>
                  <a:cxn ang="0">
                    <a:pos x="T4" y="T5"/>
                  </a:cxn>
                  <a:cxn ang="0">
                    <a:pos x="T6" y="T7"/>
                  </a:cxn>
                  <a:cxn ang="0">
                    <a:pos x="T8" y="T9"/>
                  </a:cxn>
                  <a:cxn ang="0">
                    <a:pos x="T10" y="T11"/>
                  </a:cxn>
                </a:cxnLst>
                <a:rect l="0" t="0" r="r" b="b"/>
                <a:pathLst>
                  <a:path w="642" h="964">
                    <a:moveTo>
                      <a:pt x="642" y="964"/>
                    </a:moveTo>
                    <a:lnTo>
                      <a:pt x="0" y="771"/>
                    </a:lnTo>
                    <a:lnTo>
                      <a:pt x="0" y="771"/>
                    </a:lnTo>
                    <a:lnTo>
                      <a:pt x="599" y="51"/>
                    </a:lnTo>
                    <a:lnTo>
                      <a:pt x="642" y="0"/>
                    </a:lnTo>
                    <a:lnTo>
                      <a:pt x="642" y="964"/>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6" name="Freeform 478"/>
              <p:cNvSpPr>
                <a:spLocks/>
              </p:cNvSpPr>
              <p:nvPr/>
            </p:nvSpPr>
            <p:spPr bwMode="auto">
              <a:xfrm>
                <a:off x="-922338" y="-1652588"/>
                <a:ext cx="68263" cy="80963"/>
              </a:xfrm>
              <a:custGeom>
                <a:avLst/>
                <a:gdLst>
                  <a:gd name="T0" fmla="*/ 0 w 43"/>
                  <a:gd name="T1" fmla="*/ 51 h 51"/>
                  <a:gd name="T2" fmla="*/ 43 w 43"/>
                  <a:gd name="T3" fmla="*/ 0 h 51"/>
                  <a:gd name="T4" fmla="*/ 43 w 43"/>
                  <a:gd name="T5" fmla="*/ 0 h 51"/>
                  <a:gd name="T6" fmla="*/ 0 w 43"/>
                  <a:gd name="T7" fmla="*/ 51 h 51"/>
                </a:gdLst>
                <a:ahLst/>
                <a:cxnLst>
                  <a:cxn ang="0">
                    <a:pos x="T0" y="T1"/>
                  </a:cxn>
                  <a:cxn ang="0">
                    <a:pos x="T2" y="T3"/>
                  </a:cxn>
                  <a:cxn ang="0">
                    <a:pos x="T4" y="T5"/>
                  </a:cxn>
                  <a:cxn ang="0">
                    <a:pos x="T6" y="T7"/>
                  </a:cxn>
                </a:cxnLst>
                <a:rect l="0" t="0" r="r" b="b"/>
                <a:pathLst>
                  <a:path w="43" h="51">
                    <a:moveTo>
                      <a:pt x="0" y="51"/>
                    </a:moveTo>
                    <a:lnTo>
                      <a:pt x="43" y="0"/>
                    </a:lnTo>
                    <a:lnTo>
                      <a:pt x="43" y="0"/>
                    </a:lnTo>
                    <a:lnTo>
                      <a:pt x="0" y="51"/>
                    </a:lnTo>
                    <a:close/>
                  </a:path>
                </a:pathLst>
              </a:custGeom>
              <a:solidFill>
                <a:srgbClr val="5A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7" name="Freeform 479"/>
              <p:cNvSpPr>
                <a:spLocks/>
              </p:cNvSpPr>
              <p:nvPr/>
            </p:nvSpPr>
            <p:spPr bwMode="auto">
              <a:xfrm>
                <a:off x="-2981325" y="-428626"/>
                <a:ext cx="1108075" cy="1554163"/>
              </a:xfrm>
              <a:custGeom>
                <a:avLst/>
                <a:gdLst>
                  <a:gd name="T0" fmla="*/ 132 w 698"/>
                  <a:gd name="T1" fmla="*/ 979 h 979"/>
                  <a:gd name="T2" fmla="*/ 78 w 698"/>
                  <a:gd name="T3" fmla="*/ 730 h 979"/>
                  <a:gd name="T4" fmla="*/ 0 w 698"/>
                  <a:gd name="T5" fmla="*/ 371 h 979"/>
                  <a:gd name="T6" fmla="*/ 0 w 698"/>
                  <a:gd name="T7" fmla="*/ 371 h 979"/>
                  <a:gd name="T8" fmla="*/ 698 w 698"/>
                  <a:gd name="T9" fmla="*/ 0 h 979"/>
                  <a:gd name="T10" fmla="*/ 132 w 698"/>
                  <a:gd name="T11" fmla="*/ 979 h 979"/>
                </a:gdLst>
                <a:ahLst/>
                <a:cxnLst>
                  <a:cxn ang="0">
                    <a:pos x="T0" y="T1"/>
                  </a:cxn>
                  <a:cxn ang="0">
                    <a:pos x="T2" y="T3"/>
                  </a:cxn>
                  <a:cxn ang="0">
                    <a:pos x="T4" y="T5"/>
                  </a:cxn>
                  <a:cxn ang="0">
                    <a:pos x="T6" y="T7"/>
                  </a:cxn>
                  <a:cxn ang="0">
                    <a:pos x="T8" y="T9"/>
                  </a:cxn>
                  <a:cxn ang="0">
                    <a:pos x="T10" y="T11"/>
                  </a:cxn>
                </a:cxnLst>
                <a:rect l="0" t="0" r="r" b="b"/>
                <a:pathLst>
                  <a:path w="698" h="979">
                    <a:moveTo>
                      <a:pt x="132" y="979"/>
                    </a:moveTo>
                    <a:lnTo>
                      <a:pt x="78" y="730"/>
                    </a:lnTo>
                    <a:lnTo>
                      <a:pt x="0" y="371"/>
                    </a:lnTo>
                    <a:lnTo>
                      <a:pt x="0" y="371"/>
                    </a:lnTo>
                    <a:lnTo>
                      <a:pt x="698" y="0"/>
                    </a:lnTo>
                    <a:lnTo>
                      <a:pt x="132" y="97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8" name="Freeform 480"/>
              <p:cNvSpPr>
                <a:spLocks/>
              </p:cNvSpPr>
              <p:nvPr/>
            </p:nvSpPr>
            <p:spPr bwMode="auto">
              <a:xfrm>
                <a:off x="-2981325" y="160337"/>
                <a:ext cx="123825" cy="569913"/>
              </a:xfrm>
              <a:custGeom>
                <a:avLst/>
                <a:gdLst>
                  <a:gd name="T0" fmla="*/ 78 w 78"/>
                  <a:gd name="T1" fmla="*/ 359 h 359"/>
                  <a:gd name="T2" fmla="*/ 0 w 78"/>
                  <a:gd name="T3" fmla="*/ 0 h 359"/>
                  <a:gd name="T4" fmla="*/ 0 w 78"/>
                  <a:gd name="T5" fmla="*/ 0 h 359"/>
                  <a:gd name="T6" fmla="*/ 78 w 78"/>
                  <a:gd name="T7" fmla="*/ 359 h 359"/>
                </a:gdLst>
                <a:ahLst/>
                <a:cxnLst>
                  <a:cxn ang="0">
                    <a:pos x="T0" y="T1"/>
                  </a:cxn>
                  <a:cxn ang="0">
                    <a:pos x="T2" y="T3"/>
                  </a:cxn>
                  <a:cxn ang="0">
                    <a:pos x="T4" y="T5"/>
                  </a:cxn>
                  <a:cxn ang="0">
                    <a:pos x="T6" y="T7"/>
                  </a:cxn>
                </a:cxnLst>
                <a:rect l="0" t="0" r="r" b="b"/>
                <a:pathLst>
                  <a:path w="78" h="359">
                    <a:moveTo>
                      <a:pt x="78" y="359"/>
                    </a:moveTo>
                    <a:lnTo>
                      <a:pt x="0" y="0"/>
                    </a:lnTo>
                    <a:lnTo>
                      <a:pt x="0" y="0"/>
                    </a:lnTo>
                    <a:lnTo>
                      <a:pt x="78" y="359"/>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89" name="Freeform 481"/>
              <p:cNvSpPr>
                <a:spLocks/>
              </p:cNvSpPr>
              <p:nvPr/>
            </p:nvSpPr>
            <p:spPr bwMode="auto">
              <a:xfrm>
                <a:off x="-2771775" y="-428626"/>
                <a:ext cx="898525" cy="1554163"/>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0" name="Freeform 482"/>
              <p:cNvSpPr>
                <a:spLocks noEditPoints="1"/>
              </p:cNvSpPr>
              <p:nvPr/>
            </p:nvSpPr>
            <p:spPr bwMode="auto">
              <a:xfrm>
                <a:off x="-2771775" y="2682875"/>
                <a:ext cx="898525" cy="2232025"/>
              </a:xfrm>
              <a:custGeom>
                <a:avLst/>
                <a:gdLst>
                  <a:gd name="T0" fmla="*/ 940 w 1179"/>
                  <a:gd name="T1" fmla="*/ 2930 h 2930"/>
                  <a:gd name="T2" fmla="*/ 0 w 1179"/>
                  <a:gd name="T3" fmla="*/ 2041 h 2930"/>
                  <a:gd name="T4" fmla="*/ 1179 w 1179"/>
                  <a:gd name="T5" fmla="*/ 0 h 2930"/>
                  <a:gd name="T6" fmla="*/ 940 w 1179"/>
                  <a:gd name="T7" fmla="*/ 2930 h 2930"/>
                  <a:gd name="T8" fmla="*/ 1179 w 1179"/>
                  <a:gd name="T9" fmla="*/ 0 h 2930"/>
                  <a:gd name="T10" fmla="*/ 1179 w 1179"/>
                  <a:gd name="T11" fmla="*/ 0 h 2930"/>
                </a:gdLst>
                <a:ahLst/>
                <a:cxnLst>
                  <a:cxn ang="0">
                    <a:pos x="T0" y="T1"/>
                  </a:cxn>
                  <a:cxn ang="0">
                    <a:pos x="T2" y="T3"/>
                  </a:cxn>
                  <a:cxn ang="0">
                    <a:pos x="T4" y="T5"/>
                  </a:cxn>
                  <a:cxn ang="0">
                    <a:pos x="T6" y="T7"/>
                  </a:cxn>
                  <a:cxn ang="0">
                    <a:pos x="T8" y="T9"/>
                  </a:cxn>
                  <a:cxn ang="0">
                    <a:pos x="T10" y="T11"/>
                  </a:cxn>
                </a:cxnLst>
                <a:rect l="0" t="0" r="r" b="b"/>
                <a:pathLst>
                  <a:path w="1179" h="2930">
                    <a:moveTo>
                      <a:pt x="940" y="2930"/>
                    </a:moveTo>
                    <a:lnTo>
                      <a:pt x="0" y="2041"/>
                    </a:lnTo>
                    <a:lnTo>
                      <a:pt x="1179" y="0"/>
                    </a:lnTo>
                    <a:lnTo>
                      <a:pt x="940" y="2930"/>
                    </a:lnTo>
                    <a:moveTo>
                      <a:pt x="1179" y="0"/>
                    </a:moveTo>
                    <a:lnTo>
                      <a:pt x="1179"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1" name="Freeform 483"/>
              <p:cNvSpPr>
                <a:spLocks/>
              </p:cNvSpPr>
              <p:nvPr/>
            </p:nvSpPr>
            <p:spPr bwMode="auto">
              <a:xfrm>
                <a:off x="-2771775" y="1125537"/>
                <a:ext cx="1917700" cy="1557338"/>
              </a:xfrm>
              <a:custGeom>
                <a:avLst/>
                <a:gdLst>
                  <a:gd name="T0" fmla="*/ 566 w 1208"/>
                  <a:gd name="T1" fmla="*/ 981 h 981"/>
                  <a:gd name="T2" fmla="*/ 566 w 1208"/>
                  <a:gd name="T3" fmla="*/ 981 h 981"/>
                  <a:gd name="T4" fmla="*/ 0 w 1208"/>
                  <a:gd name="T5" fmla="*/ 0 h 981"/>
                  <a:gd name="T6" fmla="*/ 1208 w 1208"/>
                  <a:gd name="T7" fmla="*/ 410 h 981"/>
                  <a:gd name="T8" fmla="*/ 1208 w 1208"/>
                  <a:gd name="T9" fmla="*/ 621 h 981"/>
                  <a:gd name="T10" fmla="*/ 933 w 1208"/>
                  <a:gd name="T11" fmla="*/ 775 h 981"/>
                  <a:gd name="T12" fmla="*/ 566 w 1208"/>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208" h="981">
                    <a:moveTo>
                      <a:pt x="566" y="981"/>
                    </a:moveTo>
                    <a:lnTo>
                      <a:pt x="566" y="981"/>
                    </a:lnTo>
                    <a:lnTo>
                      <a:pt x="0" y="0"/>
                    </a:lnTo>
                    <a:lnTo>
                      <a:pt x="1208" y="410"/>
                    </a:lnTo>
                    <a:lnTo>
                      <a:pt x="1208" y="621"/>
                    </a:lnTo>
                    <a:lnTo>
                      <a:pt x="933" y="775"/>
                    </a:lnTo>
                    <a:lnTo>
                      <a:pt x="566"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2" name="Freeform 484"/>
              <p:cNvSpPr>
                <a:spLocks/>
              </p:cNvSpPr>
              <p:nvPr/>
            </p:nvSpPr>
            <p:spPr bwMode="auto">
              <a:xfrm>
                <a:off x="-2054225" y="2682875"/>
                <a:ext cx="1200150" cy="2232025"/>
              </a:xfrm>
              <a:custGeom>
                <a:avLst/>
                <a:gdLst>
                  <a:gd name="T0" fmla="*/ 0 w 756"/>
                  <a:gd name="T1" fmla="*/ 1406 h 1406"/>
                  <a:gd name="T2" fmla="*/ 114 w 756"/>
                  <a:gd name="T3" fmla="*/ 0 h 1406"/>
                  <a:gd name="T4" fmla="*/ 756 w 756"/>
                  <a:gd name="T5" fmla="*/ 0 h 1406"/>
                  <a:gd name="T6" fmla="*/ 756 w 756"/>
                  <a:gd name="T7" fmla="*/ 553 h 1406"/>
                  <a:gd name="T8" fmla="*/ 0 w 756"/>
                  <a:gd name="T9" fmla="*/ 1406 h 1406"/>
                </a:gdLst>
                <a:ahLst/>
                <a:cxnLst>
                  <a:cxn ang="0">
                    <a:pos x="T0" y="T1"/>
                  </a:cxn>
                  <a:cxn ang="0">
                    <a:pos x="T2" y="T3"/>
                  </a:cxn>
                  <a:cxn ang="0">
                    <a:pos x="T4" y="T5"/>
                  </a:cxn>
                  <a:cxn ang="0">
                    <a:pos x="T6" y="T7"/>
                  </a:cxn>
                  <a:cxn ang="0">
                    <a:pos x="T8" y="T9"/>
                  </a:cxn>
                </a:cxnLst>
                <a:rect l="0" t="0" r="r" b="b"/>
                <a:pathLst>
                  <a:path w="756" h="1406">
                    <a:moveTo>
                      <a:pt x="0" y="1406"/>
                    </a:moveTo>
                    <a:lnTo>
                      <a:pt x="114" y="0"/>
                    </a:lnTo>
                    <a:lnTo>
                      <a:pt x="756" y="0"/>
                    </a:lnTo>
                    <a:lnTo>
                      <a:pt x="756" y="553"/>
                    </a:lnTo>
                    <a:lnTo>
                      <a:pt x="0" y="140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3" name="Freeform 485"/>
              <p:cNvSpPr>
                <a:spLocks noEditPoints="1"/>
              </p:cNvSpPr>
              <p:nvPr/>
            </p:nvSpPr>
            <p:spPr bwMode="auto">
              <a:xfrm>
                <a:off x="-4413250" y="1125537"/>
                <a:ext cx="2540000" cy="1987550"/>
              </a:xfrm>
              <a:custGeom>
                <a:avLst/>
                <a:gdLst>
                  <a:gd name="T0" fmla="*/ 0 w 3333"/>
                  <a:gd name="T1" fmla="*/ 2608 h 2608"/>
                  <a:gd name="T2" fmla="*/ 0 w 3333"/>
                  <a:gd name="T3" fmla="*/ 2608 h 2608"/>
                  <a:gd name="T4" fmla="*/ 0 w 3333"/>
                  <a:gd name="T5" fmla="*/ 2608 h 2608"/>
                  <a:gd name="T6" fmla="*/ 0 w 3333"/>
                  <a:gd name="T7" fmla="*/ 2608 h 2608"/>
                  <a:gd name="T8" fmla="*/ 0 w 3333"/>
                  <a:gd name="T9" fmla="*/ 2608 h 2608"/>
                  <a:gd name="T10" fmla="*/ 2154 w 3333"/>
                  <a:gd name="T11" fmla="*/ 0 h 2608"/>
                  <a:gd name="T12" fmla="*/ 3333 w 3333"/>
                  <a:gd name="T13" fmla="*/ 2042 h 2608"/>
                  <a:gd name="T14" fmla="*/ 3333 w 3333"/>
                  <a:gd name="T15" fmla="*/ 2042 h 2608"/>
                  <a:gd name="T16" fmla="*/ 0 w 3333"/>
                  <a:gd name="T17" fmla="*/ 2608 h 2608"/>
                  <a:gd name="T18" fmla="*/ 3333 w 3333"/>
                  <a:gd name="T19" fmla="*/ 2042 h 2608"/>
                  <a:gd name="T20" fmla="*/ 3333 w 3333"/>
                  <a:gd name="T21" fmla="*/ 2042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33" h="2608">
                    <a:moveTo>
                      <a:pt x="0" y="2608"/>
                    </a:moveTo>
                    <a:lnTo>
                      <a:pt x="0" y="2608"/>
                    </a:lnTo>
                    <a:lnTo>
                      <a:pt x="0" y="2608"/>
                    </a:lnTo>
                    <a:lnTo>
                      <a:pt x="0" y="2608"/>
                    </a:lnTo>
                    <a:moveTo>
                      <a:pt x="0" y="2608"/>
                    </a:moveTo>
                    <a:lnTo>
                      <a:pt x="2154" y="0"/>
                    </a:lnTo>
                    <a:lnTo>
                      <a:pt x="3333" y="2042"/>
                    </a:lnTo>
                    <a:lnTo>
                      <a:pt x="3333" y="2042"/>
                    </a:lnTo>
                    <a:lnTo>
                      <a:pt x="0" y="2608"/>
                    </a:lnTo>
                    <a:moveTo>
                      <a:pt x="3333" y="2042"/>
                    </a:moveTo>
                    <a:lnTo>
                      <a:pt x="3333" y="2042"/>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4" name="Freeform 486"/>
              <p:cNvSpPr>
                <a:spLocks/>
              </p:cNvSpPr>
              <p:nvPr/>
            </p:nvSpPr>
            <p:spPr bwMode="auto">
              <a:xfrm>
                <a:off x="-1873250" y="2111375"/>
                <a:ext cx="1019175" cy="571500"/>
              </a:xfrm>
              <a:custGeom>
                <a:avLst/>
                <a:gdLst>
                  <a:gd name="T0" fmla="*/ 0 w 642"/>
                  <a:gd name="T1" fmla="*/ 360 h 360"/>
                  <a:gd name="T2" fmla="*/ 0 w 642"/>
                  <a:gd name="T3" fmla="*/ 360 h 360"/>
                  <a:gd name="T4" fmla="*/ 367 w 642"/>
                  <a:gd name="T5" fmla="*/ 154 h 360"/>
                  <a:gd name="T6" fmla="*/ 642 w 642"/>
                  <a:gd name="T7" fmla="*/ 0 h 360"/>
                  <a:gd name="T8" fmla="*/ 642 w 642"/>
                  <a:gd name="T9" fmla="*/ 360 h 360"/>
                  <a:gd name="T10" fmla="*/ 0 w 642"/>
                  <a:gd name="T11" fmla="*/ 360 h 360"/>
                </a:gdLst>
                <a:ahLst/>
                <a:cxnLst>
                  <a:cxn ang="0">
                    <a:pos x="T0" y="T1"/>
                  </a:cxn>
                  <a:cxn ang="0">
                    <a:pos x="T2" y="T3"/>
                  </a:cxn>
                  <a:cxn ang="0">
                    <a:pos x="T4" y="T5"/>
                  </a:cxn>
                  <a:cxn ang="0">
                    <a:pos x="T6" y="T7"/>
                  </a:cxn>
                  <a:cxn ang="0">
                    <a:pos x="T8" y="T9"/>
                  </a:cxn>
                  <a:cxn ang="0">
                    <a:pos x="T10" y="T11"/>
                  </a:cxn>
                </a:cxnLst>
                <a:rect l="0" t="0" r="r" b="b"/>
                <a:pathLst>
                  <a:path w="642" h="360">
                    <a:moveTo>
                      <a:pt x="0" y="360"/>
                    </a:moveTo>
                    <a:lnTo>
                      <a:pt x="0" y="360"/>
                    </a:lnTo>
                    <a:lnTo>
                      <a:pt x="367" y="154"/>
                    </a:lnTo>
                    <a:lnTo>
                      <a:pt x="642" y="0"/>
                    </a:lnTo>
                    <a:lnTo>
                      <a:pt x="642" y="360"/>
                    </a:lnTo>
                    <a:lnTo>
                      <a:pt x="0" y="36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5" name="Freeform 487"/>
              <p:cNvSpPr>
                <a:spLocks/>
              </p:cNvSpPr>
              <p:nvPr/>
            </p:nvSpPr>
            <p:spPr bwMode="auto">
              <a:xfrm>
                <a:off x="-1290638" y="2111375"/>
                <a:ext cx="436563" cy="244475"/>
              </a:xfrm>
              <a:custGeom>
                <a:avLst/>
                <a:gdLst>
                  <a:gd name="T0" fmla="*/ 0 w 275"/>
                  <a:gd name="T1" fmla="*/ 154 h 154"/>
                  <a:gd name="T2" fmla="*/ 275 w 275"/>
                  <a:gd name="T3" fmla="*/ 0 h 154"/>
                  <a:gd name="T4" fmla="*/ 275 w 275"/>
                  <a:gd name="T5" fmla="*/ 0 h 154"/>
                  <a:gd name="T6" fmla="*/ 0 w 275"/>
                  <a:gd name="T7" fmla="*/ 154 h 154"/>
                </a:gdLst>
                <a:ahLst/>
                <a:cxnLst>
                  <a:cxn ang="0">
                    <a:pos x="T0" y="T1"/>
                  </a:cxn>
                  <a:cxn ang="0">
                    <a:pos x="T2" y="T3"/>
                  </a:cxn>
                  <a:cxn ang="0">
                    <a:pos x="T4" y="T5"/>
                  </a:cxn>
                  <a:cxn ang="0">
                    <a:pos x="T6" y="T7"/>
                  </a:cxn>
                </a:cxnLst>
                <a:rect l="0" t="0" r="r" b="b"/>
                <a:pathLst>
                  <a:path w="275" h="154">
                    <a:moveTo>
                      <a:pt x="0" y="154"/>
                    </a:moveTo>
                    <a:lnTo>
                      <a:pt x="275" y="0"/>
                    </a:lnTo>
                    <a:lnTo>
                      <a:pt x="275" y="0"/>
                    </a:lnTo>
                    <a:lnTo>
                      <a:pt x="0" y="15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6" name="Freeform 488"/>
              <p:cNvSpPr>
                <a:spLocks/>
              </p:cNvSpPr>
              <p:nvPr/>
            </p:nvSpPr>
            <p:spPr bwMode="auto">
              <a:xfrm>
                <a:off x="-4413250" y="2682875"/>
                <a:ext cx="2540000" cy="1554163"/>
              </a:xfrm>
              <a:custGeom>
                <a:avLst/>
                <a:gdLst>
                  <a:gd name="T0" fmla="*/ 1034 w 1600"/>
                  <a:gd name="T1" fmla="*/ 979 h 979"/>
                  <a:gd name="T2" fmla="*/ 0 w 1600"/>
                  <a:gd name="T3" fmla="*/ 271 h 979"/>
                  <a:gd name="T4" fmla="*/ 0 w 1600"/>
                  <a:gd name="T5" fmla="*/ 271 h 979"/>
                  <a:gd name="T6" fmla="*/ 1600 w 1600"/>
                  <a:gd name="T7" fmla="*/ 0 h 979"/>
                  <a:gd name="T8" fmla="*/ 1034 w 1600"/>
                  <a:gd name="T9" fmla="*/ 979 h 979"/>
                </a:gdLst>
                <a:ahLst/>
                <a:cxnLst>
                  <a:cxn ang="0">
                    <a:pos x="T0" y="T1"/>
                  </a:cxn>
                  <a:cxn ang="0">
                    <a:pos x="T2" y="T3"/>
                  </a:cxn>
                  <a:cxn ang="0">
                    <a:pos x="T4" y="T5"/>
                  </a:cxn>
                  <a:cxn ang="0">
                    <a:pos x="T6" y="T7"/>
                  </a:cxn>
                  <a:cxn ang="0">
                    <a:pos x="T8" y="T9"/>
                  </a:cxn>
                </a:cxnLst>
                <a:rect l="0" t="0" r="r" b="b"/>
                <a:pathLst>
                  <a:path w="1600" h="979">
                    <a:moveTo>
                      <a:pt x="1034" y="979"/>
                    </a:moveTo>
                    <a:lnTo>
                      <a:pt x="0" y="271"/>
                    </a:lnTo>
                    <a:lnTo>
                      <a:pt x="0" y="271"/>
                    </a:lnTo>
                    <a:lnTo>
                      <a:pt x="1600" y="0"/>
                    </a:lnTo>
                    <a:lnTo>
                      <a:pt x="1034"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7" name="Freeform 489"/>
              <p:cNvSpPr>
                <a:spLocks noEditPoints="1"/>
              </p:cNvSpPr>
              <p:nvPr/>
            </p:nvSpPr>
            <p:spPr bwMode="auto">
              <a:xfrm>
                <a:off x="-2438400" y="5792787"/>
                <a:ext cx="1517650" cy="1866900"/>
              </a:xfrm>
              <a:custGeom>
                <a:avLst/>
                <a:gdLst>
                  <a:gd name="T0" fmla="*/ 184 w 1992"/>
                  <a:gd name="T1" fmla="*/ 2449 h 2449"/>
                  <a:gd name="T2" fmla="*/ 0 w 1992"/>
                  <a:gd name="T3" fmla="*/ 2449 h 2449"/>
                  <a:gd name="T4" fmla="*/ 742 w 1992"/>
                  <a:gd name="T5" fmla="*/ 0 h 2449"/>
                  <a:gd name="T6" fmla="*/ 1342 w 1992"/>
                  <a:gd name="T7" fmla="*/ 650 h 2449"/>
                  <a:gd name="T8" fmla="*/ 1992 w 1992"/>
                  <a:gd name="T9" fmla="*/ 1354 h 2449"/>
                  <a:gd name="T10" fmla="*/ 184 w 1992"/>
                  <a:gd name="T11" fmla="*/ 2449 h 2449"/>
                  <a:gd name="T12" fmla="*/ 742 w 1992"/>
                  <a:gd name="T13" fmla="*/ 0 h 2449"/>
                  <a:gd name="T14" fmla="*/ 742 w 1992"/>
                  <a:gd name="T15" fmla="*/ 0 h 2449"/>
                  <a:gd name="T16" fmla="*/ 742 w 1992"/>
                  <a:gd name="T17" fmla="*/ 0 h 2449"/>
                  <a:gd name="T18" fmla="*/ 742 w 1992"/>
                  <a:gd name="T19" fmla="*/ 0 h 2449"/>
                  <a:gd name="T20" fmla="*/ 742 w 1992"/>
                  <a:gd name="T21" fmla="*/ 0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2" h="2449">
                    <a:moveTo>
                      <a:pt x="184" y="2449"/>
                    </a:moveTo>
                    <a:lnTo>
                      <a:pt x="0" y="2449"/>
                    </a:lnTo>
                    <a:lnTo>
                      <a:pt x="742" y="0"/>
                    </a:lnTo>
                    <a:lnTo>
                      <a:pt x="1342" y="650"/>
                    </a:lnTo>
                    <a:lnTo>
                      <a:pt x="1992" y="1354"/>
                    </a:lnTo>
                    <a:lnTo>
                      <a:pt x="184" y="2449"/>
                    </a:lnTo>
                    <a:moveTo>
                      <a:pt x="742" y="0"/>
                    </a:moveTo>
                    <a:lnTo>
                      <a:pt x="742" y="0"/>
                    </a:lnTo>
                    <a:moveTo>
                      <a:pt x="742" y="0"/>
                    </a:moveTo>
                    <a:lnTo>
                      <a:pt x="742" y="0"/>
                    </a:lnTo>
                    <a:lnTo>
                      <a:pt x="742"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8" name="Freeform 490"/>
              <p:cNvSpPr>
                <a:spLocks/>
              </p:cNvSpPr>
              <p:nvPr/>
            </p:nvSpPr>
            <p:spPr bwMode="auto">
              <a:xfrm>
                <a:off x="-2771775" y="4237037"/>
                <a:ext cx="898525" cy="1555750"/>
              </a:xfrm>
              <a:custGeom>
                <a:avLst/>
                <a:gdLst>
                  <a:gd name="T0" fmla="*/ 566 w 566"/>
                  <a:gd name="T1" fmla="*/ 980 h 980"/>
                  <a:gd name="T2" fmla="*/ 0 w 566"/>
                  <a:gd name="T3" fmla="*/ 0 h 980"/>
                  <a:gd name="T4" fmla="*/ 452 w 566"/>
                  <a:gd name="T5" fmla="*/ 427 h 980"/>
                  <a:gd name="T6" fmla="*/ 547 w 566"/>
                  <a:gd name="T7" fmla="*/ 885 h 980"/>
                  <a:gd name="T8" fmla="*/ 566 w 566"/>
                  <a:gd name="T9" fmla="*/ 980 h 980"/>
                </a:gdLst>
                <a:ahLst/>
                <a:cxnLst>
                  <a:cxn ang="0">
                    <a:pos x="T0" y="T1"/>
                  </a:cxn>
                  <a:cxn ang="0">
                    <a:pos x="T2" y="T3"/>
                  </a:cxn>
                  <a:cxn ang="0">
                    <a:pos x="T4" y="T5"/>
                  </a:cxn>
                  <a:cxn ang="0">
                    <a:pos x="T6" y="T7"/>
                  </a:cxn>
                  <a:cxn ang="0">
                    <a:pos x="T8" y="T9"/>
                  </a:cxn>
                </a:cxnLst>
                <a:rect l="0" t="0" r="r" b="b"/>
                <a:pathLst>
                  <a:path w="566" h="980">
                    <a:moveTo>
                      <a:pt x="566" y="980"/>
                    </a:moveTo>
                    <a:lnTo>
                      <a:pt x="0" y="0"/>
                    </a:lnTo>
                    <a:lnTo>
                      <a:pt x="452" y="427"/>
                    </a:lnTo>
                    <a:lnTo>
                      <a:pt x="547" y="88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399" name="Freeform 491"/>
              <p:cNvSpPr>
                <a:spLocks/>
              </p:cNvSpPr>
              <p:nvPr/>
            </p:nvSpPr>
            <p:spPr bwMode="auto">
              <a:xfrm>
                <a:off x="-1873250" y="5792787"/>
                <a:ext cx="1019175" cy="1031875"/>
              </a:xfrm>
              <a:custGeom>
                <a:avLst/>
                <a:gdLst>
                  <a:gd name="T0" fmla="*/ 600 w 642"/>
                  <a:gd name="T1" fmla="*/ 650 h 650"/>
                  <a:gd name="T2" fmla="*/ 288 w 642"/>
                  <a:gd name="T3" fmla="*/ 312 h 650"/>
                  <a:gd name="T4" fmla="*/ 0 w 642"/>
                  <a:gd name="T5" fmla="*/ 0 h 650"/>
                  <a:gd name="T6" fmla="*/ 642 w 642"/>
                  <a:gd name="T7" fmla="*/ 0 h 650"/>
                  <a:gd name="T8" fmla="*/ 642 w 642"/>
                  <a:gd name="T9" fmla="*/ 600 h 650"/>
                  <a:gd name="T10" fmla="*/ 600 w 642"/>
                  <a:gd name="T11" fmla="*/ 650 h 650"/>
                </a:gdLst>
                <a:ahLst/>
                <a:cxnLst>
                  <a:cxn ang="0">
                    <a:pos x="T0" y="T1"/>
                  </a:cxn>
                  <a:cxn ang="0">
                    <a:pos x="T2" y="T3"/>
                  </a:cxn>
                  <a:cxn ang="0">
                    <a:pos x="T4" y="T5"/>
                  </a:cxn>
                  <a:cxn ang="0">
                    <a:pos x="T6" y="T7"/>
                  </a:cxn>
                  <a:cxn ang="0">
                    <a:pos x="T8" y="T9"/>
                  </a:cxn>
                  <a:cxn ang="0">
                    <a:pos x="T10" y="T11"/>
                  </a:cxn>
                </a:cxnLst>
                <a:rect l="0" t="0" r="r" b="b"/>
                <a:pathLst>
                  <a:path w="642" h="650">
                    <a:moveTo>
                      <a:pt x="600" y="650"/>
                    </a:moveTo>
                    <a:lnTo>
                      <a:pt x="288" y="312"/>
                    </a:lnTo>
                    <a:lnTo>
                      <a:pt x="0" y="0"/>
                    </a:lnTo>
                    <a:lnTo>
                      <a:pt x="642" y="0"/>
                    </a:lnTo>
                    <a:lnTo>
                      <a:pt x="642" y="600"/>
                    </a:lnTo>
                    <a:lnTo>
                      <a:pt x="600" y="650"/>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0" name="Freeform 492"/>
              <p:cNvSpPr>
                <a:spLocks noEditPoints="1"/>
              </p:cNvSpPr>
              <p:nvPr/>
            </p:nvSpPr>
            <p:spPr bwMode="auto">
              <a:xfrm>
                <a:off x="-4214813" y="4237037"/>
                <a:ext cx="2341563" cy="2058988"/>
              </a:xfrm>
              <a:custGeom>
                <a:avLst/>
                <a:gdLst>
                  <a:gd name="T0" fmla="*/ 0 w 3073"/>
                  <a:gd name="T1" fmla="*/ 2701 h 2701"/>
                  <a:gd name="T2" fmla="*/ 0 w 3073"/>
                  <a:gd name="T3" fmla="*/ 2701 h 2701"/>
                  <a:gd name="T4" fmla="*/ 0 w 3073"/>
                  <a:gd name="T5" fmla="*/ 2701 h 2701"/>
                  <a:gd name="T6" fmla="*/ 0 w 3073"/>
                  <a:gd name="T7" fmla="*/ 2701 h 2701"/>
                  <a:gd name="T8" fmla="*/ 0 w 3073"/>
                  <a:gd name="T9" fmla="*/ 2701 h 2701"/>
                  <a:gd name="T10" fmla="*/ 1894 w 3073"/>
                  <a:gd name="T11" fmla="*/ 0 h 2701"/>
                  <a:gd name="T12" fmla="*/ 3073 w 3073"/>
                  <a:gd name="T13" fmla="*/ 2042 h 2701"/>
                  <a:gd name="T14" fmla="*/ 3073 w 3073"/>
                  <a:gd name="T15" fmla="*/ 2042 h 2701"/>
                  <a:gd name="T16" fmla="*/ 0 w 3073"/>
                  <a:gd name="T17" fmla="*/ 2701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701">
                    <a:moveTo>
                      <a:pt x="0" y="2701"/>
                    </a:moveTo>
                    <a:lnTo>
                      <a:pt x="0" y="2701"/>
                    </a:lnTo>
                    <a:lnTo>
                      <a:pt x="0" y="2701"/>
                    </a:lnTo>
                    <a:lnTo>
                      <a:pt x="0" y="2701"/>
                    </a:lnTo>
                    <a:moveTo>
                      <a:pt x="0" y="2701"/>
                    </a:moveTo>
                    <a:lnTo>
                      <a:pt x="1894" y="0"/>
                    </a:lnTo>
                    <a:lnTo>
                      <a:pt x="3073" y="2042"/>
                    </a:lnTo>
                    <a:lnTo>
                      <a:pt x="3073" y="2042"/>
                    </a:lnTo>
                    <a:lnTo>
                      <a:pt x="0" y="270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1" name="Freeform 493"/>
              <p:cNvSpPr>
                <a:spLocks/>
              </p:cNvSpPr>
              <p:nvPr/>
            </p:nvSpPr>
            <p:spPr bwMode="auto">
              <a:xfrm>
                <a:off x="-2054225" y="4914900"/>
                <a:ext cx="1200150" cy="877888"/>
              </a:xfrm>
              <a:custGeom>
                <a:avLst/>
                <a:gdLst>
                  <a:gd name="T0" fmla="*/ 114 w 756"/>
                  <a:gd name="T1" fmla="*/ 553 h 553"/>
                  <a:gd name="T2" fmla="*/ 114 w 756"/>
                  <a:gd name="T3" fmla="*/ 553 h 553"/>
                  <a:gd name="T4" fmla="*/ 114 w 756"/>
                  <a:gd name="T5" fmla="*/ 553 h 553"/>
                  <a:gd name="T6" fmla="*/ 95 w 756"/>
                  <a:gd name="T7" fmla="*/ 458 h 553"/>
                  <a:gd name="T8" fmla="*/ 0 w 756"/>
                  <a:gd name="T9" fmla="*/ 0 h 553"/>
                  <a:gd name="T10" fmla="*/ 756 w 756"/>
                  <a:gd name="T11" fmla="*/ 336 h 553"/>
                  <a:gd name="T12" fmla="*/ 756 w 756"/>
                  <a:gd name="T13" fmla="*/ 553 h 553"/>
                  <a:gd name="T14" fmla="*/ 114 w 756"/>
                  <a:gd name="T15" fmla="*/ 553 h 5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6" h="553">
                    <a:moveTo>
                      <a:pt x="114" y="553"/>
                    </a:moveTo>
                    <a:lnTo>
                      <a:pt x="114" y="553"/>
                    </a:lnTo>
                    <a:lnTo>
                      <a:pt x="114" y="553"/>
                    </a:lnTo>
                    <a:lnTo>
                      <a:pt x="95" y="458"/>
                    </a:lnTo>
                    <a:lnTo>
                      <a:pt x="0" y="0"/>
                    </a:lnTo>
                    <a:lnTo>
                      <a:pt x="756" y="336"/>
                    </a:lnTo>
                    <a:lnTo>
                      <a:pt x="756" y="553"/>
                    </a:lnTo>
                    <a:lnTo>
                      <a:pt x="114" y="5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2" name="Freeform 494"/>
              <p:cNvSpPr>
                <a:spLocks noEditPoints="1"/>
              </p:cNvSpPr>
              <p:nvPr/>
            </p:nvSpPr>
            <p:spPr bwMode="auto">
              <a:xfrm>
                <a:off x="-4214813" y="5792787"/>
                <a:ext cx="2341563" cy="1866900"/>
              </a:xfrm>
              <a:custGeom>
                <a:avLst/>
                <a:gdLst>
                  <a:gd name="T0" fmla="*/ 2331 w 3073"/>
                  <a:gd name="T1" fmla="*/ 2449 h 2449"/>
                  <a:gd name="T2" fmla="*/ 2127 w 3073"/>
                  <a:gd name="T3" fmla="*/ 2449 h 2449"/>
                  <a:gd name="T4" fmla="*/ 0 w 3073"/>
                  <a:gd name="T5" fmla="*/ 659 h 2449"/>
                  <a:gd name="T6" fmla="*/ 3073 w 3073"/>
                  <a:gd name="T7" fmla="*/ 0 h 2449"/>
                  <a:gd name="T8" fmla="*/ 2331 w 3073"/>
                  <a:gd name="T9" fmla="*/ 2449 h 2449"/>
                  <a:gd name="T10" fmla="*/ 0 w 3073"/>
                  <a:gd name="T11" fmla="*/ 659 h 2449"/>
                  <a:gd name="T12" fmla="*/ 0 w 3073"/>
                  <a:gd name="T13" fmla="*/ 659 h 2449"/>
                  <a:gd name="T14" fmla="*/ 0 w 3073"/>
                  <a:gd name="T15" fmla="*/ 659 h 2449"/>
                  <a:gd name="T16" fmla="*/ 0 w 3073"/>
                  <a:gd name="T17" fmla="*/ 659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449">
                    <a:moveTo>
                      <a:pt x="2331" y="2449"/>
                    </a:moveTo>
                    <a:lnTo>
                      <a:pt x="2127" y="2449"/>
                    </a:lnTo>
                    <a:lnTo>
                      <a:pt x="0" y="659"/>
                    </a:lnTo>
                    <a:lnTo>
                      <a:pt x="3073" y="0"/>
                    </a:lnTo>
                    <a:lnTo>
                      <a:pt x="2331" y="2449"/>
                    </a:lnTo>
                    <a:moveTo>
                      <a:pt x="0" y="659"/>
                    </a:moveTo>
                    <a:lnTo>
                      <a:pt x="0" y="659"/>
                    </a:lnTo>
                    <a:lnTo>
                      <a:pt x="0" y="659"/>
                    </a:lnTo>
                    <a:lnTo>
                      <a:pt x="0" y="659"/>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3" name="Rectangle 495"/>
              <p:cNvSpPr>
                <a:spLocks noChangeArrowheads="1"/>
              </p:cNvSpPr>
              <p:nvPr/>
            </p:nvSpPr>
            <p:spPr bwMode="auto">
              <a:xfrm>
                <a:off x="-4214813" y="6296025"/>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4" name="Freeform 496"/>
              <p:cNvSpPr>
                <a:spLocks/>
              </p:cNvSpPr>
              <p:nvPr/>
            </p:nvSpPr>
            <p:spPr bwMode="auto">
              <a:xfrm>
                <a:off x="-2438400" y="5792787"/>
                <a:ext cx="565150" cy="1866900"/>
              </a:xfrm>
              <a:custGeom>
                <a:avLst/>
                <a:gdLst>
                  <a:gd name="T0" fmla="*/ 0 w 356"/>
                  <a:gd name="T1" fmla="*/ 1176 h 1176"/>
                  <a:gd name="T2" fmla="*/ 0 w 356"/>
                  <a:gd name="T3" fmla="*/ 1176 h 1176"/>
                  <a:gd name="T4" fmla="*/ 356 w 356"/>
                  <a:gd name="T5" fmla="*/ 0 h 1176"/>
                  <a:gd name="T6" fmla="*/ 356 w 356"/>
                  <a:gd name="T7" fmla="*/ 0 h 1176"/>
                  <a:gd name="T8" fmla="*/ 0 w 356"/>
                  <a:gd name="T9" fmla="*/ 1176 h 1176"/>
                </a:gdLst>
                <a:ahLst/>
                <a:cxnLst>
                  <a:cxn ang="0">
                    <a:pos x="T0" y="T1"/>
                  </a:cxn>
                  <a:cxn ang="0">
                    <a:pos x="T2" y="T3"/>
                  </a:cxn>
                  <a:cxn ang="0">
                    <a:pos x="T4" y="T5"/>
                  </a:cxn>
                  <a:cxn ang="0">
                    <a:pos x="T6" y="T7"/>
                  </a:cxn>
                  <a:cxn ang="0">
                    <a:pos x="T8" y="T9"/>
                  </a:cxn>
                </a:cxnLst>
                <a:rect l="0" t="0" r="r" b="b"/>
                <a:pathLst>
                  <a:path w="356" h="1176">
                    <a:moveTo>
                      <a:pt x="0" y="1176"/>
                    </a:moveTo>
                    <a:lnTo>
                      <a:pt x="0" y="1176"/>
                    </a:lnTo>
                    <a:lnTo>
                      <a:pt x="356" y="0"/>
                    </a:lnTo>
                    <a:lnTo>
                      <a:pt x="356" y="0"/>
                    </a:lnTo>
                    <a:lnTo>
                      <a:pt x="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5" name="Freeform 497"/>
              <p:cNvSpPr>
                <a:spLocks/>
              </p:cNvSpPr>
              <p:nvPr/>
            </p:nvSpPr>
            <p:spPr bwMode="auto">
              <a:xfrm>
                <a:off x="-4214813" y="5792787"/>
                <a:ext cx="2341563" cy="503238"/>
              </a:xfrm>
              <a:custGeom>
                <a:avLst/>
                <a:gdLst>
                  <a:gd name="T0" fmla="*/ 0 w 1475"/>
                  <a:gd name="T1" fmla="*/ 317 h 317"/>
                  <a:gd name="T2" fmla="*/ 0 w 1475"/>
                  <a:gd name="T3" fmla="*/ 317 h 317"/>
                  <a:gd name="T4" fmla="*/ 0 w 1475"/>
                  <a:gd name="T5" fmla="*/ 317 h 317"/>
                  <a:gd name="T6" fmla="*/ 1475 w 1475"/>
                  <a:gd name="T7" fmla="*/ 0 h 317"/>
                  <a:gd name="T8" fmla="*/ 1475 w 1475"/>
                  <a:gd name="T9" fmla="*/ 0 h 317"/>
                  <a:gd name="T10" fmla="*/ 0 w 1475"/>
                  <a:gd name="T11" fmla="*/ 317 h 317"/>
                </a:gdLst>
                <a:ahLst/>
                <a:cxnLst>
                  <a:cxn ang="0">
                    <a:pos x="T0" y="T1"/>
                  </a:cxn>
                  <a:cxn ang="0">
                    <a:pos x="T2" y="T3"/>
                  </a:cxn>
                  <a:cxn ang="0">
                    <a:pos x="T4" y="T5"/>
                  </a:cxn>
                  <a:cxn ang="0">
                    <a:pos x="T6" y="T7"/>
                  </a:cxn>
                  <a:cxn ang="0">
                    <a:pos x="T8" y="T9"/>
                  </a:cxn>
                  <a:cxn ang="0">
                    <a:pos x="T10" y="T11"/>
                  </a:cxn>
                </a:cxnLst>
                <a:rect l="0" t="0" r="r" b="b"/>
                <a:pathLst>
                  <a:path w="1475" h="317">
                    <a:moveTo>
                      <a:pt x="0" y="317"/>
                    </a:moveTo>
                    <a:lnTo>
                      <a:pt x="0" y="317"/>
                    </a:lnTo>
                    <a:lnTo>
                      <a:pt x="0" y="317"/>
                    </a:lnTo>
                    <a:lnTo>
                      <a:pt x="1475" y="0"/>
                    </a:lnTo>
                    <a:lnTo>
                      <a:pt x="1475" y="0"/>
                    </a:lnTo>
                    <a:lnTo>
                      <a:pt x="0" y="317"/>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6" name="Freeform 498"/>
              <p:cNvSpPr>
                <a:spLocks/>
              </p:cNvSpPr>
              <p:nvPr/>
            </p:nvSpPr>
            <p:spPr bwMode="auto">
              <a:xfrm>
                <a:off x="-2054225" y="3560762"/>
                <a:ext cx="1200150" cy="1354138"/>
              </a:xfrm>
              <a:custGeom>
                <a:avLst/>
                <a:gdLst>
                  <a:gd name="T0" fmla="*/ 0 w 756"/>
                  <a:gd name="T1" fmla="*/ 853 h 853"/>
                  <a:gd name="T2" fmla="*/ 0 w 756"/>
                  <a:gd name="T3" fmla="*/ 853 h 853"/>
                  <a:gd name="T4" fmla="*/ 756 w 756"/>
                  <a:gd name="T5" fmla="*/ 0 h 853"/>
                  <a:gd name="T6" fmla="*/ 756 w 756"/>
                  <a:gd name="T7" fmla="*/ 675 h 853"/>
                  <a:gd name="T8" fmla="*/ 0 w 756"/>
                  <a:gd name="T9" fmla="*/ 853 h 853"/>
                </a:gdLst>
                <a:ahLst/>
                <a:cxnLst>
                  <a:cxn ang="0">
                    <a:pos x="T0" y="T1"/>
                  </a:cxn>
                  <a:cxn ang="0">
                    <a:pos x="T2" y="T3"/>
                  </a:cxn>
                  <a:cxn ang="0">
                    <a:pos x="T4" y="T5"/>
                  </a:cxn>
                  <a:cxn ang="0">
                    <a:pos x="T6" y="T7"/>
                  </a:cxn>
                  <a:cxn ang="0">
                    <a:pos x="T8" y="T9"/>
                  </a:cxn>
                </a:cxnLst>
                <a:rect l="0" t="0" r="r" b="b"/>
                <a:pathLst>
                  <a:path w="756" h="853">
                    <a:moveTo>
                      <a:pt x="0" y="853"/>
                    </a:moveTo>
                    <a:lnTo>
                      <a:pt x="0" y="853"/>
                    </a:lnTo>
                    <a:lnTo>
                      <a:pt x="756" y="0"/>
                    </a:lnTo>
                    <a:lnTo>
                      <a:pt x="756" y="675"/>
                    </a:lnTo>
                    <a:lnTo>
                      <a:pt x="0" y="853"/>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7" name="Freeform 499"/>
              <p:cNvSpPr>
                <a:spLocks/>
              </p:cNvSpPr>
              <p:nvPr/>
            </p:nvSpPr>
            <p:spPr bwMode="auto">
              <a:xfrm>
                <a:off x="-2054225" y="3560762"/>
                <a:ext cx="1200150" cy="1354138"/>
              </a:xfrm>
              <a:custGeom>
                <a:avLst/>
                <a:gdLst>
                  <a:gd name="T0" fmla="*/ 0 w 756"/>
                  <a:gd name="T1" fmla="*/ 853 h 853"/>
                  <a:gd name="T2" fmla="*/ 756 w 756"/>
                  <a:gd name="T3" fmla="*/ 0 h 853"/>
                  <a:gd name="T4" fmla="*/ 756 w 756"/>
                  <a:gd name="T5" fmla="*/ 0 h 853"/>
                  <a:gd name="T6" fmla="*/ 0 w 756"/>
                  <a:gd name="T7" fmla="*/ 853 h 853"/>
                </a:gdLst>
                <a:ahLst/>
                <a:cxnLst>
                  <a:cxn ang="0">
                    <a:pos x="T0" y="T1"/>
                  </a:cxn>
                  <a:cxn ang="0">
                    <a:pos x="T2" y="T3"/>
                  </a:cxn>
                  <a:cxn ang="0">
                    <a:pos x="T4" y="T5"/>
                  </a:cxn>
                  <a:cxn ang="0">
                    <a:pos x="T6" y="T7"/>
                  </a:cxn>
                </a:cxnLst>
                <a:rect l="0" t="0" r="r" b="b"/>
                <a:pathLst>
                  <a:path w="756" h="853">
                    <a:moveTo>
                      <a:pt x="0" y="853"/>
                    </a:moveTo>
                    <a:lnTo>
                      <a:pt x="756" y="0"/>
                    </a:lnTo>
                    <a:lnTo>
                      <a:pt x="756" y="0"/>
                    </a:lnTo>
                    <a:lnTo>
                      <a:pt x="0" y="853"/>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8" name="Freeform 500"/>
              <p:cNvSpPr>
                <a:spLocks/>
              </p:cNvSpPr>
              <p:nvPr/>
            </p:nvSpPr>
            <p:spPr bwMode="auto">
              <a:xfrm>
                <a:off x="-2054225" y="4632325"/>
                <a:ext cx="1200150" cy="815975"/>
              </a:xfrm>
              <a:custGeom>
                <a:avLst/>
                <a:gdLst>
                  <a:gd name="T0" fmla="*/ 756 w 756"/>
                  <a:gd name="T1" fmla="*/ 514 h 514"/>
                  <a:gd name="T2" fmla="*/ 0 w 756"/>
                  <a:gd name="T3" fmla="*/ 178 h 514"/>
                  <a:gd name="T4" fmla="*/ 756 w 756"/>
                  <a:gd name="T5" fmla="*/ 0 h 514"/>
                  <a:gd name="T6" fmla="*/ 756 w 756"/>
                  <a:gd name="T7" fmla="*/ 514 h 514"/>
                </a:gdLst>
                <a:ahLst/>
                <a:cxnLst>
                  <a:cxn ang="0">
                    <a:pos x="T0" y="T1"/>
                  </a:cxn>
                  <a:cxn ang="0">
                    <a:pos x="T2" y="T3"/>
                  </a:cxn>
                  <a:cxn ang="0">
                    <a:pos x="T4" y="T5"/>
                  </a:cxn>
                  <a:cxn ang="0">
                    <a:pos x="T6" y="T7"/>
                  </a:cxn>
                </a:cxnLst>
                <a:rect l="0" t="0" r="r" b="b"/>
                <a:pathLst>
                  <a:path w="756" h="514">
                    <a:moveTo>
                      <a:pt x="756" y="514"/>
                    </a:moveTo>
                    <a:lnTo>
                      <a:pt x="0" y="178"/>
                    </a:lnTo>
                    <a:lnTo>
                      <a:pt x="756" y="0"/>
                    </a:lnTo>
                    <a:lnTo>
                      <a:pt x="756" y="514"/>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09" name="Freeform 501"/>
              <p:cNvSpPr>
                <a:spLocks/>
              </p:cNvSpPr>
              <p:nvPr/>
            </p:nvSpPr>
            <p:spPr bwMode="auto">
              <a:xfrm>
                <a:off x="-2298700" y="6824662"/>
                <a:ext cx="1377950" cy="835025"/>
              </a:xfrm>
              <a:custGeom>
                <a:avLst/>
                <a:gdLst>
                  <a:gd name="T0" fmla="*/ 661 w 868"/>
                  <a:gd name="T1" fmla="*/ 526 h 526"/>
                  <a:gd name="T2" fmla="*/ 0 w 868"/>
                  <a:gd name="T3" fmla="*/ 526 h 526"/>
                  <a:gd name="T4" fmla="*/ 868 w 868"/>
                  <a:gd name="T5" fmla="*/ 0 h 526"/>
                  <a:gd name="T6" fmla="*/ 661 w 868"/>
                  <a:gd name="T7" fmla="*/ 526 h 526"/>
                </a:gdLst>
                <a:ahLst/>
                <a:cxnLst>
                  <a:cxn ang="0">
                    <a:pos x="T0" y="T1"/>
                  </a:cxn>
                  <a:cxn ang="0">
                    <a:pos x="T2" y="T3"/>
                  </a:cxn>
                  <a:cxn ang="0">
                    <a:pos x="T4" y="T5"/>
                  </a:cxn>
                  <a:cxn ang="0">
                    <a:pos x="T6" y="T7"/>
                  </a:cxn>
                </a:cxnLst>
                <a:rect l="0" t="0" r="r" b="b"/>
                <a:pathLst>
                  <a:path w="868" h="526">
                    <a:moveTo>
                      <a:pt x="661" y="526"/>
                    </a:moveTo>
                    <a:lnTo>
                      <a:pt x="0" y="526"/>
                    </a:lnTo>
                    <a:lnTo>
                      <a:pt x="868" y="0"/>
                    </a:lnTo>
                    <a:lnTo>
                      <a:pt x="661" y="526"/>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0" name="Freeform 502"/>
              <p:cNvSpPr>
                <a:spLocks/>
              </p:cNvSpPr>
              <p:nvPr/>
            </p:nvSpPr>
            <p:spPr bwMode="auto">
              <a:xfrm>
                <a:off x="-1249363" y="6824662"/>
                <a:ext cx="395288" cy="835025"/>
              </a:xfrm>
              <a:custGeom>
                <a:avLst/>
                <a:gdLst>
                  <a:gd name="T0" fmla="*/ 249 w 249"/>
                  <a:gd name="T1" fmla="*/ 526 h 526"/>
                  <a:gd name="T2" fmla="*/ 0 w 249"/>
                  <a:gd name="T3" fmla="*/ 526 h 526"/>
                  <a:gd name="T4" fmla="*/ 207 w 249"/>
                  <a:gd name="T5" fmla="*/ 0 h 526"/>
                  <a:gd name="T6" fmla="*/ 249 w 249"/>
                  <a:gd name="T7" fmla="*/ 166 h 526"/>
                  <a:gd name="T8" fmla="*/ 249 w 249"/>
                  <a:gd name="T9" fmla="*/ 526 h 526"/>
                </a:gdLst>
                <a:ahLst/>
                <a:cxnLst>
                  <a:cxn ang="0">
                    <a:pos x="T0" y="T1"/>
                  </a:cxn>
                  <a:cxn ang="0">
                    <a:pos x="T2" y="T3"/>
                  </a:cxn>
                  <a:cxn ang="0">
                    <a:pos x="T4" y="T5"/>
                  </a:cxn>
                  <a:cxn ang="0">
                    <a:pos x="T6" y="T7"/>
                  </a:cxn>
                  <a:cxn ang="0">
                    <a:pos x="T8" y="T9"/>
                  </a:cxn>
                </a:cxnLst>
                <a:rect l="0" t="0" r="r" b="b"/>
                <a:pathLst>
                  <a:path w="249" h="526">
                    <a:moveTo>
                      <a:pt x="249" y="526"/>
                    </a:moveTo>
                    <a:lnTo>
                      <a:pt x="0" y="526"/>
                    </a:lnTo>
                    <a:lnTo>
                      <a:pt x="207" y="0"/>
                    </a:lnTo>
                    <a:lnTo>
                      <a:pt x="249" y="166"/>
                    </a:lnTo>
                    <a:lnTo>
                      <a:pt x="249" y="52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1" name="Freeform 503"/>
              <p:cNvSpPr>
                <a:spLocks/>
              </p:cNvSpPr>
              <p:nvPr/>
            </p:nvSpPr>
            <p:spPr bwMode="auto">
              <a:xfrm>
                <a:off x="-920750" y="6745287"/>
                <a:ext cx="66675" cy="79375"/>
              </a:xfrm>
              <a:custGeom>
                <a:avLst/>
                <a:gdLst>
                  <a:gd name="T0" fmla="*/ 0 w 42"/>
                  <a:gd name="T1" fmla="*/ 50 h 50"/>
                  <a:gd name="T2" fmla="*/ 0 w 42"/>
                  <a:gd name="T3" fmla="*/ 50 h 50"/>
                  <a:gd name="T4" fmla="*/ 42 w 42"/>
                  <a:gd name="T5" fmla="*/ 0 h 50"/>
                  <a:gd name="T6" fmla="*/ 42 w 42"/>
                  <a:gd name="T7" fmla="*/ 47 h 50"/>
                  <a:gd name="T8" fmla="*/ 0 w 42"/>
                  <a:gd name="T9" fmla="*/ 50 h 50"/>
                </a:gdLst>
                <a:ahLst/>
                <a:cxnLst>
                  <a:cxn ang="0">
                    <a:pos x="T0" y="T1"/>
                  </a:cxn>
                  <a:cxn ang="0">
                    <a:pos x="T2" y="T3"/>
                  </a:cxn>
                  <a:cxn ang="0">
                    <a:pos x="T4" y="T5"/>
                  </a:cxn>
                  <a:cxn ang="0">
                    <a:pos x="T6" y="T7"/>
                  </a:cxn>
                  <a:cxn ang="0">
                    <a:pos x="T8" y="T9"/>
                  </a:cxn>
                </a:cxnLst>
                <a:rect l="0" t="0" r="r" b="b"/>
                <a:pathLst>
                  <a:path w="42" h="50">
                    <a:moveTo>
                      <a:pt x="0" y="50"/>
                    </a:moveTo>
                    <a:lnTo>
                      <a:pt x="0" y="50"/>
                    </a:lnTo>
                    <a:lnTo>
                      <a:pt x="42" y="0"/>
                    </a:lnTo>
                    <a:lnTo>
                      <a:pt x="42" y="47"/>
                    </a:lnTo>
                    <a:lnTo>
                      <a:pt x="0" y="5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412" name="Freeform 504"/>
              <p:cNvSpPr>
                <a:spLocks/>
              </p:cNvSpPr>
              <p:nvPr/>
            </p:nvSpPr>
            <p:spPr bwMode="auto">
              <a:xfrm>
                <a:off x="-920750" y="6819900"/>
                <a:ext cx="66675" cy="268288"/>
              </a:xfrm>
              <a:custGeom>
                <a:avLst/>
                <a:gdLst>
                  <a:gd name="T0" fmla="*/ 42 w 42"/>
                  <a:gd name="T1" fmla="*/ 169 h 169"/>
                  <a:gd name="T2" fmla="*/ 0 w 42"/>
                  <a:gd name="T3" fmla="*/ 3 h 169"/>
                  <a:gd name="T4" fmla="*/ 42 w 42"/>
                  <a:gd name="T5" fmla="*/ 0 h 169"/>
                  <a:gd name="T6" fmla="*/ 42 w 42"/>
                  <a:gd name="T7" fmla="*/ 169 h 169"/>
                </a:gdLst>
                <a:ahLst/>
                <a:cxnLst>
                  <a:cxn ang="0">
                    <a:pos x="T0" y="T1"/>
                  </a:cxn>
                  <a:cxn ang="0">
                    <a:pos x="T2" y="T3"/>
                  </a:cxn>
                  <a:cxn ang="0">
                    <a:pos x="T4" y="T5"/>
                  </a:cxn>
                  <a:cxn ang="0">
                    <a:pos x="T6" y="T7"/>
                  </a:cxn>
                </a:cxnLst>
                <a:rect l="0" t="0" r="r" b="b"/>
                <a:pathLst>
                  <a:path w="42" h="169">
                    <a:moveTo>
                      <a:pt x="42" y="169"/>
                    </a:moveTo>
                    <a:lnTo>
                      <a:pt x="0" y="3"/>
                    </a:lnTo>
                    <a:lnTo>
                      <a:pt x="42" y="0"/>
                    </a:lnTo>
                    <a:lnTo>
                      <a:pt x="42" y="16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grpSp>
        <p:sp>
          <p:nvSpPr>
            <p:cNvPr id="175" name="AutoShape 303"/>
            <p:cNvSpPr>
              <a:spLocks noChangeArrowheads="1" noTextEdit="1"/>
            </p:cNvSpPr>
            <p:nvPr/>
          </p:nvSpPr>
          <p:spPr bwMode="auto">
            <a:xfrm>
              <a:off x="749301" y="-1"/>
              <a:ext cx="8961438" cy="6721475"/>
            </a:xfrm>
            <a:prstGeom prst="rect">
              <a:avLst/>
            </a:prstGeom>
            <a:solidFill>
              <a:schemeClr val="accent4">
                <a:alpha val="83000"/>
              </a:schemeClr>
            </a:solidFill>
            <a:ln>
              <a:noFill/>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grpSp>
      <p:sp>
        <p:nvSpPr>
          <p:cNvPr id="2" name="Title 1"/>
          <p:cNvSpPr>
            <a:spLocks noGrp="1"/>
          </p:cNvSpPr>
          <p:nvPr>
            <p:ph type="title"/>
          </p:nvPr>
        </p:nvSpPr>
        <p:spPr>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zh-CN" dirty="0">
                <a:solidFill>
                  <a:schemeClr val="bg1"/>
                </a:solidFill>
                <a:latin typeface="+mn-lt"/>
                <a:ea typeface="楷体" panose="02010609060101010101" pitchFamily="49" charset="-122"/>
                <a:cs typeface="SimSun"/>
              </a:rPr>
              <a:t>深度学习准确率提高的一个动因，部分</a:t>
            </a:r>
            <a:r>
              <a:rPr lang="zh-CN" altLang="en-US" dirty="0">
                <a:solidFill>
                  <a:schemeClr val="bg1"/>
                </a:solidFill>
                <a:latin typeface="+mn-lt"/>
                <a:ea typeface="楷体" panose="02010609060101010101" pitchFamily="49" charset="-122"/>
                <a:cs typeface="SimSun"/>
              </a:rPr>
              <a:t>在于能</a:t>
            </a:r>
            <a:r>
              <a:rPr lang="zh-CN" dirty="0">
                <a:solidFill>
                  <a:schemeClr val="bg1"/>
                </a:solidFill>
                <a:latin typeface="+mn-lt"/>
                <a:ea typeface="楷体" panose="02010609060101010101" pitchFamily="49" charset="-122"/>
                <a:cs typeface="SimSun"/>
              </a:rPr>
              <a:t>自动学习</a:t>
            </a:r>
            <a:r>
              <a:rPr lang="zh-CN" altLang="en-US" dirty="0">
                <a:solidFill>
                  <a:schemeClr val="bg1"/>
                </a:solidFill>
                <a:latin typeface="+mn-lt"/>
                <a:ea typeface="楷体" panose="02010609060101010101" pitchFamily="49" charset="-122"/>
                <a:cs typeface="SimSun"/>
              </a:rPr>
              <a:t>以</a:t>
            </a:r>
            <a:r>
              <a:rPr lang="zh-CN" dirty="0">
                <a:solidFill>
                  <a:schemeClr val="bg1"/>
                </a:solidFill>
                <a:latin typeface="+mn-lt"/>
                <a:ea typeface="楷体" panose="02010609060101010101" pitchFamily="49" charset="-122"/>
                <a:cs typeface="SimSun"/>
              </a:rPr>
              <a:t>抽象特征表现世界</a:t>
            </a:r>
          </a:p>
        </p:txBody>
      </p:sp>
      <p:sp>
        <p:nvSpPr>
          <p:cNvPr id="232" name="5. Source"/>
          <p:cNvSpPr>
            <a:spLocks noChangeArrowheads="1"/>
          </p:cNvSpPr>
          <p:nvPr/>
        </p:nvSpPr>
        <p:spPr bwMode="auto">
          <a:xfrm>
            <a:off x="119063" y="6385163"/>
            <a:ext cx="72000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zh-CN" sz="800" dirty="0">
                <a:solidFill>
                  <a:schemeClr val="bg1"/>
                </a:solidFill>
                <a:latin typeface="+mn-lt"/>
                <a:ea typeface="楷体" panose="02010609060101010101" pitchFamily="49" charset="-122"/>
                <a:cs typeface="SimSun"/>
              </a:rPr>
              <a:t>资料来源：</a:t>
            </a:r>
            <a:r>
              <a:rPr lang="zh-CN" sz="800" dirty="0">
                <a:solidFill>
                  <a:srgbClr val="808080"/>
                </a:solidFill>
                <a:latin typeface="+mn-lt"/>
                <a:ea typeface="楷体" panose="02010609060101010101" pitchFamily="49" charset="-122"/>
                <a:cs typeface="SimSun"/>
                <a:hlinkClick r:id="rId85"/>
              </a:rPr>
              <a:t>http://spectrum.ieee.org/automaton/robotics/artificial-intelligence/facebook-ai-director-yann-lecun-on-deep-learning</a:t>
            </a:r>
            <a:r>
              <a:rPr lang="zh-CN" dirty="0">
                <a:latin typeface="+mn-lt"/>
                <a:ea typeface="楷体" panose="02010609060101010101" pitchFamily="49" charset="-122"/>
                <a:cs typeface="SimSun"/>
              </a:rPr>
              <a:t> </a:t>
            </a:r>
          </a:p>
        </p:txBody>
      </p:sp>
      <p:sp>
        <p:nvSpPr>
          <p:cNvPr id="235" name="TextBox 234"/>
          <p:cNvSpPr txBox="1">
            <a:spLocks/>
          </p:cNvSpPr>
          <p:nvPr/>
        </p:nvSpPr>
        <p:spPr>
          <a:xfrm>
            <a:off x="323999" y="5265522"/>
            <a:ext cx="5258478" cy="69249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zh-CN" sz="1500" dirty="0">
                <a:solidFill>
                  <a:schemeClr val="bg1"/>
                </a:solidFill>
                <a:ea typeface="楷体" panose="02010609060101010101" pitchFamily="49" charset="-122"/>
                <a:cs typeface="SimSun"/>
              </a:rPr>
              <a:t>大部分传统机器学习的特征提取工作由人类完成，它是一个漫长而复杂的过程。这个步骤实现自动化后，深度学习大部分</a:t>
            </a:r>
            <a:r>
              <a:rPr lang="zh-CN" altLang="en-US" sz="1500" dirty="0">
                <a:solidFill>
                  <a:schemeClr val="bg1"/>
                </a:solidFill>
                <a:ea typeface="楷体" panose="02010609060101010101" pitchFamily="49" charset="-122"/>
                <a:cs typeface="SimSun"/>
              </a:rPr>
              <a:t>情况下的</a:t>
            </a:r>
            <a:r>
              <a:rPr lang="zh-CN" sz="1500" dirty="0">
                <a:solidFill>
                  <a:schemeClr val="bg1"/>
                </a:solidFill>
                <a:ea typeface="楷体" panose="02010609060101010101" pitchFamily="49" charset="-122"/>
                <a:cs typeface="SimSun"/>
              </a:rPr>
              <a:t>工作</a:t>
            </a:r>
            <a:r>
              <a:rPr lang="zh-CN" altLang="en-US" sz="1500" dirty="0">
                <a:solidFill>
                  <a:schemeClr val="bg1"/>
                </a:solidFill>
                <a:ea typeface="楷体" panose="02010609060101010101" pitchFamily="49" charset="-122"/>
                <a:cs typeface="SimSun"/>
              </a:rPr>
              <a:t>性能</a:t>
            </a:r>
            <a:r>
              <a:rPr lang="zh-CN" sz="1500" dirty="0">
                <a:solidFill>
                  <a:schemeClr val="bg1"/>
                </a:solidFill>
                <a:ea typeface="楷体" panose="02010609060101010101" pitchFamily="49" charset="-122"/>
                <a:cs typeface="SimSun"/>
              </a:rPr>
              <a:t>可提升5-15%</a:t>
            </a:r>
          </a:p>
        </p:txBody>
      </p:sp>
      <p:sp>
        <p:nvSpPr>
          <p:cNvPr id="231" name="TextBox 230"/>
          <p:cNvSpPr txBox="1">
            <a:spLocks/>
          </p:cNvSpPr>
          <p:nvPr/>
        </p:nvSpPr>
        <p:spPr>
          <a:xfrm>
            <a:off x="6272171" y="4157085"/>
            <a:ext cx="2527020" cy="46166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zh-CN" sz="1500" dirty="0">
                <a:solidFill>
                  <a:schemeClr val="bg1"/>
                </a:solidFill>
                <a:ea typeface="楷体" panose="02010609060101010101" pitchFamily="49" charset="-122"/>
                <a:cs typeface="SimSun"/>
              </a:rPr>
              <a:t>...然后根据侦测到的特征进行分类</a:t>
            </a:r>
          </a:p>
        </p:txBody>
      </p:sp>
      <p:sp>
        <p:nvSpPr>
          <p:cNvPr id="229" name="TextBox 228"/>
          <p:cNvSpPr txBox="1">
            <a:spLocks/>
          </p:cNvSpPr>
          <p:nvPr/>
        </p:nvSpPr>
        <p:spPr>
          <a:xfrm>
            <a:off x="162248" y="4157085"/>
            <a:ext cx="2527020" cy="46166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zh-CN" sz="1500" dirty="0">
                <a:solidFill>
                  <a:schemeClr val="bg1"/>
                </a:solidFill>
                <a:ea typeface="楷体" panose="02010609060101010101" pitchFamily="49" charset="-122"/>
                <a:cs typeface="SimSun"/>
              </a:rPr>
              <a:t>算法获取某个图像，该图像为一个像素集合...</a:t>
            </a:r>
          </a:p>
        </p:txBody>
      </p:sp>
      <p:sp>
        <p:nvSpPr>
          <p:cNvPr id="230" name="TextBox 229"/>
          <p:cNvSpPr txBox="1">
            <a:spLocks/>
          </p:cNvSpPr>
          <p:nvPr/>
        </p:nvSpPr>
        <p:spPr>
          <a:xfrm>
            <a:off x="3217209" y="4157085"/>
            <a:ext cx="2527020" cy="46166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zh-CN" sz="1500" dirty="0">
                <a:solidFill>
                  <a:schemeClr val="bg1"/>
                </a:solidFill>
                <a:ea typeface="楷体" panose="02010609060101010101" pitchFamily="49" charset="-122"/>
                <a:cs typeface="SimSun"/>
              </a:rPr>
              <a:t>...学习以形成独特特征的较少数据表示相似图像... </a:t>
            </a:r>
          </a:p>
        </p:txBody>
      </p:sp>
      <p:sp>
        <p:nvSpPr>
          <p:cNvPr id="12" name="Oval 11"/>
          <p:cNvSpPr txBox="1"/>
          <p:nvPr>
            <p:custDataLst>
              <p:tags r:id="rId1"/>
            </p:custDataLst>
          </p:nvPr>
        </p:nvSpPr>
        <p:spPr>
          <a:xfrm>
            <a:off x="297798" y="210979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3" name="Oval 11"/>
          <p:cNvSpPr txBox="1"/>
          <p:nvPr>
            <p:custDataLst>
              <p:tags r:id="rId2"/>
            </p:custDataLst>
          </p:nvPr>
        </p:nvSpPr>
        <p:spPr>
          <a:xfrm>
            <a:off x="297798" y="2298136"/>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4" name="Oval 11"/>
          <p:cNvSpPr txBox="1"/>
          <p:nvPr>
            <p:custDataLst>
              <p:tags r:id="rId3"/>
            </p:custDataLst>
          </p:nvPr>
        </p:nvSpPr>
        <p:spPr>
          <a:xfrm>
            <a:off x="297798" y="2486478"/>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5" name="Oval 11"/>
          <p:cNvSpPr txBox="1"/>
          <p:nvPr>
            <p:custDataLst>
              <p:tags r:id="rId4"/>
            </p:custDataLst>
          </p:nvPr>
        </p:nvSpPr>
        <p:spPr>
          <a:xfrm>
            <a:off x="297798" y="2674821"/>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6" name="Oval 11"/>
          <p:cNvSpPr txBox="1"/>
          <p:nvPr>
            <p:custDataLst>
              <p:tags r:id="rId5"/>
            </p:custDataLst>
          </p:nvPr>
        </p:nvSpPr>
        <p:spPr>
          <a:xfrm>
            <a:off x="297798" y="286316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7" name="Oval 11"/>
          <p:cNvSpPr txBox="1"/>
          <p:nvPr>
            <p:custDataLst>
              <p:tags r:id="rId6"/>
            </p:custDataLst>
          </p:nvPr>
        </p:nvSpPr>
        <p:spPr>
          <a:xfrm>
            <a:off x="297798" y="3051505"/>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8" name="Oval 11"/>
          <p:cNvSpPr txBox="1"/>
          <p:nvPr>
            <p:custDataLst>
              <p:tags r:id="rId7"/>
            </p:custDataLst>
          </p:nvPr>
        </p:nvSpPr>
        <p:spPr>
          <a:xfrm>
            <a:off x="297798" y="3239848"/>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9" name="Oval 11"/>
          <p:cNvSpPr txBox="1"/>
          <p:nvPr>
            <p:custDataLst>
              <p:tags r:id="rId8"/>
            </p:custDataLst>
          </p:nvPr>
        </p:nvSpPr>
        <p:spPr>
          <a:xfrm>
            <a:off x="297798" y="3428190"/>
            <a:ext cx="197875" cy="188343"/>
          </a:xfrm>
          <a:prstGeom prst="ellipse">
            <a:avLst/>
          </a:prstGeom>
          <a:solidFill>
            <a:srgbClr val="FFCA21"/>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20" name="Oval 11"/>
          <p:cNvSpPr txBox="1"/>
          <p:nvPr>
            <p:custDataLst>
              <p:tags r:id="rId9"/>
            </p:custDataLst>
          </p:nvPr>
        </p:nvSpPr>
        <p:spPr>
          <a:xfrm>
            <a:off x="297798" y="361653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93" name="Oval 11"/>
          <p:cNvSpPr txBox="1"/>
          <p:nvPr>
            <p:custDataLst>
              <p:tags r:id="rId10"/>
            </p:custDataLst>
          </p:nvPr>
        </p:nvSpPr>
        <p:spPr>
          <a:xfrm>
            <a:off x="495673" y="210979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94" name="Oval 11"/>
          <p:cNvSpPr txBox="1"/>
          <p:nvPr>
            <p:custDataLst>
              <p:tags r:id="rId11"/>
            </p:custDataLst>
          </p:nvPr>
        </p:nvSpPr>
        <p:spPr>
          <a:xfrm>
            <a:off x="495673" y="2298136"/>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95" name="Oval 11"/>
          <p:cNvSpPr txBox="1"/>
          <p:nvPr>
            <p:custDataLst>
              <p:tags r:id="rId12"/>
            </p:custDataLst>
          </p:nvPr>
        </p:nvSpPr>
        <p:spPr>
          <a:xfrm>
            <a:off x="495673" y="2486478"/>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96" name="Oval 11"/>
          <p:cNvSpPr txBox="1"/>
          <p:nvPr>
            <p:custDataLst>
              <p:tags r:id="rId13"/>
            </p:custDataLst>
          </p:nvPr>
        </p:nvSpPr>
        <p:spPr>
          <a:xfrm>
            <a:off x="495673" y="2674821"/>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97" name="Oval 11"/>
          <p:cNvSpPr txBox="1"/>
          <p:nvPr>
            <p:custDataLst>
              <p:tags r:id="rId14"/>
            </p:custDataLst>
          </p:nvPr>
        </p:nvSpPr>
        <p:spPr>
          <a:xfrm>
            <a:off x="495673" y="286316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98" name="Oval 11"/>
          <p:cNvSpPr txBox="1"/>
          <p:nvPr>
            <p:custDataLst>
              <p:tags r:id="rId15"/>
            </p:custDataLst>
          </p:nvPr>
        </p:nvSpPr>
        <p:spPr>
          <a:xfrm>
            <a:off x="495673" y="3051505"/>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99" name="Oval 11"/>
          <p:cNvSpPr txBox="1"/>
          <p:nvPr>
            <p:custDataLst>
              <p:tags r:id="rId16"/>
            </p:custDataLst>
          </p:nvPr>
        </p:nvSpPr>
        <p:spPr>
          <a:xfrm>
            <a:off x="495673" y="3239848"/>
            <a:ext cx="197875" cy="188343"/>
          </a:xfrm>
          <a:prstGeom prst="ellipse">
            <a:avLst/>
          </a:prstGeom>
          <a:solidFill>
            <a:srgbClr val="FFCA21"/>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00" name="Oval 11"/>
          <p:cNvSpPr txBox="1"/>
          <p:nvPr>
            <p:custDataLst>
              <p:tags r:id="rId17"/>
            </p:custDataLst>
          </p:nvPr>
        </p:nvSpPr>
        <p:spPr>
          <a:xfrm>
            <a:off x="495673" y="3428190"/>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01" name="Oval 11"/>
          <p:cNvSpPr txBox="1"/>
          <p:nvPr>
            <p:custDataLst>
              <p:tags r:id="rId18"/>
            </p:custDataLst>
          </p:nvPr>
        </p:nvSpPr>
        <p:spPr>
          <a:xfrm>
            <a:off x="495673" y="361653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03" name="Oval 11"/>
          <p:cNvSpPr txBox="1"/>
          <p:nvPr>
            <p:custDataLst>
              <p:tags r:id="rId19"/>
            </p:custDataLst>
          </p:nvPr>
        </p:nvSpPr>
        <p:spPr>
          <a:xfrm>
            <a:off x="693548" y="210979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04" name="Oval 11"/>
          <p:cNvSpPr txBox="1"/>
          <p:nvPr>
            <p:custDataLst>
              <p:tags r:id="rId20"/>
            </p:custDataLst>
          </p:nvPr>
        </p:nvSpPr>
        <p:spPr>
          <a:xfrm>
            <a:off x="693548" y="2298136"/>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05" name="Oval 11"/>
          <p:cNvSpPr txBox="1"/>
          <p:nvPr>
            <p:custDataLst>
              <p:tags r:id="rId21"/>
            </p:custDataLst>
          </p:nvPr>
        </p:nvSpPr>
        <p:spPr>
          <a:xfrm>
            <a:off x="693548" y="2486478"/>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06" name="Oval 11"/>
          <p:cNvSpPr txBox="1"/>
          <p:nvPr>
            <p:custDataLst>
              <p:tags r:id="rId22"/>
            </p:custDataLst>
          </p:nvPr>
        </p:nvSpPr>
        <p:spPr>
          <a:xfrm>
            <a:off x="693548" y="2674821"/>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07" name="Oval 11"/>
          <p:cNvSpPr txBox="1"/>
          <p:nvPr>
            <p:custDataLst>
              <p:tags r:id="rId23"/>
            </p:custDataLst>
          </p:nvPr>
        </p:nvSpPr>
        <p:spPr>
          <a:xfrm>
            <a:off x="693548" y="2863163"/>
            <a:ext cx="197875" cy="188343"/>
          </a:xfrm>
          <a:prstGeom prst="ellipse">
            <a:avLst/>
          </a:prstGeom>
          <a:solidFill>
            <a:srgbClr val="FFCA21"/>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08" name="Oval 11"/>
          <p:cNvSpPr txBox="1"/>
          <p:nvPr>
            <p:custDataLst>
              <p:tags r:id="rId24"/>
            </p:custDataLst>
          </p:nvPr>
        </p:nvSpPr>
        <p:spPr>
          <a:xfrm>
            <a:off x="693548" y="3051505"/>
            <a:ext cx="197875" cy="188343"/>
          </a:xfrm>
          <a:prstGeom prst="ellipse">
            <a:avLst/>
          </a:prstGeom>
          <a:solidFill>
            <a:srgbClr val="FFCA21"/>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09" name="Oval 11"/>
          <p:cNvSpPr txBox="1"/>
          <p:nvPr>
            <p:custDataLst>
              <p:tags r:id="rId25"/>
            </p:custDataLst>
          </p:nvPr>
        </p:nvSpPr>
        <p:spPr>
          <a:xfrm>
            <a:off x="693548" y="3239848"/>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10" name="Oval 11"/>
          <p:cNvSpPr txBox="1"/>
          <p:nvPr>
            <p:custDataLst>
              <p:tags r:id="rId26"/>
            </p:custDataLst>
          </p:nvPr>
        </p:nvSpPr>
        <p:spPr>
          <a:xfrm>
            <a:off x="693548" y="3428190"/>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11" name="Oval 11"/>
          <p:cNvSpPr txBox="1"/>
          <p:nvPr>
            <p:custDataLst>
              <p:tags r:id="rId27"/>
            </p:custDataLst>
          </p:nvPr>
        </p:nvSpPr>
        <p:spPr>
          <a:xfrm>
            <a:off x="693548" y="361653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13" name="Oval 11"/>
          <p:cNvSpPr txBox="1"/>
          <p:nvPr>
            <p:custDataLst>
              <p:tags r:id="rId28"/>
            </p:custDataLst>
          </p:nvPr>
        </p:nvSpPr>
        <p:spPr>
          <a:xfrm>
            <a:off x="891423" y="210979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14" name="Oval 11"/>
          <p:cNvSpPr txBox="1"/>
          <p:nvPr>
            <p:custDataLst>
              <p:tags r:id="rId29"/>
            </p:custDataLst>
          </p:nvPr>
        </p:nvSpPr>
        <p:spPr>
          <a:xfrm>
            <a:off x="891423" y="2298136"/>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15" name="Oval 11"/>
          <p:cNvSpPr txBox="1"/>
          <p:nvPr>
            <p:custDataLst>
              <p:tags r:id="rId30"/>
            </p:custDataLst>
          </p:nvPr>
        </p:nvSpPr>
        <p:spPr>
          <a:xfrm>
            <a:off x="891423" y="2486478"/>
            <a:ext cx="197875" cy="188343"/>
          </a:xfrm>
          <a:prstGeom prst="ellipse">
            <a:avLst/>
          </a:prstGeom>
          <a:solidFill>
            <a:srgbClr val="FFCA21"/>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16" name="Oval 11"/>
          <p:cNvSpPr txBox="1"/>
          <p:nvPr>
            <p:custDataLst>
              <p:tags r:id="rId31"/>
            </p:custDataLst>
          </p:nvPr>
        </p:nvSpPr>
        <p:spPr>
          <a:xfrm>
            <a:off x="891423" y="2674821"/>
            <a:ext cx="197875" cy="188343"/>
          </a:xfrm>
          <a:prstGeom prst="ellipse">
            <a:avLst/>
          </a:prstGeom>
          <a:solidFill>
            <a:srgbClr val="FFCA21"/>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17" name="Oval 11"/>
          <p:cNvSpPr txBox="1"/>
          <p:nvPr>
            <p:custDataLst>
              <p:tags r:id="rId32"/>
            </p:custDataLst>
          </p:nvPr>
        </p:nvSpPr>
        <p:spPr>
          <a:xfrm>
            <a:off x="891423" y="286316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18" name="Oval 11"/>
          <p:cNvSpPr txBox="1"/>
          <p:nvPr>
            <p:custDataLst>
              <p:tags r:id="rId33"/>
            </p:custDataLst>
          </p:nvPr>
        </p:nvSpPr>
        <p:spPr>
          <a:xfrm>
            <a:off x="891423" y="3051505"/>
            <a:ext cx="197875" cy="188343"/>
          </a:xfrm>
          <a:prstGeom prst="ellipse">
            <a:avLst/>
          </a:prstGeom>
          <a:solidFill>
            <a:srgbClr val="FFCA21"/>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19" name="Oval 11"/>
          <p:cNvSpPr txBox="1"/>
          <p:nvPr>
            <p:custDataLst>
              <p:tags r:id="rId34"/>
            </p:custDataLst>
          </p:nvPr>
        </p:nvSpPr>
        <p:spPr>
          <a:xfrm>
            <a:off x="891423" y="3239848"/>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20" name="Oval 11"/>
          <p:cNvSpPr txBox="1"/>
          <p:nvPr>
            <p:custDataLst>
              <p:tags r:id="rId35"/>
            </p:custDataLst>
          </p:nvPr>
        </p:nvSpPr>
        <p:spPr>
          <a:xfrm>
            <a:off x="891423" y="3428190"/>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21" name="Oval 11"/>
          <p:cNvSpPr txBox="1"/>
          <p:nvPr>
            <p:custDataLst>
              <p:tags r:id="rId36"/>
            </p:custDataLst>
          </p:nvPr>
        </p:nvSpPr>
        <p:spPr>
          <a:xfrm>
            <a:off x="891423" y="361653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23" name="Oval 11"/>
          <p:cNvSpPr txBox="1"/>
          <p:nvPr>
            <p:custDataLst>
              <p:tags r:id="rId37"/>
            </p:custDataLst>
          </p:nvPr>
        </p:nvSpPr>
        <p:spPr>
          <a:xfrm>
            <a:off x="1089298" y="210979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24" name="Oval 11"/>
          <p:cNvSpPr txBox="1"/>
          <p:nvPr>
            <p:custDataLst>
              <p:tags r:id="rId38"/>
            </p:custDataLst>
          </p:nvPr>
        </p:nvSpPr>
        <p:spPr>
          <a:xfrm>
            <a:off x="1089298" y="2298136"/>
            <a:ext cx="197875" cy="188343"/>
          </a:xfrm>
          <a:prstGeom prst="ellipse">
            <a:avLst/>
          </a:prstGeom>
          <a:solidFill>
            <a:srgbClr val="FFCA21"/>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25" name="Oval 11"/>
          <p:cNvSpPr txBox="1"/>
          <p:nvPr>
            <p:custDataLst>
              <p:tags r:id="rId39"/>
            </p:custDataLst>
          </p:nvPr>
        </p:nvSpPr>
        <p:spPr>
          <a:xfrm>
            <a:off x="1089298" y="2486478"/>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26" name="Oval 11"/>
          <p:cNvSpPr txBox="1"/>
          <p:nvPr>
            <p:custDataLst>
              <p:tags r:id="rId40"/>
            </p:custDataLst>
          </p:nvPr>
        </p:nvSpPr>
        <p:spPr>
          <a:xfrm>
            <a:off x="1089298" y="2674821"/>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27" name="Oval 11"/>
          <p:cNvSpPr txBox="1"/>
          <p:nvPr>
            <p:custDataLst>
              <p:tags r:id="rId41"/>
            </p:custDataLst>
          </p:nvPr>
        </p:nvSpPr>
        <p:spPr>
          <a:xfrm>
            <a:off x="1089298" y="286316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28" name="Oval 11"/>
          <p:cNvSpPr txBox="1"/>
          <p:nvPr>
            <p:custDataLst>
              <p:tags r:id="rId42"/>
            </p:custDataLst>
          </p:nvPr>
        </p:nvSpPr>
        <p:spPr>
          <a:xfrm>
            <a:off x="1089298" y="3051505"/>
            <a:ext cx="197875" cy="188343"/>
          </a:xfrm>
          <a:prstGeom prst="ellipse">
            <a:avLst/>
          </a:prstGeom>
          <a:solidFill>
            <a:srgbClr val="FFCA21"/>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29" name="Oval 11"/>
          <p:cNvSpPr txBox="1"/>
          <p:nvPr>
            <p:custDataLst>
              <p:tags r:id="rId43"/>
            </p:custDataLst>
          </p:nvPr>
        </p:nvSpPr>
        <p:spPr>
          <a:xfrm>
            <a:off x="1089298" y="3239848"/>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30" name="Oval 11"/>
          <p:cNvSpPr txBox="1"/>
          <p:nvPr>
            <p:custDataLst>
              <p:tags r:id="rId44"/>
            </p:custDataLst>
          </p:nvPr>
        </p:nvSpPr>
        <p:spPr>
          <a:xfrm>
            <a:off x="1089298" y="3428190"/>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31" name="Oval 11"/>
          <p:cNvSpPr txBox="1"/>
          <p:nvPr>
            <p:custDataLst>
              <p:tags r:id="rId45"/>
            </p:custDataLst>
          </p:nvPr>
        </p:nvSpPr>
        <p:spPr>
          <a:xfrm>
            <a:off x="1089298" y="361653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33" name="Oval 11"/>
          <p:cNvSpPr txBox="1"/>
          <p:nvPr>
            <p:custDataLst>
              <p:tags r:id="rId46"/>
            </p:custDataLst>
          </p:nvPr>
        </p:nvSpPr>
        <p:spPr>
          <a:xfrm>
            <a:off x="1287172" y="210979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34" name="Oval 11"/>
          <p:cNvSpPr txBox="1"/>
          <p:nvPr>
            <p:custDataLst>
              <p:tags r:id="rId47"/>
            </p:custDataLst>
          </p:nvPr>
        </p:nvSpPr>
        <p:spPr>
          <a:xfrm>
            <a:off x="1287172" y="2298136"/>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35" name="Oval 11"/>
          <p:cNvSpPr txBox="1"/>
          <p:nvPr>
            <p:custDataLst>
              <p:tags r:id="rId48"/>
            </p:custDataLst>
          </p:nvPr>
        </p:nvSpPr>
        <p:spPr>
          <a:xfrm>
            <a:off x="1287172" y="2486478"/>
            <a:ext cx="197875" cy="188343"/>
          </a:xfrm>
          <a:prstGeom prst="ellipse">
            <a:avLst/>
          </a:prstGeom>
          <a:solidFill>
            <a:srgbClr val="FFCA21"/>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36" name="Oval 11"/>
          <p:cNvSpPr txBox="1"/>
          <p:nvPr>
            <p:custDataLst>
              <p:tags r:id="rId49"/>
            </p:custDataLst>
          </p:nvPr>
        </p:nvSpPr>
        <p:spPr>
          <a:xfrm>
            <a:off x="1287172" y="2674821"/>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37" name="Oval 11"/>
          <p:cNvSpPr txBox="1"/>
          <p:nvPr>
            <p:custDataLst>
              <p:tags r:id="rId50"/>
            </p:custDataLst>
          </p:nvPr>
        </p:nvSpPr>
        <p:spPr>
          <a:xfrm>
            <a:off x="1287172" y="286316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38" name="Oval 11"/>
          <p:cNvSpPr txBox="1"/>
          <p:nvPr>
            <p:custDataLst>
              <p:tags r:id="rId51"/>
            </p:custDataLst>
          </p:nvPr>
        </p:nvSpPr>
        <p:spPr>
          <a:xfrm>
            <a:off x="1287172" y="3051505"/>
            <a:ext cx="197875" cy="188343"/>
          </a:xfrm>
          <a:prstGeom prst="ellipse">
            <a:avLst/>
          </a:prstGeom>
          <a:solidFill>
            <a:srgbClr val="FFCA21"/>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39" name="Oval 11"/>
          <p:cNvSpPr txBox="1"/>
          <p:nvPr>
            <p:custDataLst>
              <p:tags r:id="rId52"/>
            </p:custDataLst>
          </p:nvPr>
        </p:nvSpPr>
        <p:spPr>
          <a:xfrm>
            <a:off x="1287172" y="3239848"/>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40" name="Oval 11"/>
          <p:cNvSpPr txBox="1"/>
          <p:nvPr>
            <p:custDataLst>
              <p:tags r:id="rId53"/>
            </p:custDataLst>
          </p:nvPr>
        </p:nvSpPr>
        <p:spPr>
          <a:xfrm>
            <a:off x="1287172" y="3428190"/>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41" name="Oval 11"/>
          <p:cNvSpPr txBox="1"/>
          <p:nvPr>
            <p:custDataLst>
              <p:tags r:id="rId54"/>
            </p:custDataLst>
          </p:nvPr>
        </p:nvSpPr>
        <p:spPr>
          <a:xfrm>
            <a:off x="1287172" y="361653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43" name="Oval 11"/>
          <p:cNvSpPr txBox="1"/>
          <p:nvPr>
            <p:custDataLst>
              <p:tags r:id="rId55"/>
            </p:custDataLst>
          </p:nvPr>
        </p:nvSpPr>
        <p:spPr>
          <a:xfrm>
            <a:off x="1485048" y="210979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44" name="Oval 11"/>
          <p:cNvSpPr txBox="1"/>
          <p:nvPr>
            <p:custDataLst>
              <p:tags r:id="rId56"/>
            </p:custDataLst>
          </p:nvPr>
        </p:nvSpPr>
        <p:spPr>
          <a:xfrm>
            <a:off x="1485048" y="2298136"/>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45" name="Oval 11"/>
          <p:cNvSpPr txBox="1"/>
          <p:nvPr>
            <p:custDataLst>
              <p:tags r:id="rId57"/>
            </p:custDataLst>
          </p:nvPr>
        </p:nvSpPr>
        <p:spPr>
          <a:xfrm>
            <a:off x="1485048" y="2486478"/>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46" name="Oval 11"/>
          <p:cNvSpPr txBox="1"/>
          <p:nvPr>
            <p:custDataLst>
              <p:tags r:id="rId58"/>
            </p:custDataLst>
          </p:nvPr>
        </p:nvSpPr>
        <p:spPr>
          <a:xfrm>
            <a:off x="1485048" y="2674821"/>
            <a:ext cx="197875" cy="188343"/>
          </a:xfrm>
          <a:prstGeom prst="ellipse">
            <a:avLst/>
          </a:prstGeom>
          <a:solidFill>
            <a:srgbClr val="FFCA21"/>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47" name="Oval 11"/>
          <p:cNvSpPr txBox="1"/>
          <p:nvPr>
            <p:custDataLst>
              <p:tags r:id="rId59"/>
            </p:custDataLst>
          </p:nvPr>
        </p:nvSpPr>
        <p:spPr>
          <a:xfrm>
            <a:off x="1485048" y="2863163"/>
            <a:ext cx="197875" cy="188343"/>
          </a:xfrm>
          <a:prstGeom prst="ellipse">
            <a:avLst/>
          </a:prstGeom>
          <a:solidFill>
            <a:srgbClr val="FFCA21"/>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48" name="Oval 11"/>
          <p:cNvSpPr txBox="1"/>
          <p:nvPr>
            <p:custDataLst>
              <p:tags r:id="rId60"/>
            </p:custDataLst>
          </p:nvPr>
        </p:nvSpPr>
        <p:spPr>
          <a:xfrm>
            <a:off x="1485048" y="3051505"/>
            <a:ext cx="197875" cy="188343"/>
          </a:xfrm>
          <a:prstGeom prst="ellipse">
            <a:avLst/>
          </a:prstGeom>
          <a:solidFill>
            <a:srgbClr val="FFCA21"/>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49" name="Oval 11"/>
          <p:cNvSpPr txBox="1"/>
          <p:nvPr>
            <p:custDataLst>
              <p:tags r:id="rId61"/>
            </p:custDataLst>
          </p:nvPr>
        </p:nvSpPr>
        <p:spPr>
          <a:xfrm>
            <a:off x="1485048" y="3239848"/>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50" name="Oval 11"/>
          <p:cNvSpPr txBox="1"/>
          <p:nvPr>
            <p:custDataLst>
              <p:tags r:id="rId62"/>
            </p:custDataLst>
          </p:nvPr>
        </p:nvSpPr>
        <p:spPr>
          <a:xfrm>
            <a:off x="1485048" y="3428190"/>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51" name="Oval 11"/>
          <p:cNvSpPr txBox="1"/>
          <p:nvPr>
            <p:custDataLst>
              <p:tags r:id="rId63"/>
            </p:custDataLst>
          </p:nvPr>
        </p:nvSpPr>
        <p:spPr>
          <a:xfrm>
            <a:off x="1485048" y="361653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53" name="Oval 11"/>
          <p:cNvSpPr txBox="1"/>
          <p:nvPr>
            <p:custDataLst>
              <p:tags r:id="rId64"/>
            </p:custDataLst>
          </p:nvPr>
        </p:nvSpPr>
        <p:spPr>
          <a:xfrm>
            <a:off x="1682923" y="210979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54" name="Oval 11"/>
          <p:cNvSpPr txBox="1"/>
          <p:nvPr>
            <p:custDataLst>
              <p:tags r:id="rId65"/>
            </p:custDataLst>
          </p:nvPr>
        </p:nvSpPr>
        <p:spPr>
          <a:xfrm>
            <a:off x="1682923" y="2298136"/>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55" name="Oval 11"/>
          <p:cNvSpPr txBox="1"/>
          <p:nvPr>
            <p:custDataLst>
              <p:tags r:id="rId66"/>
            </p:custDataLst>
          </p:nvPr>
        </p:nvSpPr>
        <p:spPr>
          <a:xfrm>
            <a:off x="1682923" y="2486478"/>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56" name="Oval 11"/>
          <p:cNvSpPr txBox="1"/>
          <p:nvPr>
            <p:custDataLst>
              <p:tags r:id="rId67"/>
            </p:custDataLst>
          </p:nvPr>
        </p:nvSpPr>
        <p:spPr>
          <a:xfrm>
            <a:off x="1682923" y="2674821"/>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57" name="Oval 11"/>
          <p:cNvSpPr txBox="1"/>
          <p:nvPr>
            <p:custDataLst>
              <p:tags r:id="rId68"/>
            </p:custDataLst>
          </p:nvPr>
        </p:nvSpPr>
        <p:spPr>
          <a:xfrm>
            <a:off x="1682923" y="286316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58" name="Oval 11"/>
          <p:cNvSpPr txBox="1"/>
          <p:nvPr>
            <p:custDataLst>
              <p:tags r:id="rId69"/>
            </p:custDataLst>
          </p:nvPr>
        </p:nvSpPr>
        <p:spPr>
          <a:xfrm>
            <a:off x="1682923" y="3051505"/>
            <a:ext cx="197875" cy="188343"/>
          </a:xfrm>
          <a:prstGeom prst="ellipse">
            <a:avLst/>
          </a:prstGeom>
          <a:solidFill>
            <a:srgbClr val="FFCA21"/>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59" name="Oval 11"/>
          <p:cNvSpPr txBox="1"/>
          <p:nvPr>
            <p:custDataLst>
              <p:tags r:id="rId70"/>
            </p:custDataLst>
          </p:nvPr>
        </p:nvSpPr>
        <p:spPr>
          <a:xfrm>
            <a:off x="1682923" y="3239848"/>
            <a:ext cx="197875" cy="188343"/>
          </a:xfrm>
          <a:prstGeom prst="ellipse">
            <a:avLst/>
          </a:prstGeom>
          <a:solidFill>
            <a:srgbClr val="FFCA21"/>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60" name="Oval 11"/>
          <p:cNvSpPr txBox="1"/>
          <p:nvPr>
            <p:custDataLst>
              <p:tags r:id="rId71"/>
            </p:custDataLst>
          </p:nvPr>
        </p:nvSpPr>
        <p:spPr>
          <a:xfrm>
            <a:off x="1682923" y="3428190"/>
            <a:ext cx="197875" cy="188343"/>
          </a:xfrm>
          <a:prstGeom prst="ellipse">
            <a:avLst/>
          </a:prstGeom>
          <a:solidFill>
            <a:srgbClr val="FFCA21"/>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61" name="Oval 11"/>
          <p:cNvSpPr txBox="1"/>
          <p:nvPr>
            <p:custDataLst>
              <p:tags r:id="rId72"/>
            </p:custDataLst>
          </p:nvPr>
        </p:nvSpPr>
        <p:spPr>
          <a:xfrm>
            <a:off x="1682923" y="361653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63" name="Oval 11"/>
          <p:cNvSpPr txBox="1"/>
          <p:nvPr>
            <p:custDataLst>
              <p:tags r:id="rId73"/>
            </p:custDataLst>
          </p:nvPr>
        </p:nvSpPr>
        <p:spPr>
          <a:xfrm>
            <a:off x="1880797" y="210979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64" name="Oval 11"/>
          <p:cNvSpPr txBox="1"/>
          <p:nvPr>
            <p:custDataLst>
              <p:tags r:id="rId74"/>
            </p:custDataLst>
          </p:nvPr>
        </p:nvSpPr>
        <p:spPr>
          <a:xfrm>
            <a:off x="1880797" y="2298136"/>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65" name="Oval 11"/>
          <p:cNvSpPr txBox="1"/>
          <p:nvPr>
            <p:custDataLst>
              <p:tags r:id="rId75"/>
            </p:custDataLst>
          </p:nvPr>
        </p:nvSpPr>
        <p:spPr>
          <a:xfrm>
            <a:off x="1880797" y="2486478"/>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66" name="Oval 11"/>
          <p:cNvSpPr txBox="1"/>
          <p:nvPr>
            <p:custDataLst>
              <p:tags r:id="rId76"/>
            </p:custDataLst>
          </p:nvPr>
        </p:nvSpPr>
        <p:spPr>
          <a:xfrm>
            <a:off x="1880797" y="2674821"/>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67" name="Oval 11"/>
          <p:cNvSpPr txBox="1"/>
          <p:nvPr>
            <p:custDataLst>
              <p:tags r:id="rId77"/>
            </p:custDataLst>
          </p:nvPr>
        </p:nvSpPr>
        <p:spPr>
          <a:xfrm>
            <a:off x="1880797" y="2863163"/>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68" name="Oval 11"/>
          <p:cNvSpPr txBox="1"/>
          <p:nvPr>
            <p:custDataLst>
              <p:tags r:id="rId78"/>
            </p:custDataLst>
          </p:nvPr>
        </p:nvSpPr>
        <p:spPr>
          <a:xfrm>
            <a:off x="1880797" y="3051505"/>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69" name="Oval 11"/>
          <p:cNvSpPr txBox="1"/>
          <p:nvPr>
            <p:custDataLst>
              <p:tags r:id="rId79"/>
            </p:custDataLst>
          </p:nvPr>
        </p:nvSpPr>
        <p:spPr>
          <a:xfrm>
            <a:off x="1880797" y="3239848"/>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70" name="Oval 11"/>
          <p:cNvSpPr txBox="1"/>
          <p:nvPr>
            <p:custDataLst>
              <p:tags r:id="rId80"/>
            </p:custDataLst>
          </p:nvPr>
        </p:nvSpPr>
        <p:spPr>
          <a:xfrm>
            <a:off x="1880797" y="3428191"/>
            <a:ext cx="197875" cy="188343"/>
          </a:xfrm>
          <a:prstGeom prst="ellipse">
            <a:avLst/>
          </a:prstGeom>
          <a:solidFill>
            <a:schemeClr val="accent3"/>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171" name="Oval 11"/>
          <p:cNvSpPr txBox="1"/>
          <p:nvPr>
            <p:custDataLst>
              <p:tags r:id="rId81"/>
            </p:custDataLst>
          </p:nvPr>
        </p:nvSpPr>
        <p:spPr>
          <a:xfrm>
            <a:off x="1880800" y="3616535"/>
            <a:ext cx="197875" cy="188343"/>
          </a:xfrm>
          <a:prstGeom prst="ellipse">
            <a:avLst/>
          </a:prstGeom>
          <a:solidFill>
            <a:srgbClr val="FFCA21"/>
          </a:solidFill>
          <a:ln>
            <a:no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dirty="0">
              <a:ea typeface="楷体" panose="02010609060101010101" pitchFamily="49" charset="-122"/>
            </a:endParaRPr>
          </a:p>
        </p:txBody>
      </p:sp>
      <p:sp>
        <p:nvSpPr>
          <p:cNvPr id="216" name="TextBox 215"/>
          <p:cNvSpPr txBox="1">
            <a:spLocks/>
          </p:cNvSpPr>
          <p:nvPr/>
        </p:nvSpPr>
        <p:spPr>
          <a:xfrm>
            <a:off x="6272171" y="2109793"/>
            <a:ext cx="2527020" cy="1695085"/>
          </a:xfrm>
          <a:prstGeom prst="rect">
            <a:avLst/>
          </a:prstGeom>
        </p:spPr>
        <p:txBody>
          <a:bodyPr vert="horz" wrap="square" lIns="0" tIns="0" rIns="0" bIns="0" rtlCol="0" anchor="ctr">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2800" b="1" dirty="0">
                <a:solidFill>
                  <a:srgbClr val="FFCA21"/>
                </a:solidFill>
                <a:ea typeface="楷体" panose="02010609060101010101" pitchFamily="49" charset="-122"/>
                <a:cs typeface="SimSun"/>
              </a:rPr>
              <a:t>A</a:t>
            </a:r>
            <a:r>
              <a:rPr lang="zh-CN" sz="2800" dirty="0">
                <a:solidFill>
                  <a:schemeClr val="accent3"/>
                </a:solidFill>
                <a:ea typeface="楷体" panose="02010609060101010101" pitchFamily="49" charset="-122"/>
                <a:cs typeface="SimSun"/>
              </a:rPr>
              <a:t>BCDEFGHIJKLMNOPQRSTUVWXYZ</a:t>
            </a:r>
          </a:p>
        </p:txBody>
      </p:sp>
      <p:sp>
        <p:nvSpPr>
          <p:cNvPr id="9" name="TextBox 8"/>
          <p:cNvSpPr txBox="1">
            <a:spLocks/>
          </p:cNvSpPr>
          <p:nvPr/>
        </p:nvSpPr>
        <p:spPr>
          <a:xfrm>
            <a:off x="297798" y="1694319"/>
            <a:ext cx="1780877" cy="307777"/>
          </a:xfrm>
          <a:prstGeom prst="rect">
            <a:avLst/>
          </a:prstGeom>
        </p:spPr>
        <p:txBody>
          <a:bodyPr vert="horz" wrap="square" lIns="0" tIns="0" rIns="0" bIns="0" rtlCol="0">
            <a:spAutoFit/>
          </a:bodyPr>
          <a:lstStyle>
            <a:defPPr>
              <a:defRPr lang="en-US"/>
            </a:defPPr>
            <a:lvl1pPr marL="0" lvl="0" indent="0" defTabSz="895350" eaLnBrk="1" latinLnBrk="0" hangingPunct="1">
              <a:buClr>
                <a:srgbClr val="002960"/>
              </a:buClr>
              <a:buSzPct val="100000"/>
              <a:defRPr sz="2000" baseline="0">
                <a:solidFill>
                  <a:srgbClr val="FFCA21"/>
                </a:solidFill>
                <a:latin typeface="Georgia" panose="02040502050405020303" pitchFamily="18" charset="0"/>
              </a:defRPr>
            </a:lvl1pPr>
            <a:lvl2pPr marL="193675" lvl="1" indent="-192088" defTabSz="895350" eaLnBrk="1" latinLnBrk="0" hangingPunct="1">
              <a:buClr>
                <a:schemeClr val="tx2"/>
              </a:buClr>
              <a:buSzPct val="125000"/>
              <a:buFont typeface="Arial" charset="0"/>
              <a:buChar char="▪"/>
              <a:defRPr sz="1400" baseline="0"/>
            </a:lvl2pPr>
            <a:lvl3pPr marL="457200" lvl="2" indent="-261938" defTabSz="895350" eaLnBrk="1" latinLnBrk="0" hangingPunct="1">
              <a:buClr>
                <a:schemeClr val="tx2"/>
              </a:buClr>
              <a:buSzPct val="120000"/>
              <a:buFont typeface="Arial" charset="0"/>
              <a:buChar char="–"/>
              <a:defRPr sz="1400" baseline="0"/>
            </a:lvl3pPr>
            <a:lvl4pPr marL="614363" lvl="3" indent="-155575" defTabSz="895350" eaLnBrk="1" latinLnBrk="0" hangingPunct="1">
              <a:buClr>
                <a:schemeClr val="tx2"/>
              </a:buClr>
              <a:buSzPct val="120000"/>
              <a:buFont typeface="Arial" charset="0"/>
              <a:buChar char="▫"/>
              <a:defRPr sz="1400" baseline="0"/>
            </a:lvl4pPr>
            <a:lvl5pPr marL="749808" lvl="4" indent="-130175" defTabSz="895350" eaLnBrk="1" latinLnBrk="0" hangingPunct="1">
              <a:buClr>
                <a:schemeClr val="tx2"/>
              </a:buClr>
              <a:buSzPct val="89000"/>
              <a:buFont typeface="Arial" charset="0"/>
              <a:buChar char="-"/>
              <a:defRPr sz="1400"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algn="ctr"/>
            <a:r>
              <a:rPr lang="zh-CN" dirty="0">
                <a:latin typeface="+mn-lt"/>
                <a:ea typeface="楷体" panose="02010609060101010101" pitchFamily="49" charset="-122"/>
                <a:cs typeface="SimSun"/>
              </a:rPr>
              <a:t>输入</a:t>
            </a:r>
          </a:p>
        </p:txBody>
      </p:sp>
      <p:grpSp>
        <p:nvGrpSpPr>
          <p:cNvPr id="38" name="Group 37"/>
          <p:cNvGrpSpPr/>
          <p:nvPr/>
        </p:nvGrpSpPr>
        <p:grpSpPr>
          <a:xfrm>
            <a:off x="3141650" y="1694319"/>
            <a:ext cx="2067542" cy="2110559"/>
            <a:chOff x="3446948" y="1694319"/>
            <a:chExt cx="2067542" cy="2110559"/>
          </a:xfrm>
        </p:grpSpPr>
        <p:grpSp>
          <p:nvGrpSpPr>
            <p:cNvPr id="37" name="Group 36"/>
            <p:cNvGrpSpPr>
              <a:grpSpLocks/>
            </p:cNvGrpSpPr>
            <p:nvPr/>
          </p:nvGrpSpPr>
          <p:grpSpPr>
            <a:xfrm>
              <a:off x="3590281" y="2109793"/>
              <a:ext cx="1780877" cy="1695085"/>
              <a:chOff x="3590281" y="2109793"/>
              <a:chExt cx="1780877" cy="1695085"/>
            </a:xfrm>
          </p:grpSpPr>
          <p:sp>
            <p:nvSpPr>
              <p:cNvPr id="174" name="Rectangle 173"/>
              <p:cNvSpPr/>
              <p:nvPr/>
            </p:nvSpPr>
            <p:spPr>
              <a:xfrm>
                <a:off x="3590281" y="2109793"/>
                <a:ext cx="561934" cy="541097"/>
              </a:xfrm>
              <a:prstGeom prst="rect">
                <a:avLst/>
              </a:prstGeom>
              <a:solidFill>
                <a:schemeClr val="accent3"/>
              </a:solidFill>
              <a:ln w="2857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1"/>
                  </a:solidFill>
                  <a:ea typeface="楷体" panose="02010609060101010101" pitchFamily="49" charset="-122"/>
                </a:endParaRPr>
              </a:p>
            </p:txBody>
          </p:sp>
          <p:cxnSp>
            <p:nvCxnSpPr>
              <p:cNvPr id="176" name="Straight Connector 175"/>
              <p:cNvCxnSpPr/>
              <p:nvPr/>
            </p:nvCxnSpPr>
            <p:spPr>
              <a:xfrm flipV="1">
                <a:off x="3647119" y="2229420"/>
                <a:ext cx="171943" cy="378123"/>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81" name="Rectangle 180"/>
              <p:cNvSpPr/>
              <p:nvPr/>
            </p:nvSpPr>
            <p:spPr>
              <a:xfrm>
                <a:off x="3590281" y="2686787"/>
                <a:ext cx="561934" cy="5410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1"/>
                  </a:solidFill>
                  <a:ea typeface="楷体" panose="02010609060101010101" pitchFamily="49" charset="-122"/>
                </a:endParaRPr>
              </a:p>
            </p:txBody>
          </p:sp>
          <p:cxnSp>
            <p:nvCxnSpPr>
              <p:cNvPr id="182" name="Straight Connector 181"/>
              <p:cNvCxnSpPr/>
              <p:nvPr/>
            </p:nvCxnSpPr>
            <p:spPr>
              <a:xfrm flipV="1">
                <a:off x="4013831" y="2755434"/>
                <a:ext cx="0" cy="40067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87" name="Rectangle 186"/>
              <p:cNvSpPr/>
              <p:nvPr/>
            </p:nvSpPr>
            <p:spPr>
              <a:xfrm>
                <a:off x="3590281" y="3263781"/>
                <a:ext cx="561934" cy="5410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1"/>
                  </a:solidFill>
                  <a:ea typeface="楷体" panose="02010609060101010101" pitchFamily="49" charset="-122"/>
                </a:endParaRPr>
              </a:p>
            </p:txBody>
          </p:sp>
          <p:cxnSp>
            <p:nvCxnSpPr>
              <p:cNvPr id="188" name="Straight Connector 187"/>
              <p:cNvCxnSpPr/>
              <p:nvPr/>
            </p:nvCxnSpPr>
            <p:spPr>
              <a:xfrm>
                <a:off x="3703197" y="3749477"/>
                <a:ext cx="326523" cy="1"/>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77" name="Rectangle 176"/>
              <p:cNvSpPr/>
              <p:nvPr/>
            </p:nvSpPr>
            <p:spPr>
              <a:xfrm>
                <a:off x="4199751" y="2109794"/>
                <a:ext cx="561934" cy="5410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1"/>
                  </a:solidFill>
                  <a:ea typeface="楷体" panose="02010609060101010101" pitchFamily="49" charset="-122"/>
                </a:endParaRPr>
              </a:p>
            </p:txBody>
          </p:sp>
          <p:cxnSp>
            <p:nvCxnSpPr>
              <p:cNvPr id="178" name="Straight Connector 177"/>
              <p:cNvCxnSpPr/>
              <p:nvPr/>
            </p:nvCxnSpPr>
            <p:spPr>
              <a:xfrm flipV="1">
                <a:off x="4305030" y="2159115"/>
                <a:ext cx="0" cy="45091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83" name="Rectangle 182"/>
              <p:cNvSpPr/>
              <p:nvPr/>
            </p:nvSpPr>
            <p:spPr>
              <a:xfrm>
                <a:off x="4199751" y="2686787"/>
                <a:ext cx="561934" cy="541097"/>
              </a:xfrm>
              <a:prstGeom prst="rect">
                <a:avLst/>
              </a:prstGeom>
              <a:solidFill>
                <a:schemeClr val="accent3"/>
              </a:solidFill>
              <a:ln w="2857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1"/>
                  </a:solidFill>
                  <a:ea typeface="楷体" panose="02010609060101010101" pitchFamily="49" charset="-122"/>
                </a:endParaRPr>
              </a:p>
            </p:txBody>
          </p:sp>
          <p:cxnSp>
            <p:nvCxnSpPr>
              <p:cNvPr id="184" name="Straight Connector 183"/>
              <p:cNvCxnSpPr/>
              <p:nvPr/>
            </p:nvCxnSpPr>
            <p:spPr>
              <a:xfrm flipH="1" flipV="1">
                <a:off x="4378642" y="2755990"/>
                <a:ext cx="288412" cy="400119"/>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79" name="Rectangle 178"/>
              <p:cNvSpPr/>
              <p:nvPr/>
            </p:nvSpPr>
            <p:spPr>
              <a:xfrm>
                <a:off x="4809223" y="2112278"/>
                <a:ext cx="561934" cy="541097"/>
              </a:xfrm>
              <a:prstGeom prst="rect">
                <a:avLst/>
              </a:prstGeom>
              <a:solidFill>
                <a:schemeClr val="accent3"/>
              </a:solidFill>
              <a:ln w="2857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1"/>
                  </a:solidFill>
                  <a:ea typeface="楷体" panose="02010609060101010101" pitchFamily="49" charset="-122"/>
                </a:endParaRPr>
              </a:p>
            </p:txBody>
          </p:sp>
          <p:cxnSp>
            <p:nvCxnSpPr>
              <p:cNvPr id="180" name="Straight Connector 179"/>
              <p:cNvCxnSpPr/>
              <p:nvPr/>
            </p:nvCxnSpPr>
            <p:spPr>
              <a:xfrm flipV="1">
                <a:off x="4904723" y="2423419"/>
                <a:ext cx="305706" cy="1"/>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85" name="Rectangle 184"/>
              <p:cNvSpPr/>
              <p:nvPr/>
            </p:nvSpPr>
            <p:spPr>
              <a:xfrm>
                <a:off x="4809223" y="2688030"/>
                <a:ext cx="561934" cy="5410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1"/>
                  </a:solidFill>
                  <a:ea typeface="楷体" panose="02010609060101010101" pitchFamily="49" charset="-122"/>
                </a:endParaRPr>
              </a:p>
            </p:txBody>
          </p:sp>
          <p:cxnSp>
            <p:nvCxnSpPr>
              <p:cNvPr id="186" name="Straight Connector 185"/>
              <p:cNvCxnSpPr/>
              <p:nvPr/>
            </p:nvCxnSpPr>
            <p:spPr>
              <a:xfrm flipV="1">
                <a:off x="4960299" y="2755990"/>
                <a:ext cx="241640" cy="1"/>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91" name="Rectangle 190"/>
              <p:cNvSpPr/>
              <p:nvPr/>
            </p:nvSpPr>
            <p:spPr>
              <a:xfrm>
                <a:off x="4809224" y="3263781"/>
                <a:ext cx="561934" cy="5410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1"/>
                  </a:solidFill>
                  <a:ea typeface="楷体" panose="02010609060101010101" pitchFamily="49" charset="-122"/>
                </a:endParaRPr>
              </a:p>
            </p:txBody>
          </p:sp>
          <p:cxnSp>
            <p:nvCxnSpPr>
              <p:cNvPr id="192" name="Straight Connector 191"/>
              <p:cNvCxnSpPr/>
              <p:nvPr/>
            </p:nvCxnSpPr>
            <p:spPr>
              <a:xfrm>
                <a:off x="5252304" y="3539598"/>
                <a:ext cx="0" cy="180366"/>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89" name="Rectangle 188"/>
              <p:cNvSpPr/>
              <p:nvPr/>
            </p:nvSpPr>
            <p:spPr>
              <a:xfrm>
                <a:off x="4199751" y="3263779"/>
                <a:ext cx="561934" cy="54109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1"/>
                  </a:solidFill>
                  <a:ea typeface="楷体" panose="02010609060101010101" pitchFamily="49" charset="-122"/>
                </a:endParaRPr>
              </a:p>
            </p:txBody>
          </p:sp>
          <p:grpSp>
            <p:nvGrpSpPr>
              <p:cNvPr id="8" name="Group 7"/>
              <p:cNvGrpSpPr/>
              <p:nvPr/>
            </p:nvGrpSpPr>
            <p:grpSpPr>
              <a:xfrm>
                <a:off x="4395666" y="3413471"/>
                <a:ext cx="158809" cy="242315"/>
                <a:chOff x="4237001" y="3462165"/>
                <a:chExt cx="192159" cy="293200"/>
              </a:xfrm>
            </p:grpSpPr>
            <p:cxnSp>
              <p:nvCxnSpPr>
                <p:cNvPr id="190" name="Straight Connector 189"/>
                <p:cNvCxnSpPr/>
                <p:nvPr/>
              </p:nvCxnSpPr>
              <p:spPr>
                <a:xfrm flipH="1" flipV="1">
                  <a:off x="4237001" y="3462165"/>
                  <a:ext cx="102148" cy="29320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flipH="1">
                  <a:off x="4327012" y="3462165"/>
                  <a:ext cx="102148" cy="29320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0" name="TextBox 9"/>
            <p:cNvSpPr txBox="1">
              <a:spLocks/>
            </p:cNvSpPr>
            <p:nvPr/>
          </p:nvSpPr>
          <p:spPr>
            <a:xfrm>
              <a:off x="3446948" y="1694319"/>
              <a:ext cx="2067542" cy="307777"/>
            </a:xfrm>
            <a:prstGeom prst="rect">
              <a:avLst/>
            </a:prstGeom>
          </p:spPr>
          <p:txBody>
            <a:bodyPr vert="horz" wrap="square" lIns="0" tIns="0" rIns="0" bIns="0" rtlCol="0">
              <a:spAutoFit/>
            </a:bodyPr>
            <a:lstStyle>
              <a:defPPr>
                <a:defRPr lang="en-US"/>
              </a:defPPr>
              <a:lvl1pPr marL="0" lvl="0" indent="0" defTabSz="895350" eaLnBrk="1" latinLnBrk="0" hangingPunct="1">
                <a:buClr>
                  <a:srgbClr val="002960"/>
                </a:buClr>
                <a:buSzPct val="100000"/>
                <a:defRPr sz="2000" baseline="0">
                  <a:solidFill>
                    <a:srgbClr val="FFCA21"/>
                  </a:solidFill>
                  <a:latin typeface="Georgia" panose="02040502050405020303" pitchFamily="18" charset="0"/>
                </a:defRPr>
              </a:lvl1pPr>
              <a:lvl2pPr marL="193675" lvl="1" indent="-192088" defTabSz="895350" eaLnBrk="1" latinLnBrk="0" hangingPunct="1">
                <a:buClr>
                  <a:schemeClr val="tx2"/>
                </a:buClr>
                <a:buSzPct val="125000"/>
                <a:buFont typeface="Arial" charset="0"/>
                <a:buChar char="▪"/>
                <a:defRPr sz="1400" baseline="0"/>
              </a:lvl2pPr>
              <a:lvl3pPr marL="457200" lvl="2" indent="-261938" defTabSz="895350" eaLnBrk="1" latinLnBrk="0" hangingPunct="1">
                <a:buClr>
                  <a:schemeClr val="tx2"/>
                </a:buClr>
                <a:buSzPct val="120000"/>
                <a:buFont typeface="Arial" charset="0"/>
                <a:buChar char="–"/>
                <a:defRPr sz="1400" baseline="0"/>
              </a:lvl3pPr>
              <a:lvl4pPr marL="614363" lvl="3" indent="-155575" defTabSz="895350" eaLnBrk="1" latinLnBrk="0" hangingPunct="1">
                <a:buClr>
                  <a:schemeClr val="tx2"/>
                </a:buClr>
                <a:buSzPct val="120000"/>
                <a:buFont typeface="Arial" charset="0"/>
                <a:buChar char="▫"/>
                <a:defRPr sz="1400" baseline="0"/>
              </a:lvl4pPr>
              <a:lvl5pPr marL="749808" lvl="4" indent="-130175" defTabSz="895350" eaLnBrk="1" latinLnBrk="0" hangingPunct="1">
                <a:buClr>
                  <a:schemeClr val="tx2"/>
                </a:buClr>
                <a:buSzPct val="89000"/>
                <a:buFont typeface="Arial" charset="0"/>
                <a:buChar char="-"/>
                <a:defRPr sz="1400"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algn="ctr"/>
              <a:r>
                <a:rPr lang="zh-CN" dirty="0">
                  <a:latin typeface="+mn-lt"/>
                  <a:ea typeface="楷体" panose="02010609060101010101" pitchFamily="49" charset="-122"/>
                  <a:cs typeface="SimSun"/>
                </a:rPr>
                <a:t>特征提取</a:t>
              </a:r>
            </a:p>
          </p:txBody>
        </p:sp>
      </p:grpSp>
      <p:sp>
        <p:nvSpPr>
          <p:cNvPr id="11" name="TextBox 10"/>
          <p:cNvSpPr txBox="1">
            <a:spLocks/>
          </p:cNvSpPr>
          <p:nvPr/>
        </p:nvSpPr>
        <p:spPr>
          <a:xfrm>
            <a:off x="6272171" y="1694319"/>
            <a:ext cx="2527020" cy="307777"/>
          </a:xfrm>
          <a:prstGeom prst="rect">
            <a:avLst/>
          </a:prstGeom>
        </p:spPr>
        <p:txBody>
          <a:bodyPr vert="horz" wrap="square" lIns="0" tIns="0" rIns="0" bIns="0" rtlCol="0">
            <a:spAutoFit/>
          </a:bodyPr>
          <a:lstStyle>
            <a:defPPr>
              <a:defRPr lang="en-US"/>
            </a:defPPr>
            <a:lvl1pPr marL="0" lvl="0" indent="0" defTabSz="895350" eaLnBrk="1" latinLnBrk="0" hangingPunct="1">
              <a:buClr>
                <a:srgbClr val="002960"/>
              </a:buClr>
              <a:buSzPct val="100000"/>
              <a:defRPr sz="2000" baseline="0">
                <a:solidFill>
                  <a:srgbClr val="FFCA21"/>
                </a:solidFill>
                <a:latin typeface="Georgia" panose="02040502050405020303" pitchFamily="18" charset="0"/>
              </a:defRPr>
            </a:lvl1pPr>
            <a:lvl2pPr marL="193675" lvl="1" indent="-192088" defTabSz="895350" eaLnBrk="1" latinLnBrk="0" hangingPunct="1">
              <a:buClr>
                <a:schemeClr val="tx2"/>
              </a:buClr>
              <a:buSzPct val="125000"/>
              <a:buFont typeface="Arial" charset="0"/>
              <a:buChar char="▪"/>
              <a:defRPr sz="1400" baseline="0"/>
            </a:lvl2pPr>
            <a:lvl3pPr marL="457200" lvl="2" indent="-261938" defTabSz="895350" eaLnBrk="1" latinLnBrk="0" hangingPunct="1">
              <a:buClr>
                <a:schemeClr val="tx2"/>
              </a:buClr>
              <a:buSzPct val="120000"/>
              <a:buFont typeface="Arial" charset="0"/>
              <a:buChar char="–"/>
              <a:defRPr sz="1400" baseline="0"/>
            </a:lvl3pPr>
            <a:lvl4pPr marL="614363" lvl="3" indent="-155575" defTabSz="895350" eaLnBrk="1" latinLnBrk="0" hangingPunct="1">
              <a:buClr>
                <a:schemeClr val="tx2"/>
              </a:buClr>
              <a:buSzPct val="120000"/>
              <a:buFont typeface="Arial" charset="0"/>
              <a:buChar char="▫"/>
              <a:defRPr sz="1400" baseline="0"/>
            </a:lvl4pPr>
            <a:lvl5pPr marL="749808" lvl="4" indent="-130175" defTabSz="895350" eaLnBrk="1" latinLnBrk="0" hangingPunct="1">
              <a:buClr>
                <a:schemeClr val="tx2"/>
              </a:buClr>
              <a:buSzPct val="89000"/>
              <a:buFont typeface="Arial" charset="0"/>
              <a:buChar char="-"/>
              <a:defRPr sz="1400"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algn="ctr"/>
            <a:r>
              <a:rPr lang="zh-CN" dirty="0">
                <a:latin typeface="+mn-lt"/>
                <a:ea typeface="楷体" panose="02010609060101010101" pitchFamily="49" charset="-122"/>
                <a:cs typeface="SimSun"/>
              </a:rPr>
              <a:t>分类</a:t>
            </a:r>
          </a:p>
        </p:txBody>
      </p:sp>
      <p:sp>
        <p:nvSpPr>
          <p:cNvPr id="414" name="Slide Number"/>
          <p:cNvSpPr txBox="1">
            <a:spLocks/>
          </p:cNvSpPr>
          <p:nvPr/>
        </p:nvSpPr>
        <p:spPr bwMode="auto">
          <a:xfrm>
            <a:off x="8564563" y="6508272"/>
            <a:ext cx="57708"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r>
              <a:rPr lang="zh-CN" sz="800" baseline="0" dirty="0">
                <a:solidFill>
                  <a:schemeClr val="bg1"/>
                </a:solidFill>
                <a:ea typeface="楷体" panose="02010609060101010101" pitchFamily="49" charset="-122"/>
                <a:cs typeface="SimSun"/>
              </a:rPr>
              <a:t>7</a:t>
            </a:r>
          </a:p>
        </p:txBody>
      </p:sp>
      <p:sp>
        <p:nvSpPr>
          <p:cNvPr id="415" name="SlideLogoText"/>
          <p:cNvSpPr>
            <a:spLocks noChangeArrowheads="1"/>
          </p:cNvSpPr>
          <p:nvPr>
            <p:custDataLst>
              <p:tags r:id="rId82"/>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zh-CN" sz="800" baseline="0" dirty="0">
                <a:solidFill>
                  <a:schemeClr val="bg1"/>
                </a:solidFill>
                <a:latin typeface="+mn-lt"/>
                <a:ea typeface="楷体" panose="02010609060101010101" pitchFamily="49" charset="-122"/>
                <a:cs typeface="SimSun"/>
              </a:rPr>
              <a:t>McKinsey &amp; Company</a:t>
            </a:r>
          </a:p>
        </p:txBody>
      </p:sp>
      <p:sp>
        <p:nvSpPr>
          <p:cNvPr id="28" name="Rectangle 27"/>
          <p:cNvSpPr>
            <a:spLocks/>
          </p:cNvSpPr>
          <p:nvPr/>
        </p:nvSpPr>
        <p:spPr>
          <a:xfrm>
            <a:off x="119063" y="1357051"/>
            <a:ext cx="8723312" cy="234608"/>
          </a:xfrm>
          <a:custGeom>
            <a:avLst/>
            <a:gdLst>
              <a:gd name="connsiteX0" fmla="*/ 0 w 8723312"/>
              <a:gd name="connsiteY0" fmla="*/ 0 h 553194"/>
              <a:gd name="connsiteX1" fmla="*/ 8723312 w 8723312"/>
              <a:gd name="connsiteY1" fmla="*/ 0 h 553194"/>
              <a:gd name="connsiteX2" fmla="*/ 8723312 w 8723312"/>
              <a:gd name="connsiteY2" fmla="*/ 553194 h 553194"/>
              <a:gd name="connsiteX3" fmla="*/ 0 w 8723312"/>
              <a:gd name="connsiteY3" fmla="*/ 553194 h 553194"/>
              <a:gd name="connsiteX4" fmla="*/ 0 w 8723312"/>
              <a:gd name="connsiteY4" fmla="*/ 0 h 553194"/>
              <a:gd name="connsiteX0" fmla="*/ 0 w 8723312"/>
              <a:gd name="connsiteY0" fmla="*/ 553194 h 644634"/>
              <a:gd name="connsiteX1" fmla="*/ 0 w 8723312"/>
              <a:gd name="connsiteY1" fmla="*/ 0 h 644634"/>
              <a:gd name="connsiteX2" fmla="*/ 8723312 w 8723312"/>
              <a:gd name="connsiteY2" fmla="*/ 0 h 644634"/>
              <a:gd name="connsiteX3" fmla="*/ 8723312 w 8723312"/>
              <a:gd name="connsiteY3" fmla="*/ 553194 h 644634"/>
              <a:gd name="connsiteX4" fmla="*/ 91440 w 8723312"/>
              <a:gd name="connsiteY4" fmla="*/ 644634 h 644634"/>
              <a:gd name="connsiteX0" fmla="*/ 0 w 8723312"/>
              <a:gd name="connsiteY0" fmla="*/ 553194 h 553194"/>
              <a:gd name="connsiteX1" fmla="*/ 0 w 8723312"/>
              <a:gd name="connsiteY1" fmla="*/ 0 h 553194"/>
              <a:gd name="connsiteX2" fmla="*/ 8723312 w 8723312"/>
              <a:gd name="connsiteY2" fmla="*/ 0 h 553194"/>
              <a:gd name="connsiteX3" fmla="*/ 8723312 w 8723312"/>
              <a:gd name="connsiteY3" fmla="*/ 553194 h 553194"/>
            </a:gdLst>
            <a:ahLst/>
            <a:cxnLst>
              <a:cxn ang="0">
                <a:pos x="connsiteX0" y="connsiteY0"/>
              </a:cxn>
              <a:cxn ang="0">
                <a:pos x="connsiteX1" y="connsiteY1"/>
              </a:cxn>
              <a:cxn ang="0">
                <a:pos x="connsiteX2" y="connsiteY2"/>
              </a:cxn>
              <a:cxn ang="0">
                <a:pos x="connsiteX3" y="connsiteY3"/>
              </a:cxn>
            </a:cxnLst>
            <a:rect l="l" t="t" r="r" b="b"/>
            <a:pathLst>
              <a:path w="8723312" h="553194">
                <a:moveTo>
                  <a:pt x="0" y="553194"/>
                </a:moveTo>
                <a:lnTo>
                  <a:pt x="0" y="0"/>
                </a:lnTo>
                <a:lnTo>
                  <a:pt x="8723312" y="0"/>
                </a:lnTo>
                <a:lnTo>
                  <a:pt x="8723312" y="553194"/>
                </a:lnTo>
              </a:path>
            </a:pathLst>
          </a:custGeom>
          <a:noFill/>
          <a:ln w="317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a typeface="楷体" panose="02010609060101010101" pitchFamily="49" charset="-122"/>
            </a:endParaRPr>
          </a:p>
        </p:txBody>
      </p:sp>
      <p:cxnSp>
        <p:nvCxnSpPr>
          <p:cNvPr id="416" name="Straight Connector 415"/>
          <p:cNvCxnSpPr>
            <a:cxnSpLocks/>
          </p:cNvCxnSpPr>
          <p:nvPr/>
        </p:nvCxnSpPr>
        <p:spPr>
          <a:xfrm>
            <a:off x="119063" y="4048307"/>
            <a:ext cx="872331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 name="Rectangle 3"/>
          <p:cNvSpPr txBox="1">
            <a:spLocks/>
          </p:cNvSpPr>
          <p:nvPr/>
        </p:nvSpPr>
        <p:spPr>
          <a:xfrm>
            <a:off x="2048249" y="1185256"/>
            <a:ext cx="4864940" cy="307777"/>
          </a:xfrm>
          <a:prstGeom prst="rect">
            <a:avLst/>
          </a:prstGeom>
          <a:solidFill>
            <a:srgbClr val="0E3A6E"/>
          </a:solidFill>
          <a:ln>
            <a:noFill/>
          </a:ln>
        </p:spPr>
        <p:txBody>
          <a:bodyPr vert="horz" wrap="square" lIns="0" tIns="0" rIns="0" bIns="0" rtlCol="0">
            <a:spAutoFit/>
          </a:bodyPr>
          <a:lstStyle>
            <a:defPPr>
              <a:defRPr lang="en-US"/>
            </a:defPPr>
            <a:lvl1pPr marL="0" lvl="0" indent="0" defTabSz="895350" eaLnBrk="1" latinLnBrk="0" hangingPunct="1">
              <a:buClr>
                <a:srgbClr val="002960"/>
              </a:buClr>
              <a:buSzPct val="100000"/>
              <a:defRPr sz="1300" baseline="0">
                <a:solidFill>
                  <a:srgbClr val="FFCA21"/>
                </a:solidFill>
                <a:latin typeface="Georgia" panose="02040502050405020303" pitchFamily="18" charset="0"/>
              </a:defRPr>
            </a:lvl1pPr>
            <a:lvl2pPr marL="193675" lvl="1" indent="-192088" defTabSz="895350" eaLnBrk="1" latinLnBrk="0" hangingPunct="1">
              <a:buClr>
                <a:schemeClr val="tx2"/>
              </a:buClr>
              <a:buSzPct val="125000"/>
              <a:buFont typeface="Arial" charset="0"/>
              <a:buChar char="▪"/>
              <a:defRPr sz="1400" baseline="0">
                <a:solidFill>
                  <a:schemeClr val="tx1"/>
                </a:solidFill>
              </a:defRPr>
            </a:lvl2pPr>
            <a:lvl3pPr marL="457200" lvl="2" indent="-261938" defTabSz="895350" eaLnBrk="1" latinLnBrk="0" hangingPunct="1">
              <a:buClr>
                <a:schemeClr val="tx2"/>
              </a:buClr>
              <a:buSzPct val="120000"/>
              <a:buFont typeface="Arial" charset="0"/>
              <a:buChar char="–"/>
              <a:defRPr sz="1400" baseline="0">
                <a:solidFill>
                  <a:schemeClr val="tx1"/>
                </a:solidFill>
              </a:defRPr>
            </a:lvl3pPr>
            <a:lvl4pPr marL="614363" lvl="3" indent="-155575" defTabSz="895350" eaLnBrk="1" latinLnBrk="0" hangingPunct="1">
              <a:buClr>
                <a:schemeClr val="tx2"/>
              </a:buClr>
              <a:buSzPct val="120000"/>
              <a:buFont typeface="Arial" charset="0"/>
              <a:buChar char="▫"/>
              <a:defRPr sz="1400" baseline="0">
                <a:solidFill>
                  <a:schemeClr val="tx1"/>
                </a:solidFill>
              </a:defRPr>
            </a:lvl4pPr>
            <a:lvl5pPr marL="749808" lvl="4" indent="-130175" defTabSz="895350" eaLnBrk="1" latinLnBrk="0" hangingPunct="1">
              <a:buClr>
                <a:schemeClr val="tx2"/>
              </a:buClr>
              <a:buSzPct val="89000"/>
              <a:buFont typeface="Arial" charset="0"/>
              <a:buChar char="-"/>
              <a:defRPr sz="1400" baseline="0">
                <a:solidFill>
                  <a:schemeClr val="tx1"/>
                </a:solidFill>
              </a:defRPr>
            </a:lvl5pPr>
            <a:lvl6pPr marL="749808" indent="-130175" defTabSz="895350" fontAlgn="base">
              <a:spcBef>
                <a:spcPct val="0"/>
              </a:spcBef>
              <a:spcAft>
                <a:spcPct val="0"/>
              </a:spcAft>
              <a:buClr>
                <a:schemeClr val="tx2"/>
              </a:buClr>
              <a:buSzPct val="89000"/>
              <a:buFont typeface="Arial" charset="0"/>
              <a:buChar char="-"/>
              <a:defRPr baseline="0">
                <a:solidFill>
                  <a:schemeClr val="tx1"/>
                </a:solidFill>
              </a:defRPr>
            </a:lvl6pPr>
            <a:lvl7pPr marL="749808" indent="-130175" defTabSz="895350" fontAlgn="base">
              <a:spcBef>
                <a:spcPct val="0"/>
              </a:spcBef>
              <a:spcAft>
                <a:spcPct val="0"/>
              </a:spcAft>
              <a:buClr>
                <a:schemeClr val="tx2"/>
              </a:buClr>
              <a:buSzPct val="89000"/>
              <a:buFont typeface="Arial" charset="0"/>
              <a:buChar char="-"/>
              <a:defRPr baseline="0">
                <a:solidFill>
                  <a:schemeClr val="tx1"/>
                </a:solidFill>
              </a:defRPr>
            </a:lvl7pPr>
            <a:lvl8pPr marL="749808" indent="-130175" defTabSz="895350" fontAlgn="base">
              <a:spcBef>
                <a:spcPct val="0"/>
              </a:spcBef>
              <a:spcAft>
                <a:spcPct val="0"/>
              </a:spcAft>
              <a:buClr>
                <a:schemeClr val="tx2"/>
              </a:buClr>
              <a:buSzPct val="89000"/>
              <a:buFont typeface="Arial" charset="0"/>
              <a:buChar char="-"/>
              <a:defRPr baseline="0">
                <a:solidFill>
                  <a:schemeClr val="tx1"/>
                </a:solidFill>
              </a:defRPr>
            </a:lvl8pPr>
            <a:lvl9pPr marL="749808" indent="-130175" defTabSz="895350" fontAlgn="base">
              <a:spcBef>
                <a:spcPct val="0"/>
              </a:spcBef>
              <a:spcAft>
                <a:spcPct val="0"/>
              </a:spcAft>
              <a:buClr>
                <a:schemeClr val="tx2"/>
              </a:buClr>
              <a:buSzPct val="89000"/>
              <a:buFont typeface="Arial" charset="0"/>
              <a:buChar char="-"/>
              <a:defRPr baseline="0">
                <a:solidFill>
                  <a:schemeClr val="tx1"/>
                </a:solidFill>
              </a:defRPr>
            </a:lvl9pPr>
          </a:lstStyle>
          <a:p>
            <a:pPr algn="ctr"/>
            <a:r>
              <a:rPr lang="zh-CN" sz="2000" dirty="0">
                <a:latin typeface="+mn-lt"/>
                <a:ea typeface="楷体" panose="02010609060101010101" pitchFamily="49" charset="-122"/>
                <a:cs typeface="SimSun"/>
              </a:rPr>
              <a:t>深度学习字母分类示例</a:t>
            </a:r>
          </a:p>
        </p:txBody>
      </p:sp>
      <p:sp>
        <p:nvSpPr>
          <p:cNvPr id="233" name="Bracket 233"/>
          <p:cNvSpPr>
            <a:spLocks/>
          </p:cNvSpPr>
          <p:nvPr>
            <p:custDataLst>
              <p:tags r:id="rId83"/>
            </p:custDataLst>
          </p:nvPr>
        </p:nvSpPr>
        <p:spPr bwMode="auto">
          <a:xfrm rot="5400000">
            <a:off x="2861939" y="2252966"/>
            <a:ext cx="182600" cy="5637801"/>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115"/>
              <a:gd name="connsiteY0" fmla="*/ 0 h 1152"/>
              <a:gd name="connsiteX1" fmla="*/ 65 w 115"/>
              <a:gd name="connsiteY1" fmla="*/ 0 h 1152"/>
              <a:gd name="connsiteX2" fmla="*/ 65 w 115"/>
              <a:gd name="connsiteY2" fmla="*/ 528 h 1152"/>
              <a:gd name="connsiteX3" fmla="*/ 115 w 115"/>
              <a:gd name="connsiteY3" fmla="*/ 576 h 1152"/>
              <a:gd name="connsiteX4" fmla="*/ 65 w 115"/>
              <a:gd name="connsiteY4" fmla="*/ 624 h 1152"/>
              <a:gd name="connsiteX5" fmla="*/ 65 w 115"/>
              <a:gd name="connsiteY5" fmla="*/ 1152 h 1152"/>
              <a:gd name="connsiteX6" fmla="*/ 0 w 115"/>
              <a:gd name="connsiteY6" fmla="*/ 1152 h 1152"/>
              <a:gd name="connsiteX0" fmla="*/ 0 w 115"/>
              <a:gd name="connsiteY0" fmla="*/ 0 h 1152"/>
              <a:gd name="connsiteX1" fmla="*/ 39 w 115"/>
              <a:gd name="connsiteY1" fmla="*/ 0 h 1152"/>
              <a:gd name="connsiteX2" fmla="*/ 65 w 115"/>
              <a:gd name="connsiteY2" fmla="*/ 528 h 1152"/>
              <a:gd name="connsiteX3" fmla="*/ 115 w 115"/>
              <a:gd name="connsiteY3" fmla="*/ 576 h 1152"/>
              <a:gd name="connsiteX4" fmla="*/ 65 w 115"/>
              <a:gd name="connsiteY4" fmla="*/ 624 h 1152"/>
              <a:gd name="connsiteX5" fmla="*/ 65 w 115"/>
              <a:gd name="connsiteY5" fmla="*/ 1152 h 1152"/>
              <a:gd name="connsiteX6" fmla="*/ 0 w 115"/>
              <a:gd name="connsiteY6" fmla="*/ 1152 h 1152"/>
              <a:gd name="connsiteX0" fmla="*/ 0 w 115"/>
              <a:gd name="connsiteY0" fmla="*/ 0 h 1152"/>
              <a:gd name="connsiteX1" fmla="*/ 39 w 115"/>
              <a:gd name="connsiteY1" fmla="*/ 0 h 1152"/>
              <a:gd name="connsiteX2" fmla="*/ 39 w 115"/>
              <a:gd name="connsiteY2" fmla="*/ 562 h 1152"/>
              <a:gd name="connsiteX3" fmla="*/ 115 w 115"/>
              <a:gd name="connsiteY3" fmla="*/ 576 h 1152"/>
              <a:gd name="connsiteX4" fmla="*/ 65 w 115"/>
              <a:gd name="connsiteY4" fmla="*/ 624 h 1152"/>
              <a:gd name="connsiteX5" fmla="*/ 65 w 115"/>
              <a:gd name="connsiteY5" fmla="*/ 1152 h 1152"/>
              <a:gd name="connsiteX6" fmla="*/ 0 w 115"/>
              <a:gd name="connsiteY6" fmla="*/ 1152 h 1152"/>
              <a:gd name="connsiteX0" fmla="*/ 0 w 69"/>
              <a:gd name="connsiteY0" fmla="*/ 0 h 1152"/>
              <a:gd name="connsiteX1" fmla="*/ 39 w 69"/>
              <a:gd name="connsiteY1" fmla="*/ 0 h 1152"/>
              <a:gd name="connsiteX2" fmla="*/ 39 w 69"/>
              <a:gd name="connsiteY2" fmla="*/ 562 h 1152"/>
              <a:gd name="connsiteX3" fmla="*/ 69 w 69"/>
              <a:gd name="connsiteY3" fmla="*/ 576 h 1152"/>
              <a:gd name="connsiteX4" fmla="*/ 65 w 69"/>
              <a:gd name="connsiteY4" fmla="*/ 624 h 1152"/>
              <a:gd name="connsiteX5" fmla="*/ 65 w 69"/>
              <a:gd name="connsiteY5" fmla="*/ 1152 h 1152"/>
              <a:gd name="connsiteX6" fmla="*/ 0 w 69"/>
              <a:gd name="connsiteY6" fmla="*/ 1152 h 1152"/>
              <a:gd name="connsiteX0" fmla="*/ 0 w 69"/>
              <a:gd name="connsiteY0" fmla="*/ 0 h 1152"/>
              <a:gd name="connsiteX1" fmla="*/ 39 w 69"/>
              <a:gd name="connsiteY1" fmla="*/ 0 h 1152"/>
              <a:gd name="connsiteX2" fmla="*/ 39 w 69"/>
              <a:gd name="connsiteY2" fmla="*/ 562 h 1152"/>
              <a:gd name="connsiteX3" fmla="*/ 69 w 69"/>
              <a:gd name="connsiteY3" fmla="*/ 576 h 1152"/>
              <a:gd name="connsiteX4" fmla="*/ 39 w 69"/>
              <a:gd name="connsiteY4" fmla="*/ 590 h 1152"/>
              <a:gd name="connsiteX5" fmla="*/ 65 w 69"/>
              <a:gd name="connsiteY5" fmla="*/ 1152 h 1152"/>
              <a:gd name="connsiteX6" fmla="*/ 0 w 69"/>
              <a:gd name="connsiteY6" fmla="*/ 1152 h 1152"/>
              <a:gd name="connsiteX0" fmla="*/ 0 w 69"/>
              <a:gd name="connsiteY0" fmla="*/ 0 h 1152"/>
              <a:gd name="connsiteX1" fmla="*/ 39 w 69"/>
              <a:gd name="connsiteY1" fmla="*/ 0 h 1152"/>
              <a:gd name="connsiteX2" fmla="*/ 39 w 69"/>
              <a:gd name="connsiteY2" fmla="*/ 562 h 1152"/>
              <a:gd name="connsiteX3" fmla="*/ 69 w 69"/>
              <a:gd name="connsiteY3" fmla="*/ 576 h 1152"/>
              <a:gd name="connsiteX4" fmla="*/ 39 w 69"/>
              <a:gd name="connsiteY4" fmla="*/ 590 h 1152"/>
              <a:gd name="connsiteX5" fmla="*/ 39 w 69"/>
              <a:gd name="connsiteY5" fmla="*/ 1152 h 1152"/>
              <a:gd name="connsiteX6" fmla="*/ 0 w 69"/>
              <a:gd name="connsiteY6" fmla="*/ 1152 h 1152"/>
              <a:gd name="connsiteX0" fmla="*/ 0 w 69"/>
              <a:gd name="connsiteY0" fmla="*/ 0 h 1152"/>
              <a:gd name="connsiteX1" fmla="*/ 39 w 69"/>
              <a:gd name="connsiteY1" fmla="*/ 0 h 1152"/>
              <a:gd name="connsiteX2" fmla="*/ 39 w 69"/>
              <a:gd name="connsiteY2" fmla="*/ 562 h 1152"/>
              <a:gd name="connsiteX3" fmla="*/ 69 w 69"/>
              <a:gd name="connsiteY3" fmla="*/ 576 h 1152"/>
              <a:gd name="connsiteX4" fmla="*/ 39 w 69"/>
              <a:gd name="connsiteY4" fmla="*/ 590 h 1152"/>
              <a:gd name="connsiteX5" fmla="*/ 39 w 69"/>
              <a:gd name="connsiteY5" fmla="*/ 1152 h 1152"/>
              <a:gd name="connsiteX6" fmla="*/ 0 w 69"/>
              <a:gd name="connsiteY6" fmla="*/ 1152 h 1152"/>
              <a:gd name="connsiteX0" fmla="*/ 0 w 283"/>
              <a:gd name="connsiteY0" fmla="*/ 108 h 1152"/>
              <a:gd name="connsiteX1" fmla="*/ 253 w 283"/>
              <a:gd name="connsiteY1" fmla="*/ 0 h 1152"/>
              <a:gd name="connsiteX2" fmla="*/ 253 w 283"/>
              <a:gd name="connsiteY2" fmla="*/ 562 h 1152"/>
              <a:gd name="connsiteX3" fmla="*/ 283 w 283"/>
              <a:gd name="connsiteY3" fmla="*/ 576 h 1152"/>
              <a:gd name="connsiteX4" fmla="*/ 253 w 283"/>
              <a:gd name="connsiteY4" fmla="*/ 590 h 1152"/>
              <a:gd name="connsiteX5" fmla="*/ 253 w 283"/>
              <a:gd name="connsiteY5" fmla="*/ 1152 h 1152"/>
              <a:gd name="connsiteX6" fmla="*/ 214 w 283"/>
              <a:gd name="connsiteY6" fmla="*/ 1152 h 1152"/>
              <a:gd name="connsiteX0" fmla="*/ 0 w 283"/>
              <a:gd name="connsiteY0" fmla="*/ 0 h 1044"/>
              <a:gd name="connsiteX1" fmla="*/ 43 w 283"/>
              <a:gd name="connsiteY1" fmla="*/ 0 h 1044"/>
              <a:gd name="connsiteX2" fmla="*/ 253 w 283"/>
              <a:gd name="connsiteY2" fmla="*/ 454 h 1044"/>
              <a:gd name="connsiteX3" fmla="*/ 283 w 283"/>
              <a:gd name="connsiteY3" fmla="*/ 468 h 1044"/>
              <a:gd name="connsiteX4" fmla="*/ 253 w 283"/>
              <a:gd name="connsiteY4" fmla="*/ 482 h 1044"/>
              <a:gd name="connsiteX5" fmla="*/ 253 w 283"/>
              <a:gd name="connsiteY5" fmla="*/ 1044 h 1044"/>
              <a:gd name="connsiteX6" fmla="*/ 214 w 283"/>
              <a:gd name="connsiteY6" fmla="*/ 1044 h 1044"/>
              <a:gd name="connsiteX0" fmla="*/ 0 w 283"/>
              <a:gd name="connsiteY0" fmla="*/ 0 h 1044"/>
              <a:gd name="connsiteX1" fmla="*/ 43 w 283"/>
              <a:gd name="connsiteY1" fmla="*/ 0 h 1044"/>
              <a:gd name="connsiteX2" fmla="*/ 43 w 283"/>
              <a:gd name="connsiteY2" fmla="*/ 178 h 1044"/>
              <a:gd name="connsiteX3" fmla="*/ 283 w 283"/>
              <a:gd name="connsiteY3" fmla="*/ 468 h 1044"/>
              <a:gd name="connsiteX4" fmla="*/ 253 w 283"/>
              <a:gd name="connsiteY4" fmla="*/ 482 h 1044"/>
              <a:gd name="connsiteX5" fmla="*/ 253 w 283"/>
              <a:gd name="connsiteY5" fmla="*/ 1044 h 1044"/>
              <a:gd name="connsiteX6" fmla="*/ 214 w 283"/>
              <a:gd name="connsiteY6" fmla="*/ 1044 h 1044"/>
              <a:gd name="connsiteX0" fmla="*/ 0 w 253"/>
              <a:gd name="connsiteY0" fmla="*/ 0 h 1044"/>
              <a:gd name="connsiteX1" fmla="*/ 43 w 253"/>
              <a:gd name="connsiteY1" fmla="*/ 0 h 1044"/>
              <a:gd name="connsiteX2" fmla="*/ 43 w 253"/>
              <a:gd name="connsiteY2" fmla="*/ 178 h 1044"/>
              <a:gd name="connsiteX3" fmla="*/ 77 w 253"/>
              <a:gd name="connsiteY3" fmla="*/ 194 h 1044"/>
              <a:gd name="connsiteX4" fmla="*/ 253 w 253"/>
              <a:gd name="connsiteY4" fmla="*/ 482 h 1044"/>
              <a:gd name="connsiteX5" fmla="*/ 253 w 253"/>
              <a:gd name="connsiteY5" fmla="*/ 1044 h 1044"/>
              <a:gd name="connsiteX6" fmla="*/ 214 w 253"/>
              <a:gd name="connsiteY6" fmla="*/ 1044 h 1044"/>
              <a:gd name="connsiteX0" fmla="*/ 0 w 253"/>
              <a:gd name="connsiteY0" fmla="*/ 0 h 1044"/>
              <a:gd name="connsiteX1" fmla="*/ 43 w 253"/>
              <a:gd name="connsiteY1" fmla="*/ 0 h 1044"/>
              <a:gd name="connsiteX2" fmla="*/ 43 w 253"/>
              <a:gd name="connsiteY2" fmla="*/ 178 h 1044"/>
              <a:gd name="connsiteX3" fmla="*/ 77 w 253"/>
              <a:gd name="connsiteY3" fmla="*/ 194 h 1044"/>
              <a:gd name="connsiteX4" fmla="*/ 43 w 253"/>
              <a:gd name="connsiteY4" fmla="*/ 210 h 1044"/>
              <a:gd name="connsiteX5" fmla="*/ 253 w 253"/>
              <a:gd name="connsiteY5" fmla="*/ 1044 h 1044"/>
              <a:gd name="connsiteX6" fmla="*/ 214 w 253"/>
              <a:gd name="connsiteY6" fmla="*/ 1044 h 1044"/>
              <a:gd name="connsiteX0" fmla="*/ 0 w 214"/>
              <a:gd name="connsiteY0" fmla="*/ 0 h 1044"/>
              <a:gd name="connsiteX1" fmla="*/ 43 w 214"/>
              <a:gd name="connsiteY1" fmla="*/ 0 h 1044"/>
              <a:gd name="connsiteX2" fmla="*/ 43 w 214"/>
              <a:gd name="connsiteY2" fmla="*/ 178 h 1044"/>
              <a:gd name="connsiteX3" fmla="*/ 77 w 214"/>
              <a:gd name="connsiteY3" fmla="*/ 194 h 1044"/>
              <a:gd name="connsiteX4" fmla="*/ 43 w 214"/>
              <a:gd name="connsiteY4" fmla="*/ 210 h 1044"/>
              <a:gd name="connsiteX5" fmla="*/ 43 w 214"/>
              <a:gd name="connsiteY5" fmla="*/ 389 h 1044"/>
              <a:gd name="connsiteX6" fmla="*/ 214 w 214"/>
              <a:gd name="connsiteY6" fmla="*/ 1044 h 1044"/>
              <a:gd name="connsiteX0" fmla="*/ 0 w 77"/>
              <a:gd name="connsiteY0" fmla="*/ 0 h 389"/>
              <a:gd name="connsiteX1" fmla="*/ 43 w 77"/>
              <a:gd name="connsiteY1" fmla="*/ 0 h 389"/>
              <a:gd name="connsiteX2" fmla="*/ 43 w 77"/>
              <a:gd name="connsiteY2" fmla="*/ 178 h 389"/>
              <a:gd name="connsiteX3" fmla="*/ 77 w 77"/>
              <a:gd name="connsiteY3" fmla="*/ 194 h 389"/>
              <a:gd name="connsiteX4" fmla="*/ 43 w 77"/>
              <a:gd name="connsiteY4" fmla="*/ 210 h 389"/>
              <a:gd name="connsiteX5" fmla="*/ 43 w 77"/>
              <a:gd name="connsiteY5" fmla="*/ 389 h 389"/>
              <a:gd name="connsiteX6" fmla="*/ 0 w 77"/>
              <a:gd name="connsiteY6" fmla="*/ 389 h 389"/>
              <a:gd name="connsiteX0" fmla="*/ 0 w 77"/>
              <a:gd name="connsiteY0" fmla="*/ 0 h 389"/>
              <a:gd name="connsiteX1" fmla="*/ 43 w 77"/>
              <a:gd name="connsiteY1" fmla="*/ 0 h 389"/>
              <a:gd name="connsiteX2" fmla="*/ 43 w 77"/>
              <a:gd name="connsiteY2" fmla="*/ 178 h 389"/>
              <a:gd name="connsiteX3" fmla="*/ 77 w 77"/>
              <a:gd name="connsiteY3" fmla="*/ 194 h 389"/>
              <a:gd name="connsiteX4" fmla="*/ 43 w 77"/>
              <a:gd name="connsiteY4" fmla="*/ 210 h 389"/>
              <a:gd name="connsiteX5" fmla="*/ 43 w 77"/>
              <a:gd name="connsiteY5" fmla="*/ 389 h 389"/>
              <a:gd name="connsiteX6" fmla="*/ 0 w 77"/>
              <a:gd name="connsiteY6" fmla="*/ 389 h 389"/>
              <a:gd name="connsiteX0" fmla="*/ 0 w 77"/>
              <a:gd name="connsiteY0" fmla="*/ 0 h 389"/>
              <a:gd name="connsiteX1" fmla="*/ 15 w 77"/>
              <a:gd name="connsiteY1" fmla="*/ 0 h 389"/>
              <a:gd name="connsiteX2" fmla="*/ 43 w 77"/>
              <a:gd name="connsiteY2" fmla="*/ 178 h 389"/>
              <a:gd name="connsiteX3" fmla="*/ 77 w 77"/>
              <a:gd name="connsiteY3" fmla="*/ 194 h 389"/>
              <a:gd name="connsiteX4" fmla="*/ 43 w 77"/>
              <a:gd name="connsiteY4" fmla="*/ 210 h 389"/>
              <a:gd name="connsiteX5" fmla="*/ 43 w 77"/>
              <a:gd name="connsiteY5" fmla="*/ 389 h 389"/>
              <a:gd name="connsiteX6" fmla="*/ 0 w 77"/>
              <a:gd name="connsiteY6" fmla="*/ 389 h 389"/>
              <a:gd name="connsiteX0" fmla="*/ 0 w 77"/>
              <a:gd name="connsiteY0" fmla="*/ 0 h 389"/>
              <a:gd name="connsiteX1" fmla="*/ 15 w 77"/>
              <a:gd name="connsiteY1" fmla="*/ 0 h 389"/>
              <a:gd name="connsiteX2" fmla="*/ 15 w 77"/>
              <a:gd name="connsiteY2" fmla="*/ 189 h 389"/>
              <a:gd name="connsiteX3" fmla="*/ 77 w 77"/>
              <a:gd name="connsiteY3" fmla="*/ 194 h 389"/>
              <a:gd name="connsiteX4" fmla="*/ 43 w 77"/>
              <a:gd name="connsiteY4" fmla="*/ 210 h 389"/>
              <a:gd name="connsiteX5" fmla="*/ 43 w 77"/>
              <a:gd name="connsiteY5" fmla="*/ 389 h 389"/>
              <a:gd name="connsiteX6" fmla="*/ 0 w 77"/>
              <a:gd name="connsiteY6" fmla="*/ 389 h 389"/>
              <a:gd name="connsiteX0" fmla="*/ 0 w 43"/>
              <a:gd name="connsiteY0" fmla="*/ 0 h 389"/>
              <a:gd name="connsiteX1" fmla="*/ 15 w 43"/>
              <a:gd name="connsiteY1" fmla="*/ 0 h 389"/>
              <a:gd name="connsiteX2" fmla="*/ 15 w 43"/>
              <a:gd name="connsiteY2" fmla="*/ 189 h 389"/>
              <a:gd name="connsiteX3" fmla="*/ 26 w 43"/>
              <a:gd name="connsiteY3" fmla="*/ 195 h 389"/>
              <a:gd name="connsiteX4" fmla="*/ 43 w 43"/>
              <a:gd name="connsiteY4" fmla="*/ 210 h 389"/>
              <a:gd name="connsiteX5" fmla="*/ 43 w 43"/>
              <a:gd name="connsiteY5" fmla="*/ 389 h 389"/>
              <a:gd name="connsiteX6" fmla="*/ 0 w 43"/>
              <a:gd name="connsiteY6" fmla="*/ 389 h 389"/>
              <a:gd name="connsiteX0" fmla="*/ 0 w 43"/>
              <a:gd name="connsiteY0" fmla="*/ 0 h 389"/>
              <a:gd name="connsiteX1" fmla="*/ 15 w 43"/>
              <a:gd name="connsiteY1" fmla="*/ 0 h 389"/>
              <a:gd name="connsiteX2" fmla="*/ 15 w 43"/>
              <a:gd name="connsiteY2" fmla="*/ 189 h 389"/>
              <a:gd name="connsiteX3" fmla="*/ 26 w 43"/>
              <a:gd name="connsiteY3" fmla="*/ 195 h 389"/>
              <a:gd name="connsiteX4" fmla="*/ 15 w 43"/>
              <a:gd name="connsiteY4" fmla="*/ 200 h 389"/>
              <a:gd name="connsiteX5" fmla="*/ 43 w 43"/>
              <a:gd name="connsiteY5" fmla="*/ 389 h 389"/>
              <a:gd name="connsiteX6" fmla="*/ 0 w 43"/>
              <a:gd name="connsiteY6" fmla="*/ 389 h 389"/>
              <a:gd name="connsiteX0" fmla="*/ 0 w 26"/>
              <a:gd name="connsiteY0" fmla="*/ 0 h 389"/>
              <a:gd name="connsiteX1" fmla="*/ 15 w 26"/>
              <a:gd name="connsiteY1" fmla="*/ 0 h 389"/>
              <a:gd name="connsiteX2" fmla="*/ 15 w 26"/>
              <a:gd name="connsiteY2" fmla="*/ 189 h 389"/>
              <a:gd name="connsiteX3" fmla="*/ 26 w 26"/>
              <a:gd name="connsiteY3" fmla="*/ 195 h 389"/>
              <a:gd name="connsiteX4" fmla="*/ 15 w 26"/>
              <a:gd name="connsiteY4" fmla="*/ 200 h 389"/>
              <a:gd name="connsiteX5" fmla="*/ 15 w 26"/>
              <a:gd name="connsiteY5" fmla="*/ 389 h 389"/>
              <a:gd name="connsiteX6" fmla="*/ 0 w 26"/>
              <a:gd name="connsiteY6" fmla="*/ 389 h 389"/>
              <a:gd name="connsiteX0" fmla="*/ 0 w 26"/>
              <a:gd name="connsiteY0" fmla="*/ 0 h 389"/>
              <a:gd name="connsiteX1" fmla="*/ 15 w 26"/>
              <a:gd name="connsiteY1" fmla="*/ 0 h 389"/>
              <a:gd name="connsiteX2" fmla="*/ 15 w 26"/>
              <a:gd name="connsiteY2" fmla="*/ 189 h 389"/>
              <a:gd name="connsiteX3" fmla="*/ 26 w 26"/>
              <a:gd name="connsiteY3" fmla="*/ 195 h 389"/>
              <a:gd name="connsiteX4" fmla="*/ 15 w 26"/>
              <a:gd name="connsiteY4" fmla="*/ 200 h 389"/>
              <a:gd name="connsiteX5" fmla="*/ 15 w 26"/>
              <a:gd name="connsiteY5" fmla="*/ 389 h 389"/>
              <a:gd name="connsiteX6" fmla="*/ 0 w 26"/>
              <a:gd name="connsiteY6" fmla="*/ 389 h 389"/>
              <a:gd name="connsiteX0" fmla="*/ 0 w 96"/>
              <a:gd name="connsiteY0" fmla="*/ 36 h 389"/>
              <a:gd name="connsiteX1" fmla="*/ 85 w 96"/>
              <a:gd name="connsiteY1" fmla="*/ 0 h 389"/>
              <a:gd name="connsiteX2" fmla="*/ 85 w 96"/>
              <a:gd name="connsiteY2" fmla="*/ 189 h 389"/>
              <a:gd name="connsiteX3" fmla="*/ 96 w 96"/>
              <a:gd name="connsiteY3" fmla="*/ 195 h 389"/>
              <a:gd name="connsiteX4" fmla="*/ 85 w 96"/>
              <a:gd name="connsiteY4" fmla="*/ 200 h 389"/>
              <a:gd name="connsiteX5" fmla="*/ 85 w 96"/>
              <a:gd name="connsiteY5" fmla="*/ 389 h 389"/>
              <a:gd name="connsiteX6" fmla="*/ 70 w 96"/>
              <a:gd name="connsiteY6" fmla="*/ 389 h 389"/>
              <a:gd name="connsiteX0" fmla="*/ 0 w 96"/>
              <a:gd name="connsiteY0" fmla="*/ 0 h 353"/>
              <a:gd name="connsiteX1" fmla="*/ 15 w 96"/>
              <a:gd name="connsiteY1" fmla="*/ 0 h 353"/>
              <a:gd name="connsiteX2" fmla="*/ 85 w 96"/>
              <a:gd name="connsiteY2" fmla="*/ 153 h 353"/>
              <a:gd name="connsiteX3" fmla="*/ 96 w 96"/>
              <a:gd name="connsiteY3" fmla="*/ 159 h 353"/>
              <a:gd name="connsiteX4" fmla="*/ 85 w 96"/>
              <a:gd name="connsiteY4" fmla="*/ 164 h 353"/>
              <a:gd name="connsiteX5" fmla="*/ 85 w 96"/>
              <a:gd name="connsiteY5" fmla="*/ 353 h 353"/>
              <a:gd name="connsiteX6" fmla="*/ 70 w 96"/>
              <a:gd name="connsiteY6" fmla="*/ 353 h 353"/>
              <a:gd name="connsiteX0" fmla="*/ 0 w 96"/>
              <a:gd name="connsiteY0" fmla="*/ 0 h 353"/>
              <a:gd name="connsiteX1" fmla="*/ 15 w 96"/>
              <a:gd name="connsiteY1" fmla="*/ 0 h 353"/>
              <a:gd name="connsiteX2" fmla="*/ 15 w 96"/>
              <a:gd name="connsiteY2" fmla="*/ 61 h 353"/>
              <a:gd name="connsiteX3" fmla="*/ 96 w 96"/>
              <a:gd name="connsiteY3" fmla="*/ 159 h 353"/>
              <a:gd name="connsiteX4" fmla="*/ 85 w 96"/>
              <a:gd name="connsiteY4" fmla="*/ 164 h 353"/>
              <a:gd name="connsiteX5" fmla="*/ 85 w 96"/>
              <a:gd name="connsiteY5" fmla="*/ 353 h 353"/>
              <a:gd name="connsiteX6" fmla="*/ 70 w 96"/>
              <a:gd name="connsiteY6" fmla="*/ 353 h 353"/>
              <a:gd name="connsiteX0" fmla="*/ 0 w 85"/>
              <a:gd name="connsiteY0" fmla="*/ 0 h 353"/>
              <a:gd name="connsiteX1" fmla="*/ 15 w 85"/>
              <a:gd name="connsiteY1" fmla="*/ 0 h 353"/>
              <a:gd name="connsiteX2" fmla="*/ 15 w 85"/>
              <a:gd name="connsiteY2" fmla="*/ 61 h 353"/>
              <a:gd name="connsiteX3" fmla="*/ 26 w 85"/>
              <a:gd name="connsiteY3" fmla="*/ 67 h 353"/>
              <a:gd name="connsiteX4" fmla="*/ 85 w 85"/>
              <a:gd name="connsiteY4" fmla="*/ 164 h 353"/>
              <a:gd name="connsiteX5" fmla="*/ 85 w 85"/>
              <a:gd name="connsiteY5" fmla="*/ 353 h 353"/>
              <a:gd name="connsiteX6" fmla="*/ 70 w 85"/>
              <a:gd name="connsiteY6" fmla="*/ 353 h 353"/>
              <a:gd name="connsiteX0" fmla="*/ 0 w 85"/>
              <a:gd name="connsiteY0" fmla="*/ 0 h 353"/>
              <a:gd name="connsiteX1" fmla="*/ 15 w 85"/>
              <a:gd name="connsiteY1" fmla="*/ 0 h 353"/>
              <a:gd name="connsiteX2" fmla="*/ 15 w 85"/>
              <a:gd name="connsiteY2" fmla="*/ 61 h 353"/>
              <a:gd name="connsiteX3" fmla="*/ 26 w 85"/>
              <a:gd name="connsiteY3" fmla="*/ 67 h 353"/>
              <a:gd name="connsiteX4" fmla="*/ 15 w 85"/>
              <a:gd name="connsiteY4" fmla="*/ 72 h 353"/>
              <a:gd name="connsiteX5" fmla="*/ 85 w 85"/>
              <a:gd name="connsiteY5" fmla="*/ 353 h 353"/>
              <a:gd name="connsiteX6" fmla="*/ 70 w 85"/>
              <a:gd name="connsiteY6" fmla="*/ 353 h 353"/>
              <a:gd name="connsiteX0" fmla="*/ 0 w 70"/>
              <a:gd name="connsiteY0" fmla="*/ 0 h 353"/>
              <a:gd name="connsiteX1" fmla="*/ 15 w 70"/>
              <a:gd name="connsiteY1" fmla="*/ 0 h 353"/>
              <a:gd name="connsiteX2" fmla="*/ 15 w 70"/>
              <a:gd name="connsiteY2" fmla="*/ 61 h 353"/>
              <a:gd name="connsiteX3" fmla="*/ 26 w 70"/>
              <a:gd name="connsiteY3" fmla="*/ 67 h 353"/>
              <a:gd name="connsiteX4" fmla="*/ 15 w 70"/>
              <a:gd name="connsiteY4" fmla="*/ 72 h 353"/>
              <a:gd name="connsiteX5" fmla="*/ 15 w 70"/>
              <a:gd name="connsiteY5" fmla="*/ 134 h 353"/>
              <a:gd name="connsiteX6" fmla="*/ 70 w 70"/>
              <a:gd name="connsiteY6" fmla="*/ 353 h 353"/>
              <a:gd name="connsiteX0" fmla="*/ 0 w 26"/>
              <a:gd name="connsiteY0" fmla="*/ 0 h 134"/>
              <a:gd name="connsiteX1" fmla="*/ 15 w 26"/>
              <a:gd name="connsiteY1" fmla="*/ 0 h 134"/>
              <a:gd name="connsiteX2" fmla="*/ 15 w 26"/>
              <a:gd name="connsiteY2" fmla="*/ 61 h 134"/>
              <a:gd name="connsiteX3" fmla="*/ 26 w 26"/>
              <a:gd name="connsiteY3" fmla="*/ 67 h 134"/>
              <a:gd name="connsiteX4" fmla="*/ 15 w 26"/>
              <a:gd name="connsiteY4" fmla="*/ 72 h 134"/>
              <a:gd name="connsiteX5" fmla="*/ 15 w 26"/>
              <a:gd name="connsiteY5" fmla="*/ 134 h 134"/>
              <a:gd name="connsiteX6" fmla="*/ 0 w 26"/>
              <a:gd name="connsiteY6" fmla="*/ 134 h 134"/>
              <a:gd name="connsiteX0" fmla="*/ 0 w 26"/>
              <a:gd name="connsiteY0" fmla="*/ 0 h 134"/>
              <a:gd name="connsiteX1" fmla="*/ 15 w 26"/>
              <a:gd name="connsiteY1" fmla="*/ 0 h 134"/>
              <a:gd name="connsiteX2" fmla="*/ 15 w 26"/>
              <a:gd name="connsiteY2" fmla="*/ 61 h 134"/>
              <a:gd name="connsiteX3" fmla="*/ 26 w 26"/>
              <a:gd name="connsiteY3" fmla="*/ 67 h 134"/>
              <a:gd name="connsiteX4" fmla="*/ 15 w 26"/>
              <a:gd name="connsiteY4" fmla="*/ 72 h 134"/>
              <a:gd name="connsiteX5" fmla="*/ 15 w 26"/>
              <a:gd name="connsiteY5" fmla="*/ 134 h 134"/>
              <a:gd name="connsiteX6" fmla="*/ 0 w 26"/>
              <a:gd name="connsiteY6" fmla="*/ 134 h 134"/>
              <a:gd name="connsiteX0" fmla="*/ 0 w 26"/>
              <a:gd name="connsiteY0" fmla="*/ 0 h 134"/>
              <a:gd name="connsiteX1" fmla="*/ 5 w 26"/>
              <a:gd name="connsiteY1" fmla="*/ 0 h 134"/>
              <a:gd name="connsiteX2" fmla="*/ 15 w 26"/>
              <a:gd name="connsiteY2" fmla="*/ 61 h 134"/>
              <a:gd name="connsiteX3" fmla="*/ 26 w 26"/>
              <a:gd name="connsiteY3" fmla="*/ 67 h 134"/>
              <a:gd name="connsiteX4" fmla="*/ 15 w 26"/>
              <a:gd name="connsiteY4" fmla="*/ 72 h 134"/>
              <a:gd name="connsiteX5" fmla="*/ 15 w 26"/>
              <a:gd name="connsiteY5" fmla="*/ 134 h 134"/>
              <a:gd name="connsiteX6" fmla="*/ 0 w 26"/>
              <a:gd name="connsiteY6" fmla="*/ 134 h 134"/>
              <a:gd name="connsiteX0" fmla="*/ 0 w 26"/>
              <a:gd name="connsiteY0" fmla="*/ 0 h 134"/>
              <a:gd name="connsiteX1" fmla="*/ 5 w 26"/>
              <a:gd name="connsiteY1" fmla="*/ 0 h 134"/>
              <a:gd name="connsiteX2" fmla="*/ 5 w 26"/>
              <a:gd name="connsiteY2" fmla="*/ 65 h 134"/>
              <a:gd name="connsiteX3" fmla="*/ 26 w 26"/>
              <a:gd name="connsiteY3" fmla="*/ 67 h 134"/>
              <a:gd name="connsiteX4" fmla="*/ 15 w 26"/>
              <a:gd name="connsiteY4" fmla="*/ 72 h 134"/>
              <a:gd name="connsiteX5" fmla="*/ 15 w 26"/>
              <a:gd name="connsiteY5" fmla="*/ 134 h 134"/>
              <a:gd name="connsiteX6" fmla="*/ 0 w 26"/>
              <a:gd name="connsiteY6" fmla="*/ 134 h 134"/>
              <a:gd name="connsiteX0" fmla="*/ 0 w 15"/>
              <a:gd name="connsiteY0" fmla="*/ 0 h 134"/>
              <a:gd name="connsiteX1" fmla="*/ 5 w 15"/>
              <a:gd name="connsiteY1" fmla="*/ 0 h 134"/>
              <a:gd name="connsiteX2" fmla="*/ 5 w 15"/>
              <a:gd name="connsiteY2" fmla="*/ 65 h 134"/>
              <a:gd name="connsiteX3" fmla="*/ 9 w 15"/>
              <a:gd name="connsiteY3" fmla="*/ 67 h 134"/>
              <a:gd name="connsiteX4" fmla="*/ 15 w 15"/>
              <a:gd name="connsiteY4" fmla="*/ 72 h 134"/>
              <a:gd name="connsiteX5" fmla="*/ 15 w 15"/>
              <a:gd name="connsiteY5" fmla="*/ 134 h 134"/>
              <a:gd name="connsiteX6" fmla="*/ 0 w 15"/>
              <a:gd name="connsiteY6" fmla="*/ 134 h 134"/>
              <a:gd name="connsiteX0" fmla="*/ 0 w 15"/>
              <a:gd name="connsiteY0" fmla="*/ 0 h 134"/>
              <a:gd name="connsiteX1" fmla="*/ 5 w 15"/>
              <a:gd name="connsiteY1" fmla="*/ 0 h 134"/>
              <a:gd name="connsiteX2" fmla="*/ 5 w 15"/>
              <a:gd name="connsiteY2" fmla="*/ 65 h 134"/>
              <a:gd name="connsiteX3" fmla="*/ 9 w 15"/>
              <a:gd name="connsiteY3" fmla="*/ 67 h 134"/>
              <a:gd name="connsiteX4" fmla="*/ 5 w 15"/>
              <a:gd name="connsiteY4" fmla="*/ 69 h 134"/>
              <a:gd name="connsiteX5" fmla="*/ 15 w 15"/>
              <a:gd name="connsiteY5" fmla="*/ 134 h 134"/>
              <a:gd name="connsiteX6" fmla="*/ 0 w 15"/>
              <a:gd name="connsiteY6" fmla="*/ 134 h 134"/>
              <a:gd name="connsiteX0" fmla="*/ 0 w 9"/>
              <a:gd name="connsiteY0" fmla="*/ 0 h 134"/>
              <a:gd name="connsiteX1" fmla="*/ 5 w 9"/>
              <a:gd name="connsiteY1" fmla="*/ 0 h 134"/>
              <a:gd name="connsiteX2" fmla="*/ 5 w 9"/>
              <a:gd name="connsiteY2" fmla="*/ 65 h 134"/>
              <a:gd name="connsiteX3" fmla="*/ 9 w 9"/>
              <a:gd name="connsiteY3" fmla="*/ 67 h 134"/>
              <a:gd name="connsiteX4" fmla="*/ 5 w 9"/>
              <a:gd name="connsiteY4" fmla="*/ 69 h 134"/>
              <a:gd name="connsiteX5" fmla="*/ 5 w 9"/>
              <a:gd name="connsiteY5" fmla="*/ 134 h 134"/>
              <a:gd name="connsiteX6" fmla="*/ 0 w 9"/>
              <a:gd name="connsiteY6" fmla="*/ 134 h 134"/>
              <a:gd name="connsiteX0" fmla="*/ 0 w 9"/>
              <a:gd name="connsiteY0" fmla="*/ 0 h 134"/>
              <a:gd name="connsiteX1" fmla="*/ 5 w 9"/>
              <a:gd name="connsiteY1" fmla="*/ 0 h 134"/>
              <a:gd name="connsiteX2" fmla="*/ 5 w 9"/>
              <a:gd name="connsiteY2" fmla="*/ 65 h 134"/>
              <a:gd name="connsiteX3" fmla="*/ 9 w 9"/>
              <a:gd name="connsiteY3" fmla="*/ 67 h 134"/>
              <a:gd name="connsiteX4" fmla="*/ 5 w 9"/>
              <a:gd name="connsiteY4" fmla="*/ 69 h 134"/>
              <a:gd name="connsiteX5" fmla="*/ 5 w 9"/>
              <a:gd name="connsiteY5" fmla="*/ 134 h 134"/>
              <a:gd name="connsiteX6" fmla="*/ 0 w 9"/>
              <a:gd name="connsiteY6" fmla="*/ 134 h 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 h="134">
                <a:moveTo>
                  <a:pt x="0" y="0"/>
                </a:moveTo>
                <a:lnTo>
                  <a:pt x="5" y="0"/>
                </a:lnTo>
                <a:lnTo>
                  <a:pt x="5" y="65"/>
                </a:lnTo>
                <a:lnTo>
                  <a:pt x="9" y="67"/>
                </a:lnTo>
                <a:lnTo>
                  <a:pt x="5" y="69"/>
                </a:lnTo>
                <a:lnTo>
                  <a:pt x="5" y="134"/>
                </a:lnTo>
                <a:lnTo>
                  <a:pt x="0" y="134"/>
                </a:lnTo>
              </a:path>
            </a:pathLst>
          </a:custGeom>
          <a:noFill/>
          <a:ln w="3175">
            <a:solidFill>
              <a:schemeClr val="bg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a typeface="楷体" panose="02010609060101010101" pitchFamily="49" charset="-122"/>
            </a:endParaRPr>
          </a:p>
        </p:txBody>
      </p:sp>
      <p:grpSp>
        <p:nvGrpSpPr>
          <p:cNvPr id="36" name="Group 35"/>
          <p:cNvGrpSpPr/>
          <p:nvPr/>
        </p:nvGrpSpPr>
        <p:grpSpPr>
          <a:xfrm>
            <a:off x="2550229" y="1694319"/>
            <a:ext cx="119864" cy="2110559"/>
            <a:chOff x="2953238" y="1694319"/>
            <a:chExt cx="119864" cy="2110559"/>
          </a:xfrm>
        </p:grpSpPr>
        <p:cxnSp>
          <p:nvCxnSpPr>
            <p:cNvPr id="418" name="Straight Connector 417"/>
            <p:cNvCxnSpPr>
              <a:cxnSpLocks/>
            </p:cNvCxnSpPr>
            <p:nvPr/>
          </p:nvCxnSpPr>
          <p:spPr>
            <a:xfrm>
              <a:off x="2953238" y="1694319"/>
              <a:ext cx="0" cy="2110559"/>
            </a:xfrm>
            <a:prstGeom prst="line">
              <a:avLst/>
            </a:prstGeom>
            <a:ln w="3175">
              <a:solidFill>
                <a:srgbClr val="FFCA21"/>
              </a:solidFill>
            </a:ln>
          </p:spPr>
          <p:style>
            <a:lnRef idx="1">
              <a:schemeClr val="accent1"/>
            </a:lnRef>
            <a:fillRef idx="0">
              <a:schemeClr val="accent1"/>
            </a:fillRef>
            <a:effectRef idx="0">
              <a:schemeClr val="accent1"/>
            </a:effectRef>
            <a:fontRef idx="minor">
              <a:schemeClr val="tx1"/>
            </a:fontRef>
          </p:style>
        </p:cxnSp>
        <p:sp>
          <p:nvSpPr>
            <p:cNvPr id="35" name="Isosceles Triangle 34"/>
            <p:cNvSpPr/>
            <p:nvPr/>
          </p:nvSpPr>
          <p:spPr>
            <a:xfrm rot="5400000">
              <a:off x="2373525" y="2689666"/>
              <a:ext cx="1279290" cy="119864"/>
            </a:xfrm>
            <a:prstGeom prst="triangle">
              <a:avLst/>
            </a:prstGeom>
            <a:solidFill>
              <a:srgbClr val="FFCA2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a typeface="楷体" panose="02010609060101010101" pitchFamily="49" charset="-122"/>
              </a:endParaRPr>
            </a:p>
          </p:txBody>
        </p:sp>
      </p:grpSp>
      <p:grpSp>
        <p:nvGrpSpPr>
          <p:cNvPr id="421" name="Group 420"/>
          <p:cNvGrpSpPr/>
          <p:nvPr/>
        </p:nvGrpSpPr>
        <p:grpSpPr>
          <a:xfrm>
            <a:off x="5680749" y="1694319"/>
            <a:ext cx="119864" cy="2110559"/>
            <a:chOff x="2953238" y="1694319"/>
            <a:chExt cx="119864" cy="2110559"/>
          </a:xfrm>
        </p:grpSpPr>
        <p:cxnSp>
          <p:nvCxnSpPr>
            <p:cNvPr id="422" name="Straight Connector 421"/>
            <p:cNvCxnSpPr>
              <a:cxnSpLocks/>
            </p:cNvCxnSpPr>
            <p:nvPr/>
          </p:nvCxnSpPr>
          <p:spPr>
            <a:xfrm>
              <a:off x="2953238" y="1694319"/>
              <a:ext cx="0" cy="2110559"/>
            </a:xfrm>
            <a:prstGeom prst="line">
              <a:avLst/>
            </a:prstGeom>
            <a:ln w="3175">
              <a:solidFill>
                <a:srgbClr val="FFCA21"/>
              </a:solidFill>
            </a:ln>
          </p:spPr>
          <p:style>
            <a:lnRef idx="1">
              <a:schemeClr val="accent1"/>
            </a:lnRef>
            <a:fillRef idx="0">
              <a:schemeClr val="accent1"/>
            </a:fillRef>
            <a:effectRef idx="0">
              <a:schemeClr val="accent1"/>
            </a:effectRef>
            <a:fontRef idx="minor">
              <a:schemeClr val="tx1"/>
            </a:fontRef>
          </p:style>
        </p:cxnSp>
        <p:sp>
          <p:nvSpPr>
            <p:cNvPr id="423" name="Isosceles Triangle 422"/>
            <p:cNvSpPr/>
            <p:nvPr/>
          </p:nvSpPr>
          <p:spPr>
            <a:xfrm rot="5400000">
              <a:off x="2373525" y="2689666"/>
              <a:ext cx="1279290" cy="119864"/>
            </a:xfrm>
            <a:prstGeom prst="triangle">
              <a:avLst/>
            </a:prstGeom>
            <a:solidFill>
              <a:srgbClr val="FFCA2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a typeface="楷体" panose="02010609060101010101" pitchFamily="49" charset="-122"/>
              </a:endParaRPr>
            </a:p>
          </p:txBody>
        </p:sp>
      </p:grpSp>
    </p:spTree>
    <p:extLst>
      <p:ext uri="{BB962C8B-B14F-4D97-AF65-F5344CB8AC3E}">
        <p14:creationId xmlns:p14="http://schemas.microsoft.com/office/powerpoint/2010/main" val="38394590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p:cNvGrpSpPr/>
          <p:nvPr/>
        </p:nvGrpSpPr>
        <p:grpSpPr>
          <a:xfrm>
            <a:off x="0" y="-1"/>
            <a:ext cx="8961438" cy="6721475"/>
            <a:chOff x="0" y="-1"/>
            <a:chExt cx="8961438" cy="6721475"/>
          </a:xfrm>
        </p:grpSpPr>
        <p:grpSp>
          <p:nvGrpSpPr>
            <p:cNvPr id="55" name="Group 54"/>
            <p:cNvGrpSpPr>
              <a:grpSpLocks/>
            </p:cNvGrpSpPr>
            <p:nvPr/>
          </p:nvGrpSpPr>
          <p:grpSpPr>
            <a:xfrm>
              <a:off x="0" y="-1"/>
              <a:ext cx="8961438" cy="6721475"/>
              <a:chOff x="-12625388" y="-4110038"/>
              <a:chExt cx="11771313" cy="11769726"/>
            </a:xfrm>
          </p:grpSpPr>
          <p:sp>
            <p:nvSpPr>
              <p:cNvPr id="57" name="Freeform 305"/>
              <p:cNvSpPr>
                <a:spLocks noEditPoints="1"/>
              </p:cNvSpPr>
              <p:nvPr/>
            </p:nvSpPr>
            <p:spPr bwMode="auto">
              <a:xfrm>
                <a:off x="-12625388" y="-4110038"/>
                <a:ext cx="11771313" cy="11769725"/>
              </a:xfrm>
              <a:custGeom>
                <a:avLst/>
                <a:gdLst>
                  <a:gd name="T0" fmla="*/ 15360 w 15446"/>
                  <a:gd name="T1" fmla="*/ 14351 h 15446"/>
                  <a:gd name="T2" fmla="*/ 11037 w 15446"/>
                  <a:gd name="T3" fmla="*/ 13656 h 15446"/>
                  <a:gd name="T4" fmla="*/ 5936 w 15446"/>
                  <a:gd name="T5" fmla="*/ 12632 h 15446"/>
                  <a:gd name="T6" fmla="*/ 13164 w 15446"/>
                  <a:gd name="T7" fmla="*/ 15446 h 15446"/>
                  <a:gd name="T8" fmla="*/ 7984 w 15446"/>
                  <a:gd name="T9" fmla="*/ 14465 h 15446"/>
                  <a:gd name="T10" fmla="*/ 4300 w 15446"/>
                  <a:gd name="T11" fmla="*/ 15446 h 15446"/>
                  <a:gd name="T12" fmla="*/ 750 w 15446"/>
                  <a:gd name="T13" fmla="*/ 12746 h 15446"/>
                  <a:gd name="T14" fmla="*/ 750 w 15446"/>
                  <a:gd name="T15" fmla="*/ 12746 h 15446"/>
                  <a:gd name="T16" fmla="*/ 750 w 15446"/>
                  <a:gd name="T17" fmla="*/ 12746 h 15446"/>
                  <a:gd name="T18" fmla="*/ 371 w 15446"/>
                  <a:gd name="T19" fmla="*/ 15010 h 15446"/>
                  <a:gd name="T20" fmla="*/ 14542 w 15446"/>
                  <a:gd name="T21" fmla="*/ 0 h 15446"/>
                  <a:gd name="T22" fmla="*/ 7468 w 15446"/>
                  <a:gd name="T23" fmla="*/ 1574 h 15446"/>
                  <a:gd name="T24" fmla="*/ 7468 w 15446"/>
                  <a:gd name="T25" fmla="*/ 1574 h 15446"/>
                  <a:gd name="T26" fmla="*/ 3502 w 15446"/>
                  <a:gd name="T27" fmla="*/ 2789 h 15446"/>
                  <a:gd name="T28" fmla="*/ 1065 w 15446"/>
                  <a:gd name="T29" fmla="*/ 1273 h 15446"/>
                  <a:gd name="T30" fmla="*/ 120 w 15446"/>
                  <a:gd name="T31" fmla="*/ 3894 h 15446"/>
                  <a:gd name="T32" fmla="*/ 1145 w 15446"/>
                  <a:gd name="T33" fmla="*/ 6872 h 15446"/>
                  <a:gd name="T34" fmla="*/ 0 w 15446"/>
                  <a:gd name="T35" fmla="*/ 7970 h 15446"/>
                  <a:gd name="T36" fmla="*/ 2324 w 15446"/>
                  <a:gd name="T37" fmla="*/ 8914 h 15446"/>
                  <a:gd name="T38" fmla="*/ 3502 w 15446"/>
                  <a:gd name="T39" fmla="*/ 10955 h 15446"/>
                  <a:gd name="T40" fmla="*/ 2324 w 15446"/>
                  <a:gd name="T41" fmla="*/ 8914 h 15446"/>
                  <a:gd name="T42" fmla="*/ 586 w 15446"/>
                  <a:gd name="T43" fmla="*/ 11428 h 15446"/>
                  <a:gd name="T44" fmla="*/ 3502 w 15446"/>
                  <a:gd name="T45" fmla="*/ 10956 h 15446"/>
                  <a:gd name="T46" fmla="*/ 4943 w 15446"/>
                  <a:gd name="T47" fmla="*/ 15446 h 15446"/>
                  <a:gd name="T48" fmla="*/ 901 w 15446"/>
                  <a:gd name="T49" fmla="*/ 1246 h 15446"/>
                  <a:gd name="T50" fmla="*/ 2324 w 15446"/>
                  <a:gd name="T51" fmla="*/ 748 h 15446"/>
                  <a:gd name="T52" fmla="*/ 45 w 15446"/>
                  <a:gd name="T53" fmla="*/ 0 h 15446"/>
                  <a:gd name="T54" fmla="*/ 3737 w 15446"/>
                  <a:gd name="T55" fmla="*/ 15446 h 15446"/>
                  <a:gd name="T56" fmla="*/ 11037 w 15446"/>
                  <a:gd name="T57" fmla="*/ 13656 h 15446"/>
                  <a:gd name="T58" fmla="*/ 8413 w 15446"/>
                  <a:gd name="T59" fmla="*/ 8879 h 15446"/>
                  <a:gd name="T60" fmla="*/ 10777 w 15446"/>
                  <a:gd name="T61" fmla="*/ 9480 h 15446"/>
                  <a:gd name="T62" fmla="*/ 14110 w 15446"/>
                  <a:gd name="T63" fmla="*/ 8914 h 15446"/>
                  <a:gd name="T64" fmla="*/ 12931 w 15446"/>
                  <a:gd name="T65" fmla="*/ 10955 h 15446"/>
                  <a:gd name="T66" fmla="*/ 14110 w 15446"/>
                  <a:gd name="T67" fmla="*/ 12997 h 15446"/>
                  <a:gd name="T68" fmla="*/ 2324 w 15446"/>
                  <a:gd name="T69" fmla="*/ 12997 h 15446"/>
                  <a:gd name="T70" fmla="*/ 5935 w 15446"/>
                  <a:gd name="T71" fmla="*/ 12631 h 15446"/>
                  <a:gd name="T72" fmla="*/ 5936 w 15446"/>
                  <a:gd name="T73" fmla="*/ 12632 h 15446"/>
                  <a:gd name="T74" fmla="*/ 12931 w 15446"/>
                  <a:gd name="T75" fmla="*/ 6872 h 15446"/>
                  <a:gd name="T76" fmla="*/ 12931 w 15446"/>
                  <a:gd name="T77" fmla="*/ 6872 h 15446"/>
                  <a:gd name="T78" fmla="*/ 5860 w 15446"/>
                  <a:gd name="T79" fmla="*/ 6872 h 15446"/>
                  <a:gd name="T80" fmla="*/ 7038 w 15446"/>
                  <a:gd name="T81" fmla="*/ 8914 h 15446"/>
                  <a:gd name="T82" fmla="*/ 15446 w 15446"/>
                  <a:gd name="T83" fmla="*/ 8914 h 15446"/>
                  <a:gd name="T84" fmla="*/ 8217 w 15446"/>
                  <a:gd name="T85" fmla="*/ 6872 h 15446"/>
                  <a:gd name="T86" fmla="*/ 4159 w 15446"/>
                  <a:gd name="T87" fmla="*/ 4109 h 15446"/>
                  <a:gd name="T88" fmla="*/ 4159 w 15446"/>
                  <a:gd name="T89" fmla="*/ 4109 h 15446"/>
                  <a:gd name="T90" fmla="*/ 2557 w 15446"/>
                  <a:gd name="T91" fmla="*/ 7302 h 15446"/>
                  <a:gd name="T92" fmla="*/ 5860 w 15446"/>
                  <a:gd name="T93" fmla="*/ 6872 h 15446"/>
                  <a:gd name="T94" fmla="*/ 15446 w 15446"/>
                  <a:gd name="T95" fmla="*/ 7072 h 15446"/>
                  <a:gd name="T96" fmla="*/ 10574 w 15446"/>
                  <a:gd name="T97" fmla="*/ 6872 h 15446"/>
                  <a:gd name="T98" fmla="*/ 10574 w 15446"/>
                  <a:gd name="T99" fmla="*/ 6872 h 15446"/>
                  <a:gd name="T100" fmla="*/ 9316 w 15446"/>
                  <a:gd name="T101" fmla="*/ 6257 h 15446"/>
                  <a:gd name="T102" fmla="*/ 12655 w 15446"/>
                  <a:gd name="T103" fmla="*/ 5604 h 15446"/>
                  <a:gd name="T104" fmla="*/ 9316 w 15446"/>
                  <a:gd name="T105" fmla="*/ 6257 h 15446"/>
                  <a:gd name="T106" fmla="*/ 12655 w 15446"/>
                  <a:gd name="T107" fmla="*/ 5604 h 15446"/>
                  <a:gd name="T108" fmla="*/ 8410 w 15446"/>
                  <a:gd name="T109" fmla="*/ 2581 h 15446"/>
                  <a:gd name="T110" fmla="*/ 7038 w 15446"/>
                  <a:gd name="T111" fmla="*/ 4831 h 15446"/>
                  <a:gd name="T112" fmla="*/ 14110 w 15446"/>
                  <a:gd name="T113" fmla="*/ 4831 h 15446"/>
                  <a:gd name="T114" fmla="*/ 14110 w 15446"/>
                  <a:gd name="T115" fmla="*/ 4831 h 15446"/>
                  <a:gd name="T116" fmla="*/ 4603 w 15446"/>
                  <a:gd name="T117" fmla="*/ 3765 h 15446"/>
                  <a:gd name="T118" fmla="*/ 9396 w 15446"/>
                  <a:gd name="T119" fmla="*/ 748 h 15446"/>
                  <a:gd name="T120" fmla="*/ 5859 w 15446"/>
                  <a:gd name="T121" fmla="*/ 2790 h 15446"/>
                  <a:gd name="T122" fmla="*/ 15446 w 15446"/>
                  <a:gd name="T123" fmla="*/ 1876 h 15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46" h="15446">
                    <a:moveTo>
                      <a:pt x="14929" y="15446"/>
                    </a:moveTo>
                    <a:lnTo>
                      <a:pt x="14929" y="15446"/>
                    </a:lnTo>
                    <a:lnTo>
                      <a:pt x="15360" y="14351"/>
                    </a:lnTo>
                    <a:lnTo>
                      <a:pt x="13552" y="15446"/>
                    </a:lnTo>
                    <a:lnTo>
                      <a:pt x="15360" y="14351"/>
                    </a:lnTo>
                    <a:lnTo>
                      <a:pt x="14710" y="13647"/>
                    </a:lnTo>
                    <a:lnTo>
                      <a:pt x="15360" y="14351"/>
                    </a:lnTo>
                    <a:lnTo>
                      <a:pt x="15446" y="14344"/>
                    </a:lnTo>
                    <a:lnTo>
                      <a:pt x="15446" y="14344"/>
                    </a:lnTo>
                    <a:lnTo>
                      <a:pt x="15360" y="14351"/>
                    </a:lnTo>
                    <a:lnTo>
                      <a:pt x="14929" y="15446"/>
                    </a:lnTo>
                    <a:moveTo>
                      <a:pt x="13164" y="15446"/>
                    </a:moveTo>
                    <a:lnTo>
                      <a:pt x="13164" y="15446"/>
                    </a:lnTo>
                    <a:lnTo>
                      <a:pt x="11037" y="13656"/>
                    </a:lnTo>
                    <a:lnTo>
                      <a:pt x="11394" y="15446"/>
                    </a:lnTo>
                    <a:lnTo>
                      <a:pt x="11394" y="15446"/>
                    </a:lnTo>
                    <a:lnTo>
                      <a:pt x="11037" y="13656"/>
                    </a:lnTo>
                    <a:lnTo>
                      <a:pt x="9396" y="12997"/>
                    </a:lnTo>
                    <a:lnTo>
                      <a:pt x="9395" y="12997"/>
                    </a:lnTo>
                    <a:lnTo>
                      <a:pt x="9396" y="12997"/>
                    </a:lnTo>
                    <a:lnTo>
                      <a:pt x="5936" y="12632"/>
                    </a:lnTo>
                    <a:lnTo>
                      <a:pt x="9395" y="12997"/>
                    </a:lnTo>
                    <a:lnTo>
                      <a:pt x="9395" y="12997"/>
                    </a:lnTo>
                    <a:lnTo>
                      <a:pt x="11037" y="13656"/>
                    </a:lnTo>
                    <a:lnTo>
                      <a:pt x="11037" y="13656"/>
                    </a:lnTo>
                    <a:lnTo>
                      <a:pt x="11037" y="13656"/>
                    </a:lnTo>
                    <a:lnTo>
                      <a:pt x="11037" y="13656"/>
                    </a:lnTo>
                    <a:lnTo>
                      <a:pt x="13164" y="15446"/>
                    </a:lnTo>
                    <a:moveTo>
                      <a:pt x="8513" y="15446"/>
                    </a:moveTo>
                    <a:lnTo>
                      <a:pt x="6538" y="15446"/>
                    </a:lnTo>
                    <a:lnTo>
                      <a:pt x="7984" y="14465"/>
                    </a:lnTo>
                    <a:lnTo>
                      <a:pt x="6538" y="15446"/>
                    </a:lnTo>
                    <a:lnTo>
                      <a:pt x="7984" y="14465"/>
                    </a:lnTo>
                    <a:lnTo>
                      <a:pt x="7376" y="13922"/>
                    </a:lnTo>
                    <a:lnTo>
                      <a:pt x="7984" y="14465"/>
                    </a:lnTo>
                    <a:lnTo>
                      <a:pt x="8513" y="15446"/>
                    </a:lnTo>
                    <a:moveTo>
                      <a:pt x="4943" y="15446"/>
                    </a:moveTo>
                    <a:lnTo>
                      <a:pt x="4943" y="15446"/>
                    </a:lnTo>
                    <a:lnTo>
                      <a:pt x="3564" y="14028"/>
                    </a:lnTo>
                    <a:lnTo>
                      <a:pt x="3502" y="15039"/>
                    </a:lnTo>
                    <a:lnTo>
                      <a:pt x="4300" y="15446"/>
                    </a:lnTo>
                    <a:lnTo>
                      <a:pt x="4300" y="15446"/>
                    </a:lnTo>
                    <a:lnTo>
                      <a:pt x="3502" y="15039"/>
                    </a:lnTo>
                    <a:lnTo>
                      <a:pt x="3502" y="15039"/>
                    </a:lnTo>
                    <a:lnTo>
                      <a:pt x="3502" y="15039"/>
                    </a:lnTo>
                    <a:lnTo>
                      <a:pt x="3564" y="14028"/>
                    </a:lnTo>
                    <a:lnTo>
                      <a:pt x="2324" y="12997"/>
                    </a:lnTo>
                    <a:lnTo>
                      <a:pt x="2324" y="12997"/>
                    </a:lnTo>
                    <a:lnTo>
                      <a:pt x="750" y="12746"/>
                    </a:lnTo>
                    <a:lnTo>
                      <a:pt x="750" y="12746"/>
                    </a:lnTo>
                    <a:lnTo>
                      <a:pt x="750" y="12746"/>
                    </a:lnTo>
                    <a:lnTo>
                      <a:pt x="750" y="12746"/>
                    </a:lnTo>
                    <a:lnTo>
                      <a:pt x="586" y="11428"/>
                    </a:lnTo>
                    <a:lnTo>
                      <a:pt x="0" y="11274"/>
                    </a:lnTo>
                    <a:lnTo>
                      <a:pt x="0" y="12062"/>
                    </a:lnTo>
                    <a:lnTo>
                      <a:pt x="750" y="12746"/>
                    </a:lnTo>
                    <a:lnTo>
                      <a:pt x="750" y="12746"/>
                    </a:lnTo>
                    <a:lnTo>
                      <a:pt x="0" y="12062"/>
                    </a:lnTo>
                    <a:lnTo>
                      <a:pt x="750" y="12746"/>
                    </a:lnTo>
                    <a:lnTo>
                      <a:pt x="0" y="13667"/>
                    </a:lnTo>
                    <a:lnTo>
                      <a:pt x="0" y="15111"/>
                    </a:lnTo>
                    <a:lnTo>
                      <a:pt x="371" y="15010"/>
                    </a:lnTo>
                    <a:lnTo>
                      <a:pt x="750" y="12746"/>
                    </a:lnTo>
                    <a:lnTo>
                      <a:pt x="750" y="12746"/>
                    </a:lnTo>
                    <a:lnTo>
                      <a:pt x="372" y="15010"/>
                    </a:lnTo>
                    <a:lnTo>
                      <a:pt x="1152" y="14205"/>
                    </a:lnTo>
                    <a:lnTo>
                      <a:pt x="372" y="15010"/>
                    </a:lnTo>
                    <a:lnTo>
                      <a:pt x="482" y="15446"/>
                    </a:lnTo>
                    <a:lnTo>
                      <a:pt x="482" y="15446"/>
                    </a:lnTo>
                    <a:lnTo>
                      <a:pt x="371" y="15010"/>
                    </a:lnTo>
                    <a:lnTo>
                      <a:pt x="0" y="15111"/>
                    </a:lnTo>
                    <a:lnTo>
                      <a:pt x="0" y="15446"/>
                    </a:lnTo>
                    <a:lnTo>
                      <a:pt x="0" y="0"/>
                    </a:lnTo>
                    <a:lnTo>
                      <a:pt x="15446" y="0"/>
                    </a:lnTo>
                    <a:lnTo>
                      <a:pt x="14542" y="0"/>
                    </a:lnTo>
                    <a:lnTo>
                      <a:pt x="14110" y="748"/>
                    </a:lnTo>
                    <a:lnTo>
                      <a:pt x="14542" y="0"/>
                    </a:lnTo>
                    <a:lnTo>
                      <a:pt x="8964" y="0"/>
                    </a:lnTo>
                    <a:lnTo>
                      <a:pt x="9395" y="747"/>
                    </a:lnTo>
                    <a:lnTo>
                      <a:pt x="9395" y="747"/>
                    </a:lnTo>
                    <a:lnTo>
                      <a:pt x="8964" y="0"/>
                    </a:lnTo>
                    <a:lnTo>
                      <a:pt x="7879" y="0"/>
                    </a:lnTo>
                    <a:lnTo>
                      <a:pt x="7468" y="1574"/>
                    </a:lnTo>
                    <a:lnTo>
                      <a:pt x="7468" y="1574"/>
                    </a:lnTo>
                    <a:lnTo>
                      <a:pt x="7879" y="0"/>
                    </a:lnTo>
                    <a:lnTo>
                      <a:pt x="6111" y="0"/>
                    </a:lnTo>
                    <a:lnTo>
                      <a:pt x="7468" y="1574"/>
                    </a:lnTo>
                    <a:lnTo>
                      <a:pt x="6111" y="0"/>
                    </a:lnTo>
                    <a:lnTo>
                      <a:pt x="4249" y="0"/>
                    </a:lnTo>
                    <a:lnTo>
                      <a:pt x="4681" y="748"/>
                    </a:lnTo>
                    <a:lnTo>
                      <a:pt x="7468" y="1574"/>
                    </a:lnTo>
                    <a:lnTo>
                      <a:pt x="7468" y="1574"/>
                    </a:lnTo>
                    <a:lnTo>
                      <a:pt x="4681" y="748"/>
                    </a:lnTo>
                    <a:lnTo>
                      <a:pt x="5860" y="2789"/>
                    </a:lnTo>
                    <a:lnTo>
                      <a:pt x="5859" y="2789"/>
                    </a:lnTo>
                    <a:lnTo>
                      <a:pt x="4681" y="748"/>
                    </a:lnTo>
                    <a:lnTo>
                      <a:pt x="3502" y="2790"/>
                    </a:lnTo>
                    <a:lnTo>
                      <a:pt x="3502" y="2789"/>
                    </a:lnTo>
                    <a:lnTo>
                      <a:pt x="4681" y="748"/>
                    </a:lnTo>
                    <a:lnTo>
                      <a:pt x="2324" y="748"/>
                    </a:lnTo>
                    <a:lnTo>
                      <a:pt x="3502" y="2789"/>
                    </a:lnTo>
                    <a:lnTo>
                      <a:pt x="3502" y="2789"/>
                    </a:lnTo>
                    <a:lnTo>
                      <a:pt x="2324" y="748"/>
                    </a:lnTo>
                    <a:lnTo>
                      <a:pt x="1065" y="1273"/>
                    </a:lnTo>
                    <a:lnTo>
                      <a:pt x="1065" y="1273"/>
                    </a:lnTo>
                    <a:lnTo>
                      <a:pt x="1065" y="1273"/>
                    </a:lnTo>
                    <a:lnTo>
                      <a:pt x="1065" y="1273"/>
                    </a:lnTo>
                    <a:lnTo>
                      <a:pt x="120" y="3894"/>
                    </a:lnTo>
                    <a:lnTo>
                      <a:pt x="2324" y="4831"/>
                    </a:lnTo>
                    <a:lnTo>
                      <a:pt x="2324" y="4831"/>
                    </a:lnTo>
                    <a:lnTo>
                      <a:pt x="120" y="3894"/>
                    </a:lnTo>
                    <a:lnTo>
                      <a:pt x="120" y="3894"/>
                    </a:lnTo>
                    <a:lnTo>
                      <a:pt x="1065" y="1273"/>
                    </a:lnTo>
                    <a:lnTo>
                      <a:pt x="0" y="1982"/>
                    </a:lnTo>
                    <a:lnTo>
                      <a:pt x="0" y="3795"/>
                    </a:lnTo>
                    <a:lnTo>
                      <a:pt x="120" y="3894"/>
                    </a:lnTo>
                    <a:lnTo>
                      <a:pt x="120" y="3894"/>
                    </a:lnTo>
                    <a:lnTo>
                      <a:pt x="270" y="4331"/>
                    </a:lnTo>
                    <a:lnTo>
                      <a:pt x="1145" y="6872"/>
                    </a:lnTo>
                    <a:lnTo>
                      <a:pt x="270" y="4331"/>
                    </a:lnTo>
                    <a:lnTo>
                      <a:pt x="1145" y="6872"/>
                    </a:lnTo>
                    <a:lnTo>
                      <a:pt x="2088" y="5239"/>
                    </a:lnTo>
                    <a:lnTo>
                      <a:pt x="1145" y="6872"/>
                    </a:lnTo>
                    <a:lnTo>
                      <a:pt x="1145" y="6872"/>
                    </a:lnTo>
                    <a:lnTo>
                      <a:pt x="1109" y="6907"/>
                    </a:lnTo>
                    <a:lnTo>
                      <a:pt x="0" y="7970"/>
                    </a:lnTo>
                    <a:lnTo>
                      <a:pt x="1109" y="6907"/>
                    </a:lnTo>
                    <a:lnTo>
                      <a:pt x="0" y="7970"/>
                    </a:lnTo>
                    <a:lnTo>
                      <a:pt x="0" y="8978"/>
                    </a:lnTo>
                    <a:lnTo>
                      <a:pt x="2324" y="8914"/>
                    </a:lnTo>
                    <a:lnTo>
                      <a:pt x="1145" y="6872"/>
                    </a:lnTo>
                    <a:lnTo>
                      <a:pt x="2324" y="8914"/>
                    </a:lnTo>
                    <a:lnTo>
                      <a:pt x="2324" y="8914"/>
                    </a:lnTo>
                    <a:lnTo>
                      <a:pt x="4116" y="9609"/>
                    </a:lnTo>
                    <a:lnTo>
                      <a:pt x="3114" y="8126"/>
                    </a:lnTo>
                    <a:lnTo>
                      <a:pt x="4116" y="9609"/>
                    </a:lnTo>
                    <a:lnTo>
                      <a:pt x="5860" y="10955"/>
                    </a:lnTo>
                    <a:lnTo>
                      <a:pt x="5859" y="10955"/>
                    </a:lnTo>
                    <a:lnTo>
                      <a:pt x="4116" y="9609"/>
                    </a:lnTo>
                    <a:lnTo>
                      <a:pt x="3502" y="10955"/>
                    </a:lnTo>
                    <a:lnTo>
                      <a:pt x="3502" y="10955"/>
                    </a:lnTo>
                    <a:lnTo>
                      <a:pt x="3502" y="10955"/>
                    </a:lnTo>
                    <a:lnTo>
                      <a:pt x="3502" y="10955"/>
                    </a:lnTo>
                    <a:lnTo>
                      <a:pt x="4116" y="9609"/>
                    </a:lnTo>
                    <a:lnTo>
                      <a:pt x="2324" y="8914"/>
                    </a:lnTo>
                    <a:lnTo>
                      <a:pt x="2324" y="8914"/>
                    </a:lnTo>
                    <a:lnTo>
                      <a:pt x="2324" y="8914"/>
                    </a:lnTo>
                    <a:lnTo>
                      <a:pt x="2324" y="8914"/>
                    </a:lnTo>
                    <a:lnTo>
                      <a:pt x="2324" y="8914"/>
                    </a:lnTo>
                    <a:lnTo>
                      <a:pt x="0" y="8978"/>
                    </a:lnTo>
                    <a:lnTo>
                      <a:pt x="0" y="11274"/>
                    </a:lnTo>
                    <a:lnTo>
                      <a:pt x="586" y="11428"/>
                    </a:lnTo>
                    <a:lnTo>
                      <a:pt x="1542" y="10045"/>
                    </a:lnTo>
                    <a:lnTo>
                      <a:pt x="586" y="11428"/>
                    </a:lnTo>
                    <a:lnTo>
                      <a:pt x="3502" y="10955"/>
                    </a:lnTo>
                    <a:lnTo>
                      <a:pt x="586" y="11428"/>
                    </a:lnTo>
                    <a:lnTo>
                      <a:pt x="750" y="12746"/>
                    </a:lnTo>
                    <a:lnTo>
                      <a:pt x="2324" y="12997"/>
                    </a:lnTo>
                    <a:lnTo>
                      <a:pt x="2324" y="12997"/>
                    </a:lnTo>
                    <a:lnTo>
                      <a:pt x="3564" y="14028"/>
                    </a:lnTo>
                    <a:lnTo>
                      <a:pt x="3502" y="10956"/>
                    </a:lnTo>
                    <a:lnTo>
                      <a:pt x="3564" y="14028"/>
                    </a:lnTo>
                    <a:lnTo>
                      <a:pt x="5860" y="10956"/>
                    </a:lnTo>
                    <a:lnTo>
                      <a:pt x="5860" y="10956"/>
                    </a:lnTo>
                    <a:lnTo>
                      <a:pt x="3564" y="14028"/>
                    </a:lnTo>
                    <a:lnTo>
                      <a:pt x="3564" y="14028"/>
                    </a:lnTo>
                    <a:lnTo>
                      <a:pt x="3564" y="14028"/>
                    </a:lnTo>
                    <a:lnTo>
                      <a:pt x="4943" y="15446"/>
                    </a:lnTo>
                    <a:moveTo>
                      <a:pt x="0" y="3795"/>
                    </a:moveTo>
                    <a:lnTo>
                      <a:pt x="120" y="3894"/>
                    </a:lnTo>
                    <a:lnTo>
                      <a:pt x="0" y="3795"/>
                    </a:lnTo>
                    <a:moveTo>
                      <a:pt x="0" y="1099"/>
                    </a:moveTo>
                    <a:lnTo>
                      <a:pt x="0" y="1982"/>
                    </a:lnTo>
                    <a:lnTo>
                      <a:pt x="1065" y="1273"/>
                    </a:lnTo>
                    <a:lnTo>
                      <a:pt x="901" y="1246"/>
                    </a:lnTo>
                    <a:lnTo>
                      <a:pt x="1065" y="1273"/>
                    </a:lnTo>
                    <a:lnTo>
                      <a:pt x="2324" y="748"/>
                    </a:lnTo>
                    <a:lnTo>
                      <a:pt x="0" y="916"/>
                    </a:lnTo>
                    <a:lnTo>
                      <a:pt x="0" y="1099"/>
                    </a:lnTo>
                    <a:moveTo>
                      <a:pt x="0" y="52"/>
                    </a:moveTo>
                    <a:lnTo>
                      <a:pt x="0" y="916"/>
                    </a:lnTo>
                    <a:lnTo>
                      <a:pt x="2324" y="748"/>
                    </a:lnTo>
                    <a:lnTo>
                      <a:pt x="4681" y="748"/>
                    </a:lnTo>
                    <a:lnTo>
                      <a:pt x="4249" y="0"/>
                    </a:lnTo>
                    <a:lnTo>
                      <a:pt x="1892" y="0"/>
                    </a:lnTo>
                    <a:lnTo>
                      <a:pt x="2324" y="748"/>
                    </a:lnTo>
                    <a:lnTo>
                      <a:pt x="2324" y="748"/>
                    </a:lnTo>
                    <a:lnTo>
                      <a:pt x="1892" y="0"/>
                    </a:lnTo>
                    <a:lnTo>
                      <a:pt x="45" y="0"/>
                    </a:lnTo>
                    <a:lnTo>
                      <a:pt x="0" y="52"/>
                    </a:lnTo>
                    <a:moveTo>
                      <a:pt x="0" y="0"/>
                    </a:moveTo>
                    <a:lnTo>
                      <a:pt x="0" y="52"/>
                    </a:lnTo>
                    <a:lnTo>
                      <a:pt x="44" y="0"/>
                    </a:lnTo>
                    <a:lnTo>
                      <a:pt x="0" y="0"/>
                    </a:lnTo>
                    <a:moveTo>
                      <a:pt x="3737" y="15446"/>
                    </a:moveTo>
                    <a:lnTo>
                      <a:pt x="3737" y="15446"/>
                    </a:lnTo>
                    <a:lnTo>
                      <a:pt x="3502" y="15039"/>
                    </a:lnTo>
                    <a:lnTo>
                      <a:pt x="3737" y="15446"/>
                    </a:lnTo>
                    <a:moveTo>
                      <a:pt x="1074" y="15446"/>
                    </a:moveTo>
                    <a:lnTo>
                      <a:pt x="1074" y="15446"/>
                    </a:lnTo>
                    <a:lnTo>
                      <a:pt x="800" y="15275"/>
                    </a:lnTo>
                    <a:lnTo>
                      <a:pt x="1074" y="15446"/>
                    </a:lnTo>
                    <a:moveTo>
                      <a:pt x="11037" y="13656"/>
                    </a:moveTo>
                    <a:lnTo>
                      <a:pt x="12931" y="10955"/>
                    </a:lnTo>
                    <a:lnTo>
                      <a:pt x="10777" y="9480"/>
                    </a:lnTo>
                    <a:lnTo>
                      <a:pt x="10433" y="11715"/>
                    </a:lnTo>
                    <a:lnTo>
                      <a:pt x="10433" y="11715"/>
                    </a:lnTo>
                    <a:lnTo>
                      <a:pt x="10433" y="11715"/>
                    </a:lnTo>
                    <a:lnTo>
                      <a:pt x="10777" y="9480"/>
                    </a:lnTo>
                    <a:lnTo>
                      <a:pt x="8413" y="8879"/>
                    </a:lnTo>
                    <a:lnTo>
                      <a:pt x="8413" y="8879"/>
                    </a:lnTo>
                    <a:lnTo>
                      <a:pt x="8413" y="8879"/>
                    </a:lnTo>
                    <a:lnTo>
                      <a:pt x="8413" y="8879"/>
                    </a:lnTo>
                    <a:lnTo>
                      <a:pt x="7038" y="8914"/>
                    </a:lnTo>
                    <a:lnTo>
                      <a:pt x="7038" y="8914"/>
                    </a:lnTo>
                    <a:lnTo>
                      <a:pt x="8413" y="8879"/>
                    </a:lnTo>
                    <a:lnTo>
                      <a:pt x="10777" y="9480"/>
                    </a:lnTo>
                    <a:lnTo>
                      <a:pt x="10777" y="9480"/>
                    </a:lnTo>
                    <a:lnTo>
                      <a:pt x="10777" y="9480"/>
                    </a:lnTo>
                    <a:lnTo>
                      <a:pt x="10777" y="9480"/>
                    </a:lnTo>
                    <a:lnTo>
                      <a:pt x="12931" y="10955"/>
                    </a:lnTo>
                    <a:lnTo>
                      <a:pt x="13871" y="11844"/>
                    </a:lnTo>
                    <a:lnTo>
                      <a:pt x="14110" y="8914"/>
                    </a:lnTo>
                    <a:lnTo>
                      <a:pt x="14110" y="8914"/>
                    </a:lnTo>
                    <a:lnTo>
                      <a:pt x="13871" y="11844"/>
                    </a:lnTo>
                    <a:lnTo>
                      <a:pt x="15446" y="11473"/>
                    </a:lnTo>
                    <a:lnTo>
                      <a:pt x="15446" y="11473"/>
                    </a:lnTo>
                    <a:lnTo>
                      <a:pt x="13871" y="11844"/>
                    </a:lnTo>
                    <a:lnTo>
                      <a:pt x="14069" y="12799"/>
                    </a:lnTo>
                    <a:lnTo>
                      <a:pt x="13871" y="11844"/>
                    </a:lnTo>
                    <a:lnTo>
                      <a:pt x="12931" y="10955"/>
                    </a:lnTo>
                    <a:lnTo>
                      <a:pt x="14110" y="12997"/>
                    </a:lnTo>
                    <a:lnTo>
                      <a:pt x="14110" y="12997"/>
                    </a:lnTo>
                    <a:lnTo>
                      <a:pt x="14110" y="12997"/>
                    </a:lnTo>
                    <a:lnTo>
                      <a:pt x="12931" y="10955"/>
                    </a:lnTo>
                    <a:lnTo>
                      <a:pt x="11037" y="13656"/>
                    </a:lnTo>
                    <a:moveTo>
                      <a:pt x="15446" y="12997"/>
                    </a:moveTo>
                    <a:lnTo>
                      <a:pt x="14110" y="12997"/>
                    </a:lnTo>
                    <a:lnTo>
                      <a:pt x="14110" y="12997"/>
                    </a:lnTo>
                    <a:lnTo>
                      <a:pt x="15446" y="12997"/>
                    </a:lnTo>
                    <a:lnTo>
                      <a:pt x="15446" y="12997"/>
                    </a:lnTo>
                    <a:moveTo>
                      <a:pt x="2324" y="12997"/>
                    </a:moveTo>
                    <a:lnTo>
                      <a:pt x="586" y="11428"/>
                    </a:lnTo>
                    <a:lnTo>
                      <a:pt x="2324" y="12997"/>
                    </a:lnTo>
                    <a:lnTo>
                      <a:pt x="2324" y="12997"/>
                    </a:lnTo>
                    <a:moveTo>
                      <a:pt x="750" y="12746"/>
                    </a:moveTo>
                    <a:lnTo>
                      <a:pt x="750" y="12746"/>
                    </a:lnTo>
                    <a:lnTo>
                      <a:pt x="750" y="12746"/>
                    </a:lnTo>
                    <a:lnTo>
                      <a:pt x="750" y="12746"/>
                    </a:lnTo>
                    <a:lnTo>
                      <a:pt x="750" y="12746"/>
                    </a:lnTo>
                    <a:moveTo>
                      <a:pt x="5936" y="12632"/>
                    </a:moveTo>
                    <a:lnTo>
                      <a:pt x="5935" y="12631"/>
                    </a:lnTo>
                    <a:lnTo>
                      <a:pt x="7357" y="11428"/>
                    </a:lnTo>
                    <a:lnTo>
                      <a:pt x="5860" y="10955"/>
                    </a:lnTo>
                    <a:lnTo>
                      <a:pt x="5860" y="10955"/>
                    </a:lnTo>
                    <a:lnTo>
                      <a:pt x="7357" y="11428"/>
                    </a:lnTo>
                    <a:lnTo>
                      <a:pt x="7093" y="9346"/>
                    </a:lnTo>
                    <a:lnTo>
                      <a:pt x="7357" y="11428"/>
                    </a:lnTo>
                    <a:lnTo>
                      <a:pt x="5936" y="12632"/>
                    </a:lnTo>
                    <a:moveTo>
                      <a:pt x="5935" y="12632"/>
                    </a:moveTo>
                    <a:lnTo>
                      <a:pt x="5927" y="12440"/>
                    </a:lnTo>
                    <a:lnTo>
                      <a:pt x="5935" y="12631"/>
                    </a:lnTo>
                    <a:moveTo>
                      <a:pt x="10777" y="9480"/>
                    </a:moveTo>
                    <a:lnTo>
                      <a:pt x="12931" y="6872"/>
                    </a:lnTo>
                    <a:lnTo>
                      <a:pt x="10574" y="6872"/>
                    </a:lnTo>
                    <a:lnTo>
                      <a:pt x="12931" y="6872"/>
                    </a:lnTo>
                    <a:lnTo>
                      <a:pt x="12818" y="6352"/>
                    </a:lnTo>
                    <a:lnTo>
                      <a:pt x="12931" y="6872"/>
                    </a:lnTo>
                    <a:lnTo>
                      <a:pt x="15446" y="7725"/>
                    </a:lnTo>
                    <a:lnTo>
                      <a:pt x="15446" y="7725"/>
                    </a:lnTo>
                    <a:lnTo>
                      <a:pt x="12931" y="6872"/>
                    </a:lnTo>
                    <a:lnTo>
                      <a:pt x="14110" y="8914"/>
                    </a:lnTo>
                    <a:lnTo>
                      <a:pt x="12931" y="6872"/>
                    </a:lnTo>
                    <a:lnTo>
                      <a:pt x="10777" y="9480"/>
                    </a:lnTo>
                    <a:lnTo>
                      <a:pt x="10777" y="9480"/>
                    </a:lnTo>
                    <a:moveTo>
                      <a:pt x="7038" y="8914"/>
                    </a:moveTo>
                    <a:lnTo>
                      <a:pt x="7038" y="8914"/>
                    </a:lnTo>
                    <a:lnTo>
                      <a:pt x="8217" y="6872"/>
                    </a:lnTo>
                    <a:lnTo>
                      <a:pt x="5860" y="6872"/>
                    </a:lnTo>
                    <a:lnTo>
                      <a:pt x="5860" y="6872"/>
                    </a:lnTo>
                    <a:lnTo>
                      <a:pt x="8217" y="6872"/>
                    </a:lnTo>
                    <a:lnTo>
                      <a:pt x="7366" y="5398"/>
                    </a:lnTo>
                    <a:lnTo>
                      <a:pt x="8217" y="6872"/>
                    </a:lnTo>
                    <a:lnTo>
                      <a:pt x="9050" y="6406"/>
                    </a:lnTo>
                    <a:lnTo>
                      <a:pt x="8217" y="6872"/>
                    </a:lnTo>
                    <a:lnTo>
                      <a:pt x="8217" y="6872"/>
                    </a:lnTo>
                    <a:lnTo>
                      <a:pt x="7038" y="8914"/>
                    </a:lnTo>
                    <a:moveTo>
                      <a:pt x="7038" y="8914"/>
                    </a:moveTo>
                    <a:lnTo>
                      <a:pt x="5868" y="6886"/>
                    </a:lnTo>
                    <a:lnTo>
                      <a:pt x="7038" y="8914"/>
                    </a:lnTo>
                    <a:lnTo>
                      <a:pt x="7038" y="8914"/>
                    </a:lnTo>
                    <a:moveTo>
                      <a:pt x="15446" y="8914"/>
                    </a:moveTo>
                    <a:lnTo>
                      <a:pt x="14110" y="8914"/>
                    </a:lnTo>
                    <a:lnTo>
                      <a:pt x="15446" y="8914"/>
                    </a:lnTo>
                    <a:lnTo>
                      <a:pt x="15446" y="8914"/>
                    </a:lnTo>
                    <a:moveTo>
                      <a:pt x="14110" y="8914"/>
                    </a:moveTo>
                    <a:lnTo>
                      <a:pt x="14110" y="8914"/>
                    </a:lnTo>
                    <a:lnTo>
                      <a:pt x="14874" y="8485"/>
                    </a:lnTo>
                    <a:lnTo>
                      <a:pt x="14110" y="8914"/>
                    </a:lnTo>
                    <a:moveTo>
                      <a:pt x="8413" y="8878"/>
                    </a:moveTo>
                    <a:lnTo>
                      <a:pt x="8217" y="6872"/>
                    </a:lnTo>
                    <a:lnTo>
                      <a:pt x="8217" y="6872"/>
                    </a:lnTo>
                    <a:lnTo>
                      <a:pt x="8413" y="8878"/>
                    </a:lnTo>
                    <a:lnTo>
                      <a:pt x="8413" y="8878"/>
                    </a:lnTo>
                    <a:moveTo>
                      <a:pt x="2557" y="7302"/>
                    </a:moveTo>
                    <a:lnTo>
                      <a:pt x="2557" y="7302"/>
                    </a:lnTo>
                    <a:lnTo>
                      <a:pt x="2557" y="7302"/>
                    </a:lnTo>
                    <a:lnTo>
                      <a:pt x="4159" y="4109"/>
                    </a:lnTo>
                    <a:lnTo>
                      <a:pt x="2324" y="4831"/>
                    </a:lnTo>
                    <a:lnTo>
                      <a:pt x="2324" y="4831"/>
                    </a:lnTo>
                    <a:lnTo>
                      <a:pt x="2324" y="4831"/>
                    </a:lnTo>
                    <a:lnTo>
                      <a:pt x="2324" y="4831"/>
                    </a:lnTo>
                    <a:lnTo>
                      <a:pt x="2324" y="4831"/>
                    </a:lnTo>
                    <a:lnTo>
                      <a:pt x="4159" y="4109"/>
                    </a:lnTo>
                    <a:lnTo>
                      <a:pt x="4159" y="4109"/>
                    </a:lnTo>
                    <a:lnTo>
                      <a:pt x="4159" y="4109"/>
                    </a:lnTo>
                    <a:lnTo>
                      <a:pt x="4159" y="4109"/>
                    </a:lnTo>
                    <a:lnTo>
                      <a:pt x="4159" y="4109"/>
                    </a:lnTo>
                    <a:lnTo>
                      <a:pt x="5860" y="6872"/>
                    </a:lnTo>
                    <a:lnTo>
                      <a:pt x="5859" y="6872"/>
                    </a:lnTo>
                    <a:lnTo>
                      <a:pt x="4159" y="4109"/>
                    </a:lnTo>
                    <a:lnTo>
                      <a:pt x="2557" y="7302"/>
                    </a:lnTo>
                    <a:lnTo>
                      <a:pt x="2557" y="7302"/>
                    </a:lnTo>
                    <a:moveTo>
                      <a:pt x="2557" y="7302"/>
                    </a:moveTo>
                    <a:lnTo>
                      <a:pt x="2324" y="4831"/>
                    </a:lnTo>
                    <a:lnTo>
                      <a:pt x="2324" y="4831"/>
                    </a:lnTo>
                    <a:lnTo>
                      <a:pt x="2557" y="7302"/>
                    </a:lnTo>
                    <a:moveTo>
                      <a:pt x="2909" y="7256"/>
                    </a:moveTo>
                    <a:lnTo>
                      <a:pt x="5860" y="6872"/>
                    </a:lnTo>
                    <a:lnTo>
                      <a:pt x="5860" y="6872"/>
                    </a:lnTo>
                    <a:lnTo>
                      <a:pt x="5860" y="6872"/>
                    </a:lnTo>
                    <a:lnTo>
                      <a:pt x="2909" y="7256"/>
                    </a:lnTo>
                    <a:moveTo>
                      <a:pt x="15446" y="7072"/>
                    </a:moveTo>
                    <a:lnTo>
                      <a:pt x="15229" y="6708"/>
                    </a:lnTo>
                    <a:lnTo>
                      <a:pt x="15446" y="7072"/>
                    </a:lnTo>
                    <a:lnTo>
                      <a:pt x="15446" y="7072"/>
                    </a:lnTo>
                    <a:moveTo>
                      <a:pt x="1145" y="6872"/>
                    </a:moveTo>
                    <a:lnTo>
                      <a:pt x="1145" y="6872"/>
                    </a:lnTo>
                    <a:moveTo>
                      <a:pt x="10574" y="6872"/>
                    </a:moveTo>
                    <a:lnTo>
                      <a:pt x="10574" y="6872"/>
                    </a:lnTo>
                    <a:lnTo>
                      <a:pt x="10574" y="6872"/>
                    </a:lnTo>
                    <a:lnTo>
                      <a:pt x="12458" y="5724"/>
                    </a:lnTo>
                    <a:lnTo>
                      <a:pt x="10574" y="6872"/>
                    </a:lnTo>
                    <a:moveTo>
                      <a:pt x="8217" y="6872"/>
                    </a:moveTo>
                    <a:lnTo>
                      <a:pt x="8217" y="6872"/>
                    </a:lnTo>
                    <a:lnTo>
                      <a:pt x="8217" y="6872"/>
                    </a:lnTo>
                    <a:lnTo>
                      <a:pt x="8217" y="6872"/>
                    </a:lnTo>
                    <a:moveTo>
                      <a:pt x="10574" y="6872"/>
                    </a:moveTo>
                    <a:lnTo>
                      <a:pt x="9445" y="6321"/>
                    </a:lnTo>
                    <a:lnTo>
                      <a:pt x="10574" y="6872"/>
                    </a:lnTo>
                    <a:lnTo>
                      <a:pt x="10574" y="6872"/>
                    </a:lnTo>
                    <a:moveTo>
                      <a:pt x="9316" y="6257"/>
                    </a:moveTo>
                    <a:lnTo>
                      <a:pt x="9316" y="6257"/>
                    </a:lnTo>
                    <a:lnTo>
                      <a:pt x="9316" y="6257"/>
                    </a:lnTo>
                    <a:lnTo>
                      <a:pt x="9316" y="6257"/>
                    </a:lnTo>
                    <a:lnTo>
                      <a:pt x="9316" y="6257"/>
                    </a:lnTo>
                    <a:lnTo>
                      <a:pt x="9316" y="6257"/>
                    </a:lnTo>
                    <a:lnTo>
                      <a:pt x="12655" y="5604"/>
                    </a:lnTo>
                    <a:lnTo>
                      <a:pt x="12655" y="5604"/>
                    </a:lnTo>
                    <a:lnTo>
                      <a:pt x="12655" y="5604"/>
                    </a:lnTo>
                    <a:lnTo>
                      <a:pt x="12655" y="5604"/>
                    </a:lnTo>
                    <a:lnTo>
                      <a:pt x="14110" y="4831"/>
                    </a:lnTo>
                    <a:lnTo>
                      <a:pt x="12655" y="5604"/>
                    </a:lnTo>
                    <a:lnTo>
                      <a:pt x="12655" y="5604"/>
                    </a:lnTo>
                    <a:lnTo>
                      <a:pt x="12655" y="5604"/>
                    </a:lnTo>
                    <a:lnTo>
                      <a:pt x="9316" y="6257"/>
                    </a:lnTo>
                    <a:moveTo>
                      <a:pt x="9316" y="6257"/>
                    </a:moveTo>
                    <a:lnTo>
                      <a:pt x="7038" y="4831"/>
                    </a:lnTo>
                    <a:lnTo>
                      <a:pt x="7038" y="4831"/>
                    </a:lnTo>
                    <a:lnTo>
                      <a:pt x="9316" y="6257"/>
                    </a:lnTo>
                    <a:lnTo>
                      <a:pt x="9316" y="6257"/>
                    </a:lnTo>
                    <a:moveTo>
                      <a:pt x="9316" y="6257"/>
                    </a:moveTo>
                    <a:lnTo>
                      <a:pt x="9316" y="3550"/>
                    </a:lnTo>
                    <a:lnTo>
                      <a:pt x="9316" y="6257"/>
                    </a:lnTo>
                    <a:moveTo>
                      <a:pt x="12655" y="5604"/>
                    </a:moveTo>
                    <a:lnTo>
                      <a:pt x="12655" y="5604"/>
                    </a:lnTo>
                    <a:lnTo>
                      <a:pt x="12201" y="3434"/>
                    </a:lnTo>
                    <a:lnTo>
                      <a:pt x="12655" y="5604"/>
                    </a:lnTo>
                    <a:moveTo>
                      <a:pt x="7038" y="4831"/>
                    </a:moveTo>
                    <a:lnTo>
                      <a:pt x="7038" y="4831"/>
                    </a:lnTo>
                    <a:lnTo>
                      <a:pt x="9316" y="3550"/>
                    </a:lnTo>
                    <a:lnTo>
                      <a:pt x="5859" y="2789"/>
                    </a:lnTo>
                    <a:lnTo>
                      <a:pt x="5860" y="2789"/>
                    </a:lnTo>
                    <a:lnTo>
                      <a:pt x="9316" y="3550"/>
                    </a:lnTo>
                    <a:lnTo>
                      <a:pt x="8410" y="2581"/>
                    </a:lnTo>
                    <a:lnTo>
                      <a:pt x="9316" y="3550"/>
                    </a:lnTo>
                    <a:lnTo>
                      <a:pt x="9319" y="3444"/>
                    </a:lnTo>
                    <a:lnTo>
                      <a:pt x="9316" y="3550"/>
                    </a:lnTo>
                    <a:lnTo>
                      <a:pt x="10574" y="2789"/>
                    </a:lnTo>
                    <a:lnTo>
                      <a:pt x="9316" y="3550"/>
                    </a:lnTo>
                    <a:lnTo>
                      <a:pt x="7038" y="4831"/>
                    </a:lnTo>
                    <a:moveTo>
                      <a:pt x="7038" y="4831"/>
                    </a:moveTo>
                    <a:lnTo>
                      <a:pt x="6499" y="3898"/>
                    </a:lnTo>
                    <a:lnTo>
                      <a:pt x="7038" y="4831"/>
                    </a:lnTo>
                    <a:moveTo>
                      <a:pt x="2324" y="4831"/>
                    </a:moveTo>
                    <a:lnTo>
                      <a:pt x="1405" y="2233"/>
                    </a:lnTo>
                    <a:lnTo>
                      <a:pt x="2324" y="4831"/>
                    </a:lnTo>
                    <a:lnTo>
                      <a:pt x="2324" y="4831"/>
                    </a:lnTo>
                    <a:moveTo>
                      <a:pt x="14110" y="4831"/>
                    </a:moveTo>
                    <a:lnTo>
                      <a:pt x="12201" y="3434"/>
                    </a:lnTo>
                    <a:lnTo>
                      <a:pt x="12066" y="2627"/>
                    </a:lnTo>
                    <a:lnTo>
                      <a:pt x="12201" y="3434"/>
                    </a:lnTo>
                    <a:lnTo>
                      <a:pt x="15446" y="2602"/>
                    </a:lnTo>
                    <a:lnTo>
                      <a:pt x="15446" y="2602"/>
                    </a:lnTo>
                    <a:lnTo>
                      <a:pt x="12201" y="3434"/>
                    </a:lnTo>
                    <a:lnTo>
                      <a:pt x="14110" y="4831"/>
                    </a:lnTo>
                    <a:moveTo>
                      <a:pt x="14110" y="4831"/>
                    </a:moveTo>
                    <a:lnTo>
                      <a:pt x="14110" y="4831"/>
                    </a:lnTo>
                    <a:lnTo>
                      <a:pt x="15358" y="3331"/>
                    </a:lnTo>
                    <a:lnTo>
                      <a:pt x="14110" y="4831"/>
                    </a:lnTo>
                    <a:moveTo>
                      <a:pt x="4159" y="4109"/>
                    </a:moveTo>
                    <a:lnTo>
                      <a:pt x="4159" y="4109"/>
                    </a:lnTo>
                    <a:lnTo>
                      <a:pt x="4603" y="3765"/>
                    </a:lnTo>
                    <a:lnTo>
                      <a:pt x="4159" y="4109"/>
                    </a:lnTo>
                    <a:moveTo>
                      <a:pt x="12201" y="3434"/>
                    </a:moveTo>
                    <a:lnTo>
                      <a:pt x="10574" y="2789"/>
                    </a:lnTo>
                    <a:lnTo>
                      <a:pt x="10574" y="2789"/>
                    </a:lnTo>
                    <a:lnTo>
                      <a:pt x="10574" y="2789"/>
                    </a:lnTo>
                    <a:lnTo>
                      <a:pt x="11753" y="748"/>
                    </a:lnTo>
                    <a:lnTo>
                      <a:pt x="9396" y="748"/>
                    </a:lnTo>
                    <a:lnTo>
                      <a:pt x="9396" y="748"/>
                    </a:lnTo>
                    <a:lnTo>
                      <a:pt x="11753" y="748"/>
                    </a:lnTo>
                    <a:lnTo>
                      <a:pt x="11753" y="748"/>
                    </a:lnTo>
                    <a:lnTo>
                      <a:pt x="11753" y="748"/>
                    </a:lnTo>
                    <a:lnTo>
                      <a:pt x="10574" y="2789"/>
                    </a:lnTo>
                    <a:lnTo>
                      <a:pt x="12201" y="3434"/>
                    </a:lnTo>
                    <a:moveTo>
                      <a:pt x="5859" y="2790"/>
                    </a:moveTo>
                    <a:lnTo>
                      <a:pt x="3502" y="2790"/>
                    </a:lnTo>
                    <a:lnTo>
                      <a:pt x="5860" y="2789"/>
                    </a:lnTo>
                    <a:lnTo>
                      <a:pt x="5859" y="2789"/>
                    </a:lnTo>
                    <a:lnTo>
                      <a:pt x="5859" y="2790"/>
                    </a:lnTo>
                    <a:moveTo>
                      <a:pt x="15446" y="1876"/>
                    </a:moveTo>
                    <a:lnTo>
                      <a:pt x="14110" y="748"/>
                    </a:lnTo>
                    <a:lnTo>
                      <a:pt x="15446" y="1876"/>
                    </a:lnTo>
                    <a:lnTo>
                      <a:pt x="15446" y="1876"/>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58" name="Freeform 306"/>
              <p:cNvSpPr>
                <a:spLocks/>
              </p:cNvSpPr>
              <p:nvPr/>
            </p:nvSpPr>
            <p:spPr bwMode="auto">
              <a:xfrm>
                <a:off x="-12625388" y="-3271838"/>
                <a:ext cx="811213" cy="671513"/>
              </a:xfrm>
              <a:custGeom>
                <a:avLst/>
                <a:gdLst>
                  <a:gd name="T0" fmla="*/ 0 w 511"/>
                  <a:gd name="T1" fmla="*/ 423 h 423"/>
                  <a:gd name="T2" fmla="*/ 0 w 511"/>
                  <a:gd name="T3" fmla="*/ 0 h 423"/>
                  <a:gd name="T4" fmla="*/ 433 w 511"/>
                  <a:gd name="T5" fmla="*/ 70 h 423"/>
                  <a:gd name="T6" fmla="*/ 511 w 511"/>
                  <a:gd name="T7" fmla="*/ 83 h 423"/>
                  <a:gd name="T8" fmla="*/ 0 w 511"/>
                  <a:gd name="T9" fmla="*/ 423 h 423"/>
                </a:gdLst>
                <a:ahLst/>
                <a:cxnLst>
                  <a:cxn ang="0">
                    <a:pos x="T0" y="T1"/>
                  </a:cxn>
                  <a:cxn ang="0">
                    <a:pos x="T2" y="T3"/>
                  </a:cxn>
                  <a:cxn ang="0">
                    <a:pos x="T4" y="T5"/>
                  </a:cxn>
                  <a:cxn ang="0">
                    <a:pos x="T6" y="T7"/>
                  </a:cxn>
                  <a:cxn ang="0">
                    <a:pos x="T8" y="T9"/>
                  </a:cxn>
                </a:cxnLst>
                <a:rect l="0" t="0" r="r" b="b"/>
                <a:pathLst>
                  <a:path w="511" h="423">
                    <a:moveTo>
                      <a:pt x="0" y="423"/>
                    </a:moveTo>
                    <a:lnTo>
                      <a:pt x="0" y="0"/>
                    </a:lnTo>
                    <a:lnTo>
                      <a:pt x="433" y="70"/>
                    </a:lnTo>
                    <a:lnTo>
                      <a:pt x="511" y="83"/>
                    </a:lnTo>
                    <a:lnTo>
                      <a:pt x="0" y="42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59" name="Freeform 307"/>
              <p:cNvSpPr>
                <a:spLocks/>
              </p:cNvSpPr>
              <p:nvPr/>
            </p:nvSpPr>
            <p:spPr bwMode="auto">
              <a:xfrm>
                <a:off x="-12625388" y="-4110038"/>
                <a:ext cx="33338" cy="39688"/>
              </a:xfrm>
              <a:custGeom>
                <a:avLst/>
                <a:gdLst>
                  <a:gd name="T0" fmla="*/ 0 w 21"/>
                  <a:gd name="T1" fmla="*/ 25 h 25"/>
                  <a:gd name="T2" fmla="*/ 0 w 21"/>
                  <a:gd name="T3" fmla="*/ 0 h 25"/>
                  <a:gd name="T4" fmla="*/ 21 w 21"/>
                  <a:gd name="T5" fmla="*/ 0 h 25"/>
                  <a:gd name="T6" fmla="*/ 0 w 21"/>
                  <a:gd name="T7" fmla="*/ 25 h 25"/>
                </a:gdLst>
                <a:ahLst/>
                <a:cxnLst>
                  <a:cxn ang="0">
                    <a:pos x="T0" y="T1"/>
                  </a:cxn>
                  <a:cxn ang="0">
                    <a:pos x="T2" y="T3"/>
                  </a:cxn>
                  <a:cxn ang="0">
                    <a:pos x="T4" y="T5"/>
                  </a:cxn>
                  <a:cxn ang="0">
                    <a:pos x="T6" y="T7"/>
                  </a:cxn>
                </a:cxnLst>
                <a:rect l="0" t="0" r="r" b="b"/>
                <a:pathLst>
                  <a:path w="21" h="25">
                    <a:moveTo>
                      <a:pt x="0" y="25"/>
                    </a:moveTo>
                    <a:lnTo>
                      <a:pt x="0" y="0"/>
                    </a:lnTo>
                    <a:lnTo>
                      <a:pt x="21" y="0"/>
                    </a:lnTo>
                    <a:lnTo>
                      <a:pt x="0" y="25"/>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0" name="Freeform 308"/>
              <p:cNvSpPr>
                <a:spLocks/>
              </p:cNvSpPr>
              <p:nvPr/>
            </p:nvSpPr>
            <p:spPr bwMode="auto">
              <a:xfrm>
                <a:off x="-12625388" y="-3540126"/>
                <a:ext cx="1771650" cy="400050"/>
              </a:xfrm>
              <a:custGeom>
                <a:avLst/>
                <a:gdLst>
                  <a:gd name="T0" fmla="*/ 511 w 1116"/>
                  <a:gd name="T1" fmla="*/ 252 h 252"/>
                  <a:gd name="T2" fmla="*/ 433 w 1116"/>
                  <a:gd name="T3" fmla="*/ 239 h 252"/>
                  <a:gd name="T4" fmla="*/ 0 w 1116"/>
                  <a:gd name="T5" fmla="*/ 169 h 252"/>
                  <a:gd name="T6" fmla="*/ 0 w 1116"/>
                  <a:gd name="T7" fmla="*/ 81 h 252"/>
                  <a:gd name="T8" fmla="*/ 1116 w 1116"/>
                  <a:gd name="T9" fmla="*/ 0 h 252"/>
                  <a:gd name="T10" fmla="*/ 511 w 1116"/>
                  <a:gd name="T11" fmla="*/ 252 h 252"/>
                </a:gdLst>
                <a:ahLst/>
                <a:cxnLst>
                  <a:cxn ang="0">
                    <a:pos x="T0" y="T1"/>
                  </a:cxn>
                  <a:cxn ang="0">
                    <a:pos x="T2" y="T3"/>
                  </a:cxn>
                  <a:cxn ang="0">
                    <a:pos x="T4" y="T5"/>
                  </a:cxn>
                  <a:cxn ang="0">
                    <a:pos x="T6" y="T7"/>
                  </a:cxn>
                  <a:cxn ang="0">
                    <a:pos x="T8" y="T9"/>
                  </a:cxn>
                  <a:cxn ang="0">
                    <a:pos x="T10" y="T11"/>
                  </a:cxn>
                </a:cxnLst>
                <a:rect l="0" t="0" r="r" b="b"/>
                <a:pathLst>
                  <a:path w="1116" h="252">
                    <a:moveTo>
                      <a:pt x="511" y="252"/>
                    </a:moveTo>
                    <a:lnTo>
                      <a:pt x="433" y="239"/>
                    </a:lnTo>
                    <a:lnTo>
                      <a:pt x="0" y="169"/>
                    </a:lnTo>
                    <a:lnTo>
                      <a:pt x="0" y="81"/>
                    </a:lnTo>
                    <a:lnTo>
                      <a:pt x="1116" y="0"/>
                    </a:lnTo>
                    <a:lnTo>
                      <a:pt x="511" y="25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1" name="Freeform 309"/>
              <p:cNvSpPr>
                <a:spLocks/>
              </p:cNvSpPr>
              <p:nvPr/>
            </p:nvSpPr>
            <p:spPr bwMode="auto">
              <a:xfrm>
                <a:off x="-12625388" y="-4110038"/>
                <a:ext cx="1771650" cy="698500"/>
              </a:xfrm>
              <a:custGeom>
                <a:avLst/>
                <a:gdLst>
                  <a:gd name="T0" fmla="*/ 0 w 1116"/>
                  <a:gd name="T1" fmla="*/ 440 h 440"/>
                  <a:gd name="T2" fmla="*/ 0 w 1116"/>
                  <a:gd name="T3" fmla="*/ 25 h 440"/>
                  <a:gd name="T4" fmla="*/ 22 w 1116"/>
                  <a:gd name="T5" fmla="*/ 0 h 440"/>
                  <a:gd name="T6" fmla="*/ 908 w 1116"/>
                  <a:gd name="T7" fmla="*/ 0 h 440"/>
                  <a:gd name="T8" fmla="*/ 1116 w 1116"/>
                  <a:gd name="T9" fmla="*/ 359 h 440"/>
                  <a:gd name="T10" fmla="*/ 1116 w 1116"/>
                  <a:gd name="T11" fmla="*/ 359 h 440"/>
                  <a:gd name="T12" fmla="*/ 1116 w 1116"/>
                  <a:gd name="T13" fmla="*/ 359 h 440"/>
                  <a:gd name="T14" fmla="*/ 0 w 1116"/>
                  <a:gd name="T15" fmla="*/ 440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6" h="440">
                    <a:moveTo>
                      <a:pt x="0" y="440"/>
                    </a:moveTo>
                    <a:lnTo>
                      <a:pt x="0" y="25"/>
                    </a:lnTo>
                    <a:lnTo>
                      <a:pt x="22" y="0"/>
                    </a:lnTo>
                    <a:lnTo>
                      <a:pt x="908" y="0"/>
                    </a:lnTo>
                    <a:lnTo>
                      <a:pt x="1116" y="359"/>
                    </a:lnTo>
                    <a:lnTo>
                      <a:pt x="1116" y="359"/>
                    </a:lnTo>
                    <a:lnTo>
                      <a:pt x="1116" y="359"/>
                    </a:lnTo>
                    <a:lnTo>
                      <a:pt x="0" y="440"/>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3" name="Freeform 310"/>
              <p:cNvSpPr>
                <a:spLocks noEditPoints="1"/>
              </p:cNvSpPr>
              <p:nvPr/>
            </p:nvSpPr>
            <p:spPr bwMode="auto">
              <a:xfrm>
                <a:off x="-10853738" y="-4110038"/>
                <a:ext cx="1795463" cy="569913"/>
              </a:xfrm>
              <a:custGeom>
                <a:avLst/>
                <a:gdLst>
                  <a:gd name="T0" fmla="*/ 2357 w 2357"/>
                  <a:gd name="T1" fmla="*/ 748 h 748"/>
                  <a:gd name="T2" fmla="*/ 0 w 2357"/>
                  <a:gd name="T3" fmla="*/ 748 h 748"/>
                  <a:gd name="T4" fmla="*/ 432 w 2357"/>
                  <a:gd name="T5" fmla="*/ 0 h 748"/>
                  <a:gd name="T6" fmla="*/ 1925 w 2357"/>
                  <a:gd name="T7" fmla="*/ 0 h 748"/>
                  <a:gd name="T8" fmla="*/ 2357 w 2357"/>
                  <a:gd name="T9" fmla="*/ 748 h 748"/>
                  <a:gd name="T10" fmla="*/ 0 w 2357"/>
                  <a:gd name="T11" fmla="*/ 748 h 748"/>
                  <a:gd name="T12" fmla="*/ 0 w 2357"/>
                  <a:gd name="T13" fmla="*/ 748 h 748"/>
                  <a:gd name="T14" fmla="*/ 0 w 2357"/>
                  <a:gd name="T15" fmla="*/ 748 h 748"/>
                  <a:gd name="T16" fmla="*/ 0 w 2357"/>
                  <a:gd name="T17" fmla="*/ 748 h 748"/>
                  <a:gd name="T18" fmla="*/ 0 w 2357"/>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7" h="748">
                    <a:moveTo>
                      <a:pt x="2357" y="748"/>
                    </a:moveTo>
                    <a:lnTo>
                      <a:pt x="0" y="748"/>
                    </a:lnTo>
                    <a:lnTo>
                      <a:pt x="432" y="0"/>
                    </a:lnTo>
                    <a:lnTo>
                      <a:pt x="1925" y="0"/>
                    </a:lnTo>
                    <a:lnTo>
                      <a:pt x="2357" y="748"/>
                    </a:lnTo>
                    <a:moveTo>
                      <a:pt x="0" y="748"/>
                    </a:moveTo>
                    <a:lnTo>
                      <a:pt x="0" y="748"/>
                    </a:lnTo>
                    <a:lnTo>
                      <a:pt x="0" y="748"/>
                    </a:lnTo>
                    <a:lnTo>
                      <a:pt x="0" y="748"/>
                    </a:lnTo>
                    <a:lnTo>
                      <a:pt x="0"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4" name="Freeform 311"/>
              <p:cNvSpPr>
                <a:spLocks/>
              </p:cNvSpPr>
              <p:nvPr/>
            </p:nvSpPr>
            <p:spPr bwMode="auto">
              <a:xfrm>
                <a:off x="-9386888" y="-4110038"/>
                <a:ext cx="865188" cy="569913"/>
              </a:xfrm>
              <a:custGeom>
                <a:avLst/>
                <a:gdLst>
                  <a:gd name="T0" fmla="*/ 207 w 545"/>
                  <a:gd name="T1" fmla="*/ 359 h 359"/>
                  <a:gd name="T2" fmla="*/ 0 w 545"/>
                  <a:gd name="T3" fmla="*/ 0 h 359"/>
                  <a:gd name="T4" fmla="*/ 545 w 545"/>
                  <a:gd name="T5" fmla="*/ 0 h 359"/>
                  <a:gd name="T6" fmla="*/ 207 w 545"/>
                  <a:gd name="T7" fmla="*/ 359 h 359"/>
                </a:gdLst>
                <a:ahLst/>
                <a:cxnLst>
                  <a:cxn ang="0">
                    <a:pos x="T0" y="T1"/>
                  </a:cxn>
                  <a:cxn ang="0">
                    <a:pos x="T2" y="T3"/>
                  </a:cxn>
                  <a:cxn ang="0">
                    <a:pos x="T4" y="T5"/>
                  </a:cxn>
                  <a:cxn ang="0">
                    <a:pos x="T6" y="T7"/>
                  </a:cxn>
                </a:cxnLst>
                <a:rect l="0" t="0" r="r" b="b"/>
                <a:pathLst>
                  <a:path w="545" h="359">
                    <a:moveTo>
                      <a:pt x="207" y="359"/>
                    </a:moveTo>
                    <a:lnTo>
                      <a:pt x="0" y="0"/>
                    </a:lnTo>
                    <a:lnTo>
                      <a:pt x="545" y="0"/>
                    </a:lnTo>
                    <a:lnTo>
                      <a:pt x="207"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5" name="Freeform 312"/>
              <p:cNvSpPr>
                <a:spLocks/>
              </p:cNvSpPr>
              <p:nvPr/>
            </p:nvSpPr>
            <p:spPr bwMode="auto">
              <a:xfrm>
                <a:off x="-11183938" y="-4110038"/>
                <a:ext cx="658813" cy="569913"/>
              </a:xfrm>
              <a:custGeom>
                <a:avLst/>
                <a:gdLst>
                  <a:gd name="T0" fmla="*/ 208 w 415"/>
                  <a:gd name="T1" fmla="*/ 359 h 359"/>
                  <a:gd name="T2" fmla="*/ 0 w 415"/>
                  <a:gd name="T3" fmla="*/ 0 h 359"/>
                  <a:gd name="T4" fmla="*/ 415 w 415"/>
                  <a:gd name="T5" fmla="*/ 0 h 359"/>
                  <a:gd name="T6" fmla="*/ 208 w 415"/>
                  <a:gd name="T7" fmla="*/ 359 h 359"/>
                </a:gdLst>
                <a:ahLst/>
                <a:cxnLst>
                  <a:cxn ang="0">
                    <a:pos x="T0" y="T1"/>
                  </a:cxn>
                  <a:cxn ang="0">
                    <a:pos x="T2" y="T3"/>
                  </a:cxn>
                  <a:cxn ang="0">
                    <a:pos x="T4" y="T5"/>
                  </a:cxn>
                  <a:cxn ang="0">
                    <a:pos x="T6" y="T7"/>
                  </a:cxn>
                </a:cxnLst>
                <a:rect l="0" t="0" r="r" b="b"/>
                <a:pathLst>
                  <a:path w="415" h="359">
                    <a:moveTo>
                      <a:pt x="208" y="359"/>
                    </a:moveTo>
                    <a:lnTo>
                      <a:pt x="0" y="0"/>
                    </a:lnTo>
                    <a:lnTo>
                      <a:pt x="415" y="0"/>
                    </a:lnTo>
                    <a:lnTo>
                      <a:pt x="208"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6" name="Freeform 313"/>
              <p:cNvSpPr>
                <a:spLocks/>
              </p:cNvSpPr>
              <p:nvPr/>
            </p:nvSpPr>
            <p:spPr bwMode="auto">
              <a:xfrm>
                <a:off x="-10853738" y="-4110038"/>
                <a:ext cx="328613" cy="569913"/>
              </a:xfrm>
              <a:custGeom>
                <a:avLst/>
                <a:gdLst>
                  <a:gd name="T0" fmla="*/ 0 w 207"/>
                  <a:gd name="T1" fmla="*/ 359 h 359"/>
                  <a:gd name="T2" fmla="*/ 0 w 207"/>
                  <a:gd name="T3" fmla="*/ 359 h 359"/>
                  <a:gd name="T4" fmla="*/ 0 w 207"/>
                  <a:gd name="T5" fmla="*/ 359 h 359"/>
                  <a:gd name="T6" fmla="*/ 207 w 207"/>
                  <a:gd name="T7" fmla="*/ 0 h 359"/>
                  <a:gd name="T8" fmla="*/ 207 w 207"/>
                  <a:gd name="T9" fmla="*/ 0 h 359"/>
                  <a:gd name="T10" fmla="*/ 0 w 207"/>
                  <a:gd name="T11" fmla="*/ 359 h 359"/>
                </a:gdLst>
                <a:ahLst/>
                <a:cxnLst>
                  <a:cxn ang="0">
                    <a:pos x="T0" y="T1"/>
                  </a:cxn>
                  <a:cxn ang="0">
                    <a:pos x="T2" y="T3"/>
                  </a:cxn>
                  <a:cxn ang="0">
                    <a:pos x="T4" y="T5"/>
                  </a:cxn>
                  <a:cxn ang="0">
                    <a:pos x="T6" y="T7"/>
                  </a:cxn>
                  <a:cxn ang="0">
                    <a:pos x="T8" y="T9"/>
                  </a:cxn>
                  <a:cxn ang="0">
                    <a:pos x="T10" y="T11"/>
                  </a:cxn>
                </a:cxnLst>
                <a:rect l="0" t="0" r="r" b="b"/>
                <a:pathLst>
                  <a:path w="207" h="359">
                    <a:moveTo>
                      <a:pt x="0" y="359"/>
                    </a:moveTo>
                    <a:lnTo>
                      <a:pt x="0" y="359"/>
                    </a:lnTo>
                    <a:lnTo>
                      <a:pt x="0" y="359"/>
                    </a:lnTo>
                    <a:lnTo>
                      <a:pt x="207" y="0"/>
                    </a:lnTo>
                    <a:lnTo>
                      <a:pt x="207"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69" name="Freeform 314"/>
              <p:cNvSpPr>
                <a:spLocks noEditPoints="1"/>
              </p:cNvSpPr>
              <p:nvPr/>
            </p:nvSpPr>
            <p:spPr bwMode="auto">
              <a:xfrm>
                <a:off x="-12533313" y="-1143001"/>
                <a:ext cx="781050" cy="2268538"/>
              </a:xfrm>
              <a:custGeom>
                <a:avLst/>
                <a:gdLst>
                  <a:gd name="T0" fmla="*/ 1025 w 1025"/>
                  <a:gd name="T1" fmla="*/ 2978 h 2978"/>
                  <a:gd name="T2" fmla="*/ 150 w 1025"/>
                  <a:gd name="T3" fmla="*/ 437 h 2978"/>
                  <a:gd name="T4" fmla="*/ 1025 w 1025"/>
                  <a:gd name="T5" fmla="*/ 2978 h 2978"/>
                  <a:gd name="T6" fmla="*/ 0 w 1025"/>
                  <a:gd name="T7" fmla="*/ 0 h 2978"/>
                  <a:gd name="T8" fmla="*/ 0 w 1025"/>
                  <a:gd name="T9" fmla="*/ 0 h 2978"/>
                </a:gdLst>
                <a:ahLst/>
                <a:cxnLst>
                  <a:cxn ang="0">
                    <a:pos x="T0" y="T1"/>
                  </a:cxn>
                  <a:cxn ang="0">
                    <a:pos x="T2" y="T3"/>
                  </a:cxn>
                  <a:cxn ang="0">
                    <a:pos x="T4" y="T5"/>
                  </a:cxn>
                  <a:cxn ang="0">
                    <a:pos x="T6" y="T7"/>
                  </a:cxn>
                  <a:cxn ang="0">
                    <a:pos x="T8" y="T9"/>
                  </a:cxn>
                </a:cxnLst>
                <a:rect l="0" t="0" r="r" b="b"/>
                <a:pathLst>
                  <a:path w="1025" h="2978">
                    <a:moveTo>
                      <a:pt x="1025" y="2978"/>
                    </a:moveTo>
                    <a:lnTo>
                      <a:pt x="150" y="437"/>
                    </a:lnTo>
                    <a:lnTo>
                      <a:pt x="1025" y="2978"/>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72" name="Freeform 315"/>
              <p:cNvSpPr>
                <a:spLocks/>
              </p:cNvSpPr>
              <p:nvPr/>
            </p:nvSpPr>
            <p:spPr bwMode="auto">
              <a:xfrm>
                <a:off x="-12625388" y="-3140076"/>
                <a:ext cx="811213" cy="1997075"/>
              </a:xfrm>
              <a:custGeom>
                <a:avLst/>
                <a:gdLst>
                  <a:gd name="T0" fmla="*/ 58 w 511"/>
                  <a:gd name="T1" fmla="*/ 1258 h 1258"/>
                  <a:gd name="T2" fmla="*/ 0 w 511"/>
                  <a:gd name="T3" fmla="*/ 1211 h 1258"/>
                  <a:gd name="T4" fmla="*/ 0 w 511"/>
                  <a:gd name="T5" fmla="*/ 340 h 1258"/>
                  <a:gd name="T6" fmla="*/ 511 w 511"/>
                  <a:gd name="T7" fmla="*/ 0 h 1258"/>
                  <a:gd name="T8" fmla="*/ 58 w 511"/>
                  <a:gd name="T9" fmla="*/ 1258 h 1258"/>
                </a:gdLst>
                <a:ahLst/>
                <a:cxnLst>
                  <a:cxn ang="0">
                    <a:pos x="T0" y="T1"/>
                  </a:cxn>
                  <a:cxn ang="0">
                    <a:pos x="T2" y="T3"/>
                  </a:cxn>
                  <a:cxn ang="0">
                    <a:pos x="T4" y="T5"/>
                  </a:cxn>
                  <a:cxn ang="0">
                    <a:pos x="T6" y="T7"/>
                  </a:cxn>
                  <a:cxn ang="0">
                    <a:pos x="T8" y="T9"/>
                  </a:cxn>
                </a:cxnLst>
                <a:rect l="0" t="0" r="r" b="b"/>
                <a:pathLst>
                  <a:path w="511" h="1258">
                    <a:moveTo>
                      <a:pt x="58" y="1258"/>
                    </a:moveTo>
                    <a:lnTo>
                      <a:pt x="0" y="1211"/>
                    </a:lnTo>
                    <a:lnTo>
                      <a:pt x="0" y="340"/>
                    </a:lnTo>
                    <a:lnTo>
                      <a:pt x="511" y="0"/>
                    </a:lnTo>
                    <a:lnTo>
                      <a:pt x="58" y="1258"/>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75" name="Line 316"/>
              <p:cNvSpPr>
                <a:spLocks noChangeShapeType="1"/>
              </p:cNvSpPr>
              <p:nvPr/>
            </p:nvSpPr>
            <p:spPr bwMode="auto">
              <a:xfrm>
                <a:off x="-12533313" y="-1143001"/>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78" name="Freeform 317"/>
              <p:cNvSpPr>
                <a:spLocks noEditPoints="1"/>
              </p:cNvSpPr>
              <p:nvPr/>
            </p:nvSpPr>
            <p:spPr bwMode="auto">
              <a:xfrm>
                <a:off x="-12533313" y="-1143001"/>
                <a:ext cx="1679575" cy="2268538"/>
              </a:xfrm>
              <a:custGeom>
                <a:avLst/>
                <a:gdLst>
                  <a:gd name="T0" fmla="*/ 1025 w 2204"/>
                  <a:gd name="T1" fmla="*/ 2978 h 2978"/>
                  <a:gd name="T2" fmla="*/ 150 w 2204"/>
                  <a:gd name="T3" fmla="*/ 437 h 2978"/>
                  <a:gd name="T4" fmla="*/ 0 w 2204"/>
                  <a:gd name="T5" fmla="*/ 0 h 2978"/>
                  <a:gd name="T6" fmla="*/ 2204 w 2204"/>
                  <a:gd name="T7" fmla="*/ 937 h 2978"/>
                  <a:gd name="T8" fmla="*/ 2204 w 2204"/>
                  <a:gd name="T9" fmla="*/ 937 h 2978"/>
                  <a:gd name="T10" fmla="*/ 2204 w 2204"/>
                  <a:gd name="T11" fmla="*/ 937 h 2978"/>
                  <a:gd name="T12" fmla="*/ 2204 w 2204"/>
                  <a:gd name="T13" fmla="*/ 937 h 2978"/>
                  <a:gd name="T14" fmla="*/ 2204 w 2204"/>
                  <a:gd name="T15" fmla="*/ 937 h 2978"/>
                  <a:gd name="T16" fmla="*/ 1968 w 2204"/>
                  <a:gd name="T17" fmla="*/ 1345 h 2978"/>
                  <a:gd name="T18" fmla="*/ 1025 w 2204"/>
                  <a:gd name="T19" fmla="*/ 2978 h 2978"/>
                  <a:gd name="T20" fmla="*/ 150 w 2204"/>
                  <a:gd name="T21" fmla="*/ 437 h 2978"/>
                  <a:gd name="T22" fmla="*/ 0 w 2204"/>
                  <a:gd name="T23" fmla="*/ 0 h 2978"/>
                  <a:gd name="T24" fmla="*/ 150 w 2204"/>
                  <a:gd name="T25" fmla="*/ 437 h 2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4" h="2978">
                    <a:moveTo>
                      <a:pt x="1025" y="2978"/>
                    </a:moveTo>
                    <a:lnTo>
                      <a:pt x="150" y="437"/>
                    </a:lnTo>
                    <a:lnTo>
                      <a:pt x="0" y="0"/>
                    </a:lnTo>
                    <a:lnTo>
                      <a:pt x="2204" y="937"/>
                    </a:lnTo>
                    <a:lnTo>
                      <a:pt x="2204" y="937"/>
                    </a:lnTo>
                    <a:lnTo>
                      <a:pt x="2204" y="937"/>
                    </a:lnTo>
                    <a:lnTo>
                      <a:pt x="2204" y="937"/>
                    </a:lnTo>
                    <a:lnTo>
                      <a:pt x="2204" y="937"/>
                    </a:lnTo>
                    <a:lnTo>
                      <a:pt x="1968" y="1345"/>
                    </a:lnTo>
                    <a:lnTo>
                      <a:pt x="1025" y="2978"/>
                    </a:lnTo>
                    <a:moveTo>
                      <a:pt x="150" y="437"/>
                    </a:moveTo>
                    <a:lnTo>
                      <a:pt x="0" y="0"/>
                    </a:lnTo>
                    <a:lnTo>
                      <a:pt x="150" y="437"/>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81" name="Freeform 318"/>
              <p:cNvSpPr>
                <a:spLocks/>
              </p:cNvSpPr>
              <p:nvPr/>
            </p:nvSpPr>
            <p:spPr bwMode="auto">
              <a:xfrm>
                <a:off x="-12533313" y="-1143001"/>
                <a:ext cx="114300" cy="333375"/>
              </a:xfrm>
              <a:custGeom>
                <a:avLst/>
                <a:gdLst>
                  <a:gd name="T0" fmla="*/ 72 w 72"/>
                  <a:gd name="T1" fmla="*/ 210 h 210"/>
                  <a:gd name="T2" fmla="*/ 72 w 72"/>
                  <a:gd name="T3" fmla="*/ 210 h 210"/>
                  <a:gd name="T4" fmla="*/ 0 w 72"/>
                  <a:gd name="T5" fmla="*/ 0 h 210"/>
                  <a:gd name="T6" fmla="*/ 0 w 72"/>
                  <a:gd name="T7" fmla="*/ 0 h 210"/>
                  <a:gd name="T8" fmla="*/ 72 w 72"/>
                  <a:gd name="T9" fmla="*/ 210 h 210"/>
                </a:gdLst>
                <a:ahLst/>
                <a:cxnLst>
                  <a:cxn ang="0">
                    <a:pos x="T0" y="T1"/>
                  </a:cxn>
                  <a:cxn ang="0">
                    <a:pos x="T2" y="T3"/>
                  </a:cxn>
                  <a:cxn ang="0">
                    <a:pos x="T4" y="T5"/>
                  </a:cxn>
                  <a:cxn ang="0">
                    <a:pos x="T6" y="T7"/>
                  </a:cxn>
                  <a:cxn ang="0">
                    <a:pos x="T8" y="T9"/>
                  </a:cxn>
                </a:cxnLst>
                <a:rect l="0" t="0" r="r" b="b"/>
                <a:pathLst>
                  <a:path w="72" h="210">
                    <a:moveTo>
                      <a:pt x="72" y="210"/>
                    </a:moveTo>
                    <a:lnTo>
                      <a:pt x="72" y="210"/>
                    </a:lnTo>
                    <a:lnTo>
                      <a:pt x="0" y="0"/>
                    </a:lnTo>
                    <a:lnTo>
                      <a:pt x="0" y="0"/>
                    </a:lnTo>
                    <a:lnTo>
                      <a:pt x="72" y="210"/>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84" name="Freeform 319"/>
              <p:cNvSpPr>
                <a:spLocks/>
              </p:cNvSpPr>
              <p:nvPr/>
            </p:nvSpPr>
            <p:spPr bwMode="auto">
              <a:xfrm>
                <a:off x="-12625388" y="-1217613"/>
                <a:ext cx="92075" cy="74613"/>
              </a:xfrm>
              <a:custGeom>
                <a:avLst/>
                <a:gdLst>
                  <a:gd name="T0" fmla="*/ 58 w 58"/>
                  <a:gd name="T1" fmla="*/ 47 h 47"/>
                  <a:gd name="T2" fmla="*/ 0 w 58"/>
                  <a:gd name="T3" fmla="*/ 0 h 47"/>
                  <a:gd name="T4" fmla="*/ 58 w 58"/>
                  <a:gd name="T5" fmla="*/ 47 h 47"/>
                </a:gdLst>
                <a:ahLst/>
                <a:cxnLst>
                  <a:cxn ang="0">
                    <a:pos x="T0" y="T1"/>
                  </a:cxn>
                  <a:cxn ang="0">
                    <a:pos x="T2" y="T3"/>
                  </a:cxn>
                  <a:cxn ang="0">
                    <a:pos x="T4" y="T5"/>
                  </a:cxn>
                </a:cxnLst>
                <a:rect l="0" t="0" r="r" b="b"/>
                <a:pathLst>
                  <a:path w="58" h="47">
                    <a:moveTo>
                      <a:pt x="58" y="47"/>
                    </a:moveTo>
                    <a:lnTo>
                      <a:pt x="0" y="0"/>
                    </a:lnTo>
                    <a:lnTo>
                      <a:pt x="58" y="4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3" name="Freeform 320"/>
              <p:cNvSpPr>
                <a:spLocks noEditPoints="1"/>
              </p:cNvSpPr>
              <p:nvPr/>
            </p:nvSpPr>
            <p:spPr bwMode="auto">
              <a:xfrm>
                <a:off x="-12533313" y="-3140076"/>
                <a:ext cx="1679575" cy="2711450"/>
              </a:xfrm>
              <a:custGeom>
                <a:avLst/>
                <a:gdLst>
                  <a:gd name="T0" fmla="*/ 2204 w 2204"/>
                  <a:gd name="T1" fmla="*/ 3558 h 3558"/>
                  <a:gd name="T2" fmla="*/ 0 w 2204"/>
                  <a:gd name="T3" fmla="*/ 2621 h 3558"/>
                  <a:gd name="T4" fmla="*/ 945 w 2204"/>
                  <a:gd name="T5" fmla="*/ 0 h 3558"/>
                  <a:gd name="T6" fmla="*/ 945 w 2204"/>
                  <a:gd name="T7" fmla="*/ 0 h 3558"/>
                  <a:gd name="T8" fmla="*/ 945 w 2204"/>
                  <a:gd name="T9" fmla="*/ 0 h 3558"/>
                  <a:gd name="T10" fmla="*/ 1285 w 2204"/>
                  <a:gd name="T11" fmla="*/ 960 h 3558"/>
                  <a:gd name="T12" fmla="*/ 2204 w 2204"/>
                  <a:gd name="T13" fmla="*/ 3558 h 3558"/>
                  <a:gd name="T14" fmla="*/ 2204 w 2204"/>
                  <a:gd name="T15" fmla="*/ 3558 h 3558"/>
                  <a:gd name="T16" fmla="*/ 2204 w 2204"/>
                  <a:gd name="T17" fmla="*/ 3558 h 3558"/>
                  <a:gd name="T18" fmla="*/ 2204 w 2204"/>
                  <a:gd name="T19" fmla="*/ 3558 h 3558"/>
                  <a:gd name="T20" fmla="*/ 945 w 2204"/>
                  <a:gd name="T21" fmla="*/ 0 h 3558"/>
                  <a:gd name="T22" fmla="*/ 945 w 2204"/>
                  <a:gd name="T23" fmla="*/ 0 h 3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4" h="3558">
                    <a:moveTo>
                      <a:pt x="2204" y="3558"/>
                    </a:moveTo>
                    <a:lnTo>
                      <a:pt x="0" y="2621"/>
                    </a:lnTo>
                    <a:lnTo>
                      <a:pt x="945" y="0"/>
                    </a:lnTo>
                    <a:lnTo>
                      <a:pt x="945" y="0"/>
                    </a:lnTo>
                    <a:lnTo>
                      <a:pt x="945" y="0"/>
                    </a:lnTo>
                    <a:lnTo>
                      <a:pt x="1285" y="960"/>
                    </a:lnTo>
                    <a:lnTo>
                      <a:pt x="2204" y="3558"/>
                    </a:lnTo>
                    <a:lnTo>
                      <a:pt x="2204" y="3558"/>
                    </a:lnTo>
                    <a:lnTo>
                      <a:pt x="2204" y="3558"/>
                    </a:lnTo>
                    <a:lnTo>
                      <a:pt x="2204" y="3558"/>
                    </a:lnTo>
                    <a:moveTo>
                      <a:pt x="945" y="0"/>
                    </a:moveTo>
                    <a:lnTo>
                      <a:pt x="945" y="0"/>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95" name="Rectangle 321"/>
              <p:cNvSpPr>
                <a:spLocks noChangeArrowheads="1"/>
              </p:cNvSpPr>
              <p:nvPr/>
            </p:nvSpPr>
            <p:spPr bwMode="auto">
              <a:xfrm>
                <a:off x="-10853738" y="-428626"/>
                <a:ext cx="1588" cy="1588"/>
              </a:xfrm>
              <a:prstGeom prst="rect">
                <a:avLst/>
              </a:prstGeom>
              <a:solidFill>
                <a:srgbClr val="518DB3"/>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01" name="Freeform 322"/>
              <p:cNvSpPr>
                <a:spLocks/>
              </p:cNvSpPr>
              <p:nvPr/>
            </p:nvSpPr>
            <p:spPr bwMode="auto">
              <a:xfrm>
                <a:off x="-10853738" y="-1984376"/>
                <a:ext cx="1397000" cy="1555750"/>
              </a:xfrm>
              <a:custGeom>
                <a:avLst/>
                <a:gdLst>
                  <a:gd name="T0" fmla="*/ 0 w 880"/>
                  <a:gd name="T1" fmla="*/ 980 h 980"/>
                  <a:gd name="T2" fmla="*/ 565 w 880"/>
                  <a:gd name="T3" fmla="*/ 0 h 980"/>
                  <a:gd name="T4" fmla="*/ 880 w 880"/>
                  <a:gd name="T5" fmla="*/ 633 h 980"/>
                  <a:gd name="T6" fmla="*/ 0 w 880"/>
                  <a:gd name="T7" fmla="*/ 980 h 980"/>
                </a:gdLst>
                <a:ahLst/>
                <a:cxnLst>
                  <a:cxn ang="0">
                    <a:pos x="T0" y="T1"/>
                  </a:cxn>
                  <a:cxn ang="0">
                    <a:pos x="T2" y="T3"/>
                  </a:cxn>
                  <a:cxn ang="0">
                    <a:pos x="T4" y="T5"/>
                  </a:cxn>
                  <a:cxn ang="0">
                    <a:pos x="T6" y="T7"/>
                  </a:cxn>
                </a:cxnLst>
                <a:rect l="0" t="0" r="r" b="b"/>
                <a:pathLst>
                  <a:path w="880" h="980">
                    <a:moveTo>
                      <a:pt x="0" y="980"/>
                    </a:moveTo>
                    <a:lnTo>
                      <a:pt x="565" y="0"/>
                    </a:lnTo>
                    <a:lnTo>
                      <a:pt x="880" y="633"/>
                    </a:lnTo>
                    <a:lnTo>
                      <a:pt x="0"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02" name="Freeform 323"/>
              <p:cNvSpPr>
                <a:spLocks/>
              </p:cNvSpPr>
              <p:nvPr/>
            </p:nvSpPr>
            <p:spPr bwMode="auto">
              <a:xfrm>
                <a:off x="-10853738" y="-3540126"/>
                <a:ext cx="1795463" cy="1555750"/>
              </a:xfrm>
              <a:custGeom>
                <a:avLst/>
                <a:gdLst>
                  <a:gd name="T0" fmla="*/ 565 w 1131"/>
                  <a:gd name="T1" fmla="*/ 980 h 980"/>
                  <a:gd name="T2" fmla="*/ 565 w 1131"/>
                  <a:gd name="T3" fmla="*/ 980 h 980"/>
                  <a:gd name="T4" fmla="*/ 0 w 1131"/>
                  <a:gd name="T5" fmla="*/ 0 h 980"/>
                  <a:gd name="T6" fmla="*/ 1131 w 1131"/>
                  <a:gd name="T7" fmla="*/ 0 h 980"/>
                  <a:gd name="T8" fmla="*/ 565 w 1131"/>
                  <a:gd name="T9" fmla="*/ 980 h 980"/>
                </a:gdLst>
                <a:ahLst/>
                <a:cxnLst>
                  <a:cxn ang="0">
                    <a:pos x="T0" y="T1"/>
                  </a:cxn>
                  <a:cxn ang="0">
                    <a:pos x="T2" y="T3"/>
                  </a:cxn>
                  <a:cxn ang="0">
                    <a:pos x="T4" y="T5"/>
                  </a:cxn>
                  <a:cxn ang="0">
                    <a:pos x="T6" y="T7"/>
                  </a:cxn>
                  <a:cxn ang="0">
                    <a:pos x="T8" y="T9"/>
                  </a:cxn>
                </a:cxnLst>
                <a:rect l="0" t="0" r="r" b="b"/>
                <a:pathLst>
                  <a:path w="1131" h="980">
                    <a:moveTo>
                      <a:pt x="565" y="980"/>
                    </a:moveTo>
                    <a:lnTo>
                      <a:pt x="565" y="980"/>
                    </a:lnTo>
                    <a:lnTo>
                      <a:pt x="0" y="0"/>
                    </a:lnTo>
                    <a:lnTo>
                      <a:pt x="1131" y="0"/>
                    </a:lnTo>
                    <a:lnTo>
                      <a:pt x="565"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03" name="Freeform 324"/>
              <p:cNvSpPr>
                <a:spLocks/>
              </p:cNvSpPr>
              <p:nvPr/>
            </p:nvSpPr>
            <p:spPr bwMode="auto">
              <a:xfrm>
                <a:off x="-9956800" y="-1984376"/>
                <a:ext cx="1797050" cy="1004888"/>
              </a:xfrm>
              <a:custGeom>
                <a:avLst/>
                <a:gdLst>
                  <a:gd name="T0" fmla="*/ 315 w 1132"/>
                  <a:gd name="T1" fmla="*/ 633 h 633"/>
                  <a:gd name="T2" fmla="*/ 315 w 1132"/>
                  <a:gd name="T3" fmla="*/ 633 h 633"/>
                  <a:gd name="T4" fmla="*/ 0 w 1132"/>
                  <a:gd name="T5" fmla="*/ 0 h 633"/>
                  <a:gd name="T6" fmla="*/ 0 w 1132"/>
                  <a:gd name="T7" fmla="*/ 0 h 633"/>
                  <a:gd name="T8" fmla="*/ 1132 w 1132"/>
                  <a:gd name="T9" fmla="*/ 0 h 633"/>
                  <a:gd name="T10" fmla="*/ 529 w 1132"/>
                  <a:gd name="T11" fmla="*/ 468 h 633"/>
                  <a:gd name="T12" fmla="*/ 315 w 1132"/>
                  <a:gd name="T13" fmla="*/ 633 h 633"/>
                  <a:gd name="T14" fmla="*/ 315 w 1132"/>
                  <a:gd name="T15" fmla="*/ 633 h 633"/>
                  <a:gd name="T16" fmla="*/ 315 w 1132"/>
                  <a:gd name="T17" fmla="*/ 633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2" h="633">
                    <a:moveTo>
                      <a:pt x="315" y="633"/>
                    </a:moveTo>
                    <a:lnTo>
                      <a:pt x="315" y="633"/>
                    </a:lnTo>
                    <a:lnTo>
                      <a:pt x="0" y="0"/>
                    </a:lnTo>
                    <a:lnTo>
                      <a:pt x="0" y="0"/>
                    </a:lnTo>
                    <a:lnTo>
                      <a:pt x="1132" y="0"/>
                    </a:lnTo>
                    <a:lnTo>
                      <a:pt x="529" y="468"/>
                    </a:lnTo>
                    <a:lnTo>
                      <a:pt x="315" y="633"/>
                    </a:lnTo>
                    <a:lnTo>
                      <a:pt x="315" y="633"/>
                    </a:lnTo>
                    <a:lnTo>
                      <a:pt x="315" y="633"/>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04" name="Freeform 325"/>
              <p:cNvSpPr>
                <a:spLocks/>
              </p:cNvSpPr>
              <p:nvPr/>
            </p:nvSpPr>
            <p:spPr bwMode="auto">
              <a:xfrm>
                <a:off x="-9956800" y="-1984376"/>
                <a:ext cx="500063" cy="1004888"/>
              </a:xfrm>
              <a:custGeom>
                <a:avLst/>
                <a:gdLst>
                  <a:gd name="T0" fmla="*/ 315 w 315"/>
                  <a:gd name="T1" fmla="*/ 633 h 633"/>
                  <a:gd name="T2" fmla="*/ 0 w 315"/>
                  <a:gd name="T3" fmla="*/ 0 h 633"/>
                  <a:gd name="T4" fmla="*/ 0 w 315"/>
                  <a:gd name="T5" fmla="*/ 0 h 633"/>
                  <a:gd name="T6" fmla="*/ 315 w 315"/>
                  <a:gd name="T7" fmla="*/ 633 h 633"/>
                </a:gdLst>
                <a:ahLst/>
                <a:cxnLst>
                  <a:cxn ang="0">
                    <a:pos x="T0" y="T1"/>
                  </a:cxn>
                  <a:cxn ang="0">
                    <a:pos x="T2" y="T3"/>
                  </a:cxn>
                  <a:cxn ang="0">
                    <a:pos x="T4" y="T5"/>
                  </a:cxn>
                  <a:cxn ang="0">
                    <a:pos x="T6" y="T7"/>
                  </a:cxn>
                </a:cxnLst>
                <a:rect l="0" t="0" r="r" b="b"/>
                <a:pathLst>
                  <a:path w="315" h="633">
                    <a:moveTo>
                      <a:pt x="315" y="633"/>
                    </a:moveTo>
                    <a:lnTo>
                      <a:pt x="0" y="0"/>
                    </a:lnTo>
                    <a:lnTo>
                      <a:pt x="0" y="0"/>
                    </a:lnTo>
                    <a:lnTo>
                      <a:pt x="315" y="63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05" name="Freeform 326"/>
              <p:cNvSpPr>
                <a:spLocks/>
              </p:cNvSpPr>
              <p:nvPr/>
            </p:nvSpPr>
            <p:spPr bwMode="auto">
              <a:xfrm>
                <a:off x="-11814175" y="-3540126"/>
                <a:ext cx="1857375" cy="1555750"/>
              </a:xfrm>
              <a:custGeom>
                <a:avLst/>
                <a:gdLst>
                  <a:gd name="T0" fmla="*/ 1170 w 1170"/>
                  <a:gd name="T1" fmla="*/ 980 h 980"/>
                  <a:gd name="T2" fmla="*/ 0 w 1170"/>
                  <a:gd name="T3" fmla="*/ 252 h 980"/>
                  <a:gd name="T4" fmla="*/ 605 w 1170"/>
                  <a:gd name="T5" fmla="*/ 0 h 980"/>
                  <a:gd name="T6" fmla="*/ 1170 w 1170"/>
                  <a:gd name="T7" fmla="*/ 980 h 980"/>
                </a:gdLst>
                <a:ahLst/>
                <a:cxnLst>
                  <a:cxn ang="0">
                    <a:pos x="T0" y="T1"/>
                  </a:cxn>
                  <a:cxn ang="0">
                    <a:pos x="T2" y="T3"/>
                  </a:cxn>
                  <a:cxn ang="0">
                    <a:pos x="T4" y="T5"/>
                  </a:cxn>
                  <a:cxn ang="0">
                    <a:pos x="T6" y="T7"/>
                  </a:cxn>
                </a:cxnLst>
                <a:rect l="0" t="0" r="r" b="b"/>
                <a:pathLst>
                  <a:path w="1170" h="980">
                    <a:moveTo>
                      <a:pt x="1170" y="980"/>
                    </a:moveTo>
                    <a:lnTo>
                      <a:pt x="0" y="252"/>
                    </a:lnTo>
                    <a:lnTo>
                      <a:pt x="605" y="0"/>
                    </a:lnTo>
                    <a:lnTo>
                      <a:pt x="1170"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06" name="Freeform 327"/>
              <p:cNvSpPr>
                <a:spLocks/>
              </p:cNvSpPr>
              <p:nvPr/>
            </p:nvSpPr>
            <p:spPr bwMode="auto">
              <a:xfrm>
                <a:off x="-9956800" y="-3540126"/>
                <a:ext cx="1797050" cy="1555750"/>
              </a:xfrm>
              <a:custGeom>
                <a:avLst/>
                <a:gdLst>
                  <a:gd name="T0" fmla="*/ 0 w 1132"/>
                  <a:gd name="T1" fmla="*/ 980 h 980"/>
                  <a:gd name="T2" fmla="*/ 0 w 1132"/>
                  <a:gd name="T3" fmla="*/ 980 h 980"/>
                  <a:gd name="T4" fmla="*/ 566 w 1132"/>
                  <a:gd name="T5" fmla="*/ 0 h 980"/>
                  <a:gd name="T6" fmla="*/ 1132 w 1132"/>
                  <a:gd name="T7" fmla="*/ 980 h 980"/>
                  <a:gd name="T8" fmla="*/ 1132 w 1132"/>
                  <a:gd name="T9" fmla="*/ 980 h 980"/>
                  <a:gd name="T10" fmla="*/ 1132 w 1132"/>
                  <a:gd name="T11" fmla="*/ 980 h 980"/>
                  <a:gd name="T12" fmla="*/ 1132 w 1132"/>
                  <a:gd name="T13" fmla="*/ 980 h 980"/>
                  <a:gd name="T14" fmla="*/ 0 w 1132"/>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980">
                    <a:moveTo>
                      <a:pt x="0" y="980"/>
                    </a:moveTo>
                    <a:lnTo>
                      <a:pt x="0" y="980"/>
                    </a:lnTo>
                    <a:lnTo>
                      <a:pt x="566" y="0"/>
                    </a:lnTo>
                    <a:lnTo>
                      <a:pt x="1132" y="980"/>
                    </a:lnTo>
                    <a:lnTo>
                      <a:pt x="1132" y="980"/>
                    </a:lnTo>
                    <a:lnTo>
                      <a:pt x="1132" y="980"/>
                    </a:lnTo>
                    <a:lnTo>
                      <a:pt x="1132" y="980"/>
                    </a:lnTo>
                    <a:lnTo>
                      <a:pt x="0" y="98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07" name="Freeform 328"/>
              <p:cNvSpPr>
                <a:spLocks/>
              </p:cNvSpPr>
              <p:nvPr/>
            </p:nvSpPr>
            <p:spPr bwMode="auto">
              <a:xfrm>
                <a:off x="-11814175" y="-3140076"/>
                <a:ext cx="1857375" cy="2711450"/>
              </a:xfrm>
              <a:custGeom>
                <a:avLst/>
                <a:gdLst>
                  <a:gd name="T0" fmla="*/ 605 w 1170"/>
                  <a:gd name="T1" fmla="*/ 1708 h 1708"/>
                  <a:gd name="T2" fmla="*/ 605 w 1170"/>
                  <a:gd name="T3" fmla="*/ 1708 h 1708"/>
                  <a:gd name="T4" fmla="*/ 605 w 1170"/>
                  <a:gd name="T5" fmla="*/ 1708 h 1708"/>
                  <a:gd name="T6" fmla="*/ 163 w 1170"/>
                  <a:gd name="T7" fmla="*/ 461 h 1708"/>
                  <a:gd name="T8" fmla="*/ 0 w 1170"/>
                  <a:gd name="T9" fmla="*/ 0 h 1708"/>
                  <a:gd name="T10" fmla="*/ 0 w 1170"/>
                  <a:gd name="T11" fmla="*/ 0 h 1708"/>
                  <a:gd name="T12" fmla="*/ 1170 w 1170"/>
                  <a:gd name="T13" fmla="*/ 728 h 1708"/>
                  <a:gd name="T14" fmla="*/ 1170 w 1170"/>
                  <a:gd name="T15" fmla="*/ 728 h 1708"/>
                  <a:gd name="T16" fmla="*/ 1170 w 1170"/>
                  <a:gd name="T17" fmla="*/ 728 h 1708"/>
                  <a:gd name="T18" fmla="*/ 1170 w 1170"/>
                  <a:gd name="T19" fmla="*/ 728 h 1708"/>
                  <a:gd name="T20" fmla="*/ 1170 w 1170"/>
                  <a:gd name="T21" fmla="*/ 728 h 1708"/>
                  <a:gd name="T22" fmla="*/ 1170 w 1170"/>
                  <a:gd name="T23" fmla="*/ 728 h 1708"/>
                  <a:gd name="T24" fmla="*/ 605 w 1170"/>
                  <a:gd name="T25" fmla="*/ 1708 h 1708"/>
                  <a:gd name="T26" fmla="*/ 605 w 1170"/>
                  <a:gd name="T27" fmla="*/ 1708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0" h="1708">
                    <a:moveTo>
                      <a:pt x="605" y="1708"/>
                    </a:moveTo>
                    <a:lnTo>
                      <a:pt x="605" y="1708"/>
                    </a:lnTo>
                    <a:lnTo>
                      <a:pt x="605" y="1708"/>
                    </a:lnTo>
                    <a:lnTo>
                      <a:pt x="163" y="461"/>
                    </a:lnTo>
                    <a:lnTo>
                      <a:pt x="0" y="0"/>
                    </a:lnTo>
                    <a:lnTo>
                      <a:pt x="0" y="0"/>
                    </a:lnTo>
                    <a:lnTo>
                      <a:pt x="1170" y="728"/>
                    </a:lnTo>
                    <a:lnTo>
                      <a:pt x="1170" y="728"/>
                    </a:lnTo>
                    <a:lnTo>
                      <a:pt x="1170" y="728"/>
                    </a:lnTo>
                    <a:lnTo>
                      <a:pt x="1170" y="728"/>
                    </a:lnTo>
                    <a:lnTo>
                      <a:pt x="1170" y="728"/>
                    </a:lnTo>
                    <a:lnTo>
                      <a:pt x="1170" y="728"/>
                    </a:lnTo>
                    <a:lnTo>
                      <a:pt x="605" y="1708"/>
                    </a:lnTo>
                    <a:lnTo>
                      <a:pt x="605" y="1708"/>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08" name="Freeform 329"/>
              <p:cNvSpPr>
                <a:spLocks/>
              </p:cNvSpPr>
              <p:nvPr/>
            </p:nvSpPr>
            <p:spPr bwMode="auto">
              <a:xfrm>
                <a:off x="-12625388" y="3949700"/>
                <a:ext cx="446088" cy="647700"/>
              </a:xfrm>
              <a:custGeom>
                <a:avLst/>
                <a:gdLst>
                  <a:gd name="T0" fmla="*/ 281 w 281"/>
                  <a:gd name="T1" fmla="*/ 408 h 408"/>
                  <a:gd name="T2" fmla="*/ 0 w 281"/>
                  <a:gd name="T3" fmla="*/ 334 h 408"/>
                  <a:gd name="T4" fmla="*/ 0 w 281"/>
                  <a:gd name="T5" fmla="*/ 0 h 408"/>
                  <a:gd name="T6" fmla="*/ 281 w 281"/>
                  <a:gd name="T7" fmla="*/ 408 h 408"/>
                </a:gdLst>
                <a:ahLst/>
                <a:cxnLst>
                  <a:cxn ang="0">
                    <a:pos x="T0" y="T1"/>
                  </a:cxn>
                  <a:cxn ang="0">
                    <a:pos x="T2" y="T3"/>
                  </a:cxn>
                  <a:cxn ang="0">
                    <a:pos x="T4" y="T5"/>
                  </a:cxn>
                  <a:cxn ang="0">
                    <a:pos x="T6" y="T7"/>
                  </a:cxn>
                </a:cxnLst>
                <a:rect l="0" t="0" r="r" b="b"/>
                <a:pathLst>
                  <a:path w="281" h="408">
                    <a:moveTo>
                      <a:pt x="281" y="408"/>
                    </a:moveTo>
                    <a:lnTo>
                      <a:pt x="0" y="334"/>
                    </a:lnTo>
                    <a:lnTo>
                      <a:pt x="0" y="0"/>
                    </a:lnTo>
                    <a:lnTo>
                      <a:pt x="281" y="408"/>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09" name="Freeform 330"/>
              <p:cNvSpPr>
                <a:spLocks/>
              </p:cNvSpPr>
              <p:nvPr/>
            </p:nvSpPr>
            <p:spPr bwMode="auto">
              <a:xfrm>
                <a:off x="-12625388" y="1152525"/>
                <a:ext cx="844550" cy="811213"/>
              </a:xfrm>
              <a:custGeom>
                <a:avLst/>
                <a:gdLst>
                  <a:gd name="T0" fmla="*/ 0 w 532"/>
                  <a:gd name="T1" fmla="*/ 511 h 511"/>
                  <a:gd name="T2" fmla="*/ 0 w 532"/>
                  <a:gd name="T3" fmla="*/ 511 h 511"/>
                  <a:gd name="T4" fmla="*/ 532 w 532"/>
                  <a:gd name="T5" fmla="*/ 0 h 511"/>
                  <a:gd name="T6" fmla="*/ 0 w 532"/>
                  <a:gd name="T7" fmla="*/ 511 h 511"/>
                </a:gdLst>
                <a:ahLst/>
                <a:cxnLst>
                  <a:cxn ang="0">
                    <a:pos x="T0" y="T1"/>
                  </a:cxn>
                  <a:cxn ang="0">
                    <a:pos x="T2" y="T3"/>
                  </a:cxn>
                  <a:cxn ang="0">
                    <a:pos x="T4" y="T5"/>
                  </a:cxn>
                  <a:cxn ang="0">
                    <a:pos x="T6" y="T7"/>
                  </a:cxn>
                </a:cxnLst>
                <a:rect l="0" t="0" r="r" b="b"/>
                <a:pathLst>
                  <a:path w="532" h="511">
                    <a:moveTo>
                      <a:pt x="0" y="511"/>
                    </a:moveTo>
                    <a:lnTo>
                      <a:pt x="0" y="511"/>
                    </a:lnTo>
                    <a:lnTo>
                      <a:pt x="532" y="0"/>
                    </a:lnTo>
                    <a:lnTo>
                      <a:pt x="0" y="51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0" name="Freeform 331"/>
              <p:cNvSpPr>
                <a:spLocks noEditPoints="1"/>
              </p:cNvSpPr>
              <p:nvPr/>
            </p:nvSpPr>
            <p:spPr bwMode="auto">
              <a:xfrm>
                <a:off x="-12625388" y="2682875"/>
                <a:ext cx="1771650" cy="1914525"/>
              </a:xfrm>
              <a:custGeom>
                <a:avLst/>
                <a:gdLst>
                  <a:gd name="T0" fmla="*/ 586 w 2324"/>
                  <a:gd name="T1" fmla="*/ 2514 h 2514"/>
                  <a:gd name="T2" fmla="*/ 586 w 2324"/>
                  <a:gd name="T3" fmla="*/ 2514 h 2514"/>
                  <a:gd name="T4" fmla="*/ 0 w 2324"/>
                  <a:gd name="T5" fmla="*/ 1664 h 2514"/>
                  <a:gd name="T6" fmla="*/ 0 w 2324"/>
                  <a:gd name="T7" fmla="*/ 64 h 2514"/>
                  <a:gd name="T8" fmla="*/ 2324 w 2324"/>
                  <a:gd name="T9" fmla="*/ 0 h 2514"/>
                  <a:gd name="T10" fmla="*/ 1542 w 2324"/>
                  <a:gd name="T11" fmla="*/ 1131 h 2514"/>
                  <a:gd name="T12" fmla="*/ 586 w 2324"/>
                  <a:gd name="T13" fmla="*/ 2514 h 2514"/>
                  <a:gd name="T14" fmla="*/ 2324 w 2324"/>
                  <a:gd name="T15" fmla="*/ 0 h 2514"/>
                  <a:gd name="T16" fmla="*/ 2324 w 2324"/>
                  <a:gd name="T17" fmla="*/ 0 h 2514"/>
                  <a:gd name="T18" fmla="*/ 2324 w 2324"/>
                  <a:gd name="T19"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4" h="2514">
                    <a:moveTo>
                      <a:pt x="586" y="2514"/>
                    </a:moveTo>
                    <a:lnTo>
                      <a:pt x="586" y="2514"/>
                    </a:lnTo>
                    <a:lnTo>
                      <a:pt x="0" y="1664"/>
                    </a:lnTo>
                    <a:lnTo>
                      <a:pt x="0" y="64"/>
                    </a:lnTo>
                    <a:lnTo>
                      <a:pt x="2324" y="0"/>
                    </a:lnTo>
                    <a:lnTo>
                      <a:pt x="1542" y="1131"/>
                    </a:lnTo>
                    <a:lnTo>
                      <a:pt x="586" y="2514"/>
                    </a:lnTo>
                    <a:moveTo>
                      <a:pt x="2324" y="0"/>
                    </a:moveTo>
                    <a:lnTo>
                      <a:pt x="2324" y="0"/>
                    </a:lnTo>
                    <a:lnTo>
                      <a:pt x="2324"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1" name="Freeform 332"/>
              <p:cNvSpPr>
                <a:spLocks/>
              </p:cNvSpPr>
              <p:nvPr/>
            </p:nvSpPr>
            <p:spPr bwMode="auto">
              <a:xfrm>
                <a:off x="-12625388" y="1125537"/>
                <a:ext cx="1771650" cy="1604963"/>
              </a:xfrm>
              <a:custGeom>
                <a:avLst/>
                <a:gdLst>
                  <a:gd name="T0" fmla="*/ 0 w 1116"/>
                  <a:gd name="T1" fmla="*/ 1011 h 1011"/>
                  <a:gd name="T2" fmla="*/ 0 w 1116"/>
                  <a:gd name="T3" fmla="*/ 528 h 1011"/>
                  <a:gd name="T4" fmla="*/ 532 w 1116"/>
                  <a:gd name="T5" fmla="*/ 17 h 1011"/>
                  <a:gd name="T6" fmla="*/ 550 w 1116"/>
                  <a:gd name="T7" fmla="*/ 0 h 1011"/>
                  <a:gd name="T8" fmla="*/ 532 w 1116"/>
                  <a:gd name="T9" fmla="*/ 17 h 1011"/>
                  <a:gd name="T10" fmla="*/ 550 w 1116"/>
                  <a:gd name="T11" fmla="*/ 0 h 1011"/>
                  <a:gd name="T12" fmla="*/ 550 w 1116"/>
                  <a:gd name="T13" fmla="*/ 0 h 1011"/>
                  <a:gd name="T14" fmla="*/ 550 w 1116"/>
                  <a:gd name="T15" fmla="*/ 0 h 1011"/>
                  <a:gd name="T16" fmla="*/ 1116 w 1116"/>
                  <a:gd name="T17" fmla="*/ 981 h 1011"/>
                  <a:gd name="T18" fmla="*/ 0 w 1116"/>
                  <a:gd name="T19" fmla="*/ 1011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6" h="1011">
                    <a:moveTo>
                      <a:pt x="0" y="1011"/>
                    </a:moveTo>
                    <a:lnTo>
                      <a:pt x="0" y="528"/>
                    </a:lnTo>
                    <a:lnTo>
                      <a:pt x="532" y="17"/>
                    </a:lnTo>
                    <a:lnTo>
                      <a:pt x="550" y="0"/>
                    </a:lnTo>
                    <a:lnTo>
                      <a:pt x="532" y="17"/>
                    </a:lnTo>
                    <a:lnTo>
                      <a:pt x="550" y="0"/>
                    </a:lnTo>
                    <a:lnTo>
                      <a:pt x="550" y="0"/>
                    </a:lnTo>
                    <a:lnTo>
                      <a:pt x="550" y="0"/>
                    </a:lnTo>
                    <a:lnTo>
                      <a:pt x="1116" y="981"/>
                    </a:lnTo>
                    <a:lnTo>
                      <a:pt x="0" y="101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2" name="Freeform 333"/>
              <p:cNvSpPr>
                <a:spLocks/>
              </p:cNvSpPr>
              <p:nvPr/>
            </p:nvSpPr>
            <p:spPr bwMode="auto">
              <a:xfrm>
                <a:off x="-11780838" y="1125537"/>
                <a:ext cx="28575" cy="26988"/>
              </a:xfrm>
              <a:custGeom>
                <a:avLst/>
                <a:gdLst>
                  <a:gd name="T0" fmla="*/ 0 w 18"/>
                  <a:gd name="T1" fmla="*/ 17 h 17"/>
                  <a:gd name="T2" fmla="*/ 0 w 18"/>
                  <a:gd name="T3" fmla="*/ 17 h 17"/>
                  <a:gd name="T4" fmla="*/ 18 w 18"/>
                  <a:gd name="T5" fmla="*/ 0 h 17"/>
                  <a:gd name="T6" fmla="*/ 0 w 18"/>
                  <a:gd name="T7" fmla="*/ 17 h 17"/>
                </a:gdLst>
                <a:ahLst/>
                <a:cxnLst>
                  <a:cxn ang="0">
                    <a:pos x="T0" y="T1"/>
                  </a:cxn>
                  <a:cxn ang="0">
                    <a:pos x="T2" y="T3"/>
                  </a:cxn>
                  <a:cxn ang="0">
                    <a:pos x="T4" y="T5"/>
                  </a:cxn>
                  <a:cxn ang="0">
                    <a:pos x="T6" y="T7"/>
                  </a:cxn>
                </a:cxnLst>
                <a:rect l="0" t="0" r="r" b="b"/>
                <a:pathLst>
                  <a:path w="18" h="17">
                    <a:moveTo>
                      <a:pt x="0" y="17"/>
                    </a:moveTo>
                    <a:lnTo>
                      <a:pt x="0" y="17"/>
                    </a:lnTo>
                    <a:lnTo>
                      <a:pt x="18" y="0"/>
                    </a:lnTo>
                    <a:lnTo>
                      <a:pt x="0" y="1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3" name="Freeform 334"/>
              <p:cNvSpPr>
                <a:spLocks noEditPoints="1"/>
              </p:cNvSpPr>
              <p:nvPr/>
            </p:nvSpPr>
            <p:spPr bwMode="auto">
              <a:xfrm>
                <a:off x="-10853738" y="1454150"/>
                <a:ext cx="1365250" cy="1757363"/>
              </a:xfrm>
              <a:custGeom>
                <a:avLst/>
                <a:gdLst>
                  <a:gd name="T0" fmla="*/ 1792 w 1792"/>
                  <a:gd name="T1" fmla="*/ 2307 h 2307"/>
                  <a:gd name="T2" fmla="*/ 0 w 1792"/>
                  <a:gd name="T3" fmla="*/ 1612 h 2307"/>
                  <a:gd name="T4" fmla="*/ 0 w 1792"/>
                  <a:gd name="T5" fmla="*/ 1612 h 2307"/>
                  <a:gd name="T6" fmla="*/ 0 w 1792"/>
                  <a:gd name="T7" fmla="*/ 1612 h 2307"/>
                  <a:gd name="T8" fmla="*/ 233 w 1792"/>
                  <a:gd name="T9" fmla="*/ 0 h 2307"/>
                  <a:gd name="T10" fmla="*/ 790 w 1792"/>
                  <a:gd name="T11" fmla="*/ 824 h 2307"/>
                  <a:gd name="T12" fmla="*/ 1792 w 1792"/>
                  <a:gd name="T13" fmla="*/ 2307 h 2307"/>
                  <a:gd name="T14" fmla="*/ 233 w 1792"/>
                  <a:gd name="T15" fmla="*/ 0 h 2307"/>
                  <a:gd name="T16" fmla="*/ 233 w 1792"/>
                  <a:gd name="T17" fmla="*/ 0 h 2307"/>
                  <a:gd name="T18" fmla="*/ 233 w 1792"/>
                  <a:gd name="T19" fmla="*/ 0 h 2307"/>
                  <a:gd name="T20" fmla="*/ 233 w 1792"/>
                  <a:gd name="T21" fmla="*/ 0 h 2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2" h="2307">
                    <a:moveTo>
                      <a:pt x="1792" y="2307"/>
                    </a:moveTo>
                    <a:lnTo>
                      <a:pt x="0" y="1612"/>
                    </a:lnTo>
                    <a:lnTo>
                      <a:pt x="0" y="1612"/>
                    </a:lnTo>
                    <a:lnTo>
                      <a:pt x="0" y="1612"/>
                    </a:lnTo>
                    <a:lnTo>
                      <a:pt x="233" y="0"/>
                    </a:lnTo>
                    <a:lnTo>
                      <a:pt x="790" y="824"/>
                    </a:lnTo>
                    <a:lnTo>
                      <a:pt x="1792" y="2307"/>
                    </a:lnTo>
                    <a:moveTo>
                      <a:pt x="233" y="0"/>
                    </a:moveTo>
                    <a:lnTo>
                      <a:pt x="233" y="0"/>
                    </a:lnTo>
                    <a:lnTo>
                      <a:pt x="233" y="0"/>
                    </a:lnTo>
                    <a:lnTo>
                      <a:pt x="233"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4" name="Freeform 335"/>
              <p:cNvSpPr>
                <a:spLocks/>
              </p:cNvSpPr>
              <p:nvPr/>
            </p:nvSpPr>
            <p:spPr bwMode="auto">
              <a:xfrm>
                <a:off x="-10853738" y="-979488"/>
                <a:ext cx="1397000" cy="2433638"/>
              </a:xfrm>
              <a:custGeom>
                <a:avLst/>
                <a:gdLst>
                  <a:gd name="T0" fmla="*/ 111 w 880"/>
                  <a:gd name="T1" fmla="*/ 1533 h 1533"/>
                  <a:gd name="T2" fmla="*/ 111 w 880"/>
                  <a:gd name="T3" fmla="*/ 1533 h 1533"/>
                  <a:gd name="T4" fmla="*/ 0 w 880"/>
                  <a:gd name="T5" fmla="*/ 347 h 1533"/>
                  <a:gd name="T6" fmla="*/ 0 w 880"/>
                  <a:gd name="T7" fmla="*/ 347 h 1533"/>
                  <a:gd name="T8" fmla="*/ 0 w 880"/>
                  <a:gd name="T9" fmla="*/ 347 h 1533"/>
                  <a:gd name="T10" fmla="*/ 880 w 880"/>
                  <a:gd name="T11" fmla="*/ 0 h 1533"/>
                  <a:gd name="T12" fmla="*/ 111 w 880"/>
                  <a:gd name="T13" fmla="*/ 1533 h 1533"/>
                </a:gdLst>
                <a:ahLst/>
                <a:cxnLst>
                  <a:cxn ang="0">
                    <a:pos x="T0" y="T1"/>
                  </a:cxn>
                  <a:cxn ang="0">
                    <a:pos x="T2" y="T3"/>
                  </a:cxn>
                  <a:cxn ang="0">
                    <a:pos x="T4" y="T5"/>
                  </a:cxn>
                  <a:cxn ang="0">
                    <a:pos x="T6" y="T7"/>
                  </a:cxn>
                  <a:cxn ang="0">
                    <a:pos x="T8" y="T9"/>
                  </a:cxn>
                  <a:cxn ang="0">
                    <a:pos x="T10" y="T11"/>
                  </a:cxn>
                  <a:cxn ang="0">
                    <a:pos x="T12" y="T13"/>
                  </a:cxn>
                </a:cxnLst>
                <a:rect l="0" t="0" r="r" b="b"/>
                <a:pathLst>
                  <a:path w="880" h="1533">
                    <a:moveTo>
                      <a:pt x="111" y="1533"/>
                    </a:moveTo>
                    <a:lnTo>
                      <a:pt x="111" y="1533"/>
                    </a:lnTo>
                    <a:lnTo>
                      <a:pt x="0" y="347"/>
                    </a:lnTo>
                    <a:lnTo>
                      <a:pt x="0" y="347"/>
                    </a:lnTo>
                    <a:lnTo>
                      <a:pt x="0" y="347"/>
                    </a:lnTo>
                    <a:lnTo>
                      <a:pt x="880" y="0"/>
                    </a:lnTo>
                    <a:lnTo>
                      <a:pt x="111" y="15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5" name="Freeform 336"/>
              <p:cNvSpPr>
                <a:spLocks/>
              </p:cNvSpPr>
              <p:nvPr/>
            </p:nvSpPr>
            <p:spPr bwMode="auto">
              <a:xfrm>
                <a:off x="-10677525" y="1125537"/>
                <a:ext cx="2517775" cy="2085975"/>
              </a:xfrm>
              <a:custGeom>
                <a:avLst/>
                <a:gdLst>
                  <a:gd name="T0" fmla="*/ 749 w 1586"/>
                  <a:gd name="T1" fmla="*/ 1314 h 1314"/>
                  <a:gd name="T2" fmla="*/ 268 w 1586"/>
                  <a:gd name="T3" fmla="*/ 602 h 1314"/>
                  <a:gd name="T4" fmla="*/ 0 w 1586"/>
                  <a:gd name="T5" fmla="*/ 207 h 1314"/>
                  <a:gd name="T6" fmla="*/ 0 w 1586"/>
                  <a:gd name="T7" fmla="*/ 207 h 1314"/>
                  <a:gd name="T8" fmla="*/ 0 w 1586"/>
                  <a:gd name="T9" fmla="*/ 207 h 1314"/>
                  <a:gd name="T10" fmla="*/ 0 w 1586"/>
                  <a:gd name="T11" fmla="*/ 207 h 1314"/>
                  <a:gd name="T12" fmla="*/ 169 w 1586"/>
                  <a:gd name="T13" fmla="*/ 185 h 1314"/>
                  <a:gd name="T14" fmla="*/ 1586 w 1586"/>
                  <a:gd name="T15" fmla="*/ 0 h 1314"/>
                  <a:gd name="T16" fmla="*/ 749 w 1586"/>
                  <a:gd name="T17" fmla="*/ 1314 h 1314"/>
                  <a:gd name="T18" fmla="*/ 749 w 1586"/>
                  <a:gd name="T19" fmla="*/ 1314 h 1314"/>
                  <a:gd name="T20" fmla="*/ 749 w 1586"/>
                  <a:gd name="T21" fmla="*/ 1314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6" h="1314">
                    <a:moveTo>
                      <a:pt x="749" y="1314"/>
                    </a:moveTo>
                    <a:lnTo>
                      <a:pt x="268" y="602"/>
                    </a:lnTo>
                    <a:lnTo>
                      <a:pt x="0" y="207"/>
                    </a:lnTo>
                    <a:lnTo>
                      <a:pt x="0" y="207"/>
                    </a:lnTo>
                    <a:lnTo>
                      <a:pt x="0" y="207"/>
                    </a:lnTo>
                    <a:lnTo>
                      <a:pt x="0" y="207"/>
                    </a:lnTo>
                    <a:lnTo>
                      <a:pt x="169" y="185"/>
                    </a:lnTo>
                    <a:lnTo>
                      <a:pt x="1586" y="0"/>
                    </a:lnTo>
                    <a:lnTo>
                      <a:pt x="749" y="1314"/>
                    </a:lnTo>
                    <a:lnTo>
                      <a:pt x="749" y="1314"/>
                    </a:lnTo>
                    <a:lnTo>
                      <a:pt x="749" y="1314"/>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6" name="Freeform 337"/>
              <p:cNvSpPr>
                <a:spLocks/>
              </p:cNvSpPr>
              <p:nvPr/>
            </p:nvSpPr>
            <p:spPr bwMode="auto">
              <a:xfrm>
                <a:off x="-10677525" y="1454150"/>
                <a:ext cx="425450" cy="627063"/>
              </a:xfrm>
              <a:custGeom>
                <a:avLst/>
                <a:gdLst>
                  <a:gd name="T0" fmla="*/ 268 w 268"/>
                  <a:gd name="T1" fmla="*/ 395 h 395"/>
                  <a:gd name="T2" fmla="*/ 0 w 268"/>
                  <a:gd name="T3" fmla="*/ 0 h 395"/>
                  <a:gd name="T4" fmla="*/ 0 w 268"/>
                  <a:gd name="T5" fmla="*/ 0 h 395"/>
                  <a:gd name="T6" fmla="*/ 268 w 268"/>
                  <a:gd name="T7" fmla="*/ 395 h 395"/>
                </a:gdLst>
                <a:ahLst/>
                <a:cxnLst>
                  <a:cxn ang="0">
                    <a:pos x="T0" y="T1"/>
                  </a:cxn>
                  <a:cxn ang="0">
                    <a:pos x="T2" y="T3"/>
                  </a:cxn>
                  <a:cxn ang="0">
                    <a:pos x="T4" y="T5"/>
                  </a:cxn>
                  <a:cxn ang="0">
                    <a:pos x="T6" y="T7"/>
                  </a:cxn>
                </a:cxnLst>
                <a:rect l="0" t="0" r="r" b="b"/>
                <a:pathLst>
                  <a:path w="268" h="395">
                    <a:moveTo>
                      <a:pt x="268" y="395"/>
                    </a:moveTo>
                    <a:lnTo>
                      <a:pt x="0" y="0"/>
                    </a:lnTo>
                    <a:lnTo>
                      <a:pt x="0" y="0"/>
                    </a:lnTo>
                    <a:lnTo>
                      <a:pt x="268" y="39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7" name="Freeform 338"/>
              <p:cNvSpPr>
                <a:spLocks/>
              </p:cNvSpPr>
              <p:nvPr/>
            </p:nvSpPr>
            <p:spPr bwMode="auto">
              <a:xfrm>
                <a:off x="-11752263" y="-428626"/>
                <a:ext cx="1074738" cy="1882775"/>
              </a:xfrm>
              <a:custGeom>
                <a:avLst/>
                <a:gdLst>
                  <a:gd name="T0" fmla="*/ 677 w 677"/>
                  <a:gd name="T1" fmla="*/ 1186 h 1186"/>
                  <a:gd name="T2" fmla="*/ 0 w 677"/>
                  <a:gd name="T3" fmla="*/ 979 h 1186"/>
                  <a:gd name="T4" fmla="*/ 452 w 677"/>
                  <a:gd name="T5" fmla="*/ 196 h 1186"/>
                  <a:gd name="T6" fmla="*/ 566 w 677"/>
                  <a:gd name="T7" fmla="*/ 0 h 1186"/>
                  <a:gd name="T8" fmla="*/ 677 w 677"/>
                  <a:gd name="T9" fmla="*/ 1186 h 1186"/>
                  <a:gd name="T10" fmla="*/ 677 w 677"/>
                  <a:gd name="T11" fmla="*/ 1186 h 1186"/>
                </a:gdLst>
                <a:ahLst/>
                <a:cxnLst>
                  <a:cxn ang="0">
                    <a:pos x="T0" y="T1"/>
                  </a:cxn>
                  <a:cxn ang="0">
                    <a:pos x="T2" y="T3"/>
                  </a:cxn>
                  <a:cxn ang="0">
                    <a:pos x="T4" y="T5"/>
                  </a:cxn>
                  <a:cxn ang="0">
                    <a:pos x="T6" y="T7"/>
                  </a:cxn>
                  <a:cxn ang="0">
                    <a:pos x="T8" y="T9"/>
                  </a:cxn>
                  <a:cxn ang="0">
                    <a:pos x="T10" y="T11"/>
                  </a:cxn>
                </a:cxnLst>
                <a:rect l="0" t="0" r="r" b="b"/>
                <a:pathLst>
                  <a:path w="677" h="1186">
                    <a:moveTo>
                      <a:pt x="677" y="1186"/>
                    </a:moveTo>
                    <a:lnTo>
                      <a:pt x="0" y="979"/>
                    </a:lnTo>
                    <a:lnTo>
                      <a:pt x="452" y="196"/>
                    </a:lnTo>
                    <a:lnTo>
                      <a:pt x="566" y="0"/>
                    </a:lnTo>
                    <a:lnTo>
                      <a:pt x="677" y="1186"/>
                    </a:lnTo>
                    <a:lnTo>
                      <a:pt x="677" y="118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8" name="Rectangle 339"/>
              <p:cNvSpPr>
                <a:spLocks noChangeArrowheads="1"/>
              </p:cNvSpPr>
              <p:nvPr/>
            </p:nvSpPr>
            <p:spPr bwMode="auto">
              <a:xfrm>
                <a:off x="-10677525" y="1454150"/>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19" name="Rectangle 340"/>
              <p:cNvSpPr>
                <a:spLocks noChangeArrowheads="1"/>
              </p:cNvSpPr>
              <p:nvPr/>
            </p:nvSpPr>
            <p:spPr bwMode="auto">
              <a:xfrm>
                <a:off x="-11752263" y="1125537"/>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0" name="Freeform 341"/>
              <p:cNvSpPr>
                <a:spLocks/>
              </p:cNvSpPr>
              <p:nvPr/>
            </p:nvSpPr>
            <p:spPr bwMode="auto">
              <a:xfrm>
                <a:off x="-10677525" y="-979488"/>
                <a:ext cx="2517775" cy="2433638"/>
              </a:xfrm>
              <a:custGeom>
                <a:avLst/>
                <a:gdLst>
                  <a:gd name="T0" fmla="*/ 0 w 1586"/>
                  <a:gd name="T1" fmla="*/ 1533 h 1533"/>
                  <a:gd name="T2" fmla="*/ 769 w 1586"/>
                  <a:gd name="T3" fmla="*/ 0 h 1533"/>
                  <a:gd name="T4" fmla="*/ 1586 w 1586"/>
                  <a:gd name="T5" fmla="*/ 1326 h 1533"/>
                  <a:gd name="T6" fmla="*/ 1586 w 1586"/>
                  <a:gd name="T7" fmla="*/ 1326 h 1533"/>
                  <a:gd name="T8" fmla="*/ 1586 w 1586"/>
                  <a:gd name="T9" fmla="*/ 1326 h 1533"/>
                  <a:gd name="T10" fmla="*/ 1586 w 1586"/>
                  <a:gd name="T11" fmla="*/ 1326 h 1533"/>
                  <a:gd name="T12" fmla="*/ 169 w 1586"/>
                  <a:gd name="T13" fmla="*/ 1511 h 1533"/>
                  <a:gd name="T14" fmla="*/ 0 w 1586"/>
                  <a:gd name="T15" fmla="*/ 1533 h 15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6" h="1533">
                    <a:moveTo>
                      <a:pt x="0" y="1533"/>
                    </a:moveTo>
                    <a:lnTo>
                      <a:pt x="769" y="0"/>
                    </a:lnTo>
                    <a:lnTo>
                      <a:pt x="1586" y="1326"/>
                    </a:lnTo>
                    <a:lnTo>
                      <a:pt x="1586" y="1326"/>
                    </a:lnTo>
                    <a:lnTo>
                      <a:pt x="1586" y="1326"/>
                    </a:lnTo>
                    <a:lnTo>
                      <a:pt x="1586" y="1326"/>
                    </a:lnTo>
                    <a:lnTo>
                      <a:pt x="169" y="1511"/>
                    </a:lnTo>
                    <a:lnTo>
                      <a:pt x="0" y="1533"/>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1" name="Freeform 342"/>
              <p:cNvSpPr>
                <a:spLocks noEditPoints="1"/>
              </p:cNvSpPr>
              <p:nvPr/>
            </p:nvSpPr>
            <p:spPr bwMode="auto">
              <a:xfrm>
                <a:off x="-11752263" y="1125537"/>
                <a:ext cx="1074738" cy="1557338"/>
              </a:xfrm>
              <a:custGeom>
                <a:avLst/>
                <a:gdLst>
                  <a:gd name="T0" fmla="*/ 1179 w 1412"/>
                  <a:gd name="T1" fmla="*/ 2042 h 2042"/>
                  <a:gd name="T2" fmla="*/ 0 w 1412"/>
                  <a:gd name="T3" fmla="*/ 0 h 2042"/>
                  <a:gd name="T4" fmla="*/ 1412 w 1412"/>
                  <a:gd name="T5" fmla="*/ 430 h 2042"/>
                  <a:gd name="T6" fmla="*/ 1179 w 1412"/>
                  <a:gd name="T7" fmla="*/ 2042 h 2042"/>
                  <a:gd name="T8" fmla="*/ 1412 w 1412"/>
                  <a:gd name="T9" fmla="*/ 430 h 2042"/>
                  <a:gd name="T10" fmla="*/ 1412 w 1412"/>
                  <a:gd name="T11" fmla="*/ 430 h 2042"/>
                  <a:gd name="T12" fmla="*/ 1412 w 1412"/>
                  <a:gd name="T13" fmla="*/ 430 h 2042"/>
                  <a:gd name="T14" fmla="*/ 1412 w 1412"/>
                  <a:gd name="T15" fmla="*/ 430 h 20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2042">
                    <a:moveTo>
                      <a:pt x="1179" y="2042"/>
                    </a:moveTo>
                    <a:lnTo>
                      <a:pt x="0" y="0"/>
                    </a:lnTo>
                    <a:lnTo>
                      <a:pt x="1412" y="430"/>
                    </a:lnTo>
                    <a:lnTo>
                      <a:pt x="1179" y="2042"/>
                    </a:lnTo>
                    <a:moveTo>
                      <a:pt x="1412" y="430"/>
                    </a:moveTo>
                    <a:lnTo>
                      <a:pt x="1412" y="430"/>
                    </a:lnTo>
                    <a:lnTo>
                      <a:pt x="1412" y="430"/>
                    </a:lnTo>
                    <a:lnTo>
                      <a:pt x="1412" y="430"/>
                    </a:lnTo>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2" name="Freeform 343"/>
              <p:cNvSpPr>
                <a:spLocks/>
              </p:cNvSpPr>
              <p:nvPr/>
            </p:nvSpPr>
            <p:spPr bwMode="auto">
              <a:xfrm>
                <a:off x="-10853738" y="1454150"/>
                <a:ext cx="176213" cy="1228725"/>
              </a:xfrm>
              <a:custGeom>
                <a:avLst/>
                <a:gdLst>
                  <a:gd name="T0" fmla="*/ 0 w 111"/>
                  <a:gd name="T1" fmla="*/ 774 h 774"/>
                  <a:gd name="T2" fmla="*/ 0 w 111"/>
                  <a:gd name="T3" fmla="*/ 774 h 774"/>
                  <a:gd name="T4" fmla="*/ 111 w 111"/>
                  <a:gd name="T5" fmla="*/ 0 h 774"/>
                  <a:gd name="T6" fmla="*/ 111 w 111"/>
                  <a:gd name="T7" fmla="*/ 0 h 774"/>
                  <a:gd name="T8" fmla="*/ 111 w 111"/>
                  <a:gd name="T9" fmla="*/ 0 h 774"/>
                  <a:gd name="T10" fmla="*/ 111 w 111"/>
                  <a:gd name="T11" fmla="*/ 0 h 774"/>
                  <a:gd name="T12" fmla="*/ 111 w 111"/>
                  <a:gd name="T13" fmla="*/ 0 h 774"/>
                  <a:gd name="T14" fmla="*/ 111 w 111"/>
                  <a:gd name="T15" fmla="*/ 0 h 774"/>
                  <a:gd name="T16" fmla="*/ 0 w 111"/>
                  <a:gd name="T17" fmla="*/ 77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74">
                    <a:moveTo>
                      <a:pt x="0" y="774"/>
                    </a:moveTo>
                    <a:lnTo>
                      <a:pt x="0" y="774"/>
                    </a:lnTo>
                    <a:lnTo>
                      <a:pt x="111" y="0"/>
                    </a:lnTo>
                    <a:lnTo>
                      <a:pt x="111" y="0"/>
                    </a:lnTo>
                    <a:lnTo>
                      <a:pt x="111" y="0"/>
                    </a:lnTo>
                    <a:lnTo>
                      <a:pt x="111" y="0"/>
                    </a:lnTo>
                    <a:lnTo>
                      <a:pt x="111" y="0"/>
                    </a:lnTo>
                    <a:lnTo>
                      <a:pt x="111" y="0"/>
                    </a:lnTo>
                    <a:lnTo>
                      <a:pt x="0" y="774"/>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3" name="Rectangle 344"/>
              <p:cNvSpPr>
                <a:spLocks noChangeArrowheads="1"/>
              </p:cNvSpPr>
              <p:nvPr/>
            </p:nvSpPr>
            <p:spPr bwMode="auto">
              <a:xfrm>
                <a:off x="-11752263" y="1125537"/>
                <a:ext cx="1588" cy="1588"/>
              </a:xfrm>
              <a:prstGeom prst="rect">
                <a:avLst/>
              </a:prstGeom>
              <a:solidFill>
                <a:srgbClr val="579ABA"/>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4" name="Rectangle 345"/>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5" name="Rectangle 346"/>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6" name="Freeform 347"/>
              <p:cNvSpPr>
                <a:spLocks/>
              </p:cNvSpPr>
              <p:nvPr/>
            </p:nvSpPr>
            <p:spPr bwMode="auto">
              <a:xfrm>
                <a:off x="-11752263" y="1125537"/>
                <a:ext cx="1074738" cy="328613"/>
              </a:xfrm>
              <a:custGeom>
                <a:avLst/>
                <a:gdLst>
                  <a:gd name="T0" fmla="*/ 677 w 677"/>
                  <a:gd name="T1" fmla="*/ 207 h 207"/>
                  <a:gd name="T2" fmla="*/ 0 w 677"/>
                  <a:gd name="T3" fmla="*/ 0 h 207"/>
                  <a:gd name="T4" fmla="*/ 0 w 677"/>
                  <a:gd name="T5" fmla="*/ 0 h 207"/>
                  <a:gd name="T6" fmla="*/ 0 w 677"/>
                  <a:gd name="T7" fmla="*/ 0 h 207"/>
                  <a:gd name="T8" fmla="*/ 677 w 677"/>
                  <a:gd name="T9" fmla="*/ 207 h 207"/>
                  <a:gd name="T10" fmla="*/ 677 w 677"/>
                  <a:gd name="T11" fmla="*/ 207 h 207"/>
                </a:gdLst>
                <a:ahLst/>
                <a:cxnLst>
                  <a:cxn ang="0">
                    <a:pos x="T0" y="T1"/>
                  </a:cxn>
                  <a:cxn ang="0">
                    <a:pos x="T2" y="T3"/>
                  </a:cxn>
                  <a:cxn ang="0">
                    <a:pos x="T4" y="T5"/>
                  </a:cxn>
                  <a:cxn ang="0">
                    <a:pos x="T6" y="T7"/>
                  </a:cxn>
                  <a:cxn ang="0">
                    <a:pos x="T8" y="T9"/>
                  </a:cxn>
                  <a:cxn ang="0">
                    <a:pos x="T10" y="T11"/>
                  </a:cxn>
                </a:cxnLst>
                <a:rect l="0" t="0" r="r" b="b"/>
                <a:pathLst>
                  <a:path w="677" h="207">
                    <a:moveTo>
                      <a:pt x="677" y="207"/>
                    </a:moveTo>
                    <a:lnTo>
                      <a:pt x="0" y="0"/>
                    </a:lnTo>
                    <a:lnTo>
                      <a:pt x="0" y="0"/>
                    </a:lnTo>
                    <a:lnTo>
                      <a:pt x="0" y="0"/>
                    </a:lnTo>
                    <a:lnTo>
                      <a:pt x="677" y="207"/>
                    </a:lnTo>
                    <a:lnTo>
                      <a:pt x="677" y="20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7" name="Rectangle 348"/>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8" name="Freeform 349"/>
              <p:cNvSpPr>
                <a:spLocks noEditPoints="1"/>
              </p:cNvSpPr>
              <p:nvPr/>
            </p:nvSpPr>
            <p:spPr bwMode="auto">
              <a:xfrm>
                <a:off x="-12625388" y="5602287"/>
                <a:ext cx="571500" cy="1801813"/>
              </a:xfrm>
              <a:custGeom>
                <a:avLst/>
                <a:gdLst>
                  <a:gd name="T0" fmla="*/ 0 w 750"/>
                  <a:gd name="T1" fmla="*/ 2365 h 2365"/>
                  <a:gd name="T2" fmla="*/ 0 w 750"/>
                  <a:gd name="T3" fmla="*/ 921 h 2365"/>
                  <a:gd name="T4" fmla="*/ 750 w 750"/>
                  <a:gd name="T5" fmla="*/ 0 h 2365"/>
                  <a:gd name="T6" fmla="*/ 371 w 750"/>
                  <a:gd name="T7" fmla="*/ 2264 h 2365"/>
                  <a:gd name="T8" fmla="*/ 0 w 750"/>
                  <a:gd name="T9" fmla="*/ 2365 h 2365"/>
                  <a:gd name="T10" fmla="*/ 0 w 750"/>
                  <a:gd name="T11" fmla="*/ 921 h 2365"/>
                  <a:gd name="T12" fmla="*/ 0 w 750"/>
                  <a:gd name="T13" fmla="*/ 921 h 2365"/>
                  <a:gd name="T14" fmla="*/ 750 w 750"/>
                  <a:gd name="T15" fmla="*/ 0 h 2365"/>
                  <a:gd name="T16" fmla="*/ 750 w 750"/>
                  <a:gd name="T17" fmla="*/ 0 h 2365"/>
                  <a:gd name="T18" fmla="*/ 750 w 750"/>
                  <a:gd name="T19" fmla="*/ 0 h 2365"/>
                  <a:gd name="T20" fmla="*/ 0 w 750"/>
                  <a:gd name="T21" fmla="*/ 921 h 2365"/>
                  <a:gd name="T22" fmla="*/ 750 w 750"/>
                  <a:gd name="T23" fmla="*/ 0 h 2365"/>
                  <a:gd name="T24" fmla="*/ 750 w 750"/>
                  <a:gd name="T25" fmla="*/ 0 h 2365"/>
                  <a:gd name="T26" fmla="*/ 750 w 750"/>
                  <a:gd name="T27" fmla="*/ 0 h 2365"/>
                  <a:gd name="T28" fmla="*/ 750 w 750"/>
                  <a:gd name="T29" fmla="*/ 0 h 2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0" h="2365">
                    <a:moveTo>
                      <a:pt x="0" y="2365"/>
                    </a:moveTo>
                    <a:lnTo>
                      <a:pt x="0" y="921"/>
                    </a:lnTo>
                    <a:lnTo>
                      <a:pt x="750" y="0"/>
                    </a:lnTo>
                    <a:lnTo>
                      <a:pt x="371" y="2264"/>
                    </a:lnTo>
                    <a:lnTo>
                      <a:pt x="0" y="2365"/>
                    </a:lnTo>
                    <a:moveTo>
                      <a:pt x="0" y="921"/>
                    </a:moveTo>
                    <a:lnTo>
                      <a:pt x="0" y="921"/>
                    </a:lnTo>
                    <a:lnTo>
                      <a:pt x="750" y="0"/>
                    </a:lnTo>
                    <a:lnTo>
                      <a:pt x="750" y="0"/>
                    </a:lnTo>
                    <a:lnTo>
                      <a:pt x="750" y="0"/>
                    </a:lnTo>
                    <a:lnTo>
                      <a:pt x="0" y="921"/>
                    </a:lnTo>
                    <a:moveTo>
                      <a:pt x="750" y="0"/>
                    </a:moveTo>
                    <a:lnTo>
                      <a:pt x="750" y="0"/>
                    </a:lnTo>
                    <a:lnTo>
                      <a:pt x="750" y="0"/>
                    </a:lnTo>
                    <a:lnTo>
                      <a:pt x="750" y="0"/>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29" name="Freeform 350"/>
              <p:cNvSpPr>
                <a:spLocks/>
              </p:cNvSpPr>
              <p:nvPr/>
            </p:nvSpPr>
            <p:spPr bwMode="auto">
              <a:xfrm>
                <a:off x="-12625388" y="4479925"/>
                <a:ext cx="571500" cy="1122363"/>
              </a:xfrm>
              <a:custGeom>
                <a:avLst/>
                <a:gdLst>
                  <a:gd name="T0" fmla="*/ 360 w 360"/>
                  <a:gd name="T1" fmla="*/ 707 h 707"/>
                  <a:gd name="T2" fmla="*/ 0 w 360"/>
                  <a:gd name="T3" fmla="*/ 379 h 707"/>
                  <a:gd name="T4" fmla="*/ 0 w 360"/>
                  <a:gd name="T5" fmla="*/ 0 h 707"/>
                  <a:gd name="T6" fmla="*/ 281 w 360"/>
                  <a:gd name="T7" fmla="*/ 74 h 707"/>
                  <a:gd name="T8" fmla="*/ 360 w 360"/>
                  <a:gd name="T9" fmla="*/ 707 h 707"/>
                </a:gdLst>
                <a:ahLst/>
                <a:cxnLst>
                  <a:cxn ang="0">
                    <a:pos x="T0" y="T1"/>
                  </a:cxn>
                  <a:cxn ang="0">
                    <a:pos x="T2" y="T3"/>
                  </a:cxn>
                  <a:cxn ang="0">
                    <a:pos x="T4" y="T5"/>
                  </a:cxn>
                  <a:cxn ang="0">
                    <a:pos x="T6" y="T7"/>
                  </a:cxn>
                  <a:cxn ang="0">
                    <a:pos x="T8" y="T9"/>
                  </a:cxn>
                </a:cxnLst>
                <a:rect l="0" t="0" r="r" b="b"/>
                <a:pathLst>
                  <a:path w="360" h="707">
                    <a:moveTo>
                      <a:pt x="360" y="707"/>
                    </a:moveTo>
                    <a:lnTo>
                      <a:pt x="0" y="379"/>
                    </a:lnTo>
                    <a:lnTo>
                      <a:pt x="0" y="0"/>
                    </a:lnTo>
                    <a:lnTo>
                      <a:pt x="281" y="74"/>
                    </a:lnTo>
                    <a:lnTo>
                      <a:pt x="360" y="707"/>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0" name="Freeform 351"/>
              <p:cNvSpPr>
                <a:spLocks noEditPoints="1"/>
              </p:cNvSpPr>
              <p:nvPr/>
            </p:nvSpPr>
            <p:spPr bwMode="auto">
              <a:xfrm>
                <a:off x="-12341225" y="5602287"/>
                <a:ext cx="1487488" cy="1725613"/>
              </a:xfrm>
              <a:custGeom>
                <a:avLst/>
                <a:gdLst>
                  <a:gd name="T0" fmla="*/ 0 w 1952"/>
                  <a:gd name="T1" fmla="*/ 2264 h 2264"/>
                  <a:gd name="T2" fmla="*/ 378 w 1952"/>
                  <a:gd name="T3" fmla="*/ 0 h 2264"/>
                  <a:gd name="T4" fmla="*/ 378 w 1952"/>
                  <a:gd name="T5" fmla="*/ 0 h 2264"/>
                  <a:gd name="T6" fmla="*/ 1952 w 1952"/>
                  <a:gd name="T7" fmla="*/ 251 h 2264"/>
                  <a:gd name="T8" fmla="*/ 1952 w 1952"/>
                  <a:gd name="T9" fmla="*/ 251 h 2264"/>
                  <a:gd name="T10" fmla="*/ 1952 w 1952"/>
                  <a:gd name="T11" fmla="*/ 251 h 2264"/>
                  <a:gd name="T12" fmla="*/ 1952 w 1952"/>
                  <a:gd name="T13" fmla="*/ 251 h 2264"/>
                  <a:gd name="T14" fmla="*/ 780 w 1952"/>
                  <a:gd name="T15" fmla="*/ 1459 h 2264"/>
                  <a:gd name="T16" fmla="*/ 0 w 1952"/>
                  <a:gd name="T17" fmla="*/ 2264 h 2264"/>
                  <a:gd name="T18" fmla="*/ 378 w 1952"/>
                  <a:gd name="T19" fmla="*/ 0 h 2264"/>
                  <a:gd name="T20" fmla="*/ 378 w 1952"/>
                  <a:gd name="T21" fmla="*/ 0 h 2264"/>
                  <a:gd name="T22" fmla="*/ 378 w 1952"/>
                  <a:gd name="T23" fmla="*/ 0 h 2264"/>
                  <a:gd name="T24" fmla="*/ 378 w 1952"/>
                  <a:gd name="T25" fmla="*/ 0 h 2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52" h="2264">
                    <a:moveTo>
                      <a:pt x="0" y="2264"/>
                    </a:moveTo>
                    <a:lnTo>
                      <a:pt x="378" y="0"/>
                    </a:lnTo>
                    <a:lnTo>
                      <a:pt x="378" y="0"/>
                    </a:lnTo>
                    <a:lnTo>
                      <a:pt x="1952" y="251"/>
                    </a:lnTo>
                    <a:lnTo>
                      <a:pt x="1952" y="251"/>
                    </a:lnTo>
                    <a:lnTo>
                      <a:pt x="1952" y="251"/>
                    </a:lnTo>
                    <a:lnTo>
                      <a:pt x="1952" y="251"/>
                    </a:lnTo>
                    <a:lnTo>
                      <a:pt x="780" y="1459"/>
                    </a:lnTo>
                    <a:lnTo>
                      <a:pt x="0" y="2264"/>
                    </a:lnTo>
                    <a:moveTo>
                      <a:pt x="378" y="0"/>
                    </a:moveTo>
                    <a:lnTo>
                      <a:pt x="378" y="0"/>
                    </a:lnTo>
                    <a:lnTo>
                      <a:pt x="378" y="0"/>
                    </a:lnTo>
                    <a:lnTo>
                      <a:pt x="378"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1" name="Freeform 352"/>
              <p:cNvSpPr>
                <a:spLocks noEditPoints="1"/>
              </p:cNvSpPr>
              <p:nvPr/>
            </p:nvSpPr>
            <p:spPr bwMode="auto">
              <a:xfrm>
                <a:off x="-12625388" y="5081587"/>
                <a:ext cx="571500" cy="520700"/>
              </a:xfrm>
              <a:custGeom>
                <a:avLst/>
                <a:gdLst>
                  <a:gd name="T0" fmla="*/ 750 w 750"/>
                  <a:gd name="T1" fmla="*/ 684 h 684"/>
                  <a:gd name="T2" fmla="*/ 750 w 750"/>
                  <a:gd name="T3" fmla="*/ 684 h 684"/>
                  <a:gd name="T4" fmla="*/ 750 w 750"/>
                  <a:gd name="T5" fmla="*/ 684 h 684"/>
                  <a:gd name="T6" fmla="*/ 750 w 750"/>
                  <a:gd name="T7" fmla="*/ 684 h 684"/>
                  <a:gd name="T8" fmla="*/ 750 w 750"/>
                  <a:gd name="T9" fmla="*/ 684 h 684"/>
                  <a:gd name="T10" fmla="*/ 0 w 750"/>
                  <a:gd name="T11" fmla="*/ 0 h 684"/>
                  <a:gd name="T12" fmla="*/ 750 w 750"/>
                  <a:gd name="T13" fmla="*/ 684 h 684"/>
                </a:gdLst>
                <a:ahLst/>
                <a:cxnLst>
                  <a:cxn ang="0">
                    <a:pos x="T0" y="T1"/>
                  </a:cxn>
                  <a:cxn ang="0">
                    <a:pos x="T2" y="T3"/>
                  </a:cxn>
                  <a:cxn ang="0">
                    <a:pos x="T4" y="T5"/>
                  </a:cxn>
                  <a:cxn ang="0">
                    <a:pos x="T6" y="T7"/>
                  </a:cxn>
                  <a:cxn ang="0">
                    <a:pos x="T8" y="T9"/>
                  </a:cxn>
                  <a:cxn ang="0">
                    <a:pos x="T10" y="T11"/>
                  </a:cxn>
                  <a:cxn ang="0">
                    <a:pos x="T12" y="T13"/>
                  </a:cxn>
                </a:cxnLst>
                <a:rect l="0" t="0" r="r" b="b"/>
                <a:pathLst>
                  <a:path w="750" h="684">
                    <a:moveTo>
                      <a:pt x="750" y="684"/>
                    </a:moveTo>
                    <a:lnTo>
                      <a:pt x="750" y="684"/>
                    </a:lnTo>
                    <a:lnTo>
                      <a:pt x="750" y="684"/>
                    </a:lnTo>
                    <a:lnTo>
                      <a:pt x="750" y="684"/>
                    </a:lnTo>
                    <a:moveTo>
                      <a:pt x="750" y="684"/>
                    </a:moveTo>
                    <a:lnTo>
                      <a:pt x="0" y="0"/>
                    </a:lnTo>
                    <a:lnTo>
                      <a:pt x="750" y="684"/>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2" name="Rectangle 353"/>
              <p:cNvSpPr>
                <a:spLocks noChangeArrowheads="1"/>
              </p:cNvSpPr>
              <p:nvPr/>
            </p:nvSpPr>
            <p:spPr bwMode="auto">
              <a:xfrm>
                <a:off x="-12053888" y="5602287"/>
                <a:ext cx="1588" cy="1588"/>
              </a:xfrm>
              <a:prstGeom prst="rect">
                <a:avLst/>
              </a:prstGeom>
              <a:solidFill>
                <a:srgbClr val="599DBC"/>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3" name="Line 354"/>
              <p:cNvSpPr>
                <a:spLocks noChangeShapeType="1"/>
              </p:cNvSpPr>
              <p:nvPr/>
            </p:nvSpPr>
            <p:spPr bwMode="auto">
              <a:xfrm>
                <a:off x="-12053888" y="56022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4" name="Freeform 355"/>
              <p:cNvSpPr>
                <a:spLocks/>
              </p:cNvSpPr>
              <p:nvPr/>
            </p:nvSpPr>
            <p:spPr bwMode="auto">
              <a:xfrm>
                <a:off x="-12179300" y="4597400"/>
                <a:ext cx="1325563" cy="1195388"/>
              </a:xfrm>
              <a:custGeom>
                <a:avLst/>
                <a:gdLst>
                  <a:gd name="T0" fmla="*/ 835 w 835"/>
                  <a:gd name="T1" fmla="*/ 753 h 753"/>
                  <a:gd name="T2" fmla="*/ 79 w 835"/>
                  <a:gd name="T3" fmla="*/ 633 h 753"/>
                  <a:gd name="T4" fmla="*/ 0 w 835"/>
                  <a:gd name="T5" fmla="*/ 0 h 753"/>
                  <a:gd name="T6" fmla="*/ 835 w 835"/>
                  <a:gd name="T7" fmla="*/ 753 h 753"/>
                  <a:gd name="T8" fmla="*/ 835 w 835"/>
                  <a:gd name="T9" fmla="*/ 753 h 753"/>
                </a:gdLst>
                <a:ahLst/>
                <a:cxnLst>
                  <a:cxn ang="0">
                    <a:pos x="T0" y="T1"/>
                  </a:cxn>
                  <a:cxn ang="0">
                    <a:pos x="T2" y="T3"/>
                  </a:cxn>
                  <a:cxn ang="0">
                    <a:pos x="T4" y="T5"/>
                  </a:cxn>
                  <a:cxn ang="0">
                    <a:pos x="T6" y="T7"/>
                  </a:cxn>
                  <a:cxn ang="0">
                    <a:pos x="T8" y="T9"/>
                  </a:cxn>
                </a:cxnLst>
                <a:rect l="0" t="0" r="r" b="b"/>
                <a:pathLst>
                  <a:path w="835" h="753">
                    <a:moveTo>
                      <a:pt x="835" y="753"/>
                    </a:moveTo>
                    <a:lnTo>
                      <a:pt x="79" y="633"/>
                    </a:lnTo>
                    <a:lnTo>
                      <a:pt x="0" y="0"/>
                    </a:lnTo>
                    <a:lnTo>
                      <a:pt x="835" y="753"/>
                    </a:lnTo>
                    <a:lnTo>
                      <a:pt x="835" y="753"/>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5" name="Freeform 356"/>
              <p:cNvSpPr>
                <a:spLocks/>
              </p:cNvSpPr>
              <p:nvPr/>
            </p:nvSpPr>
            <p:spPr bwMode="auto">
              <a:xfrm>
                <a:off x="-12625388" y="5602287"/>
                <a:ext cx="571500" cy="701675"/>
              </a:xfrm>
              <a:custGeom>
                <a:avLst/>
                <a:gdLst>
                  <a:gd name="T0" fmla="*/ 0 w 360"/>
                  <a:gd name="T1" fmla="*/ 442 h 442"/>
                  <a:gd name="T2" fmla="*/ 0 w 360"/>
                  <a:gd name="T3" fmla="*/ 442 h 442"/>
                  <a:gd name="T4" fmla="*/ 360 w 360"/>
                  <a:gd name="T5" fmla="*/ 0 h 442"/>
                  <a:gd name="T6" fmla="*/ 360 w 360"/>
                  <a:gd name="T7" fmla="*/ 0 h 442"/>
                  <a:gd name="T8" fmla="*/ 360 w 360"/>
                  <a:gd name="T9" fmla="*/ 0 h 442"/>
                  <a:gd name="T10" fmla="*/ 360 w 360"/>
                  <a:gd name="T11" fmla="*/ 0 h 442"/>
                  <a:gd name="T12" fmla="*/ 360 w 360"/>
                  <a:gd name="T13" fmla="*/ 0 h 442"/>
                  <a:gd name="T14" fmla="*/ 0 w 36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442">
                    <a:moveTo>
                      <a:pt x="0" y="442"/>
                    </a:moveTo>
                    <a:lnTo>
                      <a:pt x="0" y="442"/>
                    </a:lnTo>
                    <a:lnTo>
                      <a:pt x="360" y="0"/>
                    </a:lnTo>
                    <a:lnTo>
                      <a:pt x="360" y="0"/>
                    </a:lnTo>
                    <a:lnTo>
                      <a:pt x="360" y="0"/>
                    </a:lnTo>
                    <a:lnTo>
                      <a:pt x="360" y="0"/>
                    </a:lnTo>
                    <a:lnTo>
                      <a:pt x="360" y="0"/>
                    </a:lnTo>
                    <a:lnTo>
                      <a:pt x="0" y="4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6" name="Freeform 357"/>
              <p:cNvSpPr>
                <a:spLocks noEditPoints="1"/>
              </p:cNvSpPr>
              <p:nvPr/>
            </p:nvSpPr>
            <p:spPr bwMode="auto">
              <a:xfrm>
                <a:off x="-10853738" y="4237037"/>
                <a:ext cx="944563" cy="2341563"/>
              </a:xfrm>
              <a:custGeom>
                <a:avLst/>
                <a:gdLst>
                  <a:gd name="T0" fmla="*/ 1240 w 1240"/>
                  <a:gd name="T1" fmla="*/ 3073 h 3073"/>
                  <a:gd name="T2" fmla="*/ 0 w 1240"/>
                  <a:gd name="T3" fmla="*/ 2042 h 3073"/>
                  <a:gd name="T4" fmla="*/ 0 w 1240"/>
                  <a:gd name="T5" fmla="*/ 2042 h 3073"/>
                  <a:gd name="T6" fmla="*/ 0 w 1240"/>
                  <a:gd name="T7" fmla="*/ 2042 h 3073"/>
                  <a:gd name="T8" fmla="*/ 0 w 1240"/>
                  <a:gd name="T9" fmla="*/ 2042 h 3073"/>
                  <a:gd name="T10" fmla="*/ 1178 w 1240"/>
                  <a:gd name="T11" fmla="*/ 1 h 3073"/>
                  <a:gd name="T12" fmla="*/ 1240 w 1240"/>
                  <a:gd name="T13" fmla="*/ 3073 h 3073"/>
                  <a:gd name="T14" fmla="*/ 1178 w 1240"/>
                  <a:gd name="T15" fmla="*/ 0 h 3073"/>
                  <a:gd name="T16" fmla="*/ 1178 w 1240"/>
                  <a:gd name="T17" fmla="*/ 0 h 3073"/>
                  <a:gd name="T18" fmla="*/ 1178 w 1240"/>
                  <a:gd name="T19" fmla="*/ 0 h 3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0" h="3073">
                    <a:moveTo>
                      <a:pt x="1240" y="3073"/>
                    </a:moveTo>
                    <a:lnTo>
                      <a:pt x="0" y="2042"/>
                    </a:lnTo>
                    <a:lnTo>
                      <a:pt x="0" y="2042"/>
                    </a:lnTo>
                    <a:lnTo>
                      <a:pt x="0" y="2042"/>
                    </a:lnTo>
                    <a:lnTo>
                      <a:pt x="0" y="2042"/>
                    </a:lnTo>
                    <a:lnTo>
                      <a:pt x="1178" y="1"/>
                    </a:lnTo>
                    <a:lnTo>
                      <a:pt x="1240" y="3073"/>
                    </a:lnTo>
                    <a:moveTo>
                      <a:pt x="1178" y="0"/>
                    </a:moveTo>
                    <a:lnTo>
                      <a:pt x="1178" y="0"/>
                    </a:lnTo>
                    <a:lnTo>
                      <a:pt x="1178" y="0"/>
                    </a:lnTo>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7" name="Rectangle 358"/>
              <p:cNvSpPr>
                <a:spLocks noChangeArrowheads="1"/>
              </p:cNvSpPr>
              <p:nvPr/>
            </p:nvSpPr>
            <p:spPr bwMode="auto">
              <a:xfrm>
                <a:off x="-10853738" y="5792787"/>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8" name="Freeform 359"/>
              <p:cNvSpPr>
                <a:spLocks/>
              </p:cNvSpPr>
              <p:nvPr/>
            </p:nvSpPr>
            <p:spPr bwMode="auto">
              <a:xfrm>
                <a:off x="-10853738" y="2682875"/>
                <a:ext cx="1365250" cy="1554163"/>
              </a:xfrm>
              <a:custGeom>
                <a:avLst/>
                <a:gdLst>
                  <a:gd name="T0" fmla="*/ 565 w 860"/>
                  <a:gd name="T1" fmla="*/ 979 h 979"/>
                  <a:gd name="T2" fmla="*/ 565 w 860"/>
                  <a:gd name="T3" fmla="*/ 979 h 979"/>
                  <a:gd name="T4" fmla="*/ 0 w 860"/>
                  <a:gd name="T5" fmla="*/ 0 h 979"/>
                  <a:gd name="T6" fmla="*/ 0 w 860"/>
                  <a:gd name="T7" fmla="*/ 0 h 979"/>
                  <a:gd name="T8" fmla="*/ 860 w 860"/>
                  <a:gd name="T9" fmla="*/ 333 h 979"/>
                  <a:gd name="T10" fmla="*/ 565 w 860"/>
                  <a:gd name="T11" fmla="*/ 979 h 979"/>
                </a:gdLst>
                <a:ahLst/>
                <a:cxnLst>
                  <a:cxn ang="0">
                    <a:pos x="T0" y="T1"/>
                  </a:cxn>
                  <a:cxn ang="0">
                    <a:pos x="T2" y="T3"/>
                  </a:cxn>
                  <a:cxn ang="0">
                    <a:pos x="T4" y="T5"/>
                  </a:cxn>
                  <a:cxn ang="0">
                    <a:pos x="T6" y="T7"/>
                  </a:cxn>
                  <a:cxn ang="0">
                    <a:pos x="T8" y="T9"/>
                  </a:cxn>
                  <a:cxn ang="0">
                    <a:pos x="T10" y="T11"/>
                  </a:cxn>
                </a:cxnLst>
                <a:rect l="0" t="0" r="r" b="b"/>
                <a:pathLst>
                  <a:path w="860" h="979">
                    <a:moveTo>
                      <a:pt x="565" y="979"/>
                    </a:moveTo>
                    <a:lnTo>
                      <a:pt x="565" y="979"/>
                    </a:lnTo>
                    <a:lnTo>
                      <a:pt x="0" y="0"/>
                    </a:lnTo>
                    <a:lnTo>
                      <a:pt x="0" y="0"/>
                    </a:lnTo>
                    <a:lnTo>
                      <a:pt x="860" y="333"/>
                    </a:lnTo>
                    <a:lnTo>
                      <a:pt x="565"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39" name="Freeform 360"/>
              <p:cNvSpPr>
                <a:spLocks/>
              </p:cNvSpPr>
              <p:nvPr/>
            </p:nvSpPr>
            <p:spPr bwMode="auto">
              <a:xfrm>
                <a:off x="-9956800" y="4237037"/>
                <a:ext cx="1797050" cy="2341563"/>
              </a:xfrm>
              <a:custGeom>
                <a:avLst/>
                <a:gdLst>
                  <a:gd name="T0" fmla="*/ 30 w 1132"/>
                  <a:gd name="T1" fmla="*/ 1475 h 1475"/>
                  <a:gd name="T2" fmla="*/ 0 w 1132"/>
                  <a:gd name="T3" fmla="*/ 1 h 1475"/>
                  <a:gd name="T4" fmla="*/ 0 w 1132"/>
                  <a:gd name="T5" fmla="*/ 0 h 1475"/>
                  <a:gd name="T6" fmla="*/ 0 w 1132"/>
                  <a:gd name="T7" fmla="*/ 0 h 1475"/>
                  <a:gd name="T8" fmla="*/ 0 w 1132"/>
                  <a:gd name="T9" fmla="*/ 0 h 1475"/>
                  <a:gd name="T10" fmla="*/ 1132 w 1132"/>
                  <a:gd name="T11" fmla="*/ 0 h 1475"/>
                  <a:gd name="T12" fmla="*/ 1132 w 1132"/>
                  <a:gd name="T13" fmla="*/ 1 h 1475"/>
                  <a:gd name="T14" fmla="*/ 30 w 1132"/>
                  <a:gd name="T15" fmla="*/ 1475 h 14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1475">
                    <a:moveTo>
                      <a:pt x="30" y="1475"/>
                    </a:moveTo>
                    <a:lnTo>
                      <a:pt x="0" y="1"/>
                    </a:lnTo>
                    <a:lnTo>
                      <a:pt x="0" y="0"/>
                    </a:lnTo>
                    <a:lnTo>
                      <a:pt x="0" y="0"/>
                    </a:lnTo>
                    <a:lnTo>
                      <a:pt x="0" y="0"/>
                    </a:lnTo>
                    <a:lnTo>
                      <a:pt x="1132" y="0"/>
                    </a:lnTo>
                    <a:lnTo>
                      <a:pt x="1132" y="1"/>
                    </a:lnTo>
                    <a:lnTo>
                      <a:pt x="30" y="147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0" name="Freeform 361"/>
              <p:cNvSpPr>
                <a:spLocks noEditPoints="1"/>
              </p:cNvSpPr>
              <p:nvPr/>
            </p:nvSpPr>
            <p:spPr bwMode="auto">
              <a:xfrm>
                <a:off x="-12179300" y="2682875"/>
                <a:ext cx="2222500" cy="1914525"/>
              </a:xfrm>
              <a:custGeom>
                <a:avLst/>
                <a:gdLst>
                  <a:gd name="T0" fmla="*/ 0 w 2916"/>
                  <a:gd name="T1" fmla="*/ 2514 h 2514"/>
                  <a:gd name="T2" fmla="*/ 956 w 2916"/>
                  <a:gd name="T3" fmla="*/ 1131 h 2514"/>
                  <a:gd name="T4" fmla="*/ 1738 w 2916"/>
                  <a:gd name="T5" fmla="*/ 0 h 2514"/>
                  <a:gd name="T6" fmla="*/ 2916 w 2916"/>
                  <a:gd name="T7" fmla="*/ 2041 h 2514"/>
                  <a:gd name="T8" fmla="*/ 0 w 2916"/>
                  <a:gd name="T9" fmla="*/ 2514 h 2514"/>
                  <a:gd name="T10" fmla="*/ 1738 w 2916"/>
                  <a:gd name="T11" fmla="*/ 0 h 2514"/>
                  <a:gd name="T12" fmla="*/ 1738 w 2916"/>
                  <a:gd name="T13" fmla="*/ 0 h 2514"/>
                </a:gdLst>
                <a:ahLst/>
                <a:cxnLst>
                  <a:cxn ang="0">
                    <a:pos x="T0" y="T1"/>
                  </a:cxn>
                  <a:cxn ang="0">
                    <a:pos x="T2" y="T3"/>
                  </a:cxn>
                  <a:cxn ang="0">
                    <a:pos x="T4" y="T5"/>
                  </a:cxn>
                  <a:cxn ang="0">
                    <a:pos x="T6" y="T7"/>
                  </a:cxn>
                  <a:cxn ang="0">
                    <a:pos x="T8" y="T9"/>
                  </a:cxn>
                  <a:cxn ang="0">
                    <a:pos x="T10" y="T11"/>
                  </a:cxn>
                  <a:cxn ang="0">
                    <a:pos x="T12" y="T13"/>
                  </a:cxn>
                </a:cxnLst>
                <a:rect l="0" t="0" r="r" b="b"/>
                <a:pathLst>
                  <a:path w="2916" h="2514">
                    <a:moveTo>
                      <a:pt x="0" y="2514"/>
                    </a:moveTo>
                    <a:lnTo>
                      <a:pt x="956" y="1131"/>
                    </a:lnTo>
                    <a:lnTo>
                      <a:pt x="1738" y="0"/>
                    </a:lnTo>
                    <a:lnTo>
                      <a:pt x="2916" y="2041"/>
                    </a:lnTo>
                    <a:lnTo>
                      <a:pt x="0" y="2514"/>
                    </a:lnTo>
                    <a:moveTo>
                      <a:pt x="1738" y="0"/>
                    </a:moveTo>
                    <a:lnTo>
                      <a:pt x="1738"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1" name="Freeform 362"/>
              <p:cNvSpPr>
                <a:spLocks/>
              </p:cNvSpPr>
              <p:nvPr/>
            </p:nvSpPr>
            <p:spPr bwMode="auto">
              <a:xfrm>
                <a:off x="-9956800" y="3211512"/>
                <a:ext cx="1797050" cy="1025525"/>
              </a:xfrm>
              <a:custGeom>
                <a:avLst/>
                <a:gdLst>
                  <a:gd name="T0" fmla="*/ 2358 w 2358"/>
                  <a:gd name="T1" fmla="*/ 1346 h 1346"/>
                  <a:gd name="T2" fmla="*/ 0 w 2358"/>
                  <a:gd name="T3" fmla="*/ 1346 h 1346"/>
                  <a:gd name="T4" fmla="*/ 614 w 2358"/>
                  <a:gd name="T5" fmla="*/ 0 h 1346"/>
                  <a:gd name="T6" fmla="*/ 2358 w 2358"/>
                  <a:gd name="T7" fmla="*/ 1346 h 1346"/>
                  <a:gd name="T8" fmla="*/ 2357 w 2358"/>
                  <a:gd name="T9" fmla="*/ 1346 h 1346"/>
                  <a:gd name="T10" fmla="*/ 2358 w 2358"/>
                  <a:gd name="T11" fmla="*/ 1346 h 1346"/>
                  <a:gd name="T12" fmla="*/ 2358 w 2358"/>
                  <a:gd name="T13" fmla="*/ 1346 h 1346"/>
                  <a:gd name="T14" fmla="*/ 2357 w 2358"/>
                  <a:gd name="T15" fmla="*/ 1346 h 13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8" h="1346">
                    <a:moveTo>
                      <a:pt x="2358" y="1346"/>
                    </a:moveTo>
                    <a:lnTo>
                      <a:pt x="0" y="1346"/>
                    </a:lnTo>
                    <a:lnTo>
                      <a:pt x="614" y="0"/>
                    </a:lnTo>
                    <a:lnTo>
                      <a:pt x="2358" y="1346"/>
                    </a:lnTo>
                    <a:lnTo>
                      <a:pt x="2357" y="1346"/>
                    </a:lnTo>
                    <a:lnTo>
                      <a:pt x="2358" y="1346"/>
                    </a:lnTo>
                    <a:lnTo>
                      <a:pt x="2358" y="1346"/>
                    </a:lnTo>
                    <a:lnTo>
                      <a:pt x="2357" y="1346"/>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2" name="Freeform 363"/>
              <p:cNvSpPr>
                <a:spLocks noEditPoints="1"/>
              </p:cNvSpPr>
              <p:nvPr/>
            </p:nvSpPr>
            <p:spPr bwMode="auto">
              <a:xfrm>
                <a:off x="-12179300" y="4237037"/>
                <a:ext cx="2222500" cy="1555750"/>
              </a:xfrm>
              <a:custGeom>
                <a:avLst/>
                <a:gdLst>
                  <a:gd name="T0" fmla="*/ 1738 w 2916"/>
                  <a:gd name="T1" fmla="*/ 2042 h 2042"/>
                  <a:gd name="T2" fmla="*/ 0 w 2916"/>
                  <a:gd name="T3" fmla="*/ 473 h 2042"/>
                  <a:gd name="T4" fmla="*/ 2916 w 2916"/>
                  <a:gd name="T5" fmla="*/ 0 h 2042"/>
                  <a:gd name="T6" fmla="*/ 1738 w 2916"/>
                  <a:gd name="T7" fmla="*/ 2042 h 2042"/>
                  <a:gd name="T8" fmla="*/ 2916 w 2916"/>
                  <a:gd name="T9" fmla="*/ 1 h 2042"/>
                  <a:gd name="T10" fmla="*/ 2916 w 2916"/>
                  <a:gd name="T11" fmla="*/ 0 h 2042"/>
                  <a:gd name="T12" fmla="*/ 2916 w 2916"/>
                  <a:gd name="T13" fmla="*/ 1 h 2042"/>
                </a:gdLst>
                <a:ahLst/>
                <a:cxnLst>
                  <a:cxn ang="0">
                    <a:pos x="T0" y="T1"/>
                  </a:cxn>
                  <a:cxn ang="0">
                    <a:pos x="T2" y="T3"/>
                  </a:cxn>
                  <a:cxn ang="0">
                    <a:pos x="T4" y="T5"/>
                  </a:cxn>
                  <a:cxn ang="0">
                    <a:pos x="T6" y="T7"/>
                  </a:cxn>
                  <a:cxn ang="0">
                    <a:pos x="T8" y="T9"/>
                  </a:cxn>
                  <a:cxn ang="0">
                    <a:pos x="T10" y="T11"/>
                  </a:cxn>
                  <a:cxn ang="0">
                    <a:pos x="T12" y="T13"/>
                  </a:cxn>
                </a:cxnLst>
                <a:rect l="0" t="0" r="r" b="b"/>
                <a:pathLst>
                  <a:path w="2916" h="2042">
                    <a:moveTo>
                      <a:pt x="1738" y="2042"/>
                    </a:moveTo>
                    <a:lnTo>
                      <a:pt x="0" y="473"/>
                    </a:lnTo>
                    <a:lnTo>
                      <a:pt x="2916" y="0"/>
                    </a:lnTo>
                    <a:lnTo>
                      <a:pt x="1738" y="2042"/>
                    </a:lnTo>
                    <a:moveTo>
                      <a:pt x="2916" y="1"/>
                    </a:moveTo>
                    <a:lnTo>
                      <a:pt x="2916" y="0"/>
                    </a:lnTo>
                    <a:lnTo>
                      <a:pt x="2916" y="1"/>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3" name="Freeform 364"/>
              <p:cNvSpPr>
                <a:spLocks/>
              </p:cNvSpPr>
              <p:nvPr/>
            </p:nvSpPr>
            <p:spPr bwMode="auto">
              <a:xfrm>
                <a:off x="-10853738" y="4237037"/>
                <a:ext cx="896938" cy="1555750"/>
              </a:xfrm>
              <a:custGeom>
                <a:avLst/>
                <a:gdLst>
                  <a:gd name="T0" fmla="*/ 0 w 565"/>
                  <a:gd name="T1" fmla="*/ 980 h 980"/>
                  <a:gd name="T2" fmla="*/ 0 w 565"/>
                  <a:gd name="T3" fmla="*/ 980 h 980"/>
                  <a:gd name="T4" fmla="*/ 565 w 565"/>
                  <a:gd name="T5" fmla="*/ 0 h 980"/>
                  <a:gd name="T6" fmla="*/ 565 w 565"/>
                  <a:gd name="T7" fmla="*/ 1 h 980"/>
                  <a:gd name="T8" fmla="*/ 0 w 565"/>
                  <a:gd name="T9" fmla="*/ 980 h 980"/>
                </a:gdLst>
                <a:ahLst/>
                <a:cxnLst>
                  <a:cxn ang="0">
                    <a:pos x="T0" y="T1"/>
                  </a:cxn>
                  <a:cxn ang="0">
                    <a:pos x="T2" y="T3"/>
                  </a:cxn>
                  <a:cxn ang="0">
                    <a:pos x="T4" y="T5"/>
                  </a:cxn>
                  <a:cxn ang="0">
                    <a:pos x="T6" y="T7"/>
                  </a:cxn>
                  <a:cxn ang="0">
                    <a:pos x="T8" y="T9"/>
                  </a:cxn>
                </a:cxnLst>
                <a:rect l="0" t="0" r="r" b="b"/>
                <a:pathLst>
                  <a:path w="565" h="980">
                    <a:moveTo>
                      <a:pt x="0" y="980"/>
                    </a:moveTo>
                    <a:lnTo>
                      <a:pt x="0" y="980"/>
                    </a:lnTo>
                    <a:lnTo>
                      <a:pt x="565" y="0"/>
                    </a:lnTo>
                    <a:lnTo>
                      <a:pt x="565" y="1"/>
                    </a:lnTo>
                    <a:lnTo>
                      <a:pt x="0" y="980"/>
                    </a:lnTo>
                    <a:close/>
                  </a:path>
                </a:pathLst>
              </a:custGeom>
              <a:solidFill>
                <a:srgbClr val="599FB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4" name="Rectangle 365"/>
              <p:cNvSpPr>
                <a:spLocks noChangeArrowheads="1"/>
              </p:cNvSpPr>
              <p:nvPr/>
            </p:nvSpPr>
            <p:spPr bwMode="auto">
              <a:xfrm>
                <a:off x="-9956800" y="4237037"/>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5" name="Freeform 366"/>
              <p:cNvSpPr>
                <a:spLocks/>
              </p:cNvSpPr>
              <p:nvPr/>
            </p:nvSpPr>
            <p:spPr bwMode="auto">
              <a:xfrm>
                <a:off x="-12625388" y="7327900"/>
                <a:ext cx="366713" cy="331788"/>
              </a:xfrm>
              <a:custGeom>
                <a:avLst/>
                <a:gdLst>
                  <a:gd name="T0" fmla="*/ 231 w 231"/>
                  <a:gd name="T1" fmla="*/ 209 h 209"/>
                  <a:gd name="T2" fmla="*/ 0 w 231"/>
                  <a:gd name="T3" fmla="*/ 209 h 209"/>
                  <a:gd name="T4" fmla="*/ 0 w 231"/>
                  <a:gd name="T5" fmla="*/ 48 h 209"/>
                  <a:gd name="T6" fmla="*/ 178 w 231"/>
                  <a:gd name="T7" fmla="*/ 0 h 209"/>
                  <a:gd name="T8" fmla="*/ 231 w 231"/>
                  <a:gd name="T9" fmla="*/ 209 h 209"/>
                </a:gdLst>
                <a:ahLst/>
                <a:cxnLst>
                  <a:cxn ang="0">
                    <a:pos x="T0" y="T1"/>
                  </a:cxn>
                  <a:cxn ang="0">
                    <a:pos x="T2" y="T3"/>
                  </a:cxn>
                  <a:cxn ang="0">
                    <a:pos x="T4" y="T5"/>
                  </a:cxn>
                  <a:cxn ang="0">
                    <a:pos x="T6" y="T7"/>
                  </a:cxn>
                  <a:cxn ang="0">
                    <a:pos x="T8" y="T9"/>
                  </a:cxn>
                </a:cxnLst>
                <a:rect l="0" t="0" r="r" b="b"/>
                <a:pathLst>
                  <a:path w="231" h="209">
                    <a:moveTo>
                      <a:pt x="231" y="209"/>
                    </a:moveTo>
                    <a:lnTo>
                      <a:pt x="0" y="209"/>
                    </a:lnTo>
                    <a:lnTo>
                      <a:pt x="0" y="48"/>
                    </a:lnTo>
                    <a:lnTo>
                      <a:pt x="178" y="0"/>
                    </a:lnTo>
                    <a:lnTo>
                      <a:pt x="231" y="20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6" name="Freeform 367"/>
              <p:cNvSpPr>
                <a:spLocks/>
              </p:cNvSpPr>
              <p:nvPr/>
            </p:nvSpPr>
            <p:spPr bwMode="auto">
              <a:xfrm>
                <a:off x="-12341225" y="7327900"/>
                <a:ext cx="534988" cy="331788"/>
              </a:xfrm>
              <a:custGeom>
                <a:avLst/>
                <a:gdLst>
                  <a:gd name="T0" fmla="*/ 337 w 337"/>
                  <a:gd name="T1" fmla="*/ 209 h 209"/>
                  <a:gd name="T2" fmla="*/ 52 w 337"/>
                  <a:gd name="T3" fmla="*/ 209 h 209"/>
                  <a:gd name="T4" fmla="*/ 0 w 337"/>
                  <a:gd name="T5" fmla="*/ 0 h 209"/>
                  <a:gd name="T6" fmla="*/ 205 w 337"/>
                  <a:gd name="T7" fmla="*/ 127 h 209"/>
                  <a:gd name="T8" fmla="*/ 337 w 337"/>
                  <a:gd name="T9" fmla="*/ 209 h 209"/>
                </a:gdLst>
                <a:ahLst/>
                <a:cxnLst>
                  <a:cxn ang="0">
                    <a:pos x="T0" y="T1"/>
                  </a:cxn>
                  <a:cxn ang="0">
                    <a:pos x="T2" y="T3"/>
                  </a:cxn>
                  <a:cxn ang="0">
                    <a:pos x="T4" y="T5"/>
                  </a:cxn>
                  <a:cxn ang="0">
                    <a:pos x="T6" y="T7"/>
                  </a:cxn>
                  <a:cxn ang="0">
                    <a:pos x="T8" y="T9"/>
                  </a:cxn>
                </a:cxnLst>
                <a:rect l="0" t="0" r="r" b="b"/>
                <a:pathLst>
                  <a:path w="337" h="209">
                    <a:moveTo>
                      <a:pt x="337" y="209"/>
                    </a:moveTo>
                    <a:lnTo>
                      <a:pt x="52" y="209"/>
                    </a:lnTo>
                    <a:lnTo>
                      <a:pt x="0" y="0"/>
                    </a:lnTo>
                    <a:lnTo>
                      <a:pt x="205" y="127"/>
                    </a:lnTo>
                    <a:lnTo>
                      <a:pt x="337" y="20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7" name="Freeform 368"/>
              <p:cNvSpPr>
                <a:spLocks/>
              </p:cNvSpPr>
              <p:nvPr/>
            </p:nvSpPr>
            <p:spPr bwMode="auto">
              <a:xfrm>
                <a:off x="-10125075" y="7350125"/>
                <a:ext cx="347663" cy="309563"/>
              </a:xfrm>
              <a:custGeom>
                <a:avLst/>
                <a:gdLst>
                  <a:gd name="T0" fmla="*/ 219 w 219"/>
                  <a:gd name="T1" fmla="*/ 195 h 195"/>
                  <a:gd name="T2" fmla="*/ 0 w 219"/>
                  <a:gd name="T3" fmla="*/ 195 h 195"/>
                  <a:gd name="T4" fmla="*/ 106 w 219"/>
                  <a:gd name="T5" fmla="*/ 0 h 195"/>
                  <a:gd name="T6" fmla="*/ 219 w 219"/>
                  <a:gd name="T7" fmla="*/ 195 h 195"/>
                </a:gdLst>
                <a:ahLst/>
                <a:cxnLst>
                  <a:cxn ang="0">
                    <a:pos x="T0" y="T1"/>
                  </a:cxn>
                  <a:cxn ang="0">
                    <a:pos x="T2" y="T3"/>
                  </a:cxn>
                  <a:cxn ang="0">
                    <a:pos x="T4" y="T5"/>
                  </a:cxn>
                  <a:cxn ang="0">
                    <a:pos x="T6" y="T7"/>
                  </a:cxn>
                </a:cxnLst>
                <a:rect l="0" t="0" r="r" b="b"/>
                <a:pathLst>
                  <a:path w="219" h="195">
                    <a:moveTo>
                      <a:pt x="219" y="195"/>
                    </a:moveTo>
                    <a:lnTo>
                      <a:pt x="0" y="195"/>
                    </a:lnTo>
                    <a:lnTo>
                      <a:pt x="106" y="0"/>
                    </a:lnTo>
                    <a:lnTo>
                      <a:pt x="219"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8" name="Freeform 369"/>
              <p:cNvSpPr>
                <a:spLocks/>
              </p:cNvSpPr>
              <p:nvPr/>
            </p:nvSpPr>
            <p:spPr bwMode="auto">
              <a:xfrm>
                <a:off x="-10853738" y="5792787"/>
                <a:ext cx="944563" cy="1557338"/>
              </a:xfrm>
              <a:custGeom>
                <a:avLst/>
                <a:gdLst>
                  <a:gd name="T0" fmla="*/ 565 w 595"/>
                  <a:gd name="T1" fmla="*/ 981 h 981"/>
                  <a:gd name="T2" fmla="*/ 565 w 595"/>
                  <a:gd name="T3" fmla="*/ 981 h 981"/>
                  <a:gd name="T4" fmla="*/ 0 w 595"/>
                  <a:gd name="T5" fmla="*/ 0 h 981"/>
                  <a:gd name="T6" fmla="*/ 0 w 595"/>
                  <a:gd name="T7" fmla="*/ 0 h 981"/>
                  <a:gd name="T8" fmla="*/ 595 w 595"/>
                  <a:gd name="T9" fmla="*/ 495 h 981"/>
                  <a:gd name="T10" fmla="*/ 565 w 595"/>
                  <a:gd name="T11" fmla="*/ 981 h 981"/>
                </a:gdLst>
                <a:ahLst/>
                <a:cxnLst>
                  <a:cxn ang="0">
                    <a:pos x="T0" y="T1"/>
                  </a:cxn>
                  <a:cxn ang="0">
                    <a:pos x="T2" y="T3"/>
                  </a:cxn>
                  <a:cxn ang="0">
                    <a:pos x="T4" y="T5"/>
                  </a:cxn>
                  <a:cxn ang="0">
                    <a:pos x="T6" y="T7"/>
                  </a:cxn>
                  <a:cxn ang="0">
                    <a:pos x="T8" y="T9"/>
                  </a:cxn>
                  <a:cxn ang="0">
                    <a:pos x="T10" y="T11"/>
                  </a:cxn>
                </a:cxnLst>
                <a:rect l="0" t="0" r="r" b="b"/>
                <a:pathLst>
                  <a:path w="595" h="981">
                    <a:moveTo>
                      <a:pt x="565" y="981"/>
                    </a:moveTo>
                    <a:lnTo>
                      <a:pt x="565" y="981"/>
                    </a:lnTo>
                    <a:lnTo>
                      <a:pt x="0" y="0"/>
                    </a:lnTo>
                    <a:lnTo>
                      <a:pt x="0" y="0"/>
                    </a:lnTo>
                    <a:lnTo>
                      <a:pt x="595" y="495"/>
                    </a:lnTo>
                    <a:lnTo>
                      <a:pt x="565"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49" name="Freeform 370"/>
              <p:cNvSpPr>
                <a:spLocks/>
              </p:cNvSpPr>
              <p:nvPr/>
            </p:nvSpPr>
            <p:spPr bwMode="auto">
              <a:xfrm>
                <a:off x="-9956800" y="7350125"/>
                <a:ext cx="608013" cy="309563"/>
              </a:xfrm>
              <a:custGeom>
                <a:avLst/>
                <a:gdLst>
                  <a:gd name="T0" fmla="*/ 383 w 383"/>
                  <a:gd name="T1" fmla="*/ 195 h 195"/>
                  <a:gd name="T2" fmla="*/ 113 w 383"/>
                  <a:gd name="T3" fmla="*/ 195 h 195"/>
                  <a:gd name="T4" fmla="*/ 0 w 383"/>
                  <a:gd name="T5" fmla="*/ 0 h 195"/>
                  <a:gd name="T6" fmla="*/ 0 w 383"/>
                  <a:gd name="T7" fmla="*/ 0 h 195"/>
                  <a:gd name="T8" fmla="*/ 383 w 383"/>
                  <a:gd name="T9" fmla="*/ 195 h 195"/>
                </a:gdLst>
                <a:ahLst/>
                <a:cxnLst>
                  <a:cxn ang="0">
                    <a:pos x="T0" y="T1"/>
                  </a:cxn>
                  <a:cxn ang="0">
                    <a:pos x="T2" y="T3"/>
                  </a:cxn>
                  <a:cxn ang="0">
                    <a:pos x="T4" y="T5"/>
                  </a:cxn>
                  <a:cxn ang="0">
                    <a:pos x="T6" y="T7"/>
                  </a:cxn>
                  <a:cxn ang="0">
                    <a:pos x="T8" y="T9"/>
                  </a:cxn>
                </a:cxnLst>
                <a:rect l="0" t="0" r="r" b="b"/>
                <a:pathLst>
                  <a:path w="383" h="195">
                    <a:moveTo>
                      <a:pt x="383" y="195"/>
                    </a:moveTo>
                    <a:lnTo>
                      <a:pt x="113" y="195"/>
                    </a:lnTo>
                    <a:lnTo>
                      <a:pt x="0" y="0"/>
                    </a:lnTo>
                    <a:lnTo>
                      <a:pt x="0" y="0"/>
                    </a:lnTo>
                    <a:lnTo>
                      <a:pt x="383"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0" name="Freeform 371"/>
              <p:cNvSpPr>
                <a:spLocks/>
              </p:cNvSpPr>
              <p:nvPr/>
            </p:nvSpPr>
            <p:spPr bwMode="auto">
              <a:xfrm>
                <a:off x="-12341225" y="5792787"/>
                <a:ext cx="2384425" cy="1557338"/>
              </a:xfrm>
              <a:custGeom>
                <a:avLst/>
                <a:gdLst>
                  <a:gd name="T0" fmla="*/ 1502 w 1502"/>
                  <a:gd name="T1" fmla="*/ 981 h 981"/>
                  <a:gd name="T2" fmla="*/ 0 w 1502"/>
                  <a:gd name="T3" fmla="*/ 967 h 981"/>
                  <a:gd name="T4" fmla="*/ 0 w 1502"/>
                  <a:gd name="T5" fmla="*/ 967 h 981"/>
                  <a:gd name="T6" fmla="*/ 0 w 1502"/>
                  <a:gd name="T7" fmla="*/ 967 h 981"/>
                  <a:gd name="T8" fmla="*/ 374 w 1502"/>
                  <a:gd name="T9" fmla="*/ 580 h 981"/>
                  <a:gd name="T10" fmla="*/ 937 w 1502"/>
                  <a:gd name="T11" fmla="*/ 0 h 981"/>
                  <a:gd name="T12" fmla="*/ 1502 w 1502"/>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502" h="981">
                    <a:moveTo>
                      <a:pt x="1502" y="981"/>
                    </a:moveTo>
                    <a:lnTo>
                      <a:pt x="0" y="967"/>
                    </a:lnTo>
                    <a:lnTo>
                      <a:pt x="0" y="967"/>
                    </a:lnTo>
                    <a:lnTo>
                      <a:pt x="0" y="967"/>
                    </a:lnTo>
                    <a:lnTo>
                      <a:pt x="374" y="580"/>
                    </a:lnTo>
                    <a:lnTo>
                      <a:pt x="937" y="0"/>
                    </a:lnTo>
                    <a:lnTo>
                      <a:pt x="1502" y="981"/>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1" name="Freeform 372"/>
              <p:cNvSpPr>
                <a:spLocks/>
              </p:cNvSpPr>
              <p:nvPr/>
            </p:nvSpPr>
            <p:spPr bwMode="auto">
              <a:xfrm>
                <a:off x="-9956800" y="6578600"/>
                <a:ext cx="1098550" cy="1081088"/>
              </a:xfrm>
              <a:custGeom>
                <a:avLst/>
                <a:gdLst>
                  <a:gd name="T0" fmla="*/ 692 w 692"/>
                  <a:gd name="T1" fmla="*/ 681 h 681"/>
                  <a:gd name="T2" fmla="*/ 383 w 692"/>
                  <a:gd name="T3" fmla="*/ 681 h 681"/>
                  <a:gd name="T4" fmla="*/ 0 w 692"/>
                  <a:gd name="T5" fmla="*/ 486 h 681"/>
                  <a:gd name="T6" fmla="*/ 30 w 692"/>
                  <a:gd name="T7" fmla="*/ 0 h 681"/>
                  <a:gd name="T8" fmla="*/ 692 w 692"/>
                  <a:gd name="T9" fmla="*/ 681 h 681"/>
                </a:gdLst>
                <a:ahLst/>
                <a:cxnLst>
                  <a:cxn ang="0">
                    <a:pos x="T0" y="T1"/>
                  </a:cxn>
                  <a:cxn ang="0">
                    <a:pos x="T2" y="T3"/>
                  </a:cxn>
                  <a:cxn ang="0">
                    <a:pos x="T4" y="T5"/>
                  </a:cxn>
                  <a:cxn ang="0">
                    <a:pos x="T6" y="T7"/>
                  </a:cxn>
                  <a:cxn ang="0">
                    <a:pos x="T8" y="T9"/>
                  </a:cxn>
                </a:cxnLst>
                <a:rect l="0" t="0" r="r" b="b"/>
                <a:pathLst>
                  <a:path w="692" h="681">
                    <a:moveTo>
                      <a:pt x="692" y="681"/>
                    </a:moveTo>
                    <a:lnTo>
                      <a:pt x="383" y="681"/>
                    </a:lnTo>
                    <a:lnTo>
                      <a:pt x="0" y="486"/>
                    </a:lnTo>
                    <a:lnTo>
                      <a:pt x="30" y="0"/>
                    </a:lnTo>
                    <a:lnTo>
                      <a:pt x="692" y="68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2" name="Freeform 373"/>
              <p:cNvSpPr>
                <a:spLocks noEditPoints="1"/>
              </p:cNvSpPr>
              <p:nvPr/>
            </p:nvSpPr>
            <p:spPr bwMode="auto">
              <a:xfrm>
                <a:off x="-12341225" y="7327900"/>
                <a:ext cx="2384425" cy="331788"/>
              </a:xfrm>
              <a:custGeom>
                <a:avLst/>
                <a:gdLst>
                  <a:gd name="T0" fmla="*/ 2910 w 3130"/>
                  <a:gd name="T1" fmla="*/ 436 h 436"/>
                  <a:gd name="T2" fmla="*/ 702 w 3130"/>
                  <a:gd name="T3" fmla="*/ 436 h 436"/>
                  <a:gd name="T4" fmla="*/ 428 w 3130"/>
                  <a:gd name="T5" fmla="*/ 265 h 436"/>
                  <a:gd name="T6" fmla="*/ 0 w 3130"/>
                  <a:gd name="T7" fmla="*/ 0 h 436"/>
                  <a:gd name="T8" fmla="*/ 3130 w 3130"/>
                  <a:gd name="T9" fmla="*/ 29 h 436"/>
                  <a:gd name="T10" fmla="*/ 2910 w 3130"/>
                  <a:gd name="T11" fmla="*/ 436 h 436"/>
                  <a:gd name="T12" fmla="*/ 3130 w 3130"/>
                  <a:gd name="T13" fmla="*/ 29 h 436"/>
                  <a:gd name="T14" fmla="*/ 3130 w 3130"/>
                  <a:gd name="T15" fmla="*/ 29 h 436"/>
                  <a:gd name="T16" fmla="*/ 3130 w 3130"/>
                  <a:gd name="T17" fmla="*/ 29 h 436"/>
                  <a:gd name="T18" fmla="*/ 3130 w 3130"/>
                  <a:gd name="T19" fmla="*/ 29 h 436"/>
                  <a:gd name="T20" fmla="*/ 3130 w 3130"/>
                  <a:gd name="T21" fmla="*/ 29 h 436"/>
                  <a:gd name="T22" fmla="*/ 3130 w 3130"/>
                  <a:gd name="T23" fmla="*/ 29 h 436"/>
                  <a:gd name="T24" fmla="*/ 0 w 3130"/>
                  <a:gd name="T25" fmla="*/ 0 h 436"/>
                  <a:gd name="T26" fmla="*/ 0 w 3130"/>
                  <a:gd name="T27" fmla="*/ 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30" h="436">
                    <a:moveTo>
                      <a:pt x="2910" y="436"/>
                    </a:moveTo>
                    <a:lnTo>
                      <a:pt x="702" y="436"/>
                    </a:lnTo>
                    <a:lnTo>
                      <a:pt x="428" y="265"/>
                    </a:lnTo>
                    <a:lnTo>
                      <a:pt x="0" y="0"/>
                    </a:lnTo>
                    <a:lnTo>
                      <a:pt x="3130" y="29"/>
                    </a:lnTo>
                    <a:lnTo>
                      <a:pt x="2910" y="436"/>
                    </a:lnTo>
                    <a:moveTo>
                      <a:pt x="3130" y="29"/>
                    </a:moveTo>
                    <a:lnTo>
                      <a:pt x="3130" y="29"/>
                    </a:lnTo>
                    <a:lnTo>
                      <a:pt x="3130" y="29"/>
                    </a:lnTo>
                    <a:lnTo>
                      <a:pt x="3130" y="29"/>
                    </a:lnTo>
                    <a:lnTo>
                      <a:pt x="3130" y="29"/>
                    </a:lnTo>
                    <a:lnTo>
                      <a:pt x="3130" y="29"/>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3" name="Freeform 374"/>
              <p:cNvSpPr>
                <a:spLocks/>
              </p:cNvSpPr>
              <p:nvPr/>
            </p:nvSpPr>
            <p:spPr bwMode="auto">
              <a:xfrm>
                <a:off x="-10125075" y="7350125"/>
                <a:ext cx="168275" cy="309563"/>
              </a:xfrm>
              <a:custGeom>
                <a:avLst/>
                <a:gdLst>
                  <a:gd name="T0" fmla="*/ 0 w 106"/>
                  <a:gd name="T1" fmla="*/ 195 h 195"/>
                  <a:gd name="T2" fmla="*/ 0 w 106"/>
                  <a:gd name="T3" fmla="*/ 195 h 195"/>
                  <a:gd name="T4" fmla="*/ 106 w 106"/>
                  <a:gd name="T5" fmla="*/ 0 h 195"/>
                  <a:gd name="T6" fmla="*/ 106 w 106"/>
                  <a:gd name="T7" fmla="*/ 0 h 195"/>
                  <a:gd name="T8" fmla="*/ 0 w 106"/>
                  <a:gd name="T9" fmla="*/ 195 h 195"/>
                </a:gdLst>
                <a:ahLst/>
                <a:cxnLst>
                  <a:cxn ang="0">
                    <a:pos x="T0" y="T1"/>
                  </a:cxn>
                  <a:cxn ang="0">
                    <a:pos x="T2" y="T3"/>
                  </a:cxn>
                  <a:cxn ang="0">
                    <a:pos x="T4" y="T5"/>
                  </a:cxn>
                  <a:cxn ang="0">
                    <a:pos x="T6" y="T7"/>
                  </a:cxn>
                  <a:cxn ang="0">
                    <a:pos x="T8" y="T9"/>
                  </a:cxn>
                </a:cxnLst>
                <a:rect l="0" t="0" r="r" b="b"/>
                <a:pathLst>
                  <a:path w="106" h="195">
                    <a:moveTo>
                      <a:pt x="0" y="195"/>
                    </a:moveTo>
                    <a:lnTo>
                      <a:pt x="0" y="195"/>
                    </a:lnTo>
                    <a:lnTo>
                      <a:pt x="106" y="0"/>
                    </a:lnTo>
                    <a:lnTo>
                      <a:pt x="106" y="0"/>
                    </a:lnTo>
                    <a:lnTo>
                      <a:pt x="0"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4" name="Rectangle 375"/>
              <p:cNvSpPr>
                <a:spLocks noChangeArrowheads="1"/>
              </p:cNvSpPr>
              <p:nvPr/>
            </p:nvSpPr>
            <p:spPr bwMode="auto">
              <a:xfrm>
                <a:off x="-9956800" y="7350125"/>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5" name="Freeform 376"/>
              <p:cNvSpPr>
                <a:spLocks noEditPoints="1"/>
              </p:cNvSpPr>
              <p:nvPr/>
            </p:nvSpPr>
            <p:spPr bwMode="auto">
              <a:xfrm>
                <a:off x="-12341225" y="7327900"/>
                <a:ext cx="2384425" cy="22225"/>
              </a:xfrm>
              <a:custGeom>
                <a:avLst/>
                <a:gdLst>
                  <a:gd name="T0" fmla="*/ 3130 w 3130"/>
                  <a:gd name="T1" fmla="*/ 29 h 29"/>
                  <a:gd name="T2" fmla="*/ 0 w 3130"/>
                  <a:gd name="T3" fmla="*/ 0 h 29"/>
                  <a:gd name="T4" fmla="*/ 0 w 3130"/>
                  <a:gd name="T5" fmla="*/ 0 h 29"/>
                  <a:gd name="T6" fmla="*/ 3130 w 3130"/>
                  <a:gd name="T7" fmla="*/ 29 h 29"/>
                  <a:gd name="T8" fmla="*/ 3130 w 3130"/>
                  <a:gd name="T9" fmla="*/ 29 h 29"/>
                  <a:gd name="T10" fmla="*/ 0 w 3130"/>
                  <a:gd name="T11" fmla="*/ 0 h 29"/>
                  <a:gd name="T12" fmla="*/ 0 w 3130"/>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130" h="29">
                    <a:moveTo>
                      <a:pt x="3130" y="29"/>
                    </a:moveTo>
                    <a:lnTo>
                      <a:pt x="0" y="0"/>
                    </a:lnTo>
                    <a:lnTo>
                      <a:pt x="0" y="0"/>
                    </a:lnTo>
                    <a:lnTo>
                      <a:pt x="3130" y="29"/>
                    </a:lnTo>
                    <a:lnTo>
                      <a:pt x="3130" y="29"/>
                    </a:lnTo>
                    <a:moveTo>
                      <a:pt x="0" y="0"/>
                    </a:moveTo>
                    <a:lnTo>
                      <a:pt x="0" y="0"/>
                    </a:lnTo>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6" name="Freeform 377"/>
              <p:cNvSpPr>
                <a:spLocks/>
              </p:cNvSpPr>
              <p:nvPr/>
            </p:nvSpPr>
            <p:spPr bwMode="auto">
              <a:xfrm>
                <a:off x="-8159750" y="-2909888"/>
                <a:ext cx="2633663" cy="1504950"/>
              </a:xfrm>
              <a:custGeom>
                <a:avLst/>
                <a:gdLst>
                  <a:gd name="T0" fmla="*/ 1659 w 1659"/>
                  <a:gd name="T1" fmla="*/ 948 h 948"/>
                  <a:gd name="T2" fmla="*/ 0 w 1659"/>
                  <a:gd name="T3" fmla="*/ 583 h 948"/>
                  <a:gd name="T4" fmla="*/ 0 w 1659"/>
                  <a:gd name="T5" fmla="*/ 583 h 948"/>
                  <a:gd name="T6" fmla="*/ 0 w 1659"/>
                  <a:gd name="T7" fmla="*/ 583 h 948"/>
                  <a:gd name="T8" fmla="*/ 0 w 1659"/>
                  <a:gd name="T9" fmla="*/ 583 h 948"/>
                  <a:gd name="T10" fmla="*/ 772 w 1659"/>
                  <a:gd name="T11" fmla="*/ 0 h 948"/>
                  <a:gd name="T12" fmla="*/ 772 w 1659"/>
                  <a:gd name="T13" fmla="*/ 0 h 948"/>
                  <a:gd name="T14" fmla="*/ 772 w 1659"/>
                  <a:gd name="T15" fmla="*/ 0 h 948"/>
                  <a:gd name="T16" fmla="*/ 772 w 1659"/>
                  <a:gd name="T17" fmla="*/ 0 h 948"/>
                  <a:gd name="T18" fmla="*/ 772 w 1659"/>
                  <a:gd name="T19" fmla="*/ 0 h 948"/>
                  <a:gd name="T20" fmla="*/ 1224 w 1659"/>
                  <a:gd name="T21" fmla="*/ 483 h 948"/>
                  <a:gd name="T22" fmla="*/ 1659 w 1659"/>
                  <a:gd name="T23" fmla="*/ 948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9" h="948">
                    <a:moveTo>
                      <a:pt x="1659" y="948"/>
                    </a:moveTo>
                    <a:lnTo>
                      <a:pt x="0" y="583"/>
                    </a:lnTo>
                    <a:lnTo>
                      <a:pt x="0" y="583"/>
                    </a:lnTo>
                    <a:lnTo>
                      <a:pt x="0" y="583"/>
                    </a:lnTo>
                    <a:lnTo>
                      <a:pt x="0" y="583"/>
                    </a:lnTo>
                    <a:lnTo>
                      <a:pt x="772" y="0"/>
                    </a:lnTo>
                    <a:lnTo>
                      <a:pt x="772" y="0"/>
                    </a:lnTo>
                    <a:lnTo>
                      <a:pt x="772" y="0"/>
                    </a:lnTo>
                    <a:lnTo>
                      <a:pt x="772" y="0"/>
                    </a:lnTo>
                    <a:lnTo>
                      <a:pt x="772" y="0"/>
                    </a:lnTo>
                    <a:lnTo>
                      <a:pt x="1224" y="483"/>
                    </a:lnTo>
                    <a:lnTo>
                      <a:pt x="1659" y="948"/>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7" name="Freeform 378"/>
              <p:cNvSpPr>
                <a:spLocks/>
              </p:cNvSpPr>
              <p:nvPr/>
            </p:nvSpPr>
            <p:spPr bwMode="auto">
              <a:xfrm>
                <a:off x="-7967663" y="-4110038"/>
                <a:ext cx="1346200" cy="1200150"/>
              </a:xfrm>
              <a:custGeom>
                <a:avLst/>
                <a:gdLst>
                  <a:gd name="T0" fmla="*/ 651 w 848"/>
                  <a:gd name="T1" fmla="*/ 756 h 756"/>
                  <a:gd name="T2" fmla="*/ 0 w 848"/>
                  <a:gd name="T3" fmla="*/ 0 h 756"/>
                  <a:gd name="T4" fmla="*/ 848 w 848"/>
                  <a:gd name="T5" fmla="*/ 0 h 756"/>
                  <a:gd name="T6" fmla="*/ 651 w 848"/>
                  <a:gd name="T7" fmla="*/ 756 h 756"/>
                </a:gdLst>
                <a:ahLst/>
                <a:cxnLst>
                  <a:cxn ang="0">
                    <a:pos x="T0" y="T1"/>
                  </a:cxn>
                  <a:cxn ang="0">
                    <a:pos x="T2" y="T3"/>
                  </a:cxn>
                  <a:cxn ang="0">
                    <a:pos x="T4" y="T5"/>
                  </a:cxn>
                  <a:cxn ang="0">
                    <a:pos x="T6" y="T7"/>
                  </a:cxn>
                </a:cxnLst>
                <a:rect l="0" t="0" r="r" b="b"/>
                <a:pathLst>
                  <a:path w="848" h="756">
                    <a:moveTo>
                      <a:pt x="651" y="756"/>
                    </a:moveTo>
                    <a:lnTo>
                      <a:pt x="0" y="0"/>
                    </a:lnTo>
                    <a:lnTo>
                      <a:pt x="848" y="0"/>
                    </a:lnTo>
                    <a:lnTo>
                      <a:pt x="651" y="756"/>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8" name="Freeform 379"/>
              <p:cNvSpPr>
                <a:spLocks/>
              </p:cNvSpPr>
              <p:nvPr/>
            </p:nvSpPr>
            <p:spPr bwMode="auto">
              <a:xfrm>
                <a:off x="-6934200" y="-3540126"/>
                <a:ext cx="1468438" cy="2135188"/>
              </a:xfrm>
              <a:custGeom>
                <a:avLst/>
                <a:gdLst>
                  <a:gd name="T0" fmla="*/ 887 w 925"/>
                  <a:gd name="T1" fmla="*/ 1345 h 1345"/>
                  <a:gd name="T2" fmla="*/ 452 w 925"/>
                  <a:gd name="T3" fmla="*/ 880 h 1345"/>
                  <a:gd name="T4" fmla="*/ 0 w 925"/>
                  <a:gd name="T5" fmla="*/ 397 h 1345"/>
                  <a:gd name="T6" fmla="*/ 925 w 925"/>
                  <a:gd name="T7" fmla="*/ 0 h 1345"/>
                  <a:gd name="T8" fmla="*/ 925 w 925"/>
                  <a:gd name="T9" fmla="*/ 0 h 1345"/>
                  <a:gd name="T10" fmla="*/ 888 w 925"/>
                  <a:gd name="T11" fmla="*/ 1294 h 1345"/>
                  <a:gd name="T12" fmla="*/ 887 w 925"/>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925" h="1345">
                    <a:moveTo>
                      <a:pt x="887" y="1345"/>
                    </a:moveTo>
                    <a:lnTo>
                      <a:pt x="452" y="880"/>
                    </a:lnTo>
                    <a:lnTo>
                      <a:pt x="0" y="397"/>
                    </a:lnTo>
                    <a:lnTo>
                      <a:pt x="925" y="0"/>
                    </a:lnTo>
                    <a:lnTo>
                      <a:pt x="925" y="0"/>
                    </a:lnTo>
                    <a:lnTo>
                      <a:pt x="888" y="1294"/>
                    </a:lnTo>
                    <a:lnTo>
                      <a:pt x="887" y="1345"/>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59" name="Freeform 380"/>
              <p:cNvSpPr>
                <a:spLocks/>
              </p:cNvSpPr>
              <p:nvPr/>
            </p:nvSpPr>
            <p:spPr bwMode="auto">
              <a:xfrm>
                <a:off x="-9058275" y="-4110038"/>
                <a:ext cx="2124075" cy="1200150"/>
              </a:xfrm>
              <a:custGeom>
                <a:avLst/>
                <a:gdLst>
                  <a:gd name="T0" fmla="*/ 1338 w 1338"/>
                  <a:gd name="T1" fmla="*/ 756 h 756"/>
                  <a:gd name="T2" fmla="*/ 1338 w 1338"/>
                  <a:gd name="T3" fmla="*/ 756 h 756"/>
                  <a:gd name="T4" fmla="*/ 0 w 1338"/>
                  <a:gd name="T5" fmla="*/ 359 h 756"/>
                  <a:gd name="T6" fmla="*/ 338 w 1338"/>
                  <a:gd name="T7" fmla="*/ 0 h 756"/>
                  <a:gd name="T8" fmla="*/ 687 w 1338"/>
                  <a:gd name="T9" fmla="*/ 0 h 756"/>
                  <a:gd name="T10" fmla="*/ 1338 w 1338"/>
                  <a:gd name="T11" fmla="*/ 756 h 756"/>
                </a:gdLst>
                <a:ahLst/>
                <a:cxnLst>
                  <a:cxn ang="0">
                    <a:pos x="T0" y="T1"/>
                  </a:cxn>
                  <a:cxn ang="0">
                    <a:pos x="T2" y="T3"/>
                  </a:cxn>
                  <a:cxn ang="0">
                    <a:pos x="T4" y="T5"/>
                  </a:cxn>
                  <a:cxn ang="0">
                    <a:pos x="T6" y="T7"/>
                  </a:cxn>
                  <a:cxn ang="0">
                    <a:pos x="T8" y="T9"/>
                  </a:cxn>
                  <a:cxn ang="0">
                    <a:pos x="T10" y="T11"/>
                  </a:cxn>
                </a:cxnLst>
                <a:rect l="0" t="0" r="r" b="b"/>
                <a:pathLst>
                  <a:path w="1338" h="756">
                    <a:moveTo>
                      <a:pt x="1338" y="756"/>
                    </a:moveTo>
                    <a:lnTo>
                      <a:pt x="1338" y="756"/>
                    </a:lnTo>
                    <a:lnTo>
                      <a:pt x="0" y="359"/>
                    </a:lnTo>
                    <a:lnTo>
                      <a:pt x="338" y="0"/>
                    </a:lnTo>
                    <a:lnTo>
                      <a:pt x="687" y="0"/>
                    </a:lnTo>
                    <a:lnTo>
                      <a:pt x="1338"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0" name="Freeform 381"/>
              <p:cNvSpPr>
                <a:spLocks/>
              </p:cNvSpPr>
              <p:nvPr/>
            </p:nvSpPr>
            <p:spPr bwMode="auto">
              <a:xfrm>
                <a:off x="-6934200" y="-4110038"/>
                <a:ext cx="1468438" cy="1200150"/>
              </a:xfrm>
              <a:custGeom>
                <a:avLst/>
                <a:gdLst>
                  <a:gd name="T0" fmla="*/ 0 w 925"/>
                  <a:gd name="T1" fmla="*/ 756 h 756"/>
                  <a:gd name="T2" fmla="*/ 0 w 925"/>
                  <a:gd name="T3" fmla="*/ 756 h 756"/>
                  <a:gd name="T4" fmla="*/ 197 w 925"/>
                  <a:gd name="T5" fmla="*/ 0 h 756"/>
                  <a:gd name="T6" fmla="*/ 718 w 925"/>
                  <a:gd name="T7" fmla="*/ 0 h 756"/>
                  <a:gd name="T8" fmla="*/ 925 w 925"/>
                  <a:gd name="T9" fmla="*/ 359 h 756"/>
                  <a:gd name="T10" fmla="*/ 925 w 925"/>
                  <a:gd name="T11" fmla="*/ 359 h 756"/>
                  <a:gd name="T12" fmla="*/ 925 w 925"/>
                  <a:gd name="T13" fmla="*/ 359 h 756"/>
                  <a:gd name="T14" fmla="*/ 925 w 925"/>
                  <a:gd name="T15" fmla="*/ 359 h 756"/>
                  <a:gd name="T16" fmla="*/ 925 w 925"/>
                  <a:gd name="T17" fmla="*/ 359 h 756"/>
                  <a:gd name="T18" fmla="*/ 925 w 925"/>
                  <a:gd name="T19" fmla="*/ 359 h 756"/>
                  <a:gd name="T20" fmla="*/ 0 w 925"/>
                  <a:gd name="T21" fmla="*/ 756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5" h="756">
                    <a:moveTo>
                      <a:pt x="0" y="756"/>
                    </a:moveTo>
                    <a:lnTo>
                      <a:pt x="0" y="756"/>
                    </a:lnTo>
                    <a:lnTo>
                      <a:pt x="197" y="0"/>
                    </a:lnTo>
                    <a:lnTo>
                      <a:pt x="718" y="0"/>
                    </a:lnTo>
                    <a:lnTo>
                      <a:pt x="925" y="359"/>
                    </a:lnTo>
                    <a:lnTo>
                      <a:pt x="925" y="359"/>
                    </a:lnTo>
                    <a:lnTo>
                      <a:pt x="925" y="359"/>
                    </a:lnTo>
                    <a:lnTo>
                      <a:pt x="925" y="359"/>
                    </a:lnTo>
                    <a:lnTo>
                      <a:pt x="925" y="359"/>
                    </a:lnTo>
                    <a:lnTo>
                      <a:pt x="925" y="359"/>
                    </a:lnTo>
                    <a:lnTo>
                      <a:pt x="0"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1" name="Freeform 382"/>
              <p:cNvSpPr>
                <a:spLocks/>
              </p:cNvSpPr>
              <p:nvPr/>
            </p:nvSpPr>
            <p:spPr bwMode="auto">
              <a:xfrm>
                <a:off x="-9058275" y="-3540126"/>
                <a:ext cx="2124075" cy="1555750"/>
              </a:xfrm>
              <a:custGeom>
                <a:avLst/>
                <a:gdLst>
                  <a:gd name="T0" fmla="*/ 566 w 1338"/>
                  <a:gd name="T1" fmla="*/ 980 h 980"/>
                  <a:gd name="T2" fmla="*/ 0 w 1338"/>
                  <a:gd name="T3" fmla="*/ 0 h 980"/>
                  <a:gd name="T4" fmla="*/ 1338 w 1338"/>
                  <a:gd name="T5" fmla="*/ 397 h 980"/>
                  <a:gd name="T6" fmla="*/ 566 w 1338"/>
                  <a:gd name="T7" fmla="*/ 980 h 980"/>
                </a:gdLst>
                <a:ahLst/>
                <a:cxnLst>
                  <a:cxn ang="0">
                    <a:pos x="T0" y="T1"/>
                  </a:cxn>
                  <a:cxn ang="0">
                    <a:pos x="T2" y="T3"/>
                  </a:cxn>
                  <a:cxn ang="0">
                    <a:pos x="T4" y="T5"/>
                  </a:cxn>
                  <a:cxn ang="0">
                    <a:pos x="T6" y="T7"/>
                  </a:cxn>
                </a:cxnLst>
                <a:rect l="0" t="0" r="r" b="b"/>
                <a:pathLst>
                  <a:path w="1338" h="980">
                    <a:moveTo>
                      <a:pt x="566" y="980"/>
                    </a:moveTo>
                    <a:lnTo>
                      <a:pt x="0" y="0"/>
                    </a:lnTo>
                    <a:lnTo>
                      <a:pt x="1338" y="397"/>
                    </a:lnTo>
                    <a:lnTo>
                      <a:pt x="566"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2" name="Freeform 383"/>
              <p:cNvSpPr>
                <a:spLocks/>
              </p:cNvSpPr>
              <p:nvPr/>
            </p:nvSpPr>
            <p:spPr bwMode="auto">
              <a:xfrm>
                <a:off x="-8159750" y="-2909888"/>
                <a:ext cx="1225550" cy="925513"/>
              </a:xfrm>
              <a:custGeom>
                <a:avLst/>
                <a:gdLst>
                  <a:gd name="T0" fmla="*/ 0 w 772"/>
                  <a:gd name="T1" fmla="*/ 583 h 583"/>
                  <a:gd name="T2" fmla="*/ 0 w 772"/>
                  <a:gd name="T3" fmla="*/ 583 h 583"/>
                  <a:gd name="T4" fmla="*/ 772 w 772"/>
                  <a:gd name="T5" fmla="*/ 0 h 583"/>
                  <a:gd name="T6" fmla="*/ 772 w 772"/>
                  <a:gd name="T7" fmla="*/ 0 h 583"/>
                  <a:gd name="T8" fmla="*/ 0 w 772"/>
                  <a:gd name="T9" fmla="*/ 583 h 583"/>
                </a:gdLst>
                <a:ahLst/>
                <a:cxnLst>
                  <a:cxn ang="0">
                    <a:pos x="T0" y="T1"/>
                  </a:cxn>
                  <a:cxn ang="0">
                    <a:pos x="T2" y="T3"/>
                  </a:cxn>
                  <a:cxn ang="0">
                    <a:pos x="T4" y="T5"/>
                  </a:cxn>
                  <a:cxn ang="0">
                    <a:pos x="T6" y="T7"/>
                  </a:cxn>
                  <a:cxn ang="0">
                    <a:pos x="T8" y="T9"/>
                  </a:cxn>
                </a:cxnLst>
                <a:rect l="0" t="0" r="r" b="b"/>
                <a:pathLst>
                  <a:path w="772" h="583">
                    <a:moveTo>
                      <a:pt x="0" y="583"/>
                    </a:moveTo>
                    <a:lnTo>
                      <a:pt x="0" y="583"/>
                    </a:lnTo>
                    <a:lnTo>
                      <a:pt x="772" y="0"/>
                    </a:lnTo>
                    <a:lnTo>
                      <a:pt x="772" y="0"/>
                    </a:lnTo>
                    <a:lnTo>
                      <a:pt x="0" y="58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3" name="Freeform 384"/>
              <p:cNvSpPr>
                <a:spLocks noEditPoints="1"/>
              </p:cNvSpPr>
              <p:nvPr/>
            </p:nvSpPr>
            <p:spPr bwMode="auto">
              <a:xfrm>
                <a:off x="-5465763" y="-4110038"/>
                <a:ext cx="1797050" cy="569913"/>
              </a:xfrm>
              <a:custGeom>
                <a:avLst/>
                <a:gdLst>
                  <a:gd name="T0" fmla="*/ 2358 w 2358"/>
                  <a:gd name="T1" fmla="*/ 748 h 748"/>
                  <a:gd name="T2" fmla="*/ 1 w 2358"/>
                  <a:gd name="T3" fmla="*/ 748 h 748"/>
                  <a:gd name="T4" fmla="*/ 247 w 2358"/>
                  <a:gd name="T5" fmla="*/ 0 h 748"/>
                  <a:gd name="T6" fmla="*/ 1489 w 2358"/>
                  <a:gd name="T7" fmla="*/ 0 h 748"/>
                  <a:gd name="T8" fmla="*/ 2358 w 2358"/>
                  <a:gd name="T9" fmla="*/ 748 h 748"/>
                  <a:gd name="T10" fmla="*/ 1 w 2358"/>
                  <a:gd name="T11" fmla="*/ 748 h 748"/>
                  <a:gd name="T12" fmla="*/ 0 w 2358"/>
                  <a:gd name="T13" fmla="*/ 748 h 748"/>
                  <a:gd name="T14" fmla="*/ 0 w 2358"/>
                  <a:gd name="T15" fmla="*/ 747 h 748"/>
                  <a:gd name="T16" fmla="*/ 0 w 2358"/>
                  <a:gd name="T17" fmla="*/ 747 h 748"/>
                  <a:gd name="T18" fmla="*/ 1 w 2358"/>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8" h="748">
                    <a:moveTo>
                      <a:pt x="2358" y="748"/>
                    </a:moveTo>
                    <a:lnTo>
                      <a:pt x="1" y="748"/>
                    </a:lnTo>
                    <a:lnTo>
                      <a:pt x="247" y="0"/>
                    </a:lnTo>
                    <a:lnTo>
                      <a:pt x="1489" y="0"/>
                    </a:lnTo>
                    <a:lnTo>
                      <a:pt x="2358" y="748"/>
                    </a:lnTo>
                    <a:moveTo>
                      <a:pt x="1" y="748"/>
                    </a:moveTo>
                    <a:lnTo>
                      <a:pt x="0" y="748"/>
                    </a:lnTo>
                    <a:lnTo>
                      <a:pt x="0" y="747"/>
                    </a:lnTo>
                    <a:lnTo>
                      <a:pt x="0" y="747"/>
                    </a:lnTo>
                    <a:lnTo>
                      <a:pt x="1"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4" name="Freeform 385"/>
              <p:cNvSpPr>
                <a:spLocks/>
              </p:cNvSpPr>
              <p:nvPr/>
            </p:nvSpPr>
            <p:spPr bwMode="auto">
              <a:xfrm>
                <a:off x="-4330700" y="-4110038"/>
                <a:ext cx="1114425" cy="569913"/>
              </a:xfrm>
              <a:custGeom>
                <a:avLst/>
                <a:gdLst>
                  <a:gd name="T0" fmla="*/ 417 w 702"/>
                  <a:gd name="T1" fmla="*/ 359 h 359"/>
                  <a:gd name="T2" fmla="*/ 417 w 702"/>
                  <a:gd name="T3" fmla="*/ 359 h 359"/>
                  <a:gd name="T4" fmla="*/ 417 w 702"/>
                  <a:gd name="T5" fmla="*/ 359 h 359"/>
                  <a:gd name="T6" fmla="*/ 0 w 702"/>
                  <a:gd name="T7" fmla="*/ 0 h 359"/>
                  <a:gd name="T8" fmla="*/ 702 w 702"/>
                  <a:gd name="T9" fmla="*/ 0 h 359"/>
                  <a:gd name="T10" fmla="*/ 417 w 702"/>
                  <a:gd name="T11" fmla="*/ 359 h 359"/>
                  <a:gd name="T12" fmla="*/ 417 w 702"/>
                  <a:gd name="T13" fmla="*/ 359 h 359"/>
                  <a:gd name="T14" fmla="*/ 417 w 702"/>
                  <a:gd name="T15" fmla="*/ 359 h 359"/>
                  <a:gd name="T16" fmla="*/ 417 w 702"/>
                  <a:gd name="T17"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2" h="359">
                    <a:moveTo>
                      <a:pt x="417" y="359"/>
                    </a:moveTo>
                    <a:lnTo>
                      <a:pt x="417" y="359"/>
                    </a:lnTo>
                    <a:lnTo>
                      <a:pt x="417" y="359"/>
                    </a:lnTo>
                    <a:lnTo>
                      <a:pt x="0" y="0"/>
                    </a:lnTo>
                    <a:lnTo>
                      <a:pt x="702" y="0"/>
                    </a:lnTo>
                    <a:lnTo>
                      <a:pt x="417" y="359"/>
                    </a:lnTo>
                    <a:lnTo>
                      <a:pt x="417" y="359"/>
                    </a:lnTo>
                    <a:lnTo>
                      <a:pt x="417" y="359"/>
                    </a:lnTo>
                    <a:lnTo>
                      <a:pt x="417"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5" name="Freeform 386"/>
              <p:cNvSpPr>
                <a:spLocks/>
              </p:cNvSpPr>
              <p:nvPr/>
            </p:nvSpPr>
            <p:spPr bwMode="auto">
              <a:xfrm>
                <a:off x="-4330700" y="-4110038"/>
                <a:ext cx="661988" cy="569913"/>
              </a:xfrm>
              <a:custGeom>
                <a:avLst/>
                <a:gdLst>
                  <a:gd name="T0" fmla="*/ 417 w 417"/>
                  <a:gd name="T1" fmla="*/ 359 h 359"/>
                  <a:gd name="T2" fmla="*/ 417 w 417"/>
                  <a:gd name="T3" fmla="*/ 359 h 359"/>
                  <a:gd name="T4" fmla="*/ 0 w 417"/>
                  <a:gd name="T5" fmla="*/ 0 h 359"/>
                  <a:gd name="T6" fmla="*/ 0 w 417"/>
                  <a:gd name="T7" fmla="*/ 0 h 359"/>
                  <a:gd name="T8" fmla="*/ 417 w 417"/>
                  <a:gd name="T9" fmla="*/ 359 h 359"/>
                </a:gdLst>
                <a:ahLst/>
                <a:cxnLst>
                  <a:cxn ang="0">
                    <a:pos x="T0" y="T1"/>
                  </a:cxn>
                  <a:cxn ang="0">
                    <a:pos x="T2" y="T3"/>
                  </a:cxn>
                  <a:cxn ang="0">
                    <a:pos x="T4" y="T5"/>
                  </a:cxn>
                  <a:cxn ang="0">
                    <a:pos x="T6" y="T7"/>
                  </a:cxn>
                  <a:cxn ang="0">
                    <a:pos x="T8" y="T9"/>
                  </a:cxn>
                </a:cxnLst>
                <a:rect l="0" t="0" r="r" b="b"/>
                <a:pathLst>
                  <a:path w="417" h="359">
                    <a:moveTo>
                      <a:pt x="417" y="359"/>
                    </a:moveTo>
                    <a:lnTo>
                      <a:pt x="417" y="359"/>
                    </a:lnTo>
                    <a:lnTo>
                      <a:pt x="0" y="0"/>
                    </a:lnTo>
                    <a:lnTo>
                      <a:pt x="0" y="0"/>
                    </a:lnTo>
                    <a:lnTo>
                      <a:pt x="417"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6" name="Freeform 387"/>
              <p:cNvSpPr>
                <a:spLocks/>
              </p:cNvSpPr>
              <p:nvPr/>
            </p:nvSpPr>
            <p:spPr bwMode="auto">
              <a:xfrm>
                <a:off x="-5794375" y="-4110038"/>
                <a:ext cx="517525" cy="569913"/>
              </a:xfrm>
              <a:custGeom>
                <a:avLst/>
                <a:gdLst>
                  <a:gd name="T0" fmla="*/ 207 w 326"/>
                  <a:gd name="T1" fmla="*/ 359 h 359"/>
                  <a:gd name="T2" fmla="*/ 0 w 326"/>
                  <a:gd name="T3" fmla="*/ 0 h 359"/>
                  <a:gd name="T4" fmla="*/ 326 w 326"/>
                  <a:gd name="T5" fmla="*/ 0 h 359"/>
                  <a:gd name="T6" fmla="*/ 207 w 326"/>
                  <a:gd name="T7" fmla="*/ 359 h 359"/>
                </a:gdLst>
                <a:ahLst/>
                <a:cxnLst>
                  <a:cxn ang="0">
                    <a:pos x="T0" y="T1"/>
                  </a:cxn>
                  <a:cxn ang="0">
                    <a:pos x="T2" y="T3"/>
                  </a:cxn>
                  <a:cxn ang="0">
                    <a:pos x="T4" y="T5"/>
                  </a:cxn>
                  <a:cxn ang="0">
                    <a:pos x="T6" y="T7"/>
                  </a:cxn>
                </a:cxnLst>
                <a:rect l="0" t="0" r="r" b="b"/>
                <a:pathLst>
                  <a:path w="326" h="359">
                    <a:moveTo>
                      <a:pt x="207" y="359"/>
                    </a:moveTo>
                    <a:lnTo>
                      <a:pt x="0" y="0"/>
                    </a:lnTo>
                    <a:lnTo>
                      <a:pt x="326" y="0"/>
                    </a:lnTo>
                    <a:lnTo>
                      <a:pt x="207" y="35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7" name="Freeform 388"/>
              <p:cNvSpPr>
                <a:spLocks/>
              </p:cNvSpPr>
              <p:nvPr/>
            </p:nvSpPr>
            <p:spPr bwMode="auto">
              <a:xfrm>
                <a:off x="-5465763" y="-4110038"/>
                <a:ext cx="188913" cy="569913"/>
              </a:xfrm>
              <a:custGeom>
                <a:avLst/>
                <a:gdLst>
                  <a:gd name="T0" fmla="*/ 0 w 119"/>
                  <a:gd name="T1" fmla="*/ 359 h 359"/>
                  <a:gd name="T2" fmla="*/ 0 w 119"/>
                  <a:gd name="T3" fmla="*/ 359 h 359"/>
                  <a:gd name="T4" fmla="*/ 0 w 119"/>
                  <a:gd name="T5" fmla="*/ 359 h 359"/>
                  <a:gd name="T6" fmla="*/ 119 w 119"/>
                  <a:gd name="T7" fmla="*/ 0 h 359"/>
                  <a:gd name="T8" fmla="*/ 119 w 119"/>
                  <a:gd name="T9" fmla="*/ 0 h 359"/>
                  <a:gd name="T10" fmla="*/ 0 w 119"/>
                  <a:gd name="T11" fmla="*/ 359 h 359"/>
                </a:gdLst>
                <a:ahLst/>
                <a:cxnLst>
                  <a:cxn ang="0">
                    <a:pos x="T0" y="T1"/>
                  </a:cxn>
                  <a:cxn ang="0">
                    <a:pos x="T2" y="T3"/>
                  </a:cxn>
                  <a:cxn ang="0">
                    <a:pos x="T4" y="T5"/>
                  </a:cxn>
                  <a:cxn ang="0">
                    <a:pos x="T6" y="T7"/>
                  </a:cxn>
                  <a:cxn ang="0">
                    <a:pos x="T8" y="T9"/>
                  </a:cxn>
                  <a:cxn ang="0">
                    <a:pos x="T10" y="T11"/>
                  </a:cxn>
                </a:cxnLst>
                <a:rect l="0" t="0" r="r" b="b"/>
                <a:pathLst>
                  <a:path w="119" h="359">
                    <a:moveTo>
                      <a:pt x="0" y="359"/>
                    </a:moveTo>
                    <a:lnTo>
                      <a:pt x="0" y="359"/>
                    </a:lnTo>
                    <a:lnTo>
                      <a:pt x="0" y="359"/>
                    </a:lnTo>
                    <a:lnTo>
                      <a:pt x="119" y="0"/>
                    </a:lnTo>
                    <a:lnTo>
                      <a:pt x="119"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8" name="Freeform 389"/>
              <p:cNvSpPr>
                <a:spLocks noEditPoints="1"/>
              </p:cNvSpPr>
              <p:nvPr/>
            </p:nvSpPr>
            <p:spPr bwMode="auto">
              <a:xfrm>
                <a:off x="-8159750" y="-428626"/>
                <a:ext cx="1795463" cy="1554163"/>
              </a:xfrm>
              <a:custGeom>
                <a:avLst/>
                <a:gdLst>
                  <a:gd name="T0" fmla="*/ 2358 w 2358"/>
                  <a:gd name="T1" fmla="*/ 2041 h 2041"/>
                  <a:gd name="T2" fmla="*/ 1 w 2358"/>
                  <a:gd name="T3" fmla="*/ 2041 h 2041"/>
                  <a:gd name="T4" fmla="*/ 1179 w 2358"/>
                  <a:gd name="T5" fmla="*/ 0 h 2041"/>
                  <a:gd name="T6" fmla="*/ 1179 w 2358"/>
                  <a:gd name="T7" fmla="*/ 0 h 2041"/>
                  <a:gd name="T8" fmla="*/ 1179 w 2358"/>
                  <a:gd name="T9" fmla="*/ 0 h 2041"/>
                  <a:gd name="T10" fmla="*/ 1507 w 2358"/>
                  <a:gd name="T11" fmla="*/ 567 h 2041"/>
                  <a:gd name="T12" fmla="*/ 2358 w 2358"/>
                  <a:gd name="T13" fmla="*/ 2041 h 2041"/>
                  <a:gd name="T14" fmla="*/ 1 w 2358"/>
                  <a:gd name="T15" fmla="*/ 2041 h 2041"/>
                  <a:gd name="T16" fmla="*/ 0 w 2358"/>
                  <a:gd name="T17" fmla="*/ 2041 h 2041"/>
                  <a:gd name="T18" fmla="*/ 1 w 2358"/>
                  <a:gd name="T19" fmla="*/ 2041 h 2041"/>
                  <a:gd name="T20" fmla="*/ 1 w 2358"/>
                  <a:gd name="T21" fmla="*/ 2041 h 2041"/>
                  <a:gd name="T22" fmla="*/ 1179 w 2358"/>
                  <a:gd name="T23" fmla="*/ 0 h 2041"/>
                  <a:gd name="T24" fmla="*/ 1179 w 2358"/>
                  <a:gd name="T25" fmla="*/ 0 h 2041"/>
                  <a:gd name="T26" fmla="*/ 1179 w 2358"/>
                  <a:gd name="T27" fmla="*/ 0 h 2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8" h="2041">
                    <a:moveTo>
                      <a:pt x="2358" y="2041"/>
                    </a:moveTo>
                    <a:lnTo>
                      <a:pt x="1" y="2041"/>
                    </a:lnTo>
                    <a:lnTo>
                      <a:pt x="1179" y="0"/>
                    </a:lnTo>
                    <a:lnTo>
                      <a:pt x="1179" y="0"/>
                    </a:lnTo>
                    <a:lnTo>
                      <a:pt x="1179" y="0"/>
                    </a:lnTo>
                    <a:lnTo>
                      <a:pt x="1507" y="567"/>
                    </a:lnTo>
                    <a:lnTo>
                      <a:pt x="2358" y="2041"/>
                    </a:lnTo>
                    <a:moveTo>
                      <a:pt x="1" y="2041"/>
                    </a:moveTo>
                    <a:lnTo>
                      <a:pt x="0" y="2041"/>
                    </a:lnTo>
                    <a:lnTo>
                      <a:pt x="1" y="2041"/>
                    </a:lnTo>
                    <a:lnTo>
                      <a:pt x="1" y="2041"/>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69" name="Freeform 390"/>
              <p:cNvSpPr>
                <a:spLocks/>
              </p:cNvSpPr>
              <p:nvPr/>
            </p:nvSpPr>
            <p:spPr bwMode="auto">
              <a:xfrm>
                <a:off x="-8159750" y="-1984376"/>
                <a:ext cx="2633663" cy="1555750"/>
              </a:xfrm>
              <a:custGeom>
                <a:avLst/>
                <a:gdLst>
                  <a:gd name="T0" fmla="*/ 566 w 1659"/>
                  <a:gd name="T1" fmla="*/ 980 h 980"/>
                  <a:gd name="T2" fmla="*/ 566 w 1659"/>
                  <a:gd name="T3" fmla="*/ 980 h 980"/>
                  <a:gd name="T4" fmla="*/ 307 w 1659"/>
                  <a:gd name="T5" fmla="*/ 532 h 980"/>
                  <a:gd name="T6" fmla="*/ 0 w 1659"/>
                  <a:gd name="T7" fmla="*/ 0 h 980"/>
                  <a:gd name="T8" fmla="*/ 0 w 1659"/>
                  <a:gd name="T9" fmla="*/ 0 h 980"/>
                  <a:gd name="T10" fmla="*/ 1659 w 1659"/>
                  <a:gd name="T11" fmla="*/ 365 h 980"/>
                  <a:gd name="T12" fmla="*/ 566 w 1659"/>
                  <a:gd name="T13" fmla="*/ 980 h 980"/>
                </a:gdLst>
                <a:ahLst/>
                <a:cxnLst>
                  <a:cxn ang="0">
                    <a:pos x="T0" y="T1"/>
                  </a:cxn>
                  <a:cxn ang="0">
                    <a:pos x="T2" y="T3"/>
                  </a:cxn>
                  <a:cxn ang="0">
                    <a:pos x="T4" y="T5"/>
                  </a:cxn>
                  <a:cxn ang="0">
                    <a:pos x="T6" y="T7"/>
                  </a:cxn>
                  <a:cxn ang="0">
                    <a:pos x="T8" y="T9"/>
                  </a:cxn>
                  <a:cxn ang="0">
                    <a:pos x="T10" y="T11"/>
                  </a:cxn>
                  <a:cxn ang="0">
                    <a:pos x="T12" y="T13"/>
                  </a:cxn>
                </a:cxnLst>
                <a:rect l="0" t="0" r="r" b="b"/>
                <a:pathLst>
                  <a:path w="1659" h="980">
                    <a:moveTo>
                      <a:pt x="566" y="980"/>
                    </a:moveTo>
                    <a:lnTo>
                      <a:pt x="566" y="980"/>
                    </a:lnTo>
                    <a:lnTo>
                      <a:pt x="307" y="532"/>
                    </a:lnTo>
                    <a:lnTo>
                      <a:pt x="0" y="0"/>
                    </a:lnTo>
                    <a:lnTo>
                      <a:pt x="0" y="0"/>
                    </a:lnTo>
                    <a:lnTo>
                      <a:pt x="1659" y="36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0" name="Freeform 391"/>
              <p:cNvSpPr>
                <a:spLocks/>
              </p:cNvSpPr>
              <p:nvPr/>
            </p:nvSpPr>
            <p:spPr bwMode="auto">
              <a:xfrm>
                <a:off x="-7261225" y="-428626"/>
                <a:ext cx="1735138" cy="1554163"/>
              </a:xfrm>
              <a:custGeom>
                <a:avLst/>
                <a:gdLst>
                  <a:gd name="T0" fmla="*/ 565 w 1093"/>
                  <a:gd name="T1" fmla="*/ 979 h 979"/>
                  <a:gd name="T2" fmla="*/ 157 w 1093"/>
                  <a:gd name="T3" fmla="*/ 272 h 979"/>
                  <a:gd name="T4" fmla="*/ 0 w 1093"/>
                  <a:gd name="T5" fmla="*/ 0 h 979"/>
                  <a:gd name="T6" fmla="*/ 1093 w 1093"/>
                  <a:gd name="T7" fmla="*/ 684 h 979"/>
                  <a:gd name="T8" fmla="*/ 1093 w 1093"/>
                  <a:gd name="T9" fmla="*/ 684 h 979"/>
                  <a:gd name="T10" fmla="*/ 1093 w 1093"/>
                  <a:gd name="T11" fmla="*/ 684 h 979"/>
                  <a:gd name="T12" fmla="*/ 1093 w 1093"/>
                  <a:gd name="T13" fmla="*/ 684 h 979"/>
                  <a:gd name="T14" fmla="*/ 1093 w 1093"/>
                  <a:gd name="T15" fmla="*/ 684 h 979"/>
                  <a:gd name="T16" fmla="*/ 965 w 1093"/>
                  <a:gd name="T17" fmla="*/ 756 h 979"/>
                  <a:gd name="T18" fmla="*/ 565 w 1093"/>
                  <a:gd name="T19" fmla="*/ 979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3" h="979">
                    <a:moveTo>
                      <a:pt x="565" y="979"/>
                    </a:moveTo>
                    <a:lnTo>
                      <a:pt x="157" y="272"/>
                    </a:lnTo>
                    <a:lnTo>
                      <a:pt x="0" y="0"/>
                    </a:lnTo>
                    <a:lnTo>
                      <a:pt x="1093" y="684"/>
                    </a:lnTo>
                    <a:lnTo>
                      <a:pt x="1093" y="684"/>
                    </a:lnTo>
                    <a:lnTo>
                      <a:pt x="1093" y="684"/>
                    </a:lnTo>
                    <a:lnTo>
                      <a:pt x="1093" y="684"/>
                    </a:lnTo>
                    <a:lnTo>
                      <a:pt x="1093" y="684"/>
                    </a:lnTo>
                    <a:lnTo>
                      <a:pt x="965" y="756"/>
                    </a:lnTo>
                    <a:lnTo>
                      <a:pt x="565" y="97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1" name="Freeform 392"/>
              <p:cNvSpPr>
                <a:spLocks noEditPoints="1"/>
              </p:cNvSpPr>
              <p:nvPr/>
            </p:nvSpPr>
            <p:spPr bwMode="auto">
              <a:xfrm>
                <a:off x="-9456738" y="-1984376"/>
                <a:ext cx="2195513" cy="1555750"/>
              </a:xfrm>
              <a:custGeom>
                <a:avLst/>
                <a:gdLst>
                  <a:gd name="T0" fmla="*/ 2879 w 2879"/>
                  <a:gd name="T1" fmla="*/ 2042 h 2042"/>
                  <a:gd name="T2" fmla="*/ 0 w 2879"/>
                  <a:gd name="T3" fmla="*/ 1320 h 2042"/>
                  <a:gd name="T4" fmla="*/ 444 w 2879"/>
                  <a:gd name="T5" fmla="*/ 976 h 2042"/>
                  <a:gd name="T6" fmla="*/ 1701 w 2879"/>
                  <a:gd name="T7" fmla="*/ 1 h 2042"/>
                  <a:gd name="T8" fmla="*/ 2340 w 2879"/>
                  <a:gd name="T9" fmla="*/ 1109 h 2042"/>
                  <a:gd name="T10" fmla="*/ 2879 w 2879"/>
                  <a:gd name="T11" fmla="*/ 2042 h 2042"/>
                  <a:gd name="T12" fmla="*/ 2879 w 2879"/>
                  <a:gd name="T13" fmla="*/ 2042 h 2042"/>
                  <a:gd name="T14" fmla="*/ 1701 w 2879"/>
                  <a:gd name="T15" fmla="*/ 1 h 2042"/>
                  <a:gd name="T16" fmla="*/ 1700 w 2879"/>
                  <a:gd name="T17" fmla="*/ 1 h 2042"/>
                  <a:gd name="T18" fmla="*/ 1701 w 2879"/>
                  <a:gd name="T19" fmla="*/ 0 h 2042"/>
                  <a:gd name="T20" fmla="*/ 1701 w 2879"/>
                  <a:gd name="T21" fmla="*/ 1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9" h="2042">
                    <a:moveTo>
                      <a:pt x="2879" y="2042"/>
                    </a:moveTo>
                    <a:lnTo>
                      <a:pt x="0" y="1320"/>
                    </a:lnTo>
                    <a:lnTo>
                      <a:pt x="444" y="976"/>
                    </a:lnTo>
                    <a:lnTo>
                      <a:pt x="1701" y="1"/>
                    </a:lnTo>
                    <a:lnTo>
                      <a:pt x="2340" y="1109"/>
                    </a:lnTo>
                    <a:lnTo>
                      <a:pt x="2879" y="2042"/>
                    </a:lnTo>
                    <a:lnTo>
                      <a:pt x="2879" y="2042"/>
                    </a:lnTo>
                    <a:moveTo>
                      <a:pt x="1701" y="1"/>
                    </a:moveTo>
                    <a:lnTo>
                      <a:pt x="1700" y="1"/>
                    </a:lnTo>
                    <a:lnTo>
                      <a:pt x="1701" y="0"/>
                    </a:lnTo>
                    <a:lnTo>
                      <a:pt x="170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2" name="Freeform 393"/>
              <p:cNvSpPr>
                <a:spLocks/>
              </p:cNvSpPr>
              <p:nvPr/>
            </p:nvSpPr>
            <p:spPr bwMode="auto">
              <a:xfrm>
                <a:off x="-9117013" y="-1984376"/>
                <a:ext cx="957263" cy="742950"/>
              </a:xfrm>
              <a:custGeom>
                <a:avLst/>
                <a:gdLst>
                  <a:gd name="T0" fmla="*/ 0 w 603"/>
                  <a:gd name="T1" fmla="*/ 468 h 468"/>
                  <a:gd name="T2" fmla="*/ 603 w 603"/>
                  <a:gd name="T3" fmla="*/ 0 h 468"/>
                  <a:gd name="T4" fmla="*/ 603 w 603"/>
                  <a:gd name="T5" fmla="*/ 0 h 468"/>
                  <a:gd name="T6" fmla="*/ 603 w 603"/>
                  <a:gd name="T7" fmla="*/ 0 h 468"/>
                  <a:gd name="T8" fmla="*/ 0 w 603"/>
                  <a:gd name="T9" fmla="*/ 468 h 468"/>
                </a:gdLst>
                <a:ahLst/>
                <a:cxnLst>
                  <a:cxn ang="0">
                    <a:pos x="T0" y="T1"/>
                  </a:cxn>
                  <a:cxn ang="0">
                    <a:pos x="T2" y="T3"/>
                  </a:cxn>
                  <a:cxn ang="0">
                    <a:pos x="T4" y="T5"/>
                  </a:cxn>
                  <a:cxn ang="0">
                    <a:pos x="T6" y="T7"/>
                  </a:cxn>
                  <a:cxn ang="0">
                    <a:pos x="T8" y="T9"/>
                  </a:cxn>
                </a:cxnLst>
                <a:rect l="0" t="0" r="r" b="b"/>
                <a:pathLst>
                  <a:path w="603" h="468">
                    <a:moveTo>
                      <a:pt x="0" y="468"/>
                    </a:moveTo>
                    <a:lnTo>
                      <a:pt x="603" y="0"/>
                    </a:lnTo>
                    <a:lnTo>
                      <a:pt x="603" y="0"/>
                    </a:lnTo>
                    <a:lnTo>
                      <a:pt x="603" y="0"/>
                    </a:lnTo>
                    <a:lnTo>
                      <a:pt x="0" y="468"/>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3" name="Freeform 394"/>
              <p:cNvSpPr>
                <a:spLocks/>
              </p:cNvSpPr>
              <p:nvPr/>
            </p:nvSpPr>
            <p:spPr bwMode="auto">
              <a:xfrm>
                <a:off x="-8159750" y="-1984376"/>
                <a:ext cx="487363" cy="844550"/>
              </a:xfrm>
              <a:custGeom>
                <a:avLst/>
                <a:gdLst>
                  <a:gd name="T0" fmla="*/ 307 w 307"/>
                  <a:gd name="T1" fmla="*/ 532 h 532"/>
                  <a:gd name="T2" fmla="*/ 0 w 307"/>
                  <a:gd name="T3" fmla="*/ 0 h 532"/>
                  <a:gd name="T4" fmla="*/ 0 w 307"/>
                  <a:gd name="T5" fmla="*/ 0 h 532"/>
                  <a:gd name="T6" fmla="*/ 0 w 307"/>
                  <a:gd name="T7" fmla="*/ 0 h 532"/>
                  <a:gd name="T8" fmla="*/ 0 w 307"/>
                  <a:gd name="T9" fmla="*/ 0 h 532"/>
                  <a:gd name="T10" fmla="*/ 307 w 307"/>
                  <a:gd name="T11" fmla="*/ 532 h 532"/>
                </a:gdLst>
                <a:ahLst/>
                <a:cxnLst>
                  <a:cxn ang="0">
                    <a:pos x="T0" y="T1"/>
                  </a:cxn>
                  <a:cxn ang="0">
                    <a:pos x="T2" y="T3"/>
                  </a:cxn>
                  <a:cxn ang="0">
                    <a:pos x="T4" y="T5"/>
                  </a:cxn>
                  <a:cxn ang="0">
                    <a:pos x="T6" y="T7"/>
                  </a:cxn>
                  <a:cxn ang="0">
                    <a:pos x="T8" y="T9"/>
                  </a:cxn>
                  <a:cxn ang="0">
                    <a:pos x="T10" y="T11"/>
                  </a:cxn>
                </a:cxnLst>
                <a:rect l="0" t="0" r="r" b="b"/>
                <a:pathLst>
                  <a:path w="307" h="532">
                    <a:moveTo>
                      <a:pt x="307" y="532"/>
                    </a:moveTo>
                    <a:lnTo>
                      <a:pt x="0" y="0"/>
                    </a:lnTo>
                    <a:lnTo>
                      <a:pt x="0" y="0"/>
                    </a:lnTo>
                    <a:lnTo>
                      <a:pt x="0" y="0"/>
                    </a:lnTo>
                    <a:lnTo>
                      <a:pt x="0" y="0"/>
                    </a:lnTo>
                    <a:lnTo>
                      <a:pt x="307" y="5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4" name="Freeform 395"/>
              <p:cNvSpPr>
                <a:spLocks noEditPoints="1"/>
              </p:cNvSpPr>
              <p:nvPr/>
            </p:nvSpPr>
            <p:spPr bwMode="auto">
              <a:xfrm>
                <a:off x="-7261225" y="-1404938"/>
                <a:ext cx="1735138" cy="2062163"/>
              </a:xfrm>
              <a:custGeom>
                <a:avLst/>
                <a:gdLst>
                  <a:gd name="T0" fmla="*/ 2278 w 2278"/>
                  <a:gd name="T1" fmla="*/ 2707 h 2707"/>
                  <a:gd name="T2" fmla="*/ 2278 w 2278"/>
                  <a:gd name="T3" fmla="*/ 2707 h 2707"/>
                  <a:gd name="T4" fmla="*/ 2278 w 2278"/>
                  <a:gd name="T5" fmla="*/ 2707 h 2707"/>
                  <a:gd name="T6" fmla="*/ 2278 w 2278"/>
                  <a:gd name="T7" fmla="*/ 2707 h 2707"/>
                  <a:gd name="T8" fmla="*/ 2278 w 2278"/>
                  <a:gd name="T9" fmla="*/ 2707 h 2707"/>
                  <a:gd name="T10" fmla="*/ 0 w 2278"/>
                  <a:gd name="T11" fmla="*/ 1281 h 2707"/>
                  <a:gd name="T12" fmla="*/ 0 w 2278"/>
                  <a:gd name="T13" fmla="*/ 1281 h 2707"/>
                  <a:gd name="T14" fmla="*/ 2278 w 2278"/>
                  <a:gd name="T15" fmla="*/ 0 h 2707"/>
                  <a:gd name="T16" fmla="*/ 2278 w 2278"/>
                  <a:gd name="T17" fmla="*/ 2707 h 2707"/>
                  <a:gd name="T18" fmla="*/ 2278 w 2278"/>
                  <a:gd name="T19" fmla="*/ 2707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8" h="2707">
                    <a:moveTo>
                      <a:pt x="2278" y="2707"/>
                    </a:moveTo>
                    <a:lnTo>
                      <a:pt x="2278" y="2707"/>
                    </a:lnTo>
                    <a:lnTo>
                      <a:pt x="2278" y="2707"/>
                    </a:lnTo>
                    <a:lnTo>
                      <a:pt x="2278" y="2707"/>
                    </a:lnTo>
                    <a:moveTo>
                      <a:pt x="2278" y="2707"/>
                    </a:moveTo>
                    <a:lnTo>
                      <a:pt x="0" y="1281"/>
                    </a:lnTo>
                    <a:lnTo>
                      <a:pt x="0" y="1281"/>
                    </a:lnTo>
                    <a:lnTo>
                      <a:pt x="2278" y="0"/>
                    </a:lnTo>
                    <a:lnTo>
                      <a:pt x="2278" y="2707"/>
                    </a:lnTo>
                    <a:lnTo>
                      <a:pt x="2278" y="2707"/>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5" name="Freeform 396"/>
              <p:cNvSpPr>
                <a:spLocks/>
              </p:cNvSpPr>
              <p:nvPr/>
            </p:nvSpPr>
            <p:spPr bwMode="auto">
              <a:xfrm>
                <a:off x="-9456738" y="-979488"/>
                <a:ext cx="2195513" cy="2105025"/>
              </a:xfrm>
              <a:custGeom>
                <a:avLst/>
                <a:gdLst>
                  <a:gd name="T0" fmla="*/ 817 w 1383"/>
                  <a:gd name="T1" fmla="*/ 1326 h 1326"/>
                  <a:gd name="T2" fmla="*/ 0 w 1383"/>
                  <a:gd name="T3" fmla="*/ 0 h 1326"/>
                  <a:gd name="T4" fmla="*/ 1383 w 1383"/>
                  <a:gd name="T5" fmla="*/ 347 h 1326"/>
                  <a:gd name="T6" fmla="*/ 817 w 1383"/>
                  <a:gd name="T7" fmla="*/ 1326 h 1326"/>
                </a:gdLst>
                <a:ahLst/>
                <a:cxnLst>
                  <a:cxn ang="0">
                    <a:pos x="T0" y="T1"/>
                  </a:cxn>
                  <a:cxn ang="0">
                    <a:pos x="T2" y="T3"/>
                  </a:cxn>
                  <a:cxn ang="0">
                    <a:pos x="T4" y="T5"/>
                  </a:cxn>
                  <a:cxn ang="0">
                    <a:pos x="T6" y="T7"/>
                  </a:cxn>
                </a:cxnLst>
                <a:rect l="0" t="0" r="r" b="b"/>
                <a:pathLst>
                  <a:path w="1383" h="1326">
                    <a:moveTo>
                      <a:pt x="817" y="1326"/>
                    </a:moveTo>
                    <a:lnTo>
                      <a:pt x="0" y="0"/>
                    </a:lnTo>
                    <a:lnTo>
                      <a:pt x="1383" y="347"/>
                    </a:lnTo>
                    <a:lnTo>
                      <a:pt x="817" y="132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6" name="Freeform 397"/>
              <p:cNvSpPr>
                <a:spLocks/>
              </p:cNvSpPr>
              <p:nvPr/>
            </p:nvSpPr>
            <p:spPr bwMode="auto">
              <a:xfrm>
                <a:off x="-8159750" y="-428626"/>
                <a:ext cx="898525" cy="1554163"/>
              </a:xfrm>
              <a:custGeom>
                <a:avLst/>
                <a:gdLst>
                  <a:gd name="T0" fmla="*/ 0 w 566"/>
                  <a:gd name="T1" fmla="*/ 979 h 979"/>
                  <a:gd name="T2" fmla="*/ 0 w 566"/>
                  <a:gd name="T3" fmla="*/ 979 h 979"/>
                  <a:gd name="T4" fmla="*/ 0 w 566"/>
                  <a:gd name="T5" fmla="*/ 979 h 979"/>
                  <a:gd name="T6" fmla="*/ 566 w 566"/>
                  <a:gd name="T7" fmla="*/ 0 h 979"/>
                  <a:gd name="T8" fmla="*/ 566 w 566"/>
                  <a:gd name="T9" fmla="*/ 0 h 979"/>
                  <a:gd name="T10" fmla="*/ 0 w 566"/>
                  <a:gd name="T11" fmla="*/ 979 h 979"/>
                </a:gdLst>
                <a:ahLst/>
                <a:cxnLst>
                  <a:cxn ang="0">
                    <a:pos x="T0" y="T1"/>
                  </a:cxn>
                  <a:cxn ang="0">
                    <a:pos x="T2" y="T3"/>
                  </a:cxn>
                  <a:cxn ang="0">
                    <a:pos x="T4" y="T5"/>
                  </a:cxn>
                  <a:cxn ang="0">
                    <a:pos x="T6" y="T7"/>
                  </a:cxn>
                  <a:cxn ang="0">
                    <a:pos x="T8" y="T9"/>
                  </a:cxn>
                  <a:cxn ang="0">
                    <a:pos x="T10" y="T11"/>
                  </a:cxn>
                </a:cxnLst>
                <a:rect l="0" t="0" r="r" b="b"/>
                <a:pathLst>
                  <a:path w="566" h="979">
                    <a:moveTo>
                      <a:pt x="0" y="979"/>
                    </a:moveTo>
                    <a:lnTo>
                      <a:pt x="0" y="979"/>
                    </a:ln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7" name="Freeform 398"/>
              <p:cNvSpPr>
                <a:spLocks noEditPoints="1"/>
              </p:cNvSpPr>
              <p:nvPr/>
            </p:nvSpPr>
            <p:spPr bwMode="auto">
              <a:xfrm>
                <a:off x="-5526088" y="-1984376"/>
                <a:ext cx="2544763" cy="2641600"/>
              </a:xfrm>
              <a:custGeom>
                <a:avLst/>
                <a:gdLst>
                  <a:gd name="T0" fmla="*/ 0 w 3339"/>
                  <a:gd name="T1" fmla="*/ 3468 h 3468"/>
                  <a:gd name="T2" fmla="*/ 0 w 3339"/>
                  <a:gd name="T3" fmla="*/ 3468 h 3468"/>
                  <a:gd name="T4" fmla="*/ 0 w 3339"/>
                  <a:gd name="T5" fmla="*/ 3468 h 3468"/>
                  <a:gd name="T6" fmla="*/ 0 w 3339"/>
                  <a:gd name="T7" fmla="*/ 3468 h 3468"/>
                  <a:gd name="T8" fmla="*/ 0 w 3339"/>
                  <a:gd name="T9" fmla="*/ 3468 h 3468"/>
                  <a:gd name="T10" fmla="*/ 0 w 3339"/>
                  <a:gd name="T11" fmla="*/ 3468 h 3468"/>
                  <a:gd name="T12" fmla="*/ 0 w 3339"/>
                  <a:gd name="T13" fmla="*/ 3468 h 3468"/>
                  <a:gd name="T14" fmla="*/ 0 w 3339"/>
                  <a:gd name="T15" fmla="*/ 3468 h 3468"/>
                  <a:gd name="T16" fmla="*/ 1258 w 3339"/>
                  <a:gd name="T17" fmla="*/ 0 h 3468"/>
                  <a:gd name="T18" fmla="*/ 3339 w 3339"/>
                  <a:gd name="T19" fmla="*/ 2815 h 3468"/>
                  <a:gd name="T20" fmla="*/ 0 w 3339"/>
                  <a:gd name="T21" fmla="*/ 3468 h 3468"/>
                  <a:gd name="T22" fmla="*/ 3339 w 3339"/>
                  <a:gd name="T23" fmla="*/ 2815 h 3468"/>
                  <a:gd name="T24" fmla="*/ 3339 w 3339"/>
                  <a:gd name="T25" fmla="*/ 2815 h 3468"/>
                  <a:gd name="T26" fmla="*/ 3339 w 3339"/>
                  <a:gd name="T27" fmla="*/ 2815 h 3468"/>
                  <a:gd name="T28" fmla="*/ 1258 w 3339"/>
                  <a:gd name="T29" fmla="*/ 0 h 3468"/>
                  <a:gd name="T30" fmla="*/ 1258 w 3339"/>
                  <a:gd name="T31" fmla="*/ 0 h 3468"/>
                  <a:gd name="T32" fmla="*/ 1258 w 3339"/>
                  <a:gd name="T33" fmla="*/ 1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39" h="3468">
                    <a:moveTo>
                      <a:pt x="0" y="3468"/>
                    </a:moveTo>
                    <a:lnTo>
                      <a:pt x="0" y="3468"/>
                    </a:lnTo>
                    <a:lnTo>
                      <a:pt x="0" y="3468"/>
                    </a:lnTo>
                    <a:lnTo>
                      <a:pt x="0" y="3468"/>
                    </a:lnTo>
                    <a:lnTo>
                      <a:pt x="0" y="3468"/>
                    </a:lnTo>
                    <a:lnTo>
                      <a:pt x="0" y="3468"/>
                    </a:lnTo>
                    <a:lnTo>
                      <a:pt x="0" y="3468"/>
                    </a:lnTo>
                    <a:moveTo>
                      <a:pt x="0" y="3468"/>
                    </a:moveTo>
                    <a:lnTo>
                      <a:pt x="1258" y="0"/>
                    </a:lnTo>
                    <a:lnTo>
                      <a:pt x="3339" y="2815"/>
                    </a:lnTo>
                    <a:lnTo>
                      <a:pt x="0" y="3468"/>
                    </a:lnTo>
                    <a:moveTo>
                      <a:pt x="3339" y="2815"/>
                    </a:moveTo>
                    <a:lnTo>
                      <a:pt x="3339" y="2815"/>
                    </a:lnTo>
                    <a:lnTo>
                      <a:pt x="3339" y="2815"/>
                    </a:lnTo>
                    <a:moveTo>
                      <a:pt x="1258" y="0"/>
                    </a:moveTo>
                    <a:lnTo>
                      <a:pt x="1258" y="0"/>
                    </a:lnTo>
                    <a:lnTo>
                      <a:pt x="1258" y="1"/>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8" name="Freeform 399"/>
              <p:cNvSpPr>
                <a:spLocks/>
              </p:cNvSpPr>
              <p:nvPr/>
            </p:nvSpPr>
            <p:spPr bwMode="auto">
              <a:xfrm>
                <a:off x="-5465763" y="-3540126"/>
                <a:ext cx="1797050" cy="1555750"/>
              </a:xfrm>
              <a:custGeom>
                <a:avLst/>
                <a:gdLst>
                  <a:gd name="T0" fmla="*/ 566 w 1132"/>
                  <a:gd name="T1" fmla="*/ 980 h 980"/>
                  <a:gd name="T2" fmla="*/ 566 w 1132"/>
                  <a:gd name="T3" fmla="*/ 980 h 980"/>
                  <a:gd name="T4" fmla="*/ 0 w 1132"/>
                  <a:gd name="T5" fmla="*/ 0 h 980"/>
                  <a:gd name="T6" fmla="*/ 0 w 1132"/>
                  <a:gd name="T7" fmla="*/ 0 h 980"/>
                  <a:gd name="T8" fmla="*/ 1132 w 1132"/>
                  <a:gd name="T9" fmla="*/ 0 h 980"/>
                  <a:gd name="T10" fmla="*/ 566 w 1132"/>
                  <a:gd name="T11" fmla="*/ 980 h 980"/>
                </a:gdLst>
                <a:ahLst/>
                <a:cxnLst>
                  <a:cxn ang="0">
                    <a:pos x="T0" y="T1"/>
                  </a:cxn>
                  <a:cxn ang="0">
                    <a:pos x="T2" y="T3"/>
                  </a:cxn>
                  <a:cxn ang="0">
                    <a:pos x="T4" y="T5"/>
                  </a:cxn>
                  <a:cxn ang="0">
                    <a:pos x="T6" y="T7"/>
                  </a:cxn>
                  <a:cxn ang="0">
                    <a:pos x="T8" y="T9"/>
                  </a:cxn>
                  <a:cxn ang="0">
                    <a:pos x="T10" y="T11"/>
                  </a:cxn>
                </a:cxnLst>
                <a:rect l="0" t="0" r="r" b="b"/>
                <a:pathLst>
                  <a:path w="1132" h="980">
                    <a:moveTo>
                      <a:pt x="566" y="980"/>
                    </a:moveTo>
                    <a:lnTo>
                      <a:pt x="566" y="980"/>
                    </a:lnTo>
                    <a:lnTo>
                      <a:pt x="0" y="0"/>
                    </a:lnTo>
                    <a:lnTo>
                      <a:pt x="0" y="0"/>
                    </a:lnTo>
                    <a:lnTo>
                      <a:pt x="1132" y="0"/>
                    </a:lnTo>
                    <a:lnTo>
                      <a:pt x="566"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79" name="Freeform 400"/>
              <p:cNvSpPr>
                <a:spLocks/>
              </p:cNvSpPr>
              <p:nvPr/>
            </p:nvSpPr>
            <p:spPr bwMode="auto">
              <a:xfrm>
                <a:off x="-5465763" y="-354012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99D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0" name="Rectangle 401"/>
              <p:cNvSpPr>
                <a:spLocks noChangeArrowheads="1"/>
              </p:cNvSpPr>
              <p:nvPr/>
            </p:nvSpPr>
            <p:spPr bwMode="auto">
              <a:xfrm>
                <a:off x="-5465763" y="-3540126"/>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1" name="Freeform 402"/>
              <p:cNvSpPr>
                <a:spLocks noEditPoints="1"/>
              </p:cNvSpPr>
              <p:nvPr/>
            </p:nvSpPr>
            <p:spPr bwMode="auto">
              <a:xfrm>
                <a:off x="-4567238" y="-1984376"/>
                <a:ext cx="1585913" cy="2144713"/>
              </a:xfrm>
              <a:custGeom>
                <a:avLst/>
                <a:gdLst>
                  <a:gd name="T0" fmla="*/ 2081 w 2081"/>
                  <a:gd name="T1" fmla="*/ 2815 h 2815"/>
                  <a:gd name="T2" fmla="*/ 2081 w 2081"/>
                  <a:gd name="T3" fmla="*/ 2815 h 2815"/>
                  <a:gd name="T4" fmla="*/ 2081 w 2081"/>
                  <a:gd name="T5" fmla="*/ 2815 h 2815"/>
                  <a:gd name="T6" fmla="*/ 2081 w 2081"/>
                  <a:gd name="T7" fmla="*/ 2815 h 2815"/>
                  <a:gd name="T8" fmla="*/ 0 w 2081"/>
                  <a:gd name="T9" fmla="*/ 0 h 2815"/>
                  <a:gd name="T10" fmla="*/ 0 w 2081"/>
                  <a:gd name="T11" fmla="*/ 0 h 2815"/>
                  <a:gd name="T12" fmla="*/ 1627 w 2081"/>
                  <a:gd name="T13" fmla="*/ 645 h 2815"/>
                  <a:gd name="T14" fmla="*/ 2081 w 2081"/>
                  <a:gd name="T15" fmla="*/ 2815 h 28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1" h="2815">
                    <a:moveTo>
                      <a:pt x="2081" y="2815"/>
                    </a:moveTo>
                    <a:lnTo>
                      <a:pt x="2081" y="2815"/>
                    </a:lnTo>
                    <a:lnTo>
                      <a:pt x="2081" y="2815"/>
                    </a:lnTo>
                    <a:moveTo>
                      <a:pt x="2081" y="2815"/>
                    </a:moveTo>
                    <a:lnTo>
                      <a:pt x="0" y="0"/>
                    </a:lnTo>
                    <a:lnTo>
                      <a:pt x="0" y="0"/>
                    </a:lnTo>
                    <a:lnTo>
                      <a:pt x="1627" y="645"/>
                    </a:lnTo>
                    <a:lnTo>
                      <a:pt x="2081" y="2815"/>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2" name="Freeform 403"/>
              <p:cNvSpPr>
                <a:spLocks/>
              </p:cNvSpPr>
              <p:nvPr/>
            </p:nvSpPr>
            <p:spPr bwMode="auto">
              <a:xfrm>
                <a:off x="-4567238" y="-1984376"/>
                <a:ext cx="1585913" cy="2144713"/>
              </a:xfrm>
              <a:custGeom>
                <a:avLst/>
                <a:gdLst>
                  <a:gd name="T0" fmla="*/ 999 w 999"/>
                  <a:gd name="T1" fmla="*/ 1351 h 1351"/>
                  <a:gd name="T2" fmla="*/ 0 w 999"/>
                  <a:gd name="T3" fmla="*/ 0 h 1351"/>
                  <a:gd name="T4" fmla="*/ 0 w 999"/>
                  <a:gd name="T5" fmla="*/ 0 h 1351"/>
                  <a:gd name="T6" fmla="*/ 999 w 999"/>
                  <a:gd name="T7" fmla="*/ 1351 h 1351"/>
                  <a:gd name="T8" fmla="*/ 999 w 999"/>
                  <a:gd name="T9" fmla="*/ 1351 h 1351"/>
                  <a:gd name="T10" fmla="*/ 999 w 999"/>
                  <a:gd name="T11" fmla="*/ 1351 h 1351"/>
                </a:gdLst>
                <a:ahLst/>
                <a:cxnLst>
                  <a:cxn ang="0">
                    <a:pos x="T0" y="T1"/>
                  </a:cxn>
                  <a:cxn ang="0">
                    <a:pos x="T2" y="T3"/>
                  </a:cxn>
                  <a:cxn ang="0">
                    <a:pos x="T4" y="T5"/>
                  </a:cxn>
                  <a:cxn ang="0">
                    <a:pos x="T6" y="T7"/>
                  </a:cxn>
                  <a:cxn ang="0">
                    <a:pos x="T8" y="T9"/>
                  </a:cxn>
                  <a:cxn ang="0">
                    <a:pos x="T10" y="T11"/>
                  </a:cxn>
                </a:cxnLst>
                <a:rect l="0" t="0" r="r" b="b"/>
                <a:pathLst>
                  <a:path w="999" h="1351">
                    <a:moveTo>
                      <a:pt x="999" y="1351"/>
                    </a:moveTo>
                    <a:lnTo>
                      <a:pt x="0" y="0"/>
                    </a:lnTo>
                    <a:lnTo>
                      <a:pt x="0" y="0"/>
                    </a:lnTo>
                    <a:lnTo>
                      <a:pt x="999" y="1351"/>
                    </a:lnTo>
                    <a:lnTo>
                      <a:pt x="999" y="1351"/>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3" name="Rectangle 404"/>
              <p:cNvSpPr>
                <a:spLocks noChangeArrowheads="1"/>
              </p:cNvSpPr>
              <p:nvPr/>
            </p:nvSpPr>
            <p:spPr bwMode="auto">
              <a:xfrm>
                <a:off x="-4567238" y="-1984376"/>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4" name="Freeform 405"/>
              <p:cNvSpPr>
                <a:spLocks/>
              </p:cNvSpPr>
              <p:nvPr/>
            </p:nvSpPr>
            <p:spPr bwMode="auto">
              <a:xfrm>
                <a:off x="-5526088" y="-3540126"/>
                <a:ext cx="958850" cy="2135188"/>
              </a:xfrm>
              <a:custGeom>
                <a:avLst/>
                <a:gdLst>
                  <a:gd name="T0" fmla="*/ 0 w 604"/>
                  <a:gd name="T1" fmla="*/ 1345 h 1345"/>
                  <a:gd name="T2" fmla="*/ 1 w 604"/>
                  <a:gd name="T3" fmla="*/ 1294 h 1345"/>
                  <a:gd name="T4" fmla="*/ 38 w 604"/>
                  <a:gd name="T5" fmla="*/ 0 h 1345"/>
                  <a:gd name="T6" fmla="*/ 38 w 604"/>
                  <a:gd name="T7" fmla="*/ 0 h 1345"/>
                  <a:gd name="T8" fmla="*/ 38 w 604"/>
                  <a:gd name="T9" fmla="*/ 0 h 1345"/>
                  <a:gd name="T10" fmla="*/ 604 w 604"/>
                  <a:gd name="T11" fmla="*/ 980 h 1345"/>
                  <a:gd name="T12" fmla="*/ 0 w 604"/>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604" h="1345">
                    <a:moveTo>
                      <a:pt x="0" y="1345"/>
                    </a:moveTo>
                    <a:lnTo>
                      <a:pt x="1" y="1294"/>
                    </a:lnTo>
                    <a:lnTo>
                      <a:pt x="38" y="0"/>
                    </a:lnTo>
                    <a:lnTo>
                      <a:pt x="38" y="0"/>
                    </a:lnTo>
                    <a:lnTo>
                      <a:pt x="38" y="0"/>
                    </a:lnTo>
                    <a:lnTo>
                      <a:pt x="604" y="980"/>
                    </a:lnTo>
                    <a:lnTo>
                      <a:pt x="0" y="134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5" name="Freeform 406"/>
              <p:cNvSpPr>
                <a:spLocks/>
              </p:cNvSpPr>
              <p:nvPr/>
            </p:nvSpPr>
            <p:spPr bwMode="auto">
              <a:xfrm>
                <a:off x="-4567238" y="-3540126"/>
                <a:ext cx="1239838" cy="2046288"/>
              </a:xfrm>
              <a:custGeom>
                <a:avLst/>
                <a:gdLst>
                  <a:gd name="T0" fmla="*/ 781 w 781"/>
                  <a:gd name="T1" fmla="*/ 1289 h 1289"/>
                  <a:gd name="T2" fmla="*/ 0 w 781"/>
                  <a:gd name="T3" fmla="*/ 980 h 1289"/>
                  <a:gd name="T4" fmla="*/ 566 w 781"/>
                  <a:gd name="T5" fmla="*/ 0 h 1289"/>
                  <a:gd name="T6" fmla="*/ 716 w 781"/>
                  <a:gd name="T7" fmla="*/ 902 h 1289"/>
                  <a:gd name="T8" fmla="*/ 781 w 781"/>
                  <a:gd name="T9" fmla="*/ 1289 h 1289"/>
                </a:gdLst>
                <a:ahLst/>
                <a:cxnLst>
                  <a:cxn ang="0">
                    <a:pos x="T0" y="T1"/>
                  </a:cxn>
                  <a:cxn ang="0">
                    <a:pos x="T2" y="T3"/>
                  </a:cxn>
                  <a:cxn ang="0">
                    <a:pos x="T4" y="T5"/>
                  </a:cxn>
                  <a:cxn ang="0">
                    <a:pos x="T6" y="T7"/>
                  </a:cxn>
                  <a:cxn ang="0">
                    <a:pos x="T8" y="T9"/>
                  </a:cxn>
                </a:cxnLst>
                <a:rect l="0" t="0" r="r" b="b"/>
                <a:pathLst>
                  <a:path w="781" h="1289">
                    <a:moveTo>
                      <a:pt x="781" y="1289"/>
                    </a:moveTo>
                    <a:lnTo>
                      <a:pt x="0" y="980"/>
                    </a:lnTo>
                    <a:lnTo>
                      <a:pt x="566" y="0"/>
                    </a:lnTo>
                    <a:lnTo>
                      <a:pt x="716" y="902"/>
                    </a:lnTo>
                    <a:lnTo>
                      <a:pt x="781" y="128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6" name="Freeform 407"/>
              <p:cNvSpPr>
                <a:spLocks noEditPoints="1"/>
              </p:cNvSpPr>
              <p:nvPr/>
            </p:nvSpPr>
            <p:spPr bwMode="auto">
              <a:xfrm>
                <a:off x="-5526088" y="-1984376"/>
                <a:ext cx="958850" cy="2641600"/>
              </a:xfrm>
              <a:custGeom>
                <a:avLst/>
                <a:gdLst>
                  <a:gd name="T0" fmla="*/ 0 w 1258"/>
                  <a:gd name="T1" fmla="*/ 3467 h 3467"/>
                  <a:gd name="T2" fmla="*/ 0 w 1258"/>
                  <a:gd name="T3" fmla="*/ 3467 h 3467"/>
                  <a:gd name="T4" fmla="*/ 0 w 1258"/>
                  <a:gd name="T5" fmla="*/ 3467 h 3467"/>
                  <a:gd name="T6" fmla="*/ 0 w 1258"/>
                  <a:gd name="T7" fmla="*/ 3467 h 3467"/>
                  <a:gd name="T8" fmla="*/ 0 w 1258"/>
                  <a:gd name="T9" fmla="*/ 3467 h 3467"/>
                  <a:gd name="T10" fmla="*/ 0 w 1258"/>
                  <a:gd name="T11" fmla="*/ 760 h 3467"/>
                  <a:gd name="T12" fmla="*/ 1258 w 1258"/>
                  <a:gd name="T13" fmla="*/ 0 h 3467"/>
                  <a:gd name="T14" fmla="*/ 0 w 1258"/>
                  <a:gd name="T15" fmla="*/ 3467 h 3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8" h="3467">
                    <a:moveTo>
                      <a:pt x="0" y="3467"/>
                    </a:moveTo>
                    <a:lnTo>
                      <a:pt x="0" y="3467"/>
                    </a:lnTo>
                    <a:lnTo>
                      <a:pt x="0" y="3467"/>
                    </a:lnTo>
                    <a:lnTo>
                      <a:pt x="0" y="3467"/>
                    </a:lnTo>
                    <a:moveTo>
                      <a:pt x="0" y="3467"/>
                    </a:moveTo>
                    <a:lnTo>
                      <a:pt x="0" y="760"/>
                    </a:lnTo>
                    <a:lnTo>
                      <a:pt x="1258" y="0"/>
                    </a:lnTo>
                    <a:lnTo>
                      <a:pt x="0" y="3467"/>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7" name="Freeform 408"/>
              <p:cNvSpPr>
                <a:spLocks/>
              </p:cNvSpPr>
              <p:nvPr/>
            </p:nvSpPr>
            <p:spPr bwMode="auto">
              <a:xfrm>
                <a:off x="-5526088" y="-1984376"/>
                <a:ext cx="958850" cy="2641600"/>
              </a:xfrm>
              <a:custGeom>
                <a:avLst/>
                <a:gdLst>
                  <a:gd name="T0" fmla="*/ 0 w 604"/>
                  <a:gd name="T1" fmla="*/ 1664 h 1664"/>
                  <a:gd name="T2" fmla="*/ 0 w 604"/>
                  <a:gd name="T3" fmla="*/ 1664 h 1664"/>
                  <a:gd name="T4" fmla="*/ 604 w 604"/>
                  <a:gd name="T5" fmla="*/ 0 h 1664"/>
                  <a:gd name="T6" fmla="*/ 604 w 604"/>
                  <a:gd name="T7" fmla="*/ 0 h 1664"/>
                  <a:gd name="T8" fmla="*/ 604 w 604"/>
                  <a:gd name="T9" fmla="*/ 0 h 1664"/>
                  <a:gd name="T10" fmla="*/ 0 w 604"/>
                  <a:gd name="T11" fmla="*/ 1664 h 1664"/>
                  <a:gd name="T12" fmla="*/ 0 w 604"/>
                  <a:gd name="T13" fmla="*/ 1664 h 1664"/>
                </a:gdLst>
                <a:ahLst/>
                <a:cxnLst>
                  <a:cxn ang="0">
                    <a:pos x="T0" y="T1"/>
                  </a:cxn>
                  <a:cxn ang="0">
                    <a:pos x="T2" y="T3"/>
                  </a:cxn>
                  <a:cxn ang="0">
                    <a:pos x="T4" y="T5"/>
                  </a:cxn>
                  <a:cxn ang="0">
                    <a:pos x="T6" y="T7"/>
                  </a:cxn>
                  <a:cxn ang="0">
                    <a:pos x="T8" y="T9"/>
                  </a:cxn>
                  <a:cxn ang="0">
                    <a:pos x="T10" y="T11"/>
                  </a:cxn>
                  <a:cxn ang="0">
                    <a:pos x="T12" y="T13"/>
                  </a:cxn>
                </a:cxnLst>
                <a:rect l="0" t="0" r="r" b="b"/>
                <a:pathLst>
                  <a:path w="604" h="1664">
                    <a:moveTo>
                      <a:pt x="0" y="1664"/>
                    </a:moveTo>
                    <a:lnTo>
                      <a:pt x="0" y="1664"/>
                    </a:lnTo>
                    <a:lnTo>
                      <a:pt x="604" y="0"/>
                    </a:lnTo>
                    <a:lnTo>
                      <a:pt x="604" y="0"/>
                    </a:lnTo>
                    <a:lnTo>
                      <a:pt x="604" y="0"/>
                    </a:lnTo>
                    <a:lnTo>
                      <a:pt x="0" y="1664"/>
                    </a:lnTo>
                    <a:lnTo>
                      <a:pt x="0" y="166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8" name="Freeform 409"/>
              <p:cNvSpPr>
                <a:spLocks/>
              </p:cNvSpPr>
              <p:nvPr/>
            </p:nvSpPr>
            <p:spPr bwMode="auto">
              <a:xfrm>
                <a:off x="-4567238" y="-19843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89" name="Freeform 410"/>
              <p:cNvSpPr>
                <a:spLocks noEditPoints="1"/>
              </p:cNvSpPr>
              <p:nvPr/>
            </p:nvSpPr>
            <p:spPr bwMode="auto">
              <a:xfrm>
                <a:off x="-8159750" y="2682875"/>
                <a:ext cx="1141413" cy="1914525"/>
              </a:xfrm>
              <a:custGeom>
                <a:avLst/>
                <a:gdLst>
                  <a:gd name="T0" fmla="*/ 1498 w 1498"/>
                  <a:gd name="T1" fmla="*/ 2514 h 2514"/>
                  <a:gd name="T2" fmla="*/ 1 w 1498"/>
                  <a:gd name="T3" fmla="*/ 2041 h 2514"/>
                  <a:gd name="T4" fmla="*/ 0 w 1498"/>
                  <a:gd name="T5" fmla="*/ 2041 h 2514"/>
                  <a:gd name="T6" fmla="*/ 1 w 1498"/>
                  <a:gd name="T7" fmla="*/ 2041 h 2514"/>
                  <a:gd name="T8" fmla="*/ 1179 w 1498"/>
                  <a:gd name="T9" fmla="*/ 0 h 2514"/>
                  <a:gd name="T10" fmla="*/ 1179 w 1498"/>
                  <a:gd name="T11" fmla="*/ 0 h 2514"/>
                  <a:gd name="T12" fmla="*/ 1179 w 1498"/>
                  <a:gd name="T13" fmla="*/ 0 h 2514"/>
                  <a:gd name="T14" fmla="*/ 1179 w 1498"/>
                  <a:gd name="T15" fmla="*/ 0 h 2514"/>
                  <a:gd name="T16" fmla="*/ 1179 w 1498"/>
                  <a:gd name="T17" fmla="*/ 0 h 2514"/>
                  <a:gd name="T18" fmla="*/ 1234 w 1498"/>
                  <a:gd name="T19" fmla="*/ 432 h 2514"/>
                  <a:gd name="T20" fmla="*/ 1498 w 1498"/>
                  <a:gd name="T21" fmla="*/ 2514 h 2514"/>
                  <a:gd name="T22" fmla="*/ 1179 w 1498"/>
                  <a:gd name="T23" fmla="*/ 0 h 2514"/>
                  <a:gd name="T24" fmla="*/ 1179 w 1498"/>
                  <a:gd name="T25" fmla="*/ 0 h 2514"/>
                  <a:gd name="T26" fmla="*/ 1179 w 1498"/>
                  <a:gd name="T27"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8" h="2514">
                    <a:moveTo>
                      <a:pt x="1498" y="2514"/>
                    </a:moveTo>
                    <a:lnTo>
                      <a:pt x="1" y="2041"/>
                    </a:lnTo>
                    <a:lnTo>
                      <a:pt x="0" y="2041"/>
                    </a:lnTo>
                    <a:lnTo>
                      <a:pt x="1" y="2041"/>
                    </a:lnTo>
                    <a:lnTo>
                      <a:pt x="1179" y="0"/>
                    </a:lnTo>
                    <a:lnTo>
                      <a:pt x="1179" y="0"/>
                    </a:lnTo>
                    <a:lnTo>
                      <a:pt x="1179" y="0"/>
                    </a:lnTo>
                    <a:lnTo>
                      <a:pt x="1179" y="0"/>
                    </a:lnTo>
                    <a:lnTo>
                      <a:pt x="1179" y="0"/>
                    </a:lnTo>
                    <a:lnTo>
                      <a:pt x="1234" y="432"/>
                    </a:lnTo>
                    <a:lnTo>
                      <a:pt x="1498" y="2514"/>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0" name="Freeform 411"/>
              <p:cNvSpPr>
                <a:spLocks/>
              </p:cNvSpPr>
              <p:nvPr/>
            </p:nvSpPr>
            <p:spPr bwMode="auto">
              <a:xfrm>
                <a:off x="-8159750" y="1125537"/>
                <a:ext cx="1795463" cy="1557338"/>
              </a:xfrm>
              <a:custGeom>
                <a:avLst/>
                <a:gdLst>
                  <a:gd name="T0" fmla="*/ 566 w 1131"/>
                  <a:gd name="T1" fmla="*/ 981 h 981"/>
                  <a:gd name="T2" fmla="*/ 4 w 1131"/>
                  <a:gd name="T3" fmla="*/ 7 h 981"/>
                  <a:gd name="T4" fmla="*/ 0 w 1131"/>
                  <a:gd name="T5" fmla="*/ 0 h 981"/>
                  <a:gd name="T6" fmla="*/ 0 w 1131"/>
                  <a:gd name="T7" fmla="*/ 0 h 981"/>
                  <a:gd name="T8" fmla="*/ 0 w 1131"/>
                  <a:gd name="T9" fmla="*/ 0 h 981"/>
                  <a:gd name="T10" fmla="*/ 0 w 1131"/>
                  <a:gd name="T11" fmla="*/ 0 h 981"/>
                  <a:gd name="T12" fmla="*/ 1131 w 1131"/>
                  <a:gd name="T13" fmla="*/ 0 h 981"/>
                  <a:gd name="T14" fmla="*/ 566 w 1131"/>
                  <a:gd name="T15" fmla="*/ 981 h 9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981">
                    <a:moveTo>
                      <a:pt x="566" y="981"/>
                    </a:moveTo>
                    <a:lnTo>
                      <a:pt x="4" y="7"/>
                    </a:lnTo>
                    <a:lnTo>
                      <a:pt x="0" y="0"/>
                    </a:lnTo>
                    <a:lnTo>
                      <a:pt x="0" y="0"/>
                    </a:lnTo>
                    <a:lnTo>
                      <a:pt x="0" y="0"/>
                    </a:lnTo>
                    <a:lnTo>
                      <a:pt x="0" y="0"/>
                    </a:lnTo>
                    <a:lnTo>
                      <a:pt x="1131" y="0"/>
                    </a:lnTo>
                    <a:lnTo>
                      <a:pt x="566" y="98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1" name="Freeform 412"/>
              <p:cNvSpPr>
                <a:spLocks noEditPoints="1"/>
              </p:cNvSpPr>
              <p:nvPr/>
            </p:nvSpPr>
            <p:spPr bwMode="auto">
              <a:xfrm>
                <a:off x="-7261225" y="2655887"/>
                <a:ext cx="1047750" cy="1941513"/>
              </a:xfrm>
              <a:custGeom>
                <a:avLst/>
                <a:gdLst>
                  <a:gd name="T0" fmla="*/ 319 w 1375"/>
                  <a:gd name="T1" fmla="*/ 2549 h 2549"/>
                  <a:gd name="T2" fmla="*/ 55 w 1375"/>
                  <a:gd name="T3" fmla="*/ 467 h 2549"/>
                  <a:gd name="T4" fmla="*/ 0 w 1375"/>
                  <a:gd name="T5" fmla="*/ 35 h 2549"/>
                  <a:gd name="T6" fmla="*/ 1375 w 1375"/>
                  <a:gd name="T7" fmla="*/ 0 h 2549"/>
                  <a:gd name="T8" fmla="*/ 1375 w 1375"/>
                  <a:gd name="T9" fmla="*/ 0 h 2549"/>
                  <a:gd name="T10" fmla="*/ 319 w 1375"/>
                  <a:gd name="T11" fmla="*/ 2549 h 2549"/>
                  <a:gd name="T12" fmla="*/ 1375 w 1375"/>
                  <a:gd name="T13" fmla="*/ 0 h 2549"/>
                  <a:gd name="T14" fmla="*/ 1375 w 1375"/>
                  <a:gd name="T15" fmla="*/ 0 h 2549"/>
                  <a:gd name="T16" fmla="*/ 1375 w 1375"/>
                  <a:gd name="T17" fmla="*/ 0 h 2549"/>
                  <a:gd name="T18" fmla="*/ 1375 w 1375"/>
                  <a:gd name="T19" fmla="*/ 0 h 2549"/>
                  <a:gd name="T20" fmla="*/ 1375 w 1375"/>
                  <a:gd name="T21" fmla="*/ 0 h 2549"/>
                  <a:gd name="T22" fmla="*/ 1375 w 1375"/>
                  <a:gd name="T23" fmla="*/ 0 h 2549"/>
                  <a:gd name="T24" fmla="*/ 1375 w 1375"/>
                  <a:gd name="T25" fmla="*/ 0 h 2549"/>
                  <a:gd name="T26" fmla="*/ 1375 w 1375"/>
                  <a:gd name="T27" fmla="*/ 0 h 2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5" h="2549">
                    <a:moveTo>
                      <a:pt x="319" y="2549"/>
                    </a:moveTo>
                    <a:lnTo>
                      <a:pt x="55" y="467"/>
                    </a:lnTo>
                    <a:lnTo>
                      <a:pt x="0" y="35"/>
                    </a:lnTo>
                    <a:lnTo>
                      <a:pt x="1375" y="0"/>
                    </a:lnTo>
                    <a:lnTo>
                      <a:pt x="1375" y="0"/>
                    </a:lnTo>
                    <a:lnTo>
                      <a:pt x="319" y="2549"/>
                    </a:lnTo>
                    <a:moveTo>
                      <a:pt x="1375" y="0"/>
                    </a:moveTo>
                    <a:lnTo>
                      <a:pt x="1375" y="0"/>
                    </a:lnTo>
                    <a:lnTo>
                      <a:pt x="1375" y="0"/>
                    </a:lnTo>
                    <a:lnTo>
                      <a:pt x="1375" y="0"/>
                    </a:lnTo>
                    <a:moveTo>
                      <a:pt x="1375" y="0"/>
                    </a:moveTo>
                    <a:lnTo>
                      <a:pt x="1375" y="0"/>
                    </a:lnTo>
                    <a:lnTo>
                      <a:pt x="1375" y="0"/>
                    </a:lnTo>
                    <a:lnTo>
                      <a:pt x="1375"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2" name="Freeform 413"/>
              <p:cNvSpPr>
                <a:spLocks noEditPoints="1"/>
              </p:cNvSpPr>
              <p:nvPr/>
            </p:nvSpPr>
            <p:spPr bwMode="auto">
              <a:xfrm>
                <a:off x="-9488488" y="1125537"/>
                <a:ext cx="2227263" cy="2085975"/>
              </a:xfrm>
              <a:custGeom>
                <a:avLst/>
                <a:gdLst>
                  <a:gd name="T0" fmla="*/ 0 w 2922"/>
                  <a:gd name="T1" fmla="*/ 2737 h 2737"/>
                  <a:gd name="T2" fmla="*/ 0 w 2922"/>
                  <a:gd name="T3" fmla="*/ 2737 h 2737"/>
                  <a:gd name="T4" fmla="*/ 0 w 2922"/>
                  <a:gd name="T5" fmla="*/ 2737 h 2737"/>
                  <a:gd name="T6" fmla="*/ 0 w 2922"/>
                  <a:gd name="T7" fmla="*/ 2737 h 2737"/>
                  <a:gd name="T8" fmla="*/ 1744 w 2922"/>
                  <a:gd name="T9" fmla="*/ 0 h 2737"/>
                  <a:gd name="T10" fmla="*/ 1752 w 2922"/>
                  <a:gd name="T11" fmla="*/ 14 h 2737"/>
                  <a:gd name="T12" fmla="*/ 2922 w 2922"/>
                  <a:gd name="T13" fmla="*/ 2042 h 2737"/>
                  <a:gd name="T14" fmla="*/ 2922 w 2922"/>
                  <a:gd name="T15" fmla="*/ 2042 h 2737"/>
                  <a:gd name="T16" fmla="*/ 0 w 2922"/>
                  <a:gd name="T17" fmla="*/ 2737 h 2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22" h="2737">
                    <a:moveTo>
                      <a:pt x="0" y="2737"/>
                    </a:moveTo>
                    <a:lnTo>
                      <a:pt x="0" y="2737"/>
                    </a:lnTo>
                    <a:lnTo>
                      <a:pt x="0" y="2737"/>
                    </a:lnTo>
                    <a:moveTo>
                      <a:pt x="0" y="2737"/>
                    </a:moveTo>
                    <a:lnTo>
                      <a:pt x="1744" y="0"/>
                    </a:lnTo>
                    <a:lnTo>
                      <a:pt x="1752" y="14"/>
                    </a:lnTo>
                    <a:lnTo>
                      <a:pt x="2922" y="2042"/>
                    </a:lnTo>
                    <a:lnTo>
                      <a:pt x="2922" y="2042"/>
                    </a:lnTo>
                    <a:lnTo>
                      <a:pt x="0" y="2737"/>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3" name="Freeform 414"/>
              <p:cNvSpPr>
                <a:spLocks/>
              </p:cNvSpPr>
              <p:nvPr/>
            </p:nvSpPr>
            <p:spPr bwMode="auto">
              <a:xfrm>
                <a:off x="-7261225" y="1125537"/>
                <a:ext cx="1047750" cy="1557338"/>
              </a:xfrm>
              <a:custGeom>
                <a:avLst/>
                <a:gdLst>
                  <a:gd name="T0" fmla="*/ 0 w 660"/>
                  <a:gd name="T1" fmla="*/ 981 h 981"/>
                  <a:gd name="T2" fmla="*/ 0 w 660"/>
                  <a:gd name="T3" fmla="*/ 981 h 981"/>
                  <a:gd name="T4" fmla="*/ 565 w 660"/>
                  <a:gd name="T5" fmla="*/ 0 h 981"/>
                  <a:gd name="T6" fmla="*/ 565 w 660"/>
                  <a:gd name="T7" fmla="*/ 0 h 981"/>
                  <a:gd name="T8" fmla="*/ 565 w 660"/>
                  <a:gd name="T9" fmla="*/ 0 h 981"/>
                  <a:gd name="T10" fmla="*/ 660 w 660"/>
                  <a:gd name="T11" fmla="*/ 963 h 981"/>
                  <a:gd name="T12" fmla="*/ 660 w 660"/>
                  <a:gd name="T13" fmla="*/ 963 h 981"/>
                  <a:gd name="T14" fmla="*/ 660 w 660"/>
                  <a:gd name="T15" fmla="*/ 964 h 981"/>
                  <a:gd name="T16" fmla="*/ 660 w 660"/>
                  <a:gd name="T17" fmla="*/ 964 h 981"/>
                  <a:gd name="T18" fmla="*/ 0 w 660"/>
                  <a:gd name="T19" fmla="*/ 981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0" h="981">
                    <a:moveTo>
                      <a:pt x="0" y="981"/>
                    </a:moveTo>
                    <a:lnTo>
                      <a:pt x="0" y="981"/>
                    </a:lnTo>
                    <a:lnTo>
                      <a:pt x="565" y="0"/>
                    </a:lnTo>
                    <a:lnTo>
                      <a:pt x="565" y="0"/>
                    </a:lnTo>
                    <a:lnTo>
                      <a:pt x="565" y="0"/>
                    </a:lnTo>
                    <a:lnTo>
                      <a:pt x="660" y="963"/>
                    </a:lnTo>
                    <a:lnTo>
                      <a:pt x="660" y="963"/>
                    </a:lnTo>
                    <a:lnTo>
                      <a:pt x="660" y="964"/>
                    </a:lnTo>
                    <a:lnTo>
                      <a:pt x="660" y="964"/>
                    </a:lnTo>
                    <a:lnTo>
                      <a:pt x="0"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4" name="Freeform 415"/>
              <p:cNvSpPr>
                <a:spLocks/>
              </p:cNvSpPr>
              <p:nvPr/>
            </p:nvSpPr>
            <p:spPr bwMode="auto">
              <a:xfrm>
                <a:off x="-9488488" y="2682875"/>
                <a:ext cx="2227263" cy="1554163"/>
              </a:xfrm>
              <a:custGeom>
                <a:avLst/>
                <a:gdLst>
                  <a:gd name="T0" fmla="*/ 1744 w 2922"/>
                  <a:gd name="T1" fmla="*/ 2041 h 2041"/>
                  <a:gd name="T2" fmla="*/ 0 w 2922"/>
                  <a:gd name="T3" fmla="*/ 695 h 2041"/>
                  <a:gd name="T4" fmla="*/ 2922 w 2922"/>
                  <a:gd name="T5" fmla="*/ 0 h 2041"/>
                  <a:gd name="T6" fmla="*/ 1743 w 2922"/>
                  <a:gd name="T7" fmla="*/ 2041 h 2041"/>
                </a:gdLst>
                <a:ahLst/>
                <a:cxnLst>
                  <a:cxn ang="0">
                    <a:pos x="T0" y="T1"/>
                  </a:cxn>
                  <a:cxn ang="0">
                    <a:pos x="T2" y="T3"/>
                  </a:cxn>
                  <a:cxn ang="0">
                    <a:pos x="T4" y="T5"/>
                  </a:cxn>
                  <a:cxn ang="0">
                    <a:pos x="T6" y="T7"/>
                  </a:cxn>
                </a:cxnLst>
                <a:rect l="0" t="0" r="r" b="b"/>
                <a:pathLst>
                  <a:path w="2922" h="2041">
                    <a:moveTo>
                      <a:pt x="1744" y="2041"/>
                    </a:moveTo>
                    <a:lnTo>
                      <a:pt x="0" y="695"/>
                    </a:lnTo>
                    <a:lnTo>
                      <a:pt x="2922" y="0"/>
                    </a:lnTo>
                    <a:lnTo>
                      <a:pt x="1743" y="204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5" name="Freeform 416"/>
              <p:cNvSpPr>
                <a:spLocks/>
              </p:cNvSpPr>
              <p:nvPr/>
            </p:nvSpPr>
            <p:spPr bwMode="auto">
              <a:xfrm>
                <a:off x="-8159750" y="2682875"/>
                <a:ext cx="898525" cy="1554163"/>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6" name="Freeform 417"/>
              <p:cNvSpPr>
                <a:spLocks/>
              </p:cNvSpPr>
              <p:nvPr/>
            </p:nvSpPr>
            <p:spPr bwMode="auto">
              <a:xfrm>
                <a:off x="-9488488" y="2682875"/>
                <a:ext cx="2227263" cy="528638"/>
              </a:xfrm>
              <a:custGeom>
                <a:avLst/>
                <a:gdLst>
                  <a:gd name="T0" fmla="*/ 0 w 1403"/>
                  <a:gd name="T1" fmla="*/ 333 h 333"/>
                  <a:gd name="T2" fmla="*/ 0 w 1403"/>
                  <a:gd name="T3" fmla="*/ 333 h 333"/>
                  <a:gd name="T4" fmla="*/ 1403 w 1403"/>
                  <a:gd name="T5" fmla="*/ 0 h 333"/>
                  <a:gd name="T6" fmla="*/ 1403 w 1403"/>
                  <a:gd name="T7" fmla="*/ 0 h 333"/>
                  <a:gd name="T8" fmla="*/ 0 w 1403"/>
                  <a:gd name="T9" fmla="*/ 333 h 333"/>
                </a:gdLst>
                <a:ahLst/>
                <a:cxnLst>
                  <a:cxn ang="0">
                    <a:pos x="T0" y="T1"/>
                  </a:cxn>
                  <a:cxn ang="0">
                    <a:pos x="T2" y="T3"/>
                  </a:cxn>
                  <a:cxn ang="0">
                    <a:pos x="T4" y="T5"/>
                  </a:cxn>
                  <a:cxn ang="0">
                    <a:pos x="T6" y="T7"/>
                  </a:cxn>
                  <a:cxn ang="0">
                    <a:pos x="T8" y="T9"/>
                  </a:cxn>
                </a:cxnLst>
                <a:rect l="0" t="0" r="r" b="b"/>
                <a:pathLst>
                  <a:path w="1403" h="333">
                    <a:moveTo>
                      <a:pt x="0" y="333"/>
                    </a:moveTo>
                    <a:lnTo>
                      <a:pt x="0" y="333"/>
                    </a:lnTo>
                    <a:lnTo>
                      <a:pt x="1403" y="0"/>
                    </a:lnTo>
                    <a:lnTo>
                      <a:pt x="1403" y="0"/>
                    </a:lnTo>
                    <a:lnTo>
                      <a:pt x="0" y="3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7" name="Freeform 418"/>
              <p:cNvSpPr>
                <a:spLocks noEditPoints="1"/>
              </p:cNvSpPr>
              <p:nvPr/>
            </p:nvSpPr>
            <p:spPr bwMode="auto">
              <a:xfrm>
                <a:off x="-6213475" y="1125537"/>
                <a:ext cx="1800225" cy="1987550"/>
              </a:xfrm>
              <a:custGeom>
                <a:avLst/>
                <a:gdLst>
                  <a:gd name="T0" fmla="*/ 2364 w 2364"/>
                  <a:gd name="T1" fmla="*/ 2608 h 2608"/>
                  <a:gd name="T2" fmla="*/ 0 w 2364"/>
                  <a:gd name="T3" fmla="*/ 2007 h 2608"/>
                  <a:gd name="T4" fmla="*/ 0 w 2364"/>
                  <a:gd name="T5" fmla="*/ 2006 h 2608"/>
                  <a:gd name="T6" fmla="*/ 0 w 2364"/>
                  <a:gd name="T7" fmla="*/ 2006 h 2608"/>
                  <a:gd name="T8" fmla="*/ 0 w 2364"/>
                  <a:gd name="T9" fmla="*/ 2006 h 2608"/>
                  <a:gd name="T10" fmla="*/ 2161 w 2364"/>
                  <a:gd name="T11" fmla="*/ 0 h 2608"/>
                  <a:gd name="T12" fmla="*/ 2364 w 2364"/>
                  <a:gd name="T13" fmla="*/ 2608 h 2608"/>
                  <a:gd name="T14" fmla="*/ 2161 w 2364"/>
                  <a:gd name="T15" fmla="*/ 0 h 2608"/>
                  <a:gd name="T16" fmla="*/ 2161 w 2364"/>
                  <a:gd name="T17" fmla="*/ 0 h 2608"/>
                  <a:gd name="T18" fmla="*/ 2161 w 2364"/>
                  <a:gd name="T19" fmla="*/ 0 h 2608"/>
                  <a:gd name="T20" fmla="*/ 2161 w 2364"/>
                  <a:gd name="T21" fmla="*/ 0 h 2608"/>
                  <a:gd name="T22" fmla="*/ 2161 w 2364"/>
                  <a:gd name="T23" fmla="*/ 0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64" h="2608">
                    <a:moveTo>
                      <a:pt x="2364" y="2608"/>
                    </a:moveTo>
                    <a:lnTo>
                      <a:pt x="0" y="2007"/>
                    </a:lnTo>
                    <a:lnTo>
                      <a:pt x="0" y="2006"/>
                    </a:lnTo>
                    <a:lnTo>
                      <a:pt x="0" y="2006"/>
                    </a:lnTo>
                    <a:lnTo>
                      <a:pt x="0" y="2006"/>
                    </a:lnTo>
                    <a:lnTo>
                      <a:pt x="2161" y="0"/>
                    </a:lnTo>
                    <a:lnTo>
                      <a:pt x="2364" y="2608"/>
                    </a:lnTo>
                    <a:moveTo>
                      <a:pt x="2161" y="0"/>
                    </a:moveTo>
                    <a:lnTo>
                      <a:pt x="2161" y="0"/>
                    </a:lnTo>
                    <a:lnTo>
                      <a:pt x="2161" y="0"/>
                    </a:lnTo>
                    <a:lnTo>
                      <a:pt x="2161" y="0"/>
                    </a:lnTo>
                    <a:lnTo>
                      <a:pt x="2161" y="0"/>
                    </a:lnTo>
                  </a:path>
                </a:pathLst>
              </a:custGeom>
              <a:solidFill>
                <a:srgbClr val="59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8" name="Rectangle 419"/>
              <p:cNvSpPr>
                <a:spLocks noChangeArrowheads="1"/>
              </p:cNvSpPr>
              <p:nvPr/>
            </p:nvSpPr>
            <p:spPr bwMode="auto">
              <a:xfrm>
                <a:off x="-6213475" y="2654300"/>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199" name="Freeform 420"/>
              <p:cNvSpPr>
                <a:spLocks/>
              </p:cNvSpPr>
              <p:nvPr/>
            </p:nvSpPr>
            <p:spPr bwMode="auto">
              <a:xfrm>
                <a:off x="-5526088" y="160337"/>
                <a:ext cx="2544763" cy="965200"/>
              </a:xfrm>
              <a:custGeom>
                <a:avLst/>
                <a:gdLst>
                  <a:gd name="T0" fmla="*/ 604 w 1603"/>
                  <a:gd name="T1" fmla="*/ 608 h 608"/>
                  <a:gd name="T2" fmla="*/ 62 w 1603"/>
                  <a:gd name="T3" fmla="*/ 344 h 608"/>
                  <a:gd name="T4" fmla="*/ 0 w 1603"/>
                  <a:gd name="T5" fmla="*/ 313 h 608"/>
                  <a:gd name="T6" fmla="*/ 0 w 1603"/>
                  <a:gd name="T7" fmla="*/ 313 h 608"/>
                  <a:gd name="T8" fmla="*/ 1603 w 1603"/>
                  <a:gd name="T9" fmla="*/ 0 h 608"/>
                  <a:gd name="T10" fmla="*/ 1508 w 1603"/>
                  <a:gd name="T11" fmla="*/ 57 h 608"/>
                  <a:gd name="T12" fmla="*/ 604 w 1603"/>
                  <a:gd name="T13" fmla="*/ 608 h 608"/>
                </a:gdLst>
                <a:ahLst/>
                <a:cxnLst>
                  <a:cxn ang="0">
                    <a:pos x="T0" y="T1"/>
                  </a:cxn>
                  <a:cxn ang="0">
                    <a:pos x="T2" y="T3"/>
                  </a:cxn>
                  <a:cxn ang="0">
                    <a:pos x="T4" y="T5"/>
                  </a:cxn>
                  <a:cxn ang="0">
                    <a:pos x="T6" y="T7"/>
                  </a:cxn>
                  <a:cxn ang="0">
                    <a:pos x="T8" y="T9"/>
                  </a:cxn>
                  <a:cxn ang="0">
                    <a:pos x="T10" y="T11"/>
                  </a:cxn>
                  <a:cxn ang="0">
                    <a:pos x="T12" y="T13"/>
                  </a:cxn>
                </a:cxnLst>
                <a:rect l="0" t="0" r="r" b="b"/>
                <a:pathLst>
                  <a:path w="1603" h="608">
                    <a:moveTo>
                      <a:pt x="604" y="608"/>
                    </a:moveTo>
                    <a:lnTo>
                      <a:pt x="62" y="344"/>
                    </a:lnTo>
                    <a:lnTo>
                      <a:pt x="0" y="313"/>
                    </a:lnTo>
                    <a:lnTo>
                      <a:pt x="0" y="313"/>
                    </a:lnTo>
                    <a:lnTo>
                      <a:pt x="1603" y="0"/>
                    </a:lnTo>
                    <a:lnTo>
                      <a:pt x="1508" y="57"/>
                    </a:lnTo>
                    <a:lnTo>
                      <a:pt x="604" y="608"/>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0" name="Freeform 421"/>
              <p:cNvSpPr>
                <a:spLocks/>
              </p:cNvSpPr>
              <p:nvPr/>
            </p:nvSpPr>
            <p:spPr bwMode="auto">
              <a:xfrm>
                <a:off x="-5526088" y="65722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89C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1" name="Freeform 422"/>
              <p:cNvSpPr>
                <a:spLocks/>
              </p:cNvSpPr>
              <p:nvPr/>
            </p:nvSpPr>
            <p:spPr bwMode="auto">
              <a:xfrm>
                <a:off x="-4567238" y="1125537"/>
                <a:ext cx="1795463" cy="1987550"/>
              </a:xfrm>
              <a:custGeom>
                <a:avLst/>
                <a:gdLst>
                  <a:gd name="T0" fmla="*/ 97 w 1131"/>
                  <a:gd name="T1" fmla="*/ 1252 h 1252"/>
                  <a:gd name="T2" fmla="*/ 97 w 1131"/>
                  <a:gd name="T3" fmla="*/ 1252 h 1252"/>
                  <a:gd name="T4" fmla="*/ 0 w 1131"/>
                  <a:gd name="T5" fmla="*/ 0 h 1252"/>
                  <a:gd name="T6" fmla="*/ 0 w 1131"/>
                  <a:gd name="T7" fmla="*/ 0 h 1252"/>
                  <a:gd name="T8" fmla="*/ 1131 w 1131"/>
                  <a:gd name="T9" fmla="*/ 0 h 1252"/>
                  <a:gd name="T10" fmla="*/ 97 w 1131"/>
                  <a:gd name="T11" fmla="*/ 1252 h 1252"/>
                  <a:gd name="T12" fmla="*/ 97 w 1131"/>
                  <a:gd name="T13" fmla="*/ 1252 h 1252"/>
                  <a:gd name="T14" fmla="*/ 97 w 1131"/>
                  <a:gd name="T15" fmla="*/ 1252 h 1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1252">
                    <a:moveTo>
                      <a:pt x="97" y="1252"/>
                    </a:moveTo>
                    <a:lnTo>
                      <a:pt x="97" y="1252"/>
                    </a:lnTo>
                    <a:lnTo>
                      <a:pt x="0" y="0"/>
                    </a:lnTo>
                    <a:lnTo>
                      <a:pt x="0" y="0"/>
                    </a:lnTo>
                    <a:lnTo>
                      <a:pt x="1131" y="0"/>
                    </a:lnTo>
                    <a:lnTo>
                      <a:pt x="97" y="1252"/>
                    </a:lnTo>
                    <a:lnTo>
                      <a:pt x="97" y="1252"/>
                    </a:lnTo>
                    <a:lnTo>
                      <a:pt x="97" y="1252"/>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2" name="Freeform 423"/>
              <p:cNvSpPr>
                <a:spLocks/>
              </p:cNvSpPr>
              <p:nvPr/>
            </p:nvSpPr>
            <p:spPr bwMode="auto">
              <a:xfrm>
                <a:off x="-4567238" y="1125537"/>
                <a:ext cx="153988" cy="1987550"/>
              </a:xfrm>
              <a:custGeom>
                <a:avLst/>
                <a:gdLst>
                  <a:gd name="T0" fmla="*/ 97 w 97"/>
                  <a:gd name="T1" fmla="*/ 1252 h 1252"/>
                  <a:gd name="T2" fmla="*/ 97 w 97"/>
                  <a:gd name="T3" fmla="*/ 1252 h 1252"/>
                  <a:gd name="T4" fmla="*/ 0 w 97"/>
                  <a:gd name="T5" fmla="*/ 0 h 1252"/>
                  <a:gd name="T6" fmla="*/ 0 w 97"/>
                  <a:gd name="T7" fmla="*/ 0 h 1252"/>
                  <a:gd name="T8" fmla="*/ 97 w 97"/>
                  <a:gd name="T9" fmla="*/ 1252 h 1252"/>
                </a:gdLst>
                <a:ahLst/>
                <a:cxnLst>
                  <a:cxn ang="0">
                    <a:pos x="T0" y="T1"/>
                  </a:cxn>
                  <a:cxn ang="0">
                    <a:pos x="T2" y="T3"/>
                  </a:cxn>
                  <a:cxn ang="0">
                    <a:pos x="T4" y="T5"/>
                  </a:cxn>
                  <a:cxn ang="0">
                    <a:pos x="T6" y="T7"/>
                  </a:cxn>
                  <a:cxn ang="0">
                    <a:pos x="T8" y="T9"/>
                  </a:cxn>
                </a:cxnLst>
                <a:rect l="0" t="0" r="r" b="b"/>
                <a:pathLst>
                  <a:path w="97" h="1252">
                    <a:moveTo>
                      <a:pt x="97" y="1252"/>
                    </a:moveTo>
                    <a:lnTo>
                      <a:pt x="97" y="1252"/>
                    </a:lnTo>
                    <a:lnTo>
                      <a:pt x="0" y="0"/>
                    </a:lnTo>
                    <a:lnTo>
                      <a:pt x="0" y="0"/>
                    </a:lnTo>
                    <a:lnTo>
                      <a:pt x="97" y="1252"/>
                    </a:lnTo>
                    <a:close/>
                  </a:path>
                </a:pathLst>
              </a:custGeom>
              <a:solidFill>
                <a:srgbClr val="5BA2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3" name="Freeform 424"/>
              <p:cNvSpPr>
                <a:spLocks noEditPoints="1"/>
              </p:cNvSpPr>
              <p:nvPr/>
            </p:nvSpPr>
            <p:spPr bwMode="auto">
              <a:xfrm>
                <a:off x="-6364288" y="657225"/>
                <a:ext cx="1797050" cy="468313"/>
              </a:xfrm>
              <a:custGeom>
                <a:avLst/>
                <a:gdLst>
                  <a:gd name="T0" fmla="*/ 0 w 2357"/>
                  <a:gd name="T1" fmla="*/ 615 h 615"/>
                  <a:gd name="T2" fmla="*/ 0 w 2357"/>
                  <a:gd name="T3" fmla="*/ 615 h 615"/>
                  <a:gd name="T4" fmla="*/ 0 w 2357"/>
                  <a:gd name="T5" fmla="*/ 615 h 615"/>
                  <a:gd name="T6" fmla="*/ 0 w 2357"/>
                  <a:gd name="T7" fmla="*/ 615 h 615"/>
                  <a:gd name="T8" fmla="*/ 0 w 2357"/>
                  <a:gd name="T9" fmla="*/ 615 h 615"/>
                  <a:gd name="T10" fmla="*/ 2357 w 2357"/>
                  <a:gd name="T11" fmla="*/ 615 h 615"/>
                  <a:gd name="T12" fmla="*/ 0 w 2357"/>
                  <a:gd name="T13" fmla="*/ 615 h 615"/>
                  <a:gd name="T14" fmla="*/ 833 w 2357"/>
                  <a:gd name="T15" fmla="*/ 149 h 615"/>
                  <a:gd name="T16" fmla="*/ 1099 w 2357"/>
                  <a:gd name="T17" fmla="*/ 0 h 615"/>
                  <a:gd name="T18" fmla="*/ 1228 w 2357"/>
                  <a:gd name="T19" fmla="*/ 64 h 615"/>
                  <a:gd name="T20" fmla="*/ 2357 w 2357"/>
                  <a:gd name="T21" fmla="*/ 615 h 615"/>
                  <a:gd name="T22" fmla="*/ 2357 w 2357"/>
                  <a:gd name="T23"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7" h="615">
                    <a:moveTo>
                      <a:pt x="0" y="615"/>
                    </a:moveTo>
                    <a:lnTo>
                      <a:pt x="0" y="615"/>
                    </a:lnTo>
                    <a:lnTo>
                      <a:pt x="0" y="615"/>
                    </a:lnTo>
                    <a:lnTo>
                      <a:pt x="0" y="615"/>
                    </a:lnTo>
                    <a:lnTo>
                      <a:pt x="0" y="615"/>
                    </a:lnTo>
                    <a:moveTo>
                      <a:pt x="2357" y="615"/>
                    </a:moveTo>
                    <a:lnTo>
                      <a:pt x="0" y="615"/>
                    </a:lnTo>
                    <a:lnTo>
                      <a:pt x="833" y="149"/>
                    </a:lnTo>
                    <a:lnTo>
                      <a:pt x="1099" y="0"/>
                    </a:lnTo>
                    <a:lnTo>
                      <a:pt x="1228" y="64"/>
                    </a:lnTo>
                    <a:lnTo>
                      <a:pt x="2357" y="615"/>
                    </a:lnTo>
                    <a:lnTo>
                      <a:pt x="2357" y="615"/>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4" name="Freeform 425"/>
              <p:cNvSpPr>
                <a:spLocks/>
              </p:cNvSpPr>
              <p:nvPr/>
            </p:nvSpPr>
            <p:spPr bwMode="auto">
              <a:xfrm>
                <a:off x="-5729288" y="657225"/>
                <a:ext cx="203200" cy="114300"/>
              </a:xfrm>
              <a:custGeom>
                <a:avLst/>
                <a:gdLst>
                  <a:gd name="T0" fmla="*/ 0 w 128"/>
                  <a:gd name="T1" fmla="*/ 72 h 72"/>
                  <a:gd name="T2" fmla="*/ 128 w 128"/>
                  <a:gd name="T3" fmla="*/ 0 h 72"/>
                  <a:gd name="T4" fmla="*/ 128 w 128"/>
                  <a:gd name="T5" fmla="*/ 0 h 72"/>
                  <a:gd name="T6" fmla="*/ 0 w 128"/>
                  <a:gd name="T7" fmla="*/ 72 h 72"/>
                </a:gdLst>
                <a:ahLst/>
                <a:cxnLst>
                  <a:cxn ang="0">
                    <a:pos x="T0" y="T1"/>
                  </a:cxn>
                  <a:cxn ang="0">
                    <a:pos x="T2" y="T3"/>
                  </a:cxn>
                  <a:cxn ang="0">
                    <a:pos x="T4" y="T5"/>
                  </a:cxn>
                  <a:cxn ang="0">
                    <a:pos x="T6" y="T7"/>
                  </a:cxn>
                </a:cxnLst>
                <a:rect l="0" t="0" r="r" b="b"/>
                <a:pathLst>
                  <a:path w="128" h="72">
                    <a:moveTo>
                      <a:pt x="0" y="72"/>
                    </a:moveTo>
                    <a:lnTo>
                      <a:pt x="128" y="0"/>
                    </a:lnTo>
                    <a:lnTo>
                      <a:pt x="128" y="0"/>
                    </a:lnTo>
                    <a:lnTo>
                      <a:pt x="0" y="72"/>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5" name="Freeform 426"/>
              <p:cNvSpPr>
                <a:spLocks/>
              </p:cNvSpPr>
              <p:nvPr/>
            </p:nvSpPr>
            <p:spPr bwMode="auto">
              <a:xfrm>
                <a:off x="-5526088" y="657225"/>
                <a:ext cx="98425" cy="49213"/>
              </a:xfrm>
              <a:custGeom>
                <a:avLst/>
                <a:gdLst>
                  <a:gd name="T0" fmla="*/ 62 w 62"/>
                  <a:gd name="T1" fmla="*/ 31 h 31"/>
                  <a:gd name="T2" fmla="*/ 0 w 62"/>
                  <a:gd name="T3" fmla="*/ 0 h 31"/>
                  <a:gd name="T4" fmla="*/ 0 w 62"/>
                  <a:gd name="T5" fmla="*/ 0 h 31"/>
                  <a:gd name="T6" fmla="*/ 62 w 62"/>
                  <a:gd name="T7" fmla="*/ 31 h 31"/>
                </a:gdLst>
                <a:ahLst/>
                <a:cxnLst>
                  <a:cxn ang="0">
                    <a:pos x="T0" y="T1"/>
                  </a:cxn>
                  <a:cxn ang="0">
                    <a:pos x="T2" y="T3"/>
                  </a:cxn>
                  <a:cxn ang="0">
                    <a:pos x="T4" y="T5"/>
                  </a:cxn>
                  <a:cxn ang="0">
                    <a:pos x="T6" y="T7"/>
                  </a:cxn>
                </a:cxnLst>
                <a:rect l="0" t="0" r="r" b="b"/>
                <a:pathLst>
                  <a:path w="62" h="31">
                    <a:moveTo>
                      <a:pt x="62" y="31"/>
                    </a:moveTo>
                    <a:lnTo>
                      <a:pt x="0" y="0"/>
                    </a:lnTo>
                    <a:lnTo>
                      <a:pt x="0" y="0"/>
                    </a:lnTo>
                    <a:lnTo>
                      <a:pt x="62" y="31"/>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6" name="Rectangle 427"/>
              <p:cNvSpPr>
                <a:spLocks noChangeArrowheads="1"/>
              </p:cNvSpPr>
              <p:nvPr/>
            </p:nvSpPr>
            <p:spPr bwMode="auto">
              <a:xfrm>
                <a:off x="-5526088" y="657225"/>
                <a:ext cx="1588" cy="1588"/>
              </a:xfrm>
              <a:prstGeom prst="rect">
                <a:avLst/>
              </a:prstGeom>
              <a:solidFill>
                <a:srgbClr val="589CBB"/>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7" name="Freeform 428"/>
              <p:cNvSpPr>
                <a:spLocks/>
              </p:cNvSpPr>
              <p:nvPr/>
            </p:nvSpPr>
            <p:spPr bwMode="auto">
              <a:xfrm>
                <a:off x="-4567238" y="160337"/>
                <a:ext cx="1795463" cy="965200"/>
              </a:xfrm>
              <a:custGeom>
                <a:avLst/>
                <a:gdLst>
                  <a:gd name="T0" fmla="*/ 0 w 1131"/>
                  <a:gd name="T1" fmla="*/ 608 h 608"/>
                  <a:gd name="T2" fmla="*/ 0 w 1131"/>
                  <a:gd name="T3" fmla="*/ 608 h 608"/>
                  <a:gd name="T4" fmla="*/ 904 w 1131"/>
                  <a:gd name="T5" fmla="*/ 57 h 608"/>
                  <a:gd name="T6" fmla="*/ 999 w 1131"/>
                  <a:gd name="T7" fmla="*/ 0 h 608"/>
                  <a:gd name="T8" fmla="*/ 999 w 1131"/>
                  <a:gd name="T9" fmla="*/ 0 h 608"/>
                  <a:gd name="T10" fmla="*/ 1077 w 1131"/>
                  <a:gd name="T11" fmla="*/ 359 h 608"/>
                  <a:gd name="T12" fmla="*/ 1131 w 1131"/>
                  <a:gd name="T13" fmla="*/ 608 h 608"/>
                  <a:gd name="T14" fmla="*/ 0 w 1131"/>
                  <a:gd name="T15" fmla="*/ 608 h 6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608">
                    <a:moveTo>
                      <a:pt x="0" y="608"/>
                    </a:moveTo>
                    <a:lnTo>
                      <a:pt x="0" y="608"/>
                    </a:lnTo>
                    <a:lnTo>
                      <a:pt x="904" y="57"/>
                    </a:lnTo>
                    <a:lnTo>
                      <a:pt x="999" y="0"/>
                    </a:lnTo>
                    <a:lnTo>
                      <a:pt x="999" y="0"/>
                    </a:lnTo>
                    <a:lnTo>
                      <a:pt x="1077" y="359"/>
                    </a:lnTo>
                    <a:lnTo>
                      <a:pt x="1131" y="608"/>
                    </a:lnTo>
                    <a:lnTo>
                      <a:pt x="0" y="608"/>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8" name="Freeform 429"/>
              <p:cNvSpPr>
                <a:spLocks/>
              </p:cNvSpPr>
              <p:nvPr/>
            </p:nvSpPr>
            <p:spPr bwMode="auto">
              <a:xfrm>
                <a:off x="-3132138" y="160337"/>
                <a:ext cx="150813" cy="90488"/>
              </a:xfrm>
              <a:custGeom>
                <a:avLst/>
                <a:gdLst>
                  <a:gd name="T0" fmla="*/ 0 w 95"/>
                  <a:gd name="T1" fmla="*/ 57 h 57"/>
                  <a:gd name="T2" fmla="*/ 95 w 95"/>
                  <a:gd name="T3" fmla="*/ 0 h 57"/>
                  <a:gd name="T4" fmla="*/ 95 w 95"/>
                  <a:gd name="T5" fmla="*/ 0 h 57"/>
                  <a:gd name="T6" fmla="*/ 0 w 95"/>
                  <a:gd name="T7" fmla="*/ 57 h 57"/>
                </a:gdLst>
                <a:ahLst/>
                <a:cxnLst>
                  <a:cxn ang="0">
                    <a:pos x="T0" y="T1"/>
                  </a:cxn>
                  <a:cxn ang="0">
                    <a:pos x="T2" y="T3"/>
                  </a:cxn>
                  <a:cxn ang="0">
                    <a:pos x="T4" y="T5"/>
                  </a:cxn>
                  <a:cxn ang="0">
                    <a:pos x="T6" y="T7"/>
                  </a:cxn>
                </a:cxnLst>
                <a:rect l="0" t="0" r="r" b="b"/>
                <a:pathLst>
                  <a:path w="95" h="57">
                    <a:moveTo>
                      <a:pt x="0" y="57"/>
                    </a:moveTo>
                    <a:lnTo>
                      <a:pt x="95" y="0"/>
                    </a:lnTo>
                    <a:lnTo>
                      <a:pt x="95" y="0"/>
                    </a:lnTo>
                    <a:lnTo>
                      <a:pt x="0" y="5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09" name="Freeform 430"/>
              <p:cNvSpPr>
                <a:spLocks noEditPoints="1"/>
              </p:cNvSpPr>
              <p:nvPr/>
            </p:nvSpPr>
            <p:spPr bwMode="auto">
              <a:xfrm>
                <a:off x="-6364288" y="1125537"/>
                <a:ext cx="1797050" cy="1528763"/>
              </a:xfrm>
              <a:custGeom>
                <a:avLst/>
                <a:gdLst>
                  <a:gd name="T0" fmla="*/ 196 w 2357"/>
                  <a:gd name="T1" fmla="*/ 2006 h 2006"/>
                  <a:gd name="T2" fmla="*/ 0 w 2357"/>
                  <a:gd name="T3" fmla="*/ 0 h 2006"/>
                  <a:gd name="T4" fmla="*/ 2357 w 2357"/>
                  <a:gd name="T5" fmla="*/ 0 h 2006"/>
                  <a:gd name="T6" fmla="*/ 196 w 2357"/>
                  <a:gd name="T7" fmla="*/ 2006 h 2006"/>
                  <a:gd name="T8" fmla="*/ 2357 w 2357"/>
                  <a:gd name="T9" fmla="*/ 0 h 2006"/>
                  <a:gd name="T10" fmla="*/ 2357 w 2357"/>
                  <a:gd name="T11" fmla="*/ 0 h 2006"/>
                  <a:gd name="T12" fmla="*/ 2357 w 2357"/>
                  <a:gd name="T13" fmla="*/ 0 h 2006"/>
                  <a:gd name="T14" fmla="*/ 0 w 2357"/>
                  <a:gd name="T15" fmla="*/ 0 h 2006"/>
                  <a:gd name="T16" fmla="*/ 0 w 2357"/>
                  <a:gd name="T17" fmla="*/ 0 h 2006"/>
                  <a:gd name="T18" fmla="*/ 0 w 2357"/>
                  <a:gd name="T19" fmla="*/ 0 h 2006"/>
                  <a:gd name="T20" fmla="*/ 0 w 2357"/>
                  <a:gd name="T21" fmla="*/ 0 h 2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7" h="2006">
                    <a:moveTo>
                      <a:pt x="196" y="2006"/>
                    </a:moveTo>
                    <a:lnTo>
                      <a:pt x="0" y="0"/>
                    </a:lnTo>
                    <a:lnTo>
                      <a:pt x="2357" y="0"/>
                    </a:lnTo>
                    <a:lnTo>
                      <a:pt x="196" y="2006"/>
                    </a:lnTo>
                    <a:moveTo>
                      <a:pt x="2357" y="0"/>
                    </a:moveTo>
                    <a:lnTo>
                      <a:pt x="2357" y="0"/>
                    </a:lnTo>
                    <a:lnTo>
                      <a:pt x="2357" y="0"/>
                    </a:lnTo>
                    <a:moveTo>
                      <a:pt x="0" y="0"/>
                    </a:moveTo>
                    <a:lnTo>
                      <a:pt x="0" y="0"/>
                    </a:lnTo>
                    <a:lnTo>
                      <a:pt x="0" y="0"/>
                    </a:ln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0" name="Freeform 431"/>
              <p:cNvSpPr>
                <a:spLocks/>
              </p:cNvSpPr>
              <p:nvPr/>
            </p:nvSpPr>
            <p:spPr bwMode="auto">
              <a:xfrm>
                <a:off x="-6213475" y="1125537"/>
                <a:ext cx="1646238" cy="1528763"/>
              </a:xfrm>
              <a:custGeom>
                <a:avLst/>
                <a:gdLst>
                  <a:gd name="T0" fmla="*/ 0 w 1037"/>
                  <a:gd name="T1" fmla="*/ 963 h 963"/>
                  <a:gd name="T2" fmla="*/ 0 w 1037"/>
                  <a:gd name="T3" fmla="*/ 963 h 963"/>
                  <a:gd name="T4" fmla="*/ 1037 w 1037"/>
                  <a:gd name="T5" fmla="*/ 0 h 963"/>
                  <a:gd name="T6" fmla="*/ 1037 w 1037"/>
                  <a:gd name="T7" fmla="*/ 0 h 963"/>
                  <a:gd name="T8" fmla="*/ 1037 w 1037"/>
                  <a:gd name="T9" fmla="*/ 0 h 963"/>
                  <a:gd name="T10" fmla="*/ 1037 w 1037"/>
                  <a:gd name="T11" fmla="*/ 0 h 963"/>
                  <a:gd name="T12" fmla="*/ 0 w 1037"/>
                  <a:gd name="T13" fmla="*/ 963 h 963"/>
                </a:gdLst>
                <a:ahLst/>
                <a:cxnLst>
                  <a:cxn ang="0">
                    <a:pos x="T0" y="T1"/>
                  </a:cxn>
                  <a:cxn ang="0">
                    <a:pos x="T2" y="T3"/>
                  </a:cxn>
                  <a:cxn ang="0">
                    <a:pos x="T4" y="T5"/>
                  </a:cxn>
                  <a:cxn ang="0">
                    <a:pos x="T6" y="T7"/>
                  </a:cxn>
                  <a:cxn ang="0">
                    <a:pos x="T8" y="T9"/>
                  </a:cxn>
                  <a:cxn ang="0">
                    <a:pos x="T10" y="T11"/>
                  </a:cxn>
                  <a:cxn ang="0">
                    <a:pos x="T12" y="T13"/>
                  </a:cxn>
                </a:cxnLst>
                <a:rect l="0" t="0" r="r" b="b"/>
                <a:pathLst>
                  <a:path w="1037" h="963">
                    <a:moveTo>
                      <a:pt x="0" y="963"/>
                    </a:moveTo>
                    <a:lnTo>
                      <a:pt x="0" y="963"/>
                    </a:lnTo>
                    <a:lnTo>
                      <a:pt x="1037" y="0"/>
                    </a:lnTo>
                    <a:lnTo>
                      <a:pt x="1037" y="0"/>
                    </a:lnTo>
                    <a:lnTo>
                      <a:pt x="1037" y="0"/>
                    </a:lnTo>
                    <a:lnTo>
                      <a:pt x="1037" y="0"/>
                    </a:lnTo>
                    <a:lnTo>
                      <a:pt x="0" y="963"/>
                    </a:lnTo>
                    <a:close/>
                  </a:path>
                </a:pathLst>
              </a:custGeom>
              <a:solidFill>
                <a:srgbClr val="5AA1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1" name="Freeform 432"/>
              <p:cNvSpPr>
                <a:spLocks noEditPoints="1"/>
              </p:cNvSpPr>
              <p:nvPr/>
            </p:nvSpPr>
            <p:spPr bwMode="auto">
              <a:xfrm>
                <a:off x="-8323263" y="5514975"/>
                <a:ext cx="1782763" cy="2144713"/>
              </a:xfrm>
              <a:custGeom>
                <a:avLst/>
                <a:gdLst>
                  <a:gd name="T0" fmla="*/ 893 w 2339"/>
                  <a:gd name="T1" fmla="*/ 2815 h 2815"/>
                  <a:gd name="T2" fmla="*/ 0 w 2339"/>
                  <a:gd name="T3" fmla="*/ 2815 h 2815"/>
                  <a:gd name="T4" fmla="*/ 290 w 2339"/>
                  <a:gd name="T5" fmla="*/ 1 h 2815"/>
                  <a:gd name="T6" fmla="*/ 290 w 2339"/>
                  <a:gd name="T7" fmla="*/ 0 h 2815"/>
                  <a:gd name="T8" fmla="*/ 291 w 2339"/>
                  <a:gd name="T9" fmla="*/ 1 h 2815"/>
                  <a:gd name="T10" fmla="*/ 290 w 2339"/>
                  <a:gd name="T11" fmla="*/ 1 h 2815"/>
                  <a:gd name="T12" fmla="*/ 1731 w 2339"/>
                  <a:gd name="T13" fmla="*/ 1291 h 2815"/>
                  <a:gd name="T14" fmla="*/ 2339 w 2339"/>
                  <a:gd name="T15" fmla="*/ 1834 h 2815"/>
                  <a:gd name="T16" fmla="*/ 893 w 2339"/>
                  <a:gd name="T17" fmla="*/ 2815 h 2815"/>
                  <a:gd name="T18" fmla="*/ 291 w 2339"/>
                  <a:gd name="T19" fmla="*/ 1 h 2815"/>
                  <a:gd name="T20" fmla="*/ 290 w 2339"/>
                  <a:gd name="T21" fmla="*/ 1 h 2815"/>
                  <a:gd name="T22" fmla="*/ 291 w 2339"/>
                  <a:gd name="T23" fmla="*/ 1 h 2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39" h="2815">
                    <a:moveTo>
                      <a:pt x="893" y="2815"/>
                    </a:moveTo>
                    <a:lnTo>
                      <a:pt x="0" y="2815"/>
                    </a:lnTo>
                    <a:lnTo>
                      <a:pt x="290" y="1"/>
                    </a:lnTo>
                    <a:lnTo>
                      <a:pt x="290" y="0"/>
                    </a:lnTo>
                    <a:lnTo>
                      <a:pt x="291" y="1"/>
                    </a:lnTo>
                    <a:lnTo>
                      <a:pt x="290" y="1"/>
                    </a:lnTo>
                    <a:lnTo>
                      <a:pt x="1731" y="1291"/>
                    </a:lnTo>
                    <a:lnTo>
                      <a:pt x="2339" y="1834"/>
                    </a:lnTo>
                    <a:lnTo>
                      <a:pt x="893" y="2815"/>
                    </a:lnTo>
                    <a:moveTo>
                      <a:pt x="291" y="1"/>
                    </a:moveTo>
                    <a:lnTo>
                      <a:pt x="290" y="1"/>
                    </a:lnTo>
                    <a:lnTo>
                      <a:pt x="29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2" name="Freeform 433"/>
              <p:cNvSpPr>
                <a:spLocks/>
              </p:cNvSpPr>
              <p:nvPr/>
            </p:nvSpPr>
            <p:spPr bwMode="auto">
              <a:xfrm>
                <a:off x="-8159750" y="4237037"/>
                <a:ext cx="1141413" cy="1277938"/>
              </a:xfrm>
              <a:custGeom>
                <a:avLst/>
                <a:gdLst>
                  <a:gd name="T0" fmla="*/ 36 w 719"/>
                  <a:gd name="T1" fmla="*/ 805 h 805"/>
                  <a:gd name="T2" fmla="*/ 36 w 719"/>
                  <a:gd name="T3" fmla="*/ 805 h 805"/>
                  <a:gd name="T4" fmla="*/ 32 w 719"/>
                  <a:gd name="T5" fmla="*/ 713 h 805"/>
                  <a:gd name="T6" fmla="*/ 0 w 719"/>
                  <a:gd name="T7" fmla="*/ 1 h 805"/>
                  <a:gd name="T8" fmla="*/ 0 w 719"/>
                  <a:gd name="T9" fmla="*/ 1 h 805"/>
                  <a:gd name="T10" fmla="*/ 0 w 719"/>
                  <a:gd name="T11" fmla="*/ 0 h 805"/>
                  <a:gd name="T12" fmla="*/ 0 w 719"/>
                  <a:gd name="T13" fmla="*/ 0 h 805"/>
                  <a:gd name="T14" fmla="*/ 719 w 719"/>
                  <a:gd name="T15" fmla="*/ 227 h 805"/>
                  <a:gd name="T16" fmla="*/ 36 w 719"/>
                  <a:gd name="T17" fmla="*/ 805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9" h="805">
                    <a:moveTo>
                      <a:pt x="36" y="805"/>
                    </a:moveTo>
                    <a:lnTo>
                      <a:pt x="36" y="805"/>
                    </a:lnTo>
                    <a:lnTo>
                      <a:pt x="32" y="713"/>
                    </a:lnTo>
                    <a:lnTo>
                      <a:pt x="0" y="1"/>
                    </a:lnTo>
                    <a:lnTo>
                      <a:pt x="0" y="1"/>
                    </a:lnTo>
                    <a:lnTo>
                      <a:pt x="0" y="0"/>
                    </a:lnTo>
                    <a:lnTo>
                      <a:pt x="0" y="0"/>
                    </a:lnTo>
                    <a:lnTo>
                      <a:pt x="719" y="227"/>
                    </a:lnTo>
                    <a:lnTo>
                      <a:pt x="36" y="80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3" name="Freeform 434"/>
              <p:cNvSpPr>
                <a:spLocks/>
              </p:cNvSpPr>
              <p:nvPr/>
            </p:nvSpPr>
            <p:spPr bwMode="auto">
              <a:xfrm>
                <a:off x="-8101013" y="5514975"/>
                <a:ext cx="2635250" cy="1397000"/>
              </a:xfrm>
              <a:custGeom>
                <a:avLst/>
                <a:gdLst>
                  <a:gd name="T0" fmla="*/ 983 w 1660"/>
                  <a:gd name="T1" fmla="*/ 880 h 880"/>
                  <a:gd name="T2" fmla="*/ 691 w 1660"/>
                  <a:gd name="T3" fmla="*/ 619 h 880"/>
                  <a:gd name="T4" fmla="*/ 0 w 1660"/>
                  <a:gd name="T5" fmla="*/ 0 h 880"/>
                  <a:gd name="T6" fmla="*/ 1660 w 1660"/>
                  <a:gd name="T7" fmla="*/ 175 h 880"/>
                  <a:gd name="T8" fmla="*/ 1660 w 1660"/>
                  <a:gd name="T9" fmla="*/ 175 h 880"/>
                  <a:gd name="T10" fmla="*/ 1660 w 1660"/>
                  <a:gd name="T11" fmla="*/ 175 h 880"/>
                  <a:gd name="T12" fmla="*/ 1660 w 1660"/>
                  <a:gd name="T13" fmla="*/ 175 h 880"/>
                  <a:gd name="T14" fmla="*/ 983 w 1660"/>
                  <a:gd name="T15" fmla="*/ 880 h 8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0" h="880">
                    <a:moveTo>
                      <a:pt x="983" y="880"/>
                    </a:moveTo>
                    <a:lnTo>
                      <a:pt x="691" y="619"/>
                    </a:lnTo>
                    <a:lnTo>
                      <a:pt x="0" y="0"/>
                    </a:lnTo>
                    <a:lnTo>
                      <a:pt x="1660" y="175"/>
                    </a:lnTo>
                    <a:lnTo>
                      <a:pt x="1660" y="175"/>
                    </a:lnTo>
                    <a:lnTo>
                      <a:pt x="1660" y="175"/>
                    </a:lnTo>
                    <a:lnTo>
                      <a:pt x="1660" y="175"/>
                    </a:lnTo>
                    <a:lnTo>
                      <a:pt x="983" y="8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4" name="Freeform 435"/>
              <p:cNvSpPr>
                <a:spLocks/>
              </p:cNvSpPr>
              <p:nvPr/>
            </p:nvSpPr>
            <p:spPr bwMode="auto">
              <a:xfrm>
                <a:off x="-8102600" y="5514975"/>
                <a:ext cx="1098550" cy="982663"/>
              </a:xfrm>
              <a:custGeom>
                <a:avLst/>
                <a:gdLst>
                  <a:gd name="T0" fmla="*/ 692 w 692"/>
                  <a:gd name="T1" fmla="*/ 619 h 619"/>
                  <a:gd name="T2" fmla="*/ 0 w 692"/>
                  <a:gd name="T3" fmla="*/ 0 h 619"/>
                  <a:gd name="T4" fmla="*/ 1 w 692"/>
                  <a:gd name="T5" fmla="*/ 0 h 619"/>
                  <a:gd name="T6" fmla="*/ 692 w 692"/>
                  <a:gd name="T7" fmla="*/ 619 h 619"/>
                </a:gdLst>
                <a:ahLst/>
                <a:cxnLst>
                  <a:cxn ang="0">
                    <a:pos x="T0" y="T1"/>
                  </a:cxn>
                  <a:cxn ang="0">
                    <a:pos x="T2" y="T3"/>
                  </a:cxn>
                  <a:cxn ang="0">
                    <a:pos x="T4" y="T5"/>
                  </a:cxn>
                  <a:cxn ang="0">
                    <a:pos x="T6" y="T7"/>
                  </a:cxn>
                </a:cxnLst>
                <a:rect l="0" t="0" r="r" b="b"/>
                <a:pathLst>
                  <a:path w="692" h="619">
                    <a:moveTo>
                      <a:pt x="692" y="619"/>
                    </a:moveTo>
                    <a:lnTo>
                      <a:pt x="0" y="0"/>
                    </a:lnTo>
                    <a:lnTo>
                      <a:pt x="1" y="0"/>
                    </a:lnTo>
                    <a:lnTo>
                      <a:pt x="692" y="61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5" name="Freeform 436"/>
              <p:cNvSpPr>
                <a:spLocks noEditPoints="1"/>
              </p:cNvSpPr>
              <p:nvPr/>
            </p:nvSpPr>
            <p:spPr bwMode="auto">
              <a:xfrm>
                <a:off x="-9909175" y="4238625"/>
                <a:ext cx="1806575" cy="2339975"/>
              </a:xfrm>
              <a:custGeom>
                <a:avLst/>
                <a:gdLst>
                  <a:gd name="T0" fmla="*/ 0 w 2371"/>
                  <a:gd name="T1" fmla="*/ 3072 h 3072"/>
                  <a:gd name="T2" fmla="*/ 0 w 2371"/>
                  <a:gd name="T3" fmla="*/ 3072 h 3072"/>
                  <a:gd name="T4" fmla="*/ 0 w 2371"/>
                  <a:gd name="T5" fmla="*/ 3072 h 3072"/>
                  <a:gd name="T6" fmla="*/ 0 w 2371"/>
                  <a:gd name="T7" fmla="*/ 3072 h 3072"/>
                  <a:gd name="T8" fmla="*/ 2296 w 2371"/>
                  <a:gd name="T9" fmla="*/ 0 h 3072"/>
                  <a:gd name="T10" fmla="*/ 2363 w 2371"/>
                  <a:gd name="T11" fmla="*/ 1484 h 3072"/>
                  <a:gd name="T12" fmla="*/ 2371 w 2371"/>
                  <a:gd name="T13" fmla="*/ 1676 h 3072"/>
                  <a:gd name="T14" fmla="*/ 2371 w 2371"/>
                  <a:gd name="T15" fmla="*/ 1676 h 3072"/>
                  <a:gd name="T16" fmla="*/ 0 w 2371"/>
                  <a:gd name="T17" fmla="*/ 3072 h 3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1" h="3072">
                    <a:moveTo>
                      <a:pt x="0" y="3072"/>
                    </a:moveTo>
                    <a:lnTo>
                      <a:pt x="0" y="3072"/>
                    </a:lnTo>
                    <a:lnTo>
                      <a:pt x="0" y="3072"/>
                    </a:lnTo>
                    <a:moveTo>
                      <a:pt x="0" y="3072"/>
                    </a:moveTo>
                    <a:lnTo>
                      <a:pt x="2296" y="0"/>
                    </a:lnTo>
                    <a:lnTo>
                      <a:pt x="2363" y="1484"/>
                    </a:lnTo>
                    <a:lnTo>
                      <a:pt x="2371" y="1676"/>
                    </a:lnTo>
                    <a:lnTo>
                      <a:pt x="2371" y="1676"/>
                    </a:lnTo>
                    <a:lnTo>
                      <a:pt x="0" y="3072"/>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6" name="Freeform 437"/>
              <p:cNvSpPr>
                <a:spLocks/>
              </p:cNvSpPr>
              <p:nvPr/>
            </p:nvSpPr>
            <p:spPr bwMode="auto">
              <a:xfrm>
                <a:off x="-8102600" y="551497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7" name="Freeform 438"/>
              <p:cNvSpPr>
                <a:spLocks/>
              </p:cNvSpPr>
              <p:nvPr/>
            </p:nvSpPr>
            <p:spPr bwMode="auto">
              <a:xfrm>
                <a:off x="-8159750" y="4238625"/>
                <a:ext cx="50800" cy="1130300"/>
              </a:xfrm>
              <a:custGeom>
                <a:avLst/>
                <a:gdLst>
                  <a:gd name="T0" fmla="*/ 32 w 32"/>
                  <a:gd name="T1" fmla="*/ 712 h 712"/>
                  <a:gd name="T2" fmla="*/ 0 w 32"/>
                  <a:gd name="T3" fmla="*/ 0 h 712"/>
                  <a:gd name="T4" fmla="*/ 0 w 32"/>
                  <a:gd name="T5" fmla="*/ 0 h 712"/>
                  <a:gd name="T6" fmla="*/ 32 w 32"/>
                  <a:gd name="T7" fmla="*/ 712 h 712"/>
                </a:gdLst>
                <a:ahLst/>
                <a:cxnLst>
                  <a:cxn ang="0">
                    <a:pos x="T0" y="T1"/>
                  </a:cxn>
                  <a:cxn ang="0">
                    <a:pos x="T2" y="T3"/>
                  </a:cxn>
                  <a:cxn ang="0">
                    <a:pos x="T4" y="T5"/>
                  </a:cxn>
                  <a:cxn ang="0">
                    <a:pos x="T6" y="T7"/>
                  </a:cxn>
                </a:cxnLst>
                <a:rect l="0" t="0" r="r" b="b"/>
                <a:pathLst>
                  <a:path w="32" h="712">
                    <a:moveTo>
                      <a:pt x="32" y="712"/>
                    </a:moveTo>
                    <a:lnTo>
                      <a:pt x="0" y="0"/>
                    </a:lnTo>
                    <a:lnTo>
                      <a:pt x="0" y="0"/>
                    </a:lnTo>
                    <a:lnTo>
                      <a:pt x="32" y="71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8" name="Freeform 439"/>
              <p:cNvSpPr>
                <a:spLocks/>
              </p:cNvSpPr>
              <p:nvPr/>
            </p:nvSpPr>
            <p:spPr bwMode="auto">
              <a:xfrm>
                <a:off x="-8101013" y="4597400"/>
                <a:ext cx="2635250" cy="1195388"/>
              </a:xfrm>
              <a:custGeom>
                <a:avLst/>
                <a:gdLst>
                  <a:gd name="T0" fmla="*/ 1660 w 1660"/>
                  <a:gd name="T1" fmla="*/ 753 h 753"/>
                  <a:gd name="T2" fmla="*/ 0 w 1660"/>
                  <a:gd name="T3" fmla="*/ 578 h 753"/>
                  <a:gd name="T4" fmla="*/ 0 w 1660"/>
                  <a:gd name="T5" fmla="*/ 578 h 753"/>
                  <a:gd name="T6" fmla="*/ 682 w 1660"/>
                  <a:gd name="T7" fmla="*/ 0 h 753"/>
                  <a:gd name="T8" fmla="*/ 1660 w 1660"/>
                  <a:gd name="T9" fmla="*/ 753 h 753"/>
                  <a:gd name="T10" fmla="*/ 1660 w 1660"/>
                  <a:gd name="T11" fmla="*/ 753 h 753"/>
                </a:gdLst>
                <a:ahLst/>
                <a:cxnLst>
                  <a:cxn ang="0">
                    <a:pos x="T0" y="T1"/>
                  </a:cxn>
                  <a:cxn ang="0">
                    <a:pos x="T2" y="T3"/>
                  </a:cxn>
                  <a:cxn ang="0">
                    <a:pos x="T4" y="T5"/>
                  </a:cxn>
                  <a:cxn ang="0">
                    <a:pos x="T6" y="T7"/>
                  </a:cxn>
                  <a:cxn ang="0">
                    <a:pos x="T8" y="T9"/>
                  </a:cxn>
                  <a:cxn ang="0">
                    <a:pos x="T10" y="T11"/>
                  </a:cxn>
                </a:cxnLst>
                <a:rect l="0" t="0" r="r" b="b"/>
                <a:pathLst>
                  <a:path w="1660" h="753">
                    <a:moveTo>
                      <a:pt x="1660" y="753"/>
                    </a:moveTo>
                    <a:lnTo>
                      <a:pt x="0" y="578"/>
                    </a:lnTo>
                    <a:lnTo>
                      <a:pt x="0" y="578"/>
                    </a:lnTo>
                    <a:lnTo>
                      <a:pt x="682" y="0"/>
                    </a:lnTo>
                    <a:lnTo>
                      <a:pt x="1660" y="753"/>
                    </a:lnTo>
                    <a:lnTo>
                      <a:pt x="1660" y="753"/>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19" name="Freeform 440"/>
              <p:cNvSpPr>
                <a:spLocks/>
              </p:cNvSpPr>
              <p:nvPr/>
            </p:nvSpPr>
            <p:spPr bwMode="auto">
              <a:xfrm>
                <a:off x="-8102600" y="5514975"/>
                <a:ext cx="1588"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0" name="Freeform 441"/>
              <p:cNvSpPr>
                <a:spLocks/>
              </p:cNvSpPr>
              <p:nvPr/>
            </p:nvSpPr>
            <p:spPr bwMode="auto">
              <a:xfrm>
                <a:off x="-9909175" y="5514975"/>
                <a:ext cx="1806575" cy="2144713"/>
              </a:xfrm>
              <a:custGeom>
                <a:avLst/>
                <a:gdLst>
                  <a:gd name="T0" fmla="*/ 999 w 1138"/>
                  <a:gd name="T1" fmla="*/ 1351 h 1351"/>
                  <a:gd name="T2" fmla="*/ 662 w 1138"/>
                  <a:gd name="T3" fmla="*/ 1351 h 1351"/>
                  <a:gd name="T4" fmla="*/ 0 w 1138"/>
                  <a:gd name="T5" fmla="*/ 670 h 1351"/>
                  <a:gd name="T6" fmla="*/ 0 w 1138"/>
                  <a:gd name="T7" fmla="*/ 670 h 1351"/>
                  <a:gd name="T8" fmla="*/ 1138 w 1138"/>
                  <a:gd name="T9" fmla="*/ 0 h 1351"/>
                  <a:gd name="T10" fmla="*/ 999 w 1138"/>
                  <a:gd name="T11" fmla="*/ 1351 h 1351"/>
                </a:gdLst>
                <a:ahLst/>
                <a:cxnLst>
                  <a:cxn ang="0">
                    <a:pos x="T0" y="T1"/>
                  </a:cxn>
                  <a:cxn ang="0">
                    <a:pos x="T2" y="T3"/>
                  </a:cxn>
                  <a:cxn ang="0">
                    <a:pos x="T4" y="T5"/>
                  </a:cxn>
                  <a:cxn ang="0">
                    <a:pos x="T6" y="T7"/>
                  </a:cxn>
                  <a:cxn ang="0">
                    <a:pos x="T8" y="T9"/>
                  </a:cxn>
                  <a:cxn ang="0">
                    <a:pos x="T10" y="T11"/>
                  </a:cxn>
                </a:cxnLst>
                <a:rect l="0" t="0" r="r" b="b"/>
                <a:pathLst>
                  <a:path w="1138" h="1351">
                    <a:moveTo>
                      <a:pt x="999" y="1351"/>
                    </a:moveTo>
                    <a:lnTo>
                      <a:pt x="662" y="1351"/>
                    </a:lnTo>
                    <a:lnTo>
                      <a:pt x="0" y="670"/>
                    </a:lnTo>
                    <a:lnTo>
                      <a:pt x="0" y="670"/>
                    </a:lnTo>
                    <a:lnTo>
                      <a:pt x="1138" y="0"/>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1" name="Freeform 442"/>
              <p:cNvSpPr>
                <a:spLocks/>
              </p:cNvSpPr>
              <p:nvPr/>
            </p:nvSpPr>
            <p:spPr bwMode="auto">
              <a:xfrm>
                <a:off x="-5465763" y="4816475"/>
                <a:ext cx="1250950" cy="1479550"/>
              </a:xfrm>
              <a:custGeom>
                <a:avLst/>
                <a:gdLst>
                  <a:gd name="T0" fmla="*/ 788 w 788"/>
                  <a:gd name="T1" fmla="*/ 932 h 932"/>
                  <a:gd name="T2" fmla="*/ 0 w 788"/>
                  <a:gd name="T3" fmla="*/ 615 h 932"/>
                  <a:gd name="T4" fmla="*/ 0 w 788"/>
                  <a:gd name="T5" fmla="*/ 615 h 932"/>
                  <a:gd name="T6" fmla="*/ 0 w 788"/>
                  <a:gd name="T7" fmla="*/ 615 h 932"/>
                  <a:gd name="T8" fmla="*/ 498 w 788"/>
                  <a:gd name="T9" fmla="*/ 0 h 932"/>
                  <a:gd name="T10" fmla="*/ 788 w 788"/>
                  <a:gd name="T11" fmla="*/ 932 h 932"/>
                </a:gdLst>
                <a:ahLst/>
                <a:cxnLst>
                  <a:cxn ang="0">
                    <a:pos x="T0" y="T1"/>
                  </a:cxn>
                  <a:cxn ang="0">
                    <a:pos x="T2" y="T3"/>
                  </a:cxn>
                  <a:cxn ang="0">
                    <a:pos x="T4" y="T5"/>
                  </a:cxn>
                  <a:cxn ang="0">
                    <a:pos x="T6" y="T7"/>
                  </a:cxn>
                  <a:cxn ang="0">
                    <a:pos x="T8" y="T9"/>
                  </a:cxn>
                  <a:cxn ang="0">
                    <a:pos x="T10" y="T11"/>
                  </a:cxn>
                </a:cxnLst>
                <a:rect l="0" t="0" r="r" b="b"/>
                <a:pathLst>
                  <a:path w="788" h="932">
                    <a:moveTo>
                      <a:pt x="788" y="932"/>
                    </a:moveTo>
                    <a:lnTo>
                      <a:pt x="0" y="615"/>
                    </a:lnTo>
                    <a:lnTo>
                      <a:pt x="0" y="615"/>
                    </a:lnTo>
                    <a:lnTo>
                      <a:pt x="0" y="615"/>
                    </a:lnTo>
                    <a:lnTo>
                      <a:pt x="498" y="0"/>
                    </a:lnTo>
                    <a:lnTo>
                      <a:pt x="788"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2" name="Freeform 443"/>
              <p:cNvSpPr>
                <a:spLocks/>
              </p:cNvSpPr>
              <p:nvPr/>
            </p:nvSpPr>
            <p:spPr bwMode="auto">
              <a:xfrm>
                <a:off x="-6213475" y="2655887"/>
                <a:ext cx="1800225" cy="2160588"/>
              </a:xfrm>
              <a:custGeom>
                <a:avLst/>
                <a:gdLst>
                  <a:gd name="T0" fmla="*/ 969 w 1134"/>
                  <a:gd name="T1" fmla="*/ 1361 h 1361"/>
                  <a:gd name="T2" fmla="*/ 969 w 1134"/>
                  <a:gd name="T3" fmla="*/ 1361 h 1361"/>
                  <a:gd name="T4" fmla="*/ 0 w 1134"/>
                  <a:gd name="T5" fmla="*/ 0 h 1361"/>
                  <a:gd name="T6" fmla="*/ 0 w 1134"/>
                  <a:gd name="T7" fmla="*/ 0 h 1361"/>
                  <a:gd name="T8" fmla="*/ 1134 w 1134"/>
                  <a:gd name="T9" fmla="*/ 288 h 1361"/>
                  <a:gd name="T10" fmla="*/ 969 w 1134"/>
                  <a:gd name="T11" fmla="*/ 1361 h 1361"/>
                </a:gdLst>
                <a:ahLst/>
                <a:cxnLst>
                  <a:cxn ang="0">
                    <a:pos x="T0" y="T1"/>
                  </a:cxn>
                  <a:cxn ang="0">
                    <a:pos x="T2" y="T3"/>
                  </a:cxn>
                  <a:cxn ang="0">
                    <a:pos x="T4" y="T5"/>
                  </a:cxn>
                  <a:cxn ang="0">
                    <a:pos x="T6" y="T7"/>
                  </a:cxn>
                  <a:cxn ang="0">
                    <a:pos x="T8" y="T9"/>
                  </a:cxn>
                  <a:cxn ang="0">
                    <a:pos x="T10" y="T11"/>
                  </a:cxn>
                </a:cxnLst>
                <a:rect l="0" t="0" r="r" b="b"/>
                <a:pathLst>
                  <a:path w="1134" h="1361">
                    <a:moveTo>
                      <a:pt x="969" y="1361"/>
                    </a:moveTo>
                    <a:lnTo>
                      <a:pt x="969" y="1361"/>
                    </a:lnTo>
                    <a:lnTo>
                      <a:pt x="0" y="0"/>
                    </a:lnTo>
                    <a:lnTo>
                      <a:pt x="0" y="0"/>
                    </a:lnTo>
                    <a:lnTo>
                      <a:pt x="1134" y="288"/>
                    </a:lnTo>
                    <a:lnTo>
                      <a:pt x="969" y="1361"/>
                    </a:lnTo>
                    <a:close/>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3" name="Rectangle 444"/>
              <p:cNvSpPr>
                <a:spLocks noChangeArrowheads="1"/>
              </p:cNvSpPr>
              <p:nvPr/>
            </p:nvSpPr>
            <p:spPr bwMode="auto">
              <a:xfrm>
                <a:off x="-6213475" y="2655887"/>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4" name="Rectangle 445"/>
              <p:cNvSpPr>
                <a:spLocks noChangeArrowheads="1"/>
              </p:cNvSpPr>
              <p:nvPr/>
            </p:nvSpPr>
            <p:spPr bwMode="auto">
              <a:xfrm>
                <a:off x="-6213475" y="2655887"/>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5" name="Freeform 446"/>
              <p:cNvSpPr>
                <a:spLocks/>
              </p:cNvSpPr>
              <p:nvPr/>
            </p:nvSpPr>
            <p:spPr bwMode="auto">
              <a:xfrm>
                <a:off x="-4675188" y="4237037"/>
                <a:ext cx="1903413" cy="2058988"/>
              </a:xfrm>
              <a:custGeom>
                <a:avLst/>
                <a:gdLst>
                  <a:gd name="T0" fmla="*/ 290 w 1199"/>
                  <a:gd name="T1" fmla="*/ 1297 h 1297"/>
                  <a:gd name="T2" fmla="*/ 290 w 1199"/>
                  <a:gd name="T3" fmla="*/ 1297 h 1297"/>
                  <a:gd name="T4" fmla="*/ 0 w 1199"/>
                  <a:gd name="T5" fmla="*/ 365 h 1297"/>
                  <a:gd name="T6" fmla="*/ 0 w 1199"/>
                  <a:gd name="T7" fmla="*/ 365 h 1297"/>
                  <a:gd name="T8" fmla="*/ 0 w 1199"/>
                  <a:gd name="T9" fmla="*/ 365 h 1297"/>
                  <a:gd name="T10" fmla="*/ 0 w 1199"/>
                  <a:gd name="T11" fmla="*/ 365 h 1297"/>
                  <a:gd name="T12" fmla="*/ 1199 w 1199"/>
                  <a:gd name="T13" fmla="*/ 0 h 1297"/>
                  <a:gd name="T14" fmla="*/ 290 w 1199"/>
                  <a:gd name="T15" fmla="*/ 1297 h 1297"/>
                  <a:gd name="T16" fmla="*/ 290 w 1199"/>
                  <a:gd name="T17" fmla="*/ 1297 h 1297"/>
                  <a:gd name="T18" fmla="*/ 290 w 1199"/>
                  <a:gd name="T19" fmla="*/ 129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9" h="1297">
                    <a:moveTo>
                      <a:pt x="290" y="1297"/>
                    </a:moveTo>
                    <a:lnTo>
                      <a:pt x="290" y="1297"/>
                    </a:lnTo>
                    <a:lnTo>
                      <a:pt x="0" y="365"/>
                    </a:lnTo>
                    <a:lnTo>
                      <a:pt x="0" y="365"/>
                    </a:lnTo>
                    <a:lnTo>
                      <a:pt x="0" y="365"/>
                    </a:lnTo>
                    <a:lnTo>
                      <a:pt x="0" y="365"/>
                    </a:lnTo>
                    <a:lnTo>
                      <a:pt x="1199" y="0"/>
                    </a:lnTo>
                    <a:lnTo>
                      <a:pt x="290" y="1297"/>
                    </a:lnTo>
                    <a:lnTo>
                      <a:pt x="290" y="1297"/>
                    </a:lnTo>
                    <a:lnTo>
                      <a:pt x="290" y="1297"/>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6" name="Freeform 447"/>
              <p:cNvSpPr>
                <a:spLocks/>
              </p:cNvSpPr>
              <p:nvPr/>
            </p:nvSpPr>
            <p:spPr bwMode="auto">
              <a:xfrm>
                <a:off x="-4675188" y="4816475"/>
                <a:ext cx="460375" cy="1479550"/>
              </a:xfrm>
              <a:custGeom>
                <a:avLst/>
                <a:gdLst>
                  <a:gd name="T0" fmla="*/ 290 w 290"/>
                  <a:gd name="T1" fmla="*/ 932 h 932"/>
                  <a:gd name="T2" fmla="*/ 290 w 290"/>
                  <a:gd name="T3" fmla="*/ 932 h 932"/>
                  <a:gd name="T4" fmla="*/ 0 w 290"/>
                  <a:gd name="T5" fmla="*/ 0 h 932"/>
                  <a:gd name="T6" fmla="*/ 0 w 290"/>
                  <a:gd name="T7" fmla="*/ 0 h 932"/>
                  <a:gd name="T8" fmla="*/ 290 w 290"/>
                  <a:gd name="T9" fmla="*/ 932 h 932"/>
                </a:gdLst>
                <a:ahLst/>
                <a:cxnLst>
                  <a:cxn ang="0">
                    <a:pos x="T0" y="T1"/>
                  </a:cxn>
                  <a:cxn ang="0">
                    <a:pos x="T2" y="T3"/>
                  </a:cxn>
                  <a:cxn ang="0">
                    <a:pos x="T4" y="T5"/>
                  </a:cxn>
                  <a:cxn ang="0">
                    <a:pos x="T6" y="T7"/>
                  </a:cxn>
                  <a:cxn ang="0">
                    <a:pos x="T8" y="T9"/>
                  </a:cxn>
                </a:cxnLst>
                <a:rect l="0" t="0" r="r" b="b"/>
                <a:pathLst>
                  <a:path w="290" h="932">
                    <a:moveTo>
                      <a:pt x="290" y="932"/>
                    </a:moveTo>
                    <a:lnTo>
                      <a:pt x="290" y="932"/>
                    </a:lnTo>
                    <a:lnTo>
                      <a:pt x="0" y="0"/>
                    </a:lnTo>
                    <a:lnTo>
                      <a:pt x="0" y="0"/>
                    </a:lnTo>
                    <a:lnTo>
                      <a:pt x="290"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7" name="Freeform 448"/>
              <p:cNvSpPr>
                <a:spLocks/>
              </p:cNvSpPr>
              <p:nvPr/>
            </p:nvSpPr>
            <p:spPr bwMode="auto">
              <a:xfrm>
                <a:off x="-7018338" y="2655887"/>
                <a:ext cx="2343150" cy="2160588"/>
              </a:xfrm>
              <a:custGeom>
                <a:avLst/>
                <a:gdLst>
                  <a:gd name="T0" fmla="*/ 1476 w 1476"/>
                  <a:gd name="T1" fmla="*/ 1361 h 1361"/>
                  <a:gd name="T2" fmla="*/ 0 w 1476"/>
                  <a:gd name="T3" fmla="*/ 1223 h 1361"/>
                  <a:gd name="T4" fmla="*/ 507 w 1476"/>
                  <a:gd name="T5" fmla="*/ 0 h 1361"/>
                  <a:gd name="T6" fmla="*/ 1476 w 1476"/>
                  <a:gd name="T7" fmla="*/ 1361 h 1361"/>
                </a:gdLst>
                <a:ahLst/>
                <a:cxnLst>
                  <a:cxn ang="0">
                    <a:pos x="T0" y="T1"/>
                  </a:cxn>
                  <a:cxn ang="0">
                    <a:pos x="T2" y="T3"/>
                  </a:cxn>
                  <a:cxn ang="0">
                    <a:pos x="T4" y="T5"/>
                  </a:cxn>
                  <a:cxn ang="0">
                    <a:pos x="T6" y="T7"/>
                  </a:cxn>
                </a:cxnLst>
                <a:rect l="0" t="0" r="r" b="b"/>
                <a:pathLst>
                  <a:path w="1476" h="1361">
                    <a:moveTo>
                      <a:pt x="1476" y="1361"/>
                    </a:moveTo>
                    <a:lnTo>
                      <a:pt x="0" y="1223"/>
                    </a:lnTo>
                    <a:lnTo>
                      <a:pt x="507" y="0"/>
                    </a:lnTo>
                    <a:lnTo>
                      <a:pt x="1476" y="136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8" name="Freeform 449"/>
              <p:cNvSpPr>
                <a:spLocks/>
              </p:cNvSpPr>
              <p:nvPr/>
            </p:nvSpPr>
            <p:spPr bwMode="auto">
              <a:xfrm>
                <a:off x="-7018338" y="2655887"/>
                <a:ext cx="804863" cy="1941513"/>
              </a:xfrm>
              <a:custGeom>
                <a:avLst/>
                <a:gdLst>
                  <a:gd name="T0" fmla="*/ 0 w 507"/>
                  <a:gd name="T1" fmla="*/ 1223 h 1223"/>
                  <a:gd name="T2" fmla="*/ 507 w 507"/>
                  <a:gd name="T3" fmla="*/ 0 h 1223"/>
                  <a:gd name="T4" fmla="*/ 507 w 507"/>
                  <a:gd name="T5" fmla="*/ 0 h 1223"/>
                  <a:gd name="T6" fmla="*/ 0 w 507"/>
                  <a:gd name="T7" fmla="*/ 1223 h 1223"/>
                </a:gdLst>
                <a:ahLst/>
                <a:cxnLst>
                  <a:cxn ang="0">
                    <a:pos x="T0" y="T1"/>
                  </a:cxn>
                  <a:cxn ang="0">
                    <a:pos x="T2" y="T3"/>
                  </a:cxn>
                  <a:cxn ang="0">
                    <a:pos x="T4" y="T5"/>
                  </a:cxn>
                  <a:cxn ang="0">
                    <a:pos x="T6" y="T7"/>
                  </a:cxn>
                </a:cxnLst>
                <a:rect l="0" t="0" r="r" b="b"/>
                <a:pathLst>
                  <a:path w="507" h="1223">
                    <a:moveTo>
                      <a:pt x="0" y="1223"/>
                    </a:moveTo>
                    <a:lnTo>
                      <a:pt x="507" y="0"/>
                    </a:lnTo>
                    <a:lnTo>
                      <a:pt x="507" y="0"/>
                    </a:lnTo>
                    <a:lnTo>
                      <a:pt x="0" y="122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29" name="Rectangle 450"/>
              <p:cNvSpPr>
                <a:spLocks noChangeArrowheads="1"/>
              </p:cNvSpPr>
              <p:nvPr/>
            </p:nvSpPr>
            <p:spPr bwMode="auto">
              <a:xfrm>
                <a:off x="-6213475" y="2655887"/>
                <a:ext cx="1588" cy="1588"/>
              </a:xfrm>
              <a:prstGeom prst="rect">
                <a:avLst/>
              </a:prstGeom>
              <a:solidFill>
                <a:srgbClr val="5698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0" name="Freeform 451"/>
              <p:cNvSpPr>
                <a:spLocks/>
              </p:cNvSpPr>
              <p:nvPr/>
            </p:nvSpPr>
            <p:spPr bwMode="auto">
              <a:xfrm>
                <a:off x="-6213475" y="2655887"/>
                <a:ext cx="1538288" cy="2160588"/>
              </a:xfrm>
              <a:custGeom>
                <a:avLst/>
                <a:gdLst>
                  <a:gd name="T0" fmla="*/ 969 w 969"/>
                  <a:gd name="T1" fmla="*/ 1361 h 1361"/>
                  <a:gd name="T2" fmla="*/ 969 w 969"/>
                  <a:gd name="T3" fmla="*/ 1361 h 1361"/>
                  <a:gd name="T4" fmla="*/ 0 w 969"/>
                  <a:gd name="T5" fmla="*/ 0 h 1361"/>
                  <a:gd name="T6" fmla="*/ 0 w 969"/>
                  <a:gd name="T7" fmla="*/ 0 h 1361"/>
                  <a:gd name="T8" fmla="*/ 969 w 969"/>
                  <a:gd name="T9" fmla="*/ 1361 h 1361"/>
                </a:gdLst>
                <a:ahLst/>
                <a:cxnLst>
                  <a:cxn ang="0">
                    <a:pos x="T0" y="T1"/>
                  </a:cxn>
                  <a:cxn ang="0">
                    <a:pos x="T2" y="T3"/>
                  </a:cxn>
                  <a:cxn ang="0">
                    <a:pos x="T4" y="T5"/>
                  </a:cxn>
                  <a:cxn ang="0">
                    <a:pos x="T6" y="T7"/>
                  </a:cxn>
                  <a:cxn ang="0">
                    <a:pos x="T8" y="T9"/>
                  </a:cxn>
                </a:cxnLst>
                <a:rect l="0" t="0" r="r" b="b"/>
                <a:pathLst>
                  <a:path w="969" h="1361">
                    <a:moveTo>
                      <a:pt x="969" y="1361"/>
                    </a:moveTo>
                    <a:lnTo>
                      <a:pt x="969" y="1361"/>
                    </a:lnTo>
                    <a:lnTo>
                      <a:pt x="0" y="0"/>
                    </a:lnTo>
                    <a:lnTo>
                      <a:pt x="0" y="0"/>
                    </a:lnTo>
                    <a:lnTo>
                      <a:pt x="969" y="1361"/>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1" name="Freeform 452"/>
              <p:cNvSpPr>
                <a:spLocks/>
              </p:cNvSpPr>
              <p:nvPr/>
            </p:nvSpPr>
            <p:spPr bwMode="auto">
              <a:xfrm>
                <a:off x="-6213475" y="2655887"/>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2" name="Freeform 453"/>
              <p:cNvSpPr>
                <a:spLocks/>
              </p:cNvSpPr>
              <p:nvPr/>
            </p:nvSpPr>
            <p:spPr bwMode="auto">
              <a:xfrm>
                <a:off x="-4675188" y="3113087"/>
                <a:ext cx="1903413" cy="1703388"/>
              </a:xfrm>
              <a:custGeom>
                <a:avLst/>
                <a:gdLst>
                  <a:gd name="T0" fmla="*/ 0 w 1199"/>
                  <a:gd name="T1" fmla="*/ 1073 h 1073"/>
                  <a:gd name="T2" fmla="*/ 165 w 1199"/>
                  <a:gd name="T3" fmla="*/ 0 h 1073"/>
                  <a:gd name="T4" fmla="*/ 1199 w 1199"/>
                  <a:gd name="T5" fmla="*/ 708 h 1073"/>
                  <a:gd name="T6" fmla="*/ 0 w 1199"/>
                  <a:gd name="T7" fmla="*/ 1073 h 1073"/>
                </a:gdLst>
                <a:ahLst/>
                <a:cxnLst>
                  <a:cxn ang="0">
                    <a:pos x="T0" y="T1"/>
                  </a:cxn>
                  <a:cxn ang="0">
                    <a:pos x="T2" y="T3"/>
                  </a:cxn>
                  <a:cxn ang="0">
                    <a:pos x="T4" y="T5"/>
                  </a:cxn>
                  <a:cxn ang="0">
                    <a:pos x="T6" y="T7"/>
                  </a:cxn>
                </a:cxnLst>
                <a:rect l="0" t="0" r="r" b="b"/>
                <a:pathLst>
                  <a:path w="1199" h="1073">
                    <a:moveTo>
                      <a:pt x="0" y="1073"/>
                    </a:moveTo>
                    <a:lnTo>
                      <a:pt x="165" y="0"/>
                    </a:lnTo>
                    <a:lnTo>
                      <a:pt x="1199" y="708"/>
                    </a:lnTo>
                    <a:lnTo>
                      <a:pt x="0" y="1073"/>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3" name="Freeform 454"/>
              <p:cNvSpPr>
                <a:spLocks/>
              </p:cNvSpPr>
              <p:nvPr/>
            </p:nvSpPr>
            <p:spPr bwMode="auto">
              <a:xfrm>
                <a:off x="-7018338" y="4597400"/>
                <a:ext cx="2343150" cy="1195388"/>
              </a:xfrm>
              <a:custGeom>
                <a:avLst/>
                <a:gdLst>
                  <a:gd name="T0" fmla="*/ 978 w 1476"/>
                  <a:gd name="T1" fmla="*/ 753 h 753"/>
                  <a:gd name="T2" fmla="*/ 978 w 1476"/>
                  <a:gd name="T3" fmla="*/ 753 h 753"/>
                  <a:gd name="T4" fmla="*/ 0 w 1476"/>
                  <a:gd name="T5" fmla="*/ 0 h 753"/>
                  <a:gd name="T6" fmla="*/ 1476 w 1476"/>
                  <a:gd name="T7" fmla="*/ 138 h 753"/>
                  <a:gd name="T8" fmla="*/ 978 w 1476"/>
                  <a:gd name="T9" fmla="*/ 753 h 753"/>
                </a:gdLst>
                <a:ahLst/>
                <a:cxnLst>
                  <a:cxn ang="0">
                    <a:pos x="T0" y="T1"/>
                  </a:cxn>
                  <a:cxn ang="0">
                    <a:pos x="T2" y="T3"/>
                  </a:cxn>
                  <a:cxn ang="0">
                    <a:pos x="T4" y="T5"/>
                  </a:cxn>
                  <a:cxn ang="0">
                    <a:pos x="T6" y="T7"/>
                  </a:cxn>
                  <a:cxn ang="0">
                    <a:pos x="T8" y="T9"/>
                  </a:cxn>
                </a:cxnLst>
                <a:rect l="0" t="0" r="r" b="b"/>
                <a:pathLst>
                  <a:path w="1476" h="753">
                    <a:moveTo>
                      <a:pt x="978" y="753"/>
                    </a:moveTo>
                    <a:lnTo>
                      <a:pt x="978" y="753"/>
                    </a:lnTo>
                    <a:lnTo>
                      <a:pt x="0" y="0"/>
                    </a:lnTo>
                    <a:lnTo>
                      <a:pt x="1476" y="138"/>
                    </a:lnTo>
                    <a:lnTo>
                      <a:pt x="978" y="7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4" name="Line 455"/>
              <p:cNvSpPr>
                <a:spLocks noChangeShapeType="1"/>
              </p:cNvSpPr>
              <p:nvPr/>
            </p:nvSpPr>
            <p:spPr bwMode="auto">
              <a:xfrm>
                <a:off x="-7643813" y="76596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5" name="Freeform 456"/>
              <p:cNvSpPr>
                <a:spLocks/>
              </p:cNvSpPr>
              <p:nvPr/>
            </p:nvSpPr>
            <p:spPr bwMode="auto">
              <a:xfrm>
                <a:off x="-7643813" y="6911975"/>
                <a:ext cx="1103313" cy="747713"/>
              </a:xfrm>
              <a:custGeom>
                <a:avLst/>
                <a:gdLst>
                  <a:gd name="T0" fmla="*/ 0 w 695"/>
                  <a:gd name="T1" fmla="*/ 471 h 471"/>
                  <a:gd name="T2" fmla="*/ 0 w 695"/>
                  <a:gd name="T3" fmla="*/ 471 h 471"/>
                  <a:gd name="T4" fmla="*/ 695 w 695"/>
                  <a:gd name="T5" fmla="*/ 0 h 471"/>
                  <a:gd name="T6" fmla="*/ 0 w 695"/>
                  <a:gd name="T7" fmla="*/ 471 h 471"/>
                </a:gdLst>
                <a:ahLst/>
                <a:cxnLst>
                  <a:cxn ang="0">
                    <a:pos x="T0" y="T1"/>
                  </a:cxn>
                  <a:cxn ang="0">
                    <a:pos x="T2" y="T3"/>
                  </a:cxn>
                  <a:cxn ang="0">
                    <a:pos x="T4" y="T5"/>
                  </a:cxn>
                  <a:cxn ang="0">
                    <a:pos x="T6" y="T7"/>
                  </a:cxn>
                </a:cxnLst>
                <a:rect l="0" t="0" r="r" b="b"/>
                <a:pathLst>
                  <a:path w="695" h="471">
                    <a:moveTo>
                      <a:pt x="0" y="471"/>
                    </a:moveTo>
                    <a:lnTo>
                      <a:pt x="0" y="471"/>
                    </a:lnTo>
                    <a:lnTo>
                      <a:pt x="695" y="0"/>
                    </a:lnTo>
                    <a:lnTo>
                      <a:pt x="0" y="47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6" name="Freeform 457"/>
              <p:cNvSpPr>
                <a:spLocks/>
              </p:cNvSpPr>
              <p:nvPr/>
            </p:nvSpPr>
            <p:spPr bwMode="auto">
              <a:xfrm>
                <a:off x="-5465763" y="5792787"/>
                <a:ext cx="1524000" cy="1866900"/>
              </a:xfrm>
              <a:custGeom>
                <a:avLst/>
                <a:gdLst>
                  <a:gd name="T0" fmla="*/ 960 w 960"/>
                  <a:gd name="T1" fmla="*/ 1176 h 1176"/>
                  <a:gd name="T2" fmla="*/ 823 w 960"/>
                  <a:gd name="T3" fmla="*/ 1176 h 1176"/>
                  <a:gd name="T4" fmla="*/ 0 w 960"/>
                  <a:gd name="T5" fmla="*/ 0 h 1176"/>
                  <a:gd name="T6" fmla="*/ 788 w 960"/>
                  <a:gd name="T7" fmla="*/ 317 h 1176"/>
                  <a:gd name="T8" fmla="*/ 960 w 960"/>
                  <a:gd name="T9" fmla="*/ 1176 h 1176"/>
                </a:gdLst>
                <a:ahLst/>
                <a:cxnLst>
                  <a:cxn ang="0">
                    <a:pos x="T0" y="T1"/>
                  </a:cxn>
                  <a:cxn ang="0">
                    <a:pos x="T2" y="T3"/>
                  </a:cxn>
                  <a:cxn ang="0">
                    <a:pos x="T4" y="T5"/>
                  </a:cxn>
                  <a:cxn ang="0">
                    <a:pos x="T6" y="T7"/>
                  </a:cxn>
                  <a:cxn ang="0">
                    <a:pos x="T8" y="T9"/>
                  </a:cxn>
                </a:cxnLst>
                <a:rect l="0" t="0" r="r" b="b"/>
                <a:pathLst>
                  <a:path w="960" h="1176">
                    <a:moveTo>
                      <a:pt x="960" y="1176"/>
                    </a:moveTo>
                    <a:lnTo>
                      <a:pt x="823" y="1176"/>
                    </a:lnTo>
                    <a:lnTo>
                      <a:pt x="0" y="0"/>
                    </a:lnTo>
                    <a:lnTo>
                      <a:pt x="788" y="317"/>
                    </a:lnTo>
                    <a:lnTo>
                      <a:pt x="960" y="117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7" name="Rectangle 458"/>
              <p:cNvSpPr>
                <a:spLocks noChangeArrowheads="1"/>
              </p:cNvSpPr>
              <p:nvPr/>
            </p:nvSpPr>
            <p:spPr bwMode="auto">
              <a:xfrm>
                <a:off x="-5465763" y="5792787"/>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8" name="Freeform 459"/>
              <p:cNvSpPr>
                <a:spLocks/>
              </p:cNvSpPr>
              <p:nvPr/>
            </p:nvSpPr>
            <p:spPr bwMode="auto">
              <a:xfrm>
                <a:off x="-6540500" y="5792787"/>
                <a:ext cx="2381250" cy="1866900"/>
              </a:xfrm>
              <a:custGeom>
                <a:avLst/>
                <a:gdLst>
                  <a:gd name="T0" fmla="*/ 1500 w 1500"/>
                  <a:gd name="T1" fmla="*/ 1176 h 1176"/>
                  <a:gd name="T2" fmla="*/ 1072 w 1500"/>
                  <a:gd name="T3" fmla="*/ 1176 h 1176"/>
                  <a:gd name="T4" fmla="*/ 0 w 1500"/>
                  <a:gd name="T5" fmla="*/ 705 h 1176"/>
                  <a:gd name="T6" fmla="*/ 677 w 1500"/>
                  <a:gd name="T7" fmla="*/ 0 h 1176"/>
                  <a:gd name="T8" fmla="*/ 677 w 1500"/>
                  <a:gd name="T9" fmla="*/ 0 h 1176"/>
                  <a:gd name="T10" fmla="*/ 1500 w 1500"/>
                  <a:gd name="T11" fmla="*/ 1176 h 1176"/>
                </a:gdLst>
                <a:ahLst/>
                <a:cxnLst>
                  <a:cxn ang="0">
                    <a:pos x="T0" y="T1"/>
                  </a:cxn>
                  <a:cxn ang="0">
                    <a:pos x="T2" y="T3"/>
                  </a:cxn>
                  <a:cxn ang="0">
                    <a:pos x="T4" y="T5"/>
                  </a:cxn>
                  <a:cxn ang="0">
                    <a:pos x="T6" y="T7"/>
                  </a:cxn>
                  <a:cxn ang="0">
                    <a:pos x="T8" y="T9"/>
                  </a:cxn>
                  <a:cxn ang="0">
                    <a:pos x="T10" y="T11"/>
                  </a:cxn>
                </a:cxnLst>
                <a:rect l="0" t="0" r="r" b="b"/>
                <a:pathLst>
                  <a:path w="1500" h="1176">
                    <a:moveTo>
                      <a:pt x="1500" y="1176"/>
                    </a:moveTo>
                    <a:lnTo>
                      <a:pt x="1072" y="1176"/>
                    </a:lnTo>
                    <a:lnTo>
                      <a:pt x="0" y="705"/>
                    </a:lnTo>
                    <a:lnTo>
                      <a:pt x="677" y="0"/>
                    </a:lnTo>
                    <a:lnTo>
                      <a:pt x="677" y="0"/>
                    </a:lnTo>
                    <a:lnTo>
                      <a:pt x="150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39" name="Freeform 460"/>
              <p:cNvSpPr>
                <a:spLocks/>
              </p:cNvSpPr>
              <p:nvPr/>
            </p:nvSpPr>
            <p:spPr bwMode="auto">
              <a:xfrm>
                <a:off x="-4214813" y="6296025"/>
                <a:ext cx="1620838" cy="1363663"/>
              </a:xfrm>
              <a:custGeom>
                <a:avLst/>
                <a:gdLst>
                  <a:gd name="T0" fmla="*/ 1021 w 1021"/>
                  <a:gd name="T1" fmla="*/ 859 h 859"/>
                  <a:gd name="T2" fmla="*/ 172 w 1021"/>
                  <a:gd name="T3" fmla="*/ 859 h 859"/>
                  <a:gd name="T4" fmla="*/ 0 w 1021"/>
                  <a:gd name="T5" fmla="*/ 0 h 859"/>
                  <a:gd name="T6" fmla="*/ 1021 w 1021"/>
                  <a:gd name="T7" fmla="*/ 859 h 859"/>
                </a:gdLst>
                <a:ahLst/>
                <a:cxnLst>
                  <a:cxn ang="0">
                    <a:pos x="T0" y="T1"/>
                  </a:cxn>
                  <a:cxn ang="0">
                    <a:pos x="T2" y="T3"/>
                  </a:cxn>
                  <a:cxn ang="0">
                    <a:pos x="T4" y="T5"/>
                  </a:cxn>
                  <a:cxn ang="0">
                    <a:pos x="T6" y="T7"/>
                  </a:cxn>
                </a:cxnLst>
                <a:rect l="0" t="0" r="r" b="b"/>
                <a:pathLst>
                  <a:path w="1021" h="859">
                    <a:moveTo>
                      <a:pt x="1021" y="859"/>
                    </a:moveTo>
                    <a:lnTo>
                      <a:pt x="172" y="859"/>
                    </a:lnTo>
                    <a:lnTo>
                      <a:pt x="0" y="0"/>
                    </a:lnTo>
                    <a:lnTo>
                      <a:pt x="1021" y="8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0" name="Freeform 461"/>
              <p:cNvSpPr>
                <a:spLocks/>
              </p:cNvSpPr>
              <p:nvPr/>
            </p:nvSpPr>
            <p:spPr bwMode="auto">
              <a:xfrm>
                <a:off x="-6540500" y="6911975"/>
                <a:ext cx="1701800" cy="747713"/>
              </a:xfrm>
              <a:custGeom>
                <a:avLst/>
                <a:gdLst>
                  <a:gd name="T0" fmla="*/ 1072 w 1072"/>
                  <a:gd name="T1" fmla="*/ 471 h 471"/>
                  <a:gd name="T2" fmla="*/ 254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254" y="471"/>
                    </a:lnTo>
                    <a:lnTo>
                      <a:pt x="0" y="0"/>
                    </a:lnTo>
                    <a:lnTo>
                      <a:pt x="1072" y="471"/>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1" name="Line 462"/>
              <p:cNvSpPr>
                <a:spLocks noChangeShapeType="1"/>
              </p:cNvSpPr>
              <p:nvPr/>
            </p:nvSpPr>
            <p:spPr bwMode="auto">
              <a:xfrm>
                <a:off x="-6137275" y="76596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2" name="Freeform 463"/>
              <p:cNvSpPr>
                <a:spLocks/>
              </p:cNvSpPr>
              <p:nvPr/>
            </p:nvSpPr>
            <p:spPr bwMode="auto">
              <a:xfrm>
                <a:off x="-6540500" y="6911975"/>
                <a:ext cx="403225" cy="747713"/>
              </a:xfrm>
              <a:custGeom>
                <a:avLst/>
                <a:gdLst>
                  <a:gd name="T0" fmla="*/ 254 w 254"/>
                  <a:gd name="T1" fmla="*/ 471 h 471"/>
                  <a:gd name="T2" fmla="*/ 254 w 254"/>
                  <a:gd name="T3" fmla="*/ 471 h 471"/>
                  <a:gd name="T4" fmla="*/ 0 w 254"/>
                  <a:gd name="T5" fmla="*/ 0 h 471"/>
                  <a:gd name="T6" fmla="*/ 254 w 254"/>
                  <a:gd name="T7" fmla="*/ 471 h 471"/>
                </a:gdLst>
                <a:ahLst/>
                <a:cxnLst>
                  <a:cxn ang="0">
                    <a:pos x="T0" y="T1"/>
                  </a:cxn>
                  <a:cxn ang="0">
                    <a:pos x="T2" y="T3"/>
                  </a:cxn>
                  <a:cxn ang="0">
                    <a:pos x="T4" y="T5"/>
                  </a:cxn>
                  <a:cxn ang="0">
                    <a:pos x="T6" y="T7"/>
                  </a:cxn>
                </a:cxnLst>
                <a:rect l="0" t="0" r="r" b="b"/>
                <a:pathLst>
                  <a:path w="254" h="471">
                    <a:moveTo>
                      <a:pt x="254" y="471"/>
                    </a:moveTo>
                    <a:lnTo>
                      <a:pt x="254" y="471"/>
                    </a:lnTo>
                    <a:lnTo>
                      <a:pt x="0" y="0"/>
                    </a:lnTo>
                    <a:lnTo>
                      <a:pt x="254" y="471"/>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3" name="Freeform 464"/>
              <p:cNvSpPr>
                <a:spLocks/>
              </p:cNvSpPr>
              <p:nvPr/>
            </p:nvSpPr>
            <p:spPr bwMode="auto">
              <a:xfrm>
                <a:off x="-6540500" y="6911975"/>
                <a:ext cx="1701800" cy="747713"/>
              </a:xfrm>
              <a:custGeom>
                <a:avLst/>
                <a:gdLst>
                  <a:gd name="T0" fmla="*/ 1072 w 1072"/>
                  <a:gd name="T1" fmla="*/ 471 h 471"/>
                  <a:gd name="T2" fmla="*/ 1072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1072" y="471"/>
                    </a:lnTo>
                    <a:lnTo>
                      <a:pt x="0" y="0"/>
                    </a:lnTo>
                    <a:lnTo>
                      <a:pt x="1072" y="47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4" name="Freeform 465"/>
              <p:cNvSpPr>
                <a:spLocks/>
              </p:cNvSpPr>
              <p:nvPr/>
            </p:nvSpPr>
            <p:spPr bwMode="auto">
              <a:xfrm>
                <a:off x="-3327400" y="-3540126"/>
                <a:ext cx="2473325" cy="2046288"/>
              </a:xfrm>
              <a:custGeom>
                <a:avLst/>
                <a:gdLst>
                  <a:gd name="T0" fmla="*/ 0 w 1558"/>
                  <a:gd name="T1" fmla="*/ 1289 h 1289"/>
                  <a:gd name="T2" fmla="*/ 916 w 1558"/>
                  <a:gd name="T3" fmla="*/ 0 h 1289"/>
                  <a:gd name="T4" fmla="*/ 1558 w 1558"/>
                  <a:gd name="T5" fmla="*/ 541 h 1289"/>
                  <a:gd name="T6" fmla="*/ 1558 w 1558"/>
                  <a:gd name="T7" fmla="*/ 890 h 1289"/>
                  <a:gd name="T8" fmla="*/ 0 w 1558"/>
                  <a:gd name="T9" fmla="*/ 1289 h 1289"/>
                </a:gdLst>
                <a:ahLst/>
                <a:cxnLst>
                  <a:cxn ang="0">
                    <a:pos x="T0" y="T1"/>
                  </a:cxn>
                  <a:cxn ang="0">
                    <a:pos x="T2" y="T3"/>
                  </a:cxn>
                  <a:cxn ang="0">
                    <a:pos x="T4" y="T5"/>
                  </a:cxn>
                  <a:cxn ang="0">
                    <a:pos x="T6" y="T7"/>
                  </a:cxn>
                  <a:cxn ang="0">
                    <a:pos x="T8" y="T9"/>
                  </a:cxn>
                </a:cxnLst>
                <a:rect l="0" t="0" r="r" b="b"/>
                <a:pathLst>
                  <a:path w="1558" h="1289">
                    <a:moveTo>
                      <a:pt x="0" y="1289"/>
                    </a:moveTo>
                    <a:lnTo>
                      <a:pt x="916" y="0"/>
                    </a:lnTo>
                    <a:lnTo>
                      <a:pt x="1558" y="541"/>
                    </a:lnTo>
                    <a:lnTo>
                      <a:pt x="1558" y="890"/>
                    </a:lnTo>
                    <a:lnTo>
                      <a:pt x="0" y="128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5" name="Freeform 466"/>
              <p:cNvSpPr>
                <a:spLocks/>
              </p:cNvSpPr>
              <p:nvPr/>
            </p:nvSpPr>
            <p:spPr bwMode="auto">
              <a:xfrm>
                <a:off x="-2697163" y="-4110038"/>
                <a:ext cx="1154113" cy="569913"/>
              </a:xfrm>
              <a:custGeom>
                <a:avLst/>
                <a:gdLst>
                  <a:gd name="T0" fmla="*/ 519 w 727"/>
                  <a:gd name="T1" fmla="*/ 359 h 359"/>
                  <a:gd name="T2" fmla="*/ 519 w 727"/>
                  <a:gd name="T3" fmla="*/ 359 h 359"/>
                  <a:gd name="T4" fmla="*/ 0 w 727"/>
                  <a:gd name="T5" fmla="*/ 0 h 359"/>
                  <a:gd name="T6" fmla="*/ 727 w 727"/>
                  <a:gd name="T7" fmla="*/ 0 h 359"/>
                  <a:gd name="T8" fmla="*/ 519 w 727"/>
                  <a:gd name="T9" fmla="*/ 359 h 359"/>
                </a:gdLst>
                <a:ahLst/>
                <a:cxnLst>
                  <a:cxn ang="0">
                    <a:pos x="T0" y="T1"/>
                  </a:cxn>
                  <a:cxn ang="0">
                    <a:pos x="T2" y="T3"/>
                  </a:cxn>
                  <a:cxn ang="0">
                    <a:pos x="T4" y="T5"/>
                  </a:cxn>
                  <a:cxn ang="0">
                    <a:pos x="T6" y="T7"/>
                  </a:cxn>
                  <a:cxn ang="0">
                    <a:pos x="T8" y="T9"/>
                  </a:cxn>
                </a:cxnLst>
                <a:rect l="0" t="0" r="r" b="b"/>
                <a:pathLst>
                  <a:path w="727" h="359">
                    <a:moveTo>
                      <a:pt x="519" y="359"/>
                    </a:moveTo>
                    <a:lnTo>
                      <a:pt x="519" y="359"/>
                    </a:lnTo>
                    <a:lnTo>
                      <a:pt x="0" y="0"/>
                    </a:lnTo>
                    <a:lnTo>
                      <a:pt x="727" y="0"/>
                    </a:lnTo>
                    <a:lnTo>
                      <a:pt x="519"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6" name="Freeform 467"/>
              <p:cNvSpPr>
                <a:spLocks/>
              </p:cNvSpPr>
              <p:nvPr/>
            </p:nvSpPr>
            <p:spPr bwMode="auto">
              <a:xfrm>
                <a:off x="-1873250" y="-3540126"/>
                <a:ext cx="1019175" cy="858838"/>
              </a:xfrm>
              <a:custGeom>
                <a:avLst/>
                <a:gdLst>
                  <a:gd name="T0" fmla="*/ 642 w 642"/>
                  <a:gd name="T1" fmla="*/ 541 h 541"/>
                  <a:gd name="T2" fmla="*/ 0 w 642"/>
                  <a:gd name="T3" fmla="*/ 0 h 541"/>
                  <a:gd name="T4" fmla="*/ 642 w 642"/>
                  <a:gd name="T5" fmla="*/ 0 h 541"/>
                  <a:gd name="T6" fmla="*/ 642 w 642"/>
                  <a:gd name="T7" fmla="*/ 541 h 541"/>
                </a:gdLst>
                <a:ahLst/>
                <a:cxnLst>
                  <a:cxn ang="0">
                    <a:pos x="T0" y="T1"/>
                  </a:cxn>
                  <a:cxn ang="0">
                    <a:pos x="T2" y="T3"/>
                  </a:cxn>
                  <a:cxn ang="0">
                    <a:pos x="T4" y="T5"/>
                  </a:cxn>
                  <a:cxn ang="0">
                    <a:pos x="T6" y="T7"/>
                  </a:cxn>
                </a:cxnLst>
                <a:rect l="0" t="0" r="r" b="b"/>
                <a:pathLst>
                  <a:path w="642" h="541">
                    <a:moveTo>
                      <a:pt x="642" y="541"/>
                    </a:moveTo>
                    <a:lnTo>
                      <a:pt x="0" y="0"/>
                    </a:lnTo>
                    <a:lnTo>
                      <a:pt x="642" y="0"/>
                    </a:lnTo>
                    <a:lnTo>
                      <a:pt x="642" y="541"/>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7" name="Freeform 468"/>
              <p:cNvSpPr>
                <a:spLocks/>
              </p:cNvSpPr>
              <p:nvPr/>
            </p:nvSpPr>
            <p:spPr bwMode="auto">
              <a:xfrm>
                <a:off x="-3668713" y="-4110038"/>
                <a:ext cx="1795463" cy="569913"/>
              </a:xfrm>
              <a:custGeom>
                <a:avLst/>
                <a:gdLst>
                  <a:gd name="T0" fmla="*/ 1131 w 1131"/>
                  <a:gd name="T1" fmla="*/ 359 h 359"/>
                  <a:gd name="T2" fmla="*/ 0 w 1131"/>
                  <a:gd name="T3" fmla="*/ 359 h 359"/>
                  <a:gd name="T4" fmla="*/ 285 w 1131"/>
                  <a:gd name="T5" fmla="*/ 0 h 359"/>
                  <a:gd name="T6" fmla="*/ 612 w 1131"/>
                  <a:gd name="T7" fmla="*/ 0 h 359"/>
                  <a:gd name="T8" fmla="*/ 1131 w 1131"/>
                  <a:gd name="T9" fmla="*/ 359 h 359"/>
                </a:gdLst>
                <a:ahLst/>
                <a:cxnLst>
                  <a:cxn ang="0">
                    <a:pos x="T0" y="T1"/>
                  </a:cxn>
                  <a:cxn ang="0">
                    <a:pos x="T2" y="T3"/>
                  </a:cxn>
                  <a:cxn ang="0">
                    <a:pos x="T4" y="T5"/>
                  </a:cxn>
                  <a:cxn ang="0">
                    <a:pos x="T6" y="T7"/>
                  </a:cxn>
                  <a:cxn ang="0">
                    <a:pos x="T8" y="T9"/>
                  </a:cxn>
                </a:cxnLst>
                <a:rect l="0" t="0" r="r" b="b"/>
                <a:pathLst>
                  <a:path w="1131" h="359">
                    <a:moveTo>
                      <a:pt x="1131" y="359"/>
                    </a:moveTo>
                    <a:lnTo>
                      <a:pt x="0" y="359"/>
                    </a:lnTo>
                    <a:lnTo>
                      <a:pt x="285" y="0"/>
                    </a:lnTo>
                    <a:lnTo>
                      <a:pt x="612" y="0"/>
                    </a:lnTo>
                    <a:lnTo>
                      <a:pt x="1131"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8" name="Freeform 469"/>
              <p:cNvSpPr>
                <a:spLocks/>
              </p:cNvSpPr>
              <p:nvPr/>
            </p:nvSpPr>
            <p:spPr bwMode="auto">
              <a:xfrm>
                <a:off x="-1873250" y="-4110038"/>
                <a:ext cx="1019175" cy="569913"/>
              </a:xfrm>
              <a:custGeom>
                <a:avLst/>
                <a:gdLst>
                  <a:gd name="T0" fmla="*/ 642 w 642"/>
                  <a:gd name="T1" fmla="*/ 359 h 359"/>
                  <a:gd name="T2" fmla="*/ 0 w 642"/>
                  <a:gd name="T3" fmla="*/ 359 h 359"/>
                  <a:gd name="T4" fmla="*/ 208 w 642"/>
                  <a:gd name="T5" fmla="*/ 0 h 359"/>
                  <a:gd name="T6" fmla="*/ 642 w 642"/>
                  <a:gd name="T7" fmla="*/ 0 h 359"/>
                  <a:gd name="T8" fmla="*/ 642 w 642"/>
                  <a:gd name="T9" fmla="*/ 359 h 359"/>
                </a:gdLst>
                <a:ahLst/>
                <a:cxnLst>
                  <a:cxn ang="0">
                    <a:pos x="T0" y="T1"/>
                  </a:cxn>
                  <a:cxn ang="0">
                    <a:pos x="T2" y="T3"/>
                  </a:cxn>
                  <a:cxn ang="0">
                    <a:pos x="T4" y="T5"/>
                  </a:cxn>
                  <a:cxn ang="0">
                    <a:pos x="T6" y="T7"/>
                  </a:cxn>
                  <a:cxn ang="0">
                    <a:pos x="T8" y="T9"/>
                  </a:cxn>
                </a:cxnLst>
                <a:rect l="0" t="0" r="r" b="b"/>
                <a:pathLst>
                  <a:path w="642" h="359">
                    <a:moveTo>
                      <a:pt x="642" y="359"/>
                    </a:moveTo>
                    <a:lnTo>
                      <a:pt x="0" y="359"/>
                    </a:lnTo>
                    <a:lnTo>
                      <a:pt x="208" y="0"/>
                    </a:lnTo>
                    <a:lnTo>
                      <a:pt x="642" y="0"/>
                    </a:lnTo>
                    <a:lnTo>
                      <a:pt x="642"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49" name="Freeform 470"/>
              <p:cNvSpPr>
                <a:spLocks/>
              </p:cNvSpPr>
              <p:nvPr/>
            </p:nvSpPr>
            <p:spPr bwMode="auto">
              <a:xfrm>
                <a:off x="-3668713" y="-3540126"/>
                <a:ext cx="1795463" cy="2046288"/>
              </a:xfrm>
              <a:custGeom>
                <a:avLst/>
                <a:gdLst>
                  <a:gd name="T0" fmla="*/ 215 w 1131"/>
                  <a:gd name="T1" fmla="*/ 1289 h 1289"/>
                  <a:gd name="T2" fmla="*/ 150 w 1131"/>
                  <a:gd name="T3" fmla="*/ 902 h 1289"/>
                  <a:gd name="T4" fmla="*/ 0 w 1131"/>
                  <a:gd name="T5" fmla="*/ 0 h 1289"/>
                  <a:gd name="T6" fmla="*/ 0 w 1131"/>
                  <a:gd name="T7" fmla="*/ 0 h 1289"/>
                  <a:gd name="T8" fmla="*/ 0 w 1131"/>
                  <a:gd name="T9" fmla="*/ 0 h 1289"/>
                  <a:gd name="T10" fmla="*/ 1131 w 1131"/>
                  <a:gd name="T11" fmla="*/ 0 h 1289"/>
                  <a:gd name="T12" fmla="*/ 215 w 1131"/>
                  <a:gd name="T13" fmla="*/ 1289 h 1289"/>
                </a:gdLst>
                <a:ahLst/>
                <a:cxnLst>
                  <a:cxn ang="0">
                    <a:pos x="T0" y="T1"/>
                  </a:cxn>
                  <a:cxn ang="0">
                    <a:pos x="T2" y="T3"/>
                  </a:cxn>
                  <a:cxn ang="0">
                    <a:pos x="T4" y="T5"/>
                  </a:cxn>
                  <a:cxn ang="0">
                    <a:pos x="T6" y="T7"/>
                  </a:cxn>
                  <a:cxn ang="0">
                    <a:pos x="T8" y="T9"/>
                  </a:cxn>
                  <a:cxn ang="0">
                    <a:pos x="T10" y="T11"/>
                  </a:cxn>
                  <a:cxn ang="0">
                    <a:pos x="T12" y="T13"/>
                  </a:cxn>
                </a:cxnLst>
                <a:rect l="0" t="0" r="r" b="b"/>
                <a:pathLst>
                  <a:path w="1131" h="1289">
                    <a:moveTo>
                      <a:pt x="215" y="1289"/>
                    </a:moveTo>
                    <a:lnTo>
                      <a:pt x="150" y="902"/>
                    </a:lnTo>
                    <a:lnTo>
                      <a:pt x="0" y="0"/>
                    </a:lnTo>
                    <a:lnTo>
                      <a:pt x="0" y="0"/>
                    </a:lnTo>
                    <a:lnTo>
                      <a:pt x="0" y="0"/>
                    </a:lnTo>
                    <a:lnTo>
                      <a:pt x="1131" y="0"/>
                    </a:lnTo>
                    <a:lnTo>
                      <a:pt x="215" y="128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0" name="Freeform 471"/>
              <p:cNvSpPr>
                <a:spLocks/>
              </p:cNvSpPr>
              <p:nvPr/>
            </p:nvSpPr>
            <p:spPr bwMode="auto">
              <a:xfrm>
                <a:off x="-3668713" y="-35401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1" name="Freeform 472"/>
              <p:cNvSpPr>
                <a:spLocks/>
              </p:cNvSpPr>
              <p:nvPr/>
            </p:nvSpPr>
            <p:spPr bwMode="auto">
              <a:xfrm>
                <a:off x="-3668713" y="-3540126"/>
                <a:ext cx="238125" cy="1431925"/>
              </a:xfrm>
              <a:custGeom>
                <a:avLst/>
                <a:gdLst>
                  <a:gd name="T0" fmla="*/ 150 w 150"/>
                  <a:gd name="T1" fmla="*/ 902 h 902"/>
                  <a:gd name="T2" fmla="*/ 0 w 150"/>
                  <a:gd name="T3" fmla="*/ 0 h 902"/>
                  <a:gd name="T4" fmla="*/ 0 w 150"/>
                  <a:gd name="T5" fmla="*/ 0 h 902"/>
                  <a:gd name="T6" fmla="*/ 150 w 150"/>
                  <a:gd name="T7" fmla="*/ 902 h 902"/>
                </a:gdLst>
                <a:ahLst/>
                <a:cxnLst>
                  <a:cxn ang="0">
                    <a:pos x="T0" y="T1"/>
                  </a:cxn>
                  <a:cxn ang="0">
                    <a:pos x="T2" y="T3"/>
                  </a:cxn>
                  <a:cxn ang="0">
                    <a:pos x="T4" y="T5"/>
                  </a:cxn>
                  <a:cxn ang="0">
                    <a:pos x="T6" y="T7"/>
                  </a:cxn>
                </a:cxnLst>
                <a:rect l="0" t="0" r="r" b="b"/>
                <a:pathLst>
                  <a:path w="150" h="902">
                    <a:moveTo>
                      <a:pt x="150" y="902"/>
                    </a:moveTo>
                    <a:lnTo>
                      <a:pt x="0" y="0"/>
                    </a:lnTo>
                    <a:lnTo>
                      <a:pt x="0" y="0"/>
                    </a:lnTo>
                    <a:lnTo>
                      <a:pt x="150" y="902"/>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2" name="Freeform 473"/>
              <p:cNvSpPr>
                <a:spLocks/>
              </p:cNvSpPr>
              <p:nvPr/>
            </p:nvSpPr>
            <p:spPr bwMode="auto">
              <a:xfrm>
                <a:off x="-2771775" y="-428626"/>
                <a:ext cx="1917700" cy="2205038"/>
              </a:xfrm>
              <a:custGeom>
                <a:avLst/>
                <a:gdLst>
                  <a:gd name="T0" fmla="*/ 1208 w 1208"/>
                  <a:gd name="T1" fmla="*/ 1389 h 1389"/>
                  <a:gd name="T2" fmla="*/ 0 w 1208"/>
                  <a:gd name="T3" fmla="*/ 979 h 1389"/>
                  <a:gd name="T4" fmla="*/ 566 w 1208"/>
                  <a:gd name="T5" fmla="*/ 0 h 1389"/>
                  <a:gd name="T6" fmla="*/ 566 w 1208"/>
                  <a:gd name="T7" fmla="*/ 0 h 1389"/>
                  <a:gd name="T8" fmla="*/ 566 w 1208"/>
                  <a:gd name="T9" fmla="*/ 0 h 1389"/>
                  <a:gd name="T10" fmla="*/ 566 w 1208"/>
                  <a:gd name="T11" fmla="*/ 0 h 1389"/>
                  <a:gd name="T12" fmla="*/ 566 w 1208"/>
                  <a:gd name="T13" fmla="*/ 0 h 1389"/>
                  <a:gd name="T14" fmla="*/ 1104 w 1208"/>
                  <a:gd name="T15" fmla="*/ 901 h 1389"/>
                  <a:gd name="T16" fmla="*/ 1208 w 1208"/>
                  <a:gd name="T17" fmla="*/ 1075 h 1389"/>
                  <a:gd name="T18" fmla="*/ 1208 w 1208"/>
                  <a:gd name="T19" fmla="*/ 1389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8" h="1389">
                    <a:moveTo>
                      <a:pt x="1208" y="1389"/>
                    </a:moveTo>
                    <a:lnTo>
                      <a:pt x="0" y="979"/>
                    </a:lnTo>
                    <a:lnTo>
                      <a:pt x="566" y="0"/>
                    </a:lnTo>
                    <a:lnTo>
                      <a:pt x="566" y="0"/>
                    </a:lnTo>
                    <a:lnTo>
                      <a:pt x="566" y="0"/>
                    </a:lnTo>
                    <a:lnTo>
                      <a:pt x="566" y="0"/>
                    </a:lnTo>
                    <a:lnTo>
                      <a:pt x="566" y="0"/>
                    </a:lnTo>
                    <a:lnTo>
                      <a:pt x="1104" y="901"/>
                    </a:lnTo>
                    <a:lnTo>
                      <a:pt x="1208" y="1075"/>
                    </a:lnTo>
                    <a:lnTo>
                      <a:pt x="1208" y="138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3" name="Freeform 474"/>
              <p:cNvSpPr>
                <a:spLocks/>
              </p:cNvSpPr>
              <p:nvPr/>
            </p:nvSpPr>
            <p:spPr bwMode="auto">
              <a:xfrm>
                <a:off x="-3327400" y="-2127251"/>
                <a:ext cx="2473325" cy="1698625"/>
              </a:xfrm>
              <a:custGeom>
                <a:avLst/>
                <a:gdLst>
                  <a:gd name="T0" fmla="*/ 916 w 1558"/>
                  <a:gd name="T1" fmla="*/ 1070 h 1070"/>
                  <a:gd name="T2" fmla="*/ 916 w 1558"/>
                  <a:gd name="T3" fmla="*/ 1070 h 1070"/>
                  <a:gd name="T4" fmla="*/ 0 w 1558"/>
                  <a:gd name="T5" fmla="*/ 399 h 1070"/>
                  <a:gd name="T6" fmla="*/ 1558 w 1558"/>
                  <a:gd name="T7" fmla="*/ 0 h 1070"/>
                  <a:gd name="T8" fmla="*/ 1558 w 1558"/>
                  <a:gd name="T9" fmla="*/ 299 h 1070"/>
                  <a:gd name="T10" fmla="*/ 1515 w 1558"/>
                  <a:gd name="T11" fmla="*/ 350 h 1070"/>
                  <a:gd name="T12" fmla="*/ 916 w 1558"/>
                  <a:gd name="T13" fmla="*/ 1070 h 1070"/>
                </a:gdLst>
                <a:ahLst/>
                <a:cxnLst>
                  <a:cxn ang="0">
                    <a:pos x="T0" y="T1"/>
                  </a:cxn>
                  <a:cxn ang="0">
                    <a:pos x="T2" y="T3"/>
                  </a:cxn>
                  <a:cxn ang="0">
                    <a:pos x="T4" y="T5"/>
                  </a:cxn>
                  <a:cxn ang="0">
                    <a:pos x="T6" y="T7"/>
                  </a:cxn>
                  <a:cxn ang="0">
                    <a:pos x="T8" y="T9"/>
                  </a:cxn>
                  <a:cxn ang="0">
                    <a:pos x="T10" y="T11"/>
                  </a:cxn>
                  <a:cxn ang="0">
                    <a:pos x="T12" y="T13"/>
                  </a:cxn>
                </a:cxnLst>
                <a:rect l="0" t="0" r="r" b="b"/>
                <a:pathLst>
                  <a:path w="1558" h="1070">
                    <a:moveTo>
                      <a:pt x="916" y="1070"/>
                    </a:moveTo>
                    <a:lnTo>
                      <a:pt x="916" y="1070"/>
                    </a:lnTo>
                    <a:lnTo>
                      <a:pt x="0" y="399"/>
                    </a:lnTo>
                    <a:lnTo>
                      <a:pt x="1558" y="0"/>
                    </a:lnTo>
                    <a:lnTo>
                      <a:pt x="1558" y="299"/>
                    </a:lnTo>
                    <a:lnTo>
                      <a:pt x="1515" y="350"/>
                    </a:lnTo>
                    <a:lnTo>
                      <a:pt x="916" y="107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4" name="Freeform 475"/>
              <p:cNvSpPr>
                <a:spLocks/>
              </p:cNvSpPr>
              <p:nvPr/>
            </p:nvSpPr>
            <p:spPr bwMode="auto">
              <a:xfrm>
                <a:off x="-1873250" y="-428626"/>
                <a:ext cx="1019175" cy="1706563"/>
              </a:xfrm>
              <a:custGeom>
                <a:avLst/>
                <a:gdLst>
                  <a:gd name="T0" fmla="*/ 642 w 642"/>
                  <a:gd name="T1" fmla="*/ 1075 h 1075"/>
                  <a:gd name="T2" fmla="*/ 538 w 642"/>
                  <a:gd name="T3" fmla="*/ 901 h 1075"/>
                  <a:gd name="T4" fmla="*/ 0 w 642"/>
                  <a:gd name="T5" fmla="*/ 0 h 1075"/>
                  <a:gd name="T6" fmla="*/ 642 w 642"/>
                  <a:gd name="T7" fmla="*/ 193 h 1075"/>
                  <a:gd name="T8" fmla="*/ 642 w 642"/>
                  <a:gd name="T9" fmla="*/ 1075 h 1075"/>
                </a:gdLst>
                <a:ahLst/>
                <a:cxnLst>
                  <a:cxn ang="0">
                    <a:pos x="T0" y="T1"/>
                  </a:cxn>
                  <a:cxn ang="0">
                    <a:pos x="T2" y="T3"/>
                  </a:cxn>
                  <a:cxn ang="0">
                    <a:pos x="T4" y="T5"/>
                  </a:cxn>
                  <a:cxn ang="0">
                    <a:pos x="T6" y="T7"/>
                  </a:cxn>
                  <a:cxn ang="0">
                    <a:pos x="T8" y="T9"/>
                  </a:cxn>
                </a:cxnLst>
                <a:rect l="0" t="0" r="r" b="b"/>
                <a:pathLst>
                  <a:path w="642" h="1075">
                    <a:moveTo>
                      <a:pt x="642" y="1075"/>
                    </a:moveTo>
                    <a:lnTo>
                      <a:pt x="538" y="901"/>
                    </a:lnTo>
                    <a:lnTo>
                      <a:pt x="0" y="0"/>
                    </a:lnTo>
                    <a:lnTo>
                      <a:pt x="642" y="193"/>
                    </a:lnTo>
                    <a:lnTo>
                      <a:pt x="642" y="107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5" name="Freeform 476"/>
              <p:cNvSpPr>
                <a:spLocks/>
              </p:cNvSpPr>
              <p:nvPr/>
            </p:nvSpPr>
            <p:spPr bwMode="auto">
              <a:xfrm>
                <a:off x="-3327400" y="-1493838"/>
                <a:ext cx="1454150" cy="1654175"/>
              </a:xfrm>
              <a:custGeom>
                <a:avLst/>
                <a:gdLst>
                  <a:gd name="T0" fmla="*/ 218 w 916"/>
                  <a:gd name="T1" fmla="*/ 1042 h 1042"/>
                  <a:gd name="T2" fmla="*/ 218 w 916"/>
                  <a:gd name="T3" fmla="*/ 1042 h 1042"/>
                  <a:gd name="T4" fmla="*/ 0 w 916"/>
                  <a:gd name="T5" fmla="*/ 0 h 1042"/>
                  <a:gd name="T6" fmla="*/ 916 w 916"/>
                  <a:gd name="T7" fmla="*/ 671 h 1042"/>
                  <a:gd name="T8" fmla="*/ 916 w 916"/>
                  <a:gd name="T9" fmla="*/ 671 h 1042"/>
                  <a:gd name="T10" fmla="*/ 218 w 916"/>
                  <a:gd name="T11" fmla="*/ 1042 h 1042"/>
                </a:gdLst>
                <a:ahLst/>
                <a:cxnLst>
                  <a:cxn ang="0">
                    <a:pos x="T0" y="T1"/>
                  </a:cxn>
                  <a:cxn ang="0">
                    <a:pos x="T2" y="T3"/>
                  </a:cxn>
                  <a:cxn ang="0">
                    <a:pos x="T4" y="T5"/>
                  </a:cxn>
                  <a:cxn ang="0">
                    <a:pos x="T6" y="T7"/>
                  </a:cxn>
                  <a:cxn ang="0">
                    <a:pos x="T8" y="T9"/>
                  </a:cxn>
                  <a:cxn ang="0">
                    <a:pos x="T10" y="T11"/>
                  </a:cxn>
                </a:cxnLst>
                <a:rect l="0" t="0" r="r" b="b"/>
                <a:pathLst>
                  <a:path w="916" h="1042">
                    <a:moveTo>
                      <a:pt x="218" y="1042"/>
                    </a:moveTo>
                    <a:lnTo>
                      <a:pt x="218" y="1042"/>
                    </a:lnTo>
                    <a:lnTo>
                      <a:pt x="0" y="0"/>
                    </a:lnTo>
                    <a:lnTo>
                      <a:pt x="916" y="671"/>
                    </a:lnTo>
                    <a:lnTo>
                      <a:pt x="916" y="671"/>
                    </a:lnTo>
                    <a:lnTo>
                      <a:pt x="218" y="10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6" name="Freeform 477"/>
              <p:cNvSpPr>
                <a:spLocks/>
              </p:cNvSpPr>
              <p:nvPr/>
            </p:nvSpPr>
            <p:spPr bwMode="auto">
              <a:xfrm>
                <a:off x="-1873250" y="-1652588"/>
                <a:ext cx="1019175" cy="1530350"/>
              </a:xfrm>
              <a:custGeom>
                <a:avLst/>
                <a:gdLst>
                  <a:gd name="T0" fmla="*/ 642 w 642"/>
                  <a:gd name="T1" fmla="*/ 964 h 964"/>
                  <a:gd name="T2" fmla="*/ 0 w 642"/>
                  <a:gd name="T3" fmla="*/ 771 h 964"/>
                  <a:gd name="T4" fmla="*/ 0 w 642"/>
                  <a:gd name="T5" fmla="*/ 771 h 964"/>
                  <a:gd name="T6" fmla="*/ 599 w 642"/>
                  <a:gd name="T7" fmla="*/ 51 h 964"/>
                  <a:gd name="T8" fmla="*/ 642 w 642"/>
                  <a:gd name="T9" fmla="*/ 0 h 964"/>
                  <a:gd name="T10" fmla="*/ 642 w 642"/>
                  <a:gd name="T11" fmla="*/ 964 h 964"/>
                </a:gdLst>
                <a:ahLst/>
                <a:cxnLst>
                  <a:cxn ang="0">
                    <a:pos x="T0" y="T1"/>
                  </a:cxn>
                  <a:cxn ang="0">
                    <a:pos x="T2" y="T3"/>
                  </a:cxn>
                  <a:cxn ang="0">
                    <a:pos x="T4" y="T5"/>
                  </a:cxn>
                  <a:cxn ang="0">
                    <a:pos x="T6" y="T7"/>
                  </a:cxn>
                  <a:cxn ang="0">
                    <a:pos x="T8" y="T9"/>
                  </a:cxn>
                  <a:cxn ang="0">
                    <a:pos x="T10" y="T11"/>
                  </a:cxn>
                </a:cxnLst>
                <a:rect l="0" t="0" r="r" b="b"/>
                <a:pathLst>
                  <a:path w="642" h="964">
                    <a:moveTo>
                      <a:pt x="642" y="964"/>
                    </a:moveTo>
                    <a:lnTo>
                      <a:pt x="0" y="771"/>
                    </a:lnTo>
                    <a:lnTo>
                      <a:pt x="0" y="771"/>
                    </a:lnTo>
                    <a:lnTo>
                      <a:pt x="599" y="51"/>
                    </a:lnTo>
                    <a:lnTo>
                      <a:pt x="642" y="0"/>
                    </a:lnTo>
                    <a:lnTo>
                      <a:pt x="642" y="964"/>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7" name="Freeform 478"/>
              <p:cNvSpPr>
                <a:spLocks/>
              </p:cNvSpPr>
              <p:nvPr/>
            </p:nvSpPr>
            <p:spPr bwMode="auto">
              <a:xfrm>
                <a:off x="-922338" y="-1652588"/>
                <a:ext cx="68263" cy="80963"/>
              </a:xfrm>
              <a:custGeom>
                <a:avLst/>
                <a:gdLst>
                  <a:gd name="T0" fmla="*/ 0 w 43"/>
                  <a:gd name="T1" fmla="*/ 51 h 51"/>
                  <a:gd name="T2" fmla="*/ 43 w 43"/>
                  <a:gd name="T3" fmla="*/ 0 h 51"/>
                  <a:gd name="T4" fmla="*/ 43 w 43"/>
                  <a:gd name="T5" fmla="*/ 0 h 51"/>
                  <a:gd name="T6" fmla="*/ 0 w 43"/>
                  <a:gd name="T7" fmla="*/ 51 h 51"/>
                </a:gdLst>
                <a:ahLst/>
                <a:cxnLst>
                  <a:cxn ang="0">
                    <a:pos x="T0" y="T1"/>
                  </a:cxn>
                  <a:cxn ang="0">
                    <a:pos x="T2" y="T3"/>
                  </a:cxn>
                  <a:cxn ang="0">
                    <a:pos x="T4" y="T5"/>
                  </a:cxn>
                  <a:cxn ang="0">
                    <a:pos x="T6" y="T7"/>
                  </a:cxn>
                </a:cxnLst>
                <a:rect l="0" t="0" r="r" b="b"/>
                <a:pathLst>
                  <a:path w="43" h="51">
                    <a:moveTo>
                      <a:pt x="0" y="51"/>
                    </a:moveTo>
                    <a:lnTo>
                      <a:pt x="43" y="0"/>
                    </a:lnTo>
                    <a:lnTo>
                      <a:pt x="43" y="0"/>
                    </a:lnTo>
                    <a:lnTo>
                      <a:pt x="0" y="51"/>
                    </a:lnTo>
                    <a:close/>
                  </a:path>
                </a:pathLst>
              </a:custGeom>
              <a:solidFill>
                <a:srgbClr val="5A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8" name="Freeform 479"/>
              <p:cNvSpPr>
                <a:spLocks/>
              </p:cNvSpPr>
              <p:nvPr/>
            </p:nvSpPr>
            <p:spPr bwMode="auto">
              <a:xfrm>
                <a:off x="-2981325" y="-428626"/>
                <a:ext cx="1108075" cy="1554163"/>
              </a:xfrm>
              <a:custGeom>
                <a:avLst/>
                <a:gdLst>
                  <a:gd name="T0" fmla="*/ 132 w 698"/>
                  <a:gd name="T1" fmla="*/ 979 h 979"/>
                  <a:gd name="T2" fmla="*/ 78 w 698"/>
                  <a:gd name="T3" fmla="*/ 730 h 979"/>
                  <a:gd name="T4" fmla="*/ 0 w 698"/>
                  <a:gd name="T5" fmla="*/ 371 h 979"/>
                  <a:gd name="T6" fmla="*/ 0 w 698"/>
                  <a:gd name="T7" fmla="*/ 371 h 979"/>
                  <a:gd name="T8" fmla="*/ 698 w 698"/>
                  <a:gd name="T9" fmla="*/ 0 h 979"/>
                  <a:gd name="T10" fmla="*/ 132 w 698"/>
                  <a:gd name="T11" fmla="*/ 979 h 979"/>
                </a:gdLst>
                <a:ahLst/>
                <a:cxnLst>
                  <a:cxn ang="0">
                    <a:pos x="T0" y="T1"/>
                  </a:cxn>
                  <a:cxn ang="0">
                    <a:pos x="T2" y="T3"/>
                  </a:cxn>
                  <a:cxn ang="0">
                    <a:pos x="T4" y="T5"/>
                  </a:cxn>
                  <a:cxn ang="0">
                    <a:pos x="T6" y="T7"/>
                  </a:cxn>
                  <a:cxn ang="0">
                    <a:pos x="T8" y="T9"/>
                  </a:cxn>
                  <a:cxn ang="0">
                    <a:pos x="T10" y="T11"/>
                  </a:cxn>
                </a:cxnLst>
                <a:rect l="0" t="0" r="r" b="b"/>
                <a:pathLst>
                  <a:path w="698" h="979">
                    <a:moveTo>
                      <a:pt x="132" y="979"/>
                    </a:moveTo>
                    <a:lnTo>
                      <a:pt x="78" y="730"/>
                    </a:lnTo>
                    <a:lnTo>
                      <a:pt x="0" y="371"/>
                    </a:lnTo>
                    <a:lnTo>
                      <a:pt x="0" y="371"/>
                    </a:lnTo>
                    <a:lnTo>
                      <a:pt x="698" y="0"/>
                    </a:lnTo>
                    <a:lnTo>
                      <a:pt x="132" y="97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59" name="Freeform 480"/>
              <p:cNvSpPr>
                <a:spLocks/>
              </p:cNvSpPr>
              <p:nvPr/>
            </p:nvSpPr>
            <p:spPr bwMode="auto">
              <a:xfrm>
                <a:off x="-2981325" y="160337"/>
                <a:ext cx="123825" cy="569913"/>
              </a:xfrm>
              <a:custGeom>
                <a:avLst/>
                <a:gdLst>
                  <a:gd name="T0" fmla="*/ 78 w 78"/>
                  <a:gd name="T1" fmla="*/ 359 h 359"/>
                  <a:gd name="T2" fmla="*/ 0 w 78"/>
                  <a:gd name="T3" fmla="*/ 0 h 359"/>
                  <a:gd name="T4" fmla="*/ 0 w 78"/>
                  <a:gd name="T5" fmla="*/ 0 h 359"/>
                  <a:gd name="T6" fmla="*/ 78 w 78"/>
                  <a:gd name="T7" fmla="*/ 359 h 359"/>
                </a:gdLst>
                <a:ahLst/>
                <a:cxnLst>
                  <a:cxn ang="0">
                    <a:pos x="T0" y="T1"/>
                  </a:cxn>
                  <a:cxn ang="0">
                    <a:pos x="T2" y="T3"/>
                  </a:cxn>
                  <a:cxn ang="0">
                    <a:pos x="T4" y="T5"/>
                  </a:cxn>
                  <a:cxn ang="0">
                    <a:pos x="T6" y="T7"/>
                  </a:cxn>
                </a:cxnLst>
                <a:rect l="0" t="0" r="r" b="b"/>
                <a:pathLst>
                  <a:path w="78" h="359">
                    <a:moveTo>
                      <a:pt x="78" y="359"/>
                    </a:moveTo>
                    <a:lnTo>
                      <a:pt x="0" y="0"/>
                    </a:lnTo>
                    <a:lnTo>
                      <a:pt x="0" y="0"/>
                    </a:lnTo>
                    <a:lnTo>
                      <a:pt x="78" y="359"/>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0" name="Freeform 481"/>
              <p:cNvSpPr>
                <a:spLocks/>
              </p:cNvSpPr>
              <p:nvPr/>
            </p:nvSpPr>
            <p:spPr bwMode="auto">
              <a:xfrm>
                <a:off x="-2771775" y="-428626"/>
                <a:ext cx="898525" cy="1554163"/>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1" name="Freeform 482"/>
              <p:cNvSpPr>
                <a:spLocks noEditPoints="1"/>
              </p:cNvSpPr>
              <p:nvPr/>
            </p:nvSpPr>
            <p:spPr bwMode="auto">
              <a:xfrm>
                <a:off x="-2771775" y="2682875"/>
                <a:ext cx="898525" cy="2232025"/>
              </a:xfrm>
              <a:custGeom>
                <a:avLst/>
                <a:gdLst>
                  <a:gd name="T0" fmla="*/ 940 w 1179"/>
                  <a:gd name="T1" fmla="*/ 2930 h 2930"/>
                  <a:gd name="T2" fmla="*/ 0 w 1179"/>
                  <a:gd name="T3" fmla="*/ 2041 h 2930"/>
                  <a:gd name="T4" fmla="*/ 1179 w 1179"/>
                  <a:gd name="T5" fmla="*/ 0 h 2930"/>
                  <a:gd name="T6" fmla="*/ 940 w 1179"/>
                  <a:gd name="T7" fmla="*/ 2930 h 2930"/>
                  <a:gd name="T8" fmla="*/ 1179 w 1179"/>
                  <a:gd name="T9" fmla="*/ 0 h 2930"/>
                  <a:gd name="T10" fmla="*/ 1179 w 1179"/>
                  <a:gd name="T11" fmla="*/ 0 h 2930"/>
                </a:gdLst>
                <a:ahLst/>
                <a:cxnLst>
                  <a:cxn ang="0">
                    <a:pos x="T0" y="T1"/>
                  </a:cxn>
                  <a:cxn ang="0">
                    <a:pos x="T2" y="T3"/>
                  </a:cxn>
                  <a:cxn ang="0">
                    <a:pos x="T4" y="T5"/>
                  </a:cxn>
                  <a:cxn ang="0">
                    <a:pos x="T6" y="T7"/>
                  </a:cxn>
                  <a:cxn ang="0">
                    <a:pos x="T8" y="T9"/>
                  </a:cxn>
                  <a:cxn ang="0">
                    <a:pos x="T10" y="T11"/>
                  </a:cxn>
                </a:cxnLst>
                <a:rect l="0" t="0" r="r" b="b"/>
                <a:pathLst>
                  <a:path w="1179" h="2930">
                    <a:moveTo>
                      <a:pt x="940" y="2930"/>
                    </a:moveTo>
                    <a:lnTo>
                      <a:pt x="0" y="2041"/>
                    </a:lnTo>
                    <a:lnTo>
                      <a:pt x="1179" y="0"/>
                    </a:lnTo>
                    <a:lnTo>
                      <a:pt x="940" y="2930"/>
                    </a:lnTo>
                    <a:moveTo>
                      <a:pt x="1179" y="0"/>
                    </a:moveTo>
                    <a:lnTo>
                      <a:pt x="1179"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2" name="Freeform 483"/>
              <p:cNvSpPr>
                <a:spLocks/>
              </p:cNvSpPr>
              <p:nvPr/>
            </p:nvSpPr>
            <p:spPr bwMode="auto">
              <a:xfrm>
                <a:off x="-2771775" y="1125537"/>
                <a:ext cx="1917700" cy="1557338"/>
              </a:xfrm>
              <a:custGeom>
                <a:avLst/>
                <a:gdLst>
                  <a:gd name="T0" fmla="*/ 566 w 1208"/>
                  <a:gd name="T1" fmla="*/ 981 h 981"/>
                  <a:gd name="T2" fmla="*/ 566 w 1208"/>
                  <a:gd name="T3" fmla="*/ 981 h 981"/>
                  <a:gd name="T4" fmla="*/ 0 w 1208"/>
                  <a:gd name="T5" fmla="*/ 0 h 981"/>
                  <a:gd name="T6" fmla="*/ 1208 w 1208"/>
                  <a:gd name="T7" fmla="*/ 410 h 981"/>
                  <a:gd name="T8" fmla="*/ 1208 w 1208"/>
                  <a:gd name="T9" fmla="*/ 621 h 981"/>
                  <a:gd name="T10" fmla="*/ 933 w 1208"/>
                  <a:gd name="T11" fmla="*/ 775 h 981"/>
                  <a:gd name="T12" fmla="*/ 566 w 1208"/>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208" h="981">
                    <a:moveTo>
                      <a:pt x="566" y="981"/>
                    </a:moveTo>
                    <a:lnTo>
                      <a:pt x="566" y="981"/>
                    </a:lnTo>
                    <a:lnTo>
                      <a:pt x="0" y="0"/>
                    </a:lnTo>
                    <a:lnTo>
                      <a:pt x="1208" y="410"/>
                    </a:lnTo>
                    <a:lnTo>
                      <a:pt x="1208" y="621"/>
                    </a:lnTo>
                    <a:lnTo>
                      <a:pt x="933" y="775"/>
                    </a:lnTo>
                    <a:lnTo>
                      <a:pt x="566"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3" name="Freeform 484"/>
              <p:cNvSpPr>
                <a:spLocks/>
              </p:cNvSpPr>
              <p:nvPr/>
            </p:nvSpPr>
            <p:spPr bwMode="auto">
              <a:xfrm>
                <a:off x="-2054225" y="2682875"/>
                <a:ext cx="1200150" cy="2232025"/>
              </a:xfrm>
              <a:custGeom>
                <a:avLst/>
                <a:gdLst>
                  <a:gd name="T0" fmla="*/ 0 w 756"/>
                  <a:gd name="T1" fmla="*/ 1406 h 1406"/>
                  <a:gd name="T2" fmla="*/ 114 w 756"/>
                  <a:gd name="T3" fmla="*/ 0 h 1406"/>
                  <a:gd name="T4" fmla="*/ 756 w 756"/>
                  <a:gd name="T5" fmla="*/ 0 h 1406"/>
                  <a:gd name="T6" fmla="*/ 756 w 756"/>
                  <a:gd name="T7" fmla="*/ 553 h 1406"/>
                  <a:gd name="T8" fmla="*/ 0 w 756"/>
                  <a:gd name="T9" fmla="*/ 1406 h 1406"/>
                </a:gdLst>
                <a:ahLst/>
                <a:cxnLst>
                  <a:cxn ang="0">
                    <a:pos x="T0" y="T1"/>
                  </a:cxn>
                  <a:cxn ang="0">
                    <a:pos x="T2" y="T3"/>
                  </a:cxn>
                  <a:cxn ang="0">
                    <a:pos x="T4" y="T5"/>
                  </a:cxn>
                  <a:cxn ang="0">
                    <a:pos x="T6" y="T7"/>
                  </a:cxn>
                  <a:cxn ang="0">
                    <a:pos x="T8" y="T9"/>
                  </a:cxn>
                </a:cxnLst>
                <a:rect l="0" t="0" r="r" b="b"/>
                <a:pathLst>
                  <a:path w="756" h="1406">
                    <a:moveTo>
                      <a:pt x="0" y="1406"/>
                    </a:moveTo>
                    <a:lnTo>
                      <a:pt x="114" y="0"/>
                    </a:lnTo>
                    <a:lnTo>
                      <a:pt x="756" y="0"/>
                    </a:lnTo>
                    <a:lnTo>
                      <a:pt x="756" y="553"/>
                    </a:lnTo>
                    <a:lnTo>
                      <a:pt x="0" y="140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4" name="Freeform 485"/>
              <p:cNvSpPr>
                <a:spLocks noEditPoints="1"/>
              </p:cNvSpPr>
              <p:nvPr/>
            </p:nvSpPr>
            <p:spPr bwMode="auto">
              <a:xfrm>
                <a:off x="-4413250" y="1125537"/>
                <a:ext cx="2540000" cy="1987550"/>
              </a:xfrm>
              <a:custGeom>
                <a:avLst/>
                <a:gdLst>
                  <a:gd name="T0" fmla="*/ 0 w 3333"/>
                  <a:gd name="T1" fmla="*/ 2608 h 2608"/>
                  <a:gd name="T2" fmla="*/ 0 w 3333"/>
                  <a:gd name="T3" fmla="*/ 2608 h 2608"/>
                  <a:gd name="T4" fmla="*/ 0 w 3333"/>
                  <a:gd name="T5" fmla="*/ 2608 h 2608"/>
                  <a:gd name="T6" fmla="*/ 0 w 3333"/>
                  <a:gd name="T7" fmla="*/ 2608 h 2608"/>
                  <a:gd name="T8" fmla="*/ 0 w 3333"/>
                  <a:gd name="T9" fmla="*/ 2608 h 2608"/>
                  <a:gd name="T10" fmla="*/ 2154 w 3333"/>
                  <a:gd name="T11" fmla="*/ 0 h 2608"/>
                  <a:gd name="T12" fmla="*/ 3333 w 3333"/>
                  <a:gd name="T13" fmla="*/ 2042 h 2608"/>
                  <a:gd name="T14" fmla="*/ 3333 w 3333"/>
                  <a:gd name="T15" fmla="*/ 2042 h 2608"/>
                  <a:gd name="T16" fmla="*/ 0 w 3333"/>
                  <a:gd name="T17" fmla="*/ 2608 h 2608"/>
                  <a:gd name="T18" fmla="*/ 3333 w 3333"/>
                  <a:gd name="T19" fmla="*/ 2042 h 2608"/>
                  <a:gd name="T20" fmla="*/ 3333 w 3333"/>
                  <a:gd name="T21" fmla="*/ 2042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33" h="2608">
                    <a:moveTo>
                      <a:pt x="0" y="2608"/>
                    </a:moveTo>
                    <a:lnTo>
                      <a:pt x="0" y="2608"/>
                    </a:lnTo>
                    <a:lnTo>
                      <a:pt x="0" y="2608"/>
                    </a:lnTo>
                    <a:lnTo>
                      <a:pt x="0" y="2608"/>
                    </a:lnTo>
                    <a:moveTo>
                      <a:pt x="0" y="2608"/>
                    </a:moveTo>
                    <a:lnTo>
                      <a:pt x="2154" y="0"/>
                    </a:lnTo>
                    <a:lnTo>
                      <a:pt x="3333" y="2042"/>
                    </a:lnTo>
                    <a:lnTo>
                      <a:pt x="3333" y="2042"/>
                    </a:lnTo>
                    <a:lnTo>
                      <a:pt x="0" y="2608"/>
                    </a:lnTo>
                    <a:moveTo>
                      <a:pt x="3333" y="2042"/>
                    </a:moveTo>
                    <a:lnTo>
                      <a:pt x="3333" y="2042"/>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5" name="Freeform 486"/>
              <p:cNvSpPr>
                <a:spLocks/>
              </p:cNvSpPr>
              <p:nvPr/>
            </p:nvSpPr>
            <p:spPr bwMode="auto">
              <a:xfrm>
                <a:off x="-1873250" y="2111375"/>
                <a:ext cx="1019175" cy="571500"/>
              </a:xfrm>
              <a:custGeom>
                <a:avLst/>
                <a:gdLst>
                  <a:gd name="T0" fmla="*/ 0 w 642"/>
                  <a:gd name="T1" fmla="*/ 360 h 360"/>
                  <a:gd name="T2" fmla="*/ 0 w 642"/>
                  <a:gd name="T3" fmla="*/ 360 h 360"/>
                  <a:gd name="T4" fmla="*/ 367 w 642"/>
                  <a:gd name="T5" fmla="*/ 154 h 360"/>
                  <a:gd name="T6" fmla="*/ 642 w 642"/>
                  <a:gd name="T7" fmla="*/ 0 h 360"/>
                  <a:gd name="T8" fmla="*/ 642 w 642"/>
                  <a:gd name="T9" fmla="*/ 360 h 360"/>
                  <a:gd name="T10" fmla="*/ 0 w 642"/>
                  <a:gd name="T11" fmla="*/ 360 h 360"/>
                </a:gdLst>
                <a:ahLst/>
                <a:cxnLst>
                  <a:cxn ang="0">
                    <a:pos x="T0" y="T1"/>
                  </a:cxn>
                  <a:cxn ang="0">
                    <a:pos x="T2" y="T3"/>
                  </a:cxn>
                  <a:cxn ang="0">
                    <a:pos x="T4" y="T5"/>
                  </a:cxn>
                  <a:cxn ang="0">
                    <a:pos x="T6" y="T7"/>
                  </a:cxn>
                  <a:cxn ang="0">
                    <a:pos x="T8" y="T9"/>
                  </a:cxn>
                  <a:cxn ang="0">
                    <a:pos x="T10" y="T11"/>
                  </a:cxn>
                </a:cxnLst>
                <a:rect l="0" t="0" r="r" b="b"/>
                <a:pathLst>
                  <a:path w="642" h="360">
                    <a:moveTo>
                      <a:pt x="0" y="360"/>
                    </a:moveTo>
                    <a:lnTo>
                      <a:pt x="0" y="360"/>
                    </a:lnTo>
                    <a:lnTo>
                      <a:pt x="367" y="154"/>
                    </a:lnTo>
                    <a:lnTo>
                      <a:pt x="642" y="0"/>
                    </a:lnTo>
                    <a:lnTo>
                      <a:pt x="642" y="360"/>
                    </a:lnTo>
                    <a:lnTo>
                      <a:pt x="0" y="36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6" name="Freeform 487"/>
              <p:cNvSpPr>
                <a:spLocks/>
              </p:cNvSpPr>
              <p:nvPr/>
            </p:nvSpPr>
            <p:spPr bwMode="auto">
              <a:xfrm>
                <a:off x="-1290638" y="2111375"/>
                <a:ext cx="436563" cy="244475"/>
              </a:xfrm>
              <a:custGeom>
                <a:avLst/>
                <a:gdLst>
                  <a:gd name="T0" fmla="*/ 0 w 275"/>
                  <a:gd name="T1" fmla="*/ 154 h 154"/>
                  <a:gd name="T2" fmla="*/ 275 w 275"/>
                  <a:gd name="T3" fmla="*/ 0 h 154"/>
                  <a:gd name="T4" fmla="*/ 275 w 275"/>
                  <a:gd name="T5" fmla="*/ 0 h 154"/>
                  <a:gd name="T6" fmla="*/ 0 w 275"/>
                  <a:gd name="T7" fmla="*/ 154 h 154"/>
                </a:gdLst>
                <a:ahLst/>
                <a:cxnLst>
                  <a:cxn ang="0">
                    <a:pos x="T0" y="T1"/>
                  </a:cxn>
                  <a:cxn ang="0">
                    <a:pos x="T2" y="T3"/>
                  </a:cxn>
                  <a:cxn ang="0">
                    <a:pos x="T4" y="T5"/>
                  </a:cxn>
                  <a:cxn ang="0">
                    <a:pos x="T6" y="T7"/>
                  </a:cxn>
                </a:cxnLst>
                <a:rect l="0" t="0" r="r" b="b"/>
                <a:pathLst>
                  <a:path w="275" h="154">
                    <a:moveTo>
                      <a:pt x="0" y="154"/>
                    </a:moveTo>
                    <a:lnTo>
                      <a:pt x="275" y="0"/>
                    </a:lnTo>
                    <a:lnTo>
                      <a:pt x="275" y="0"/>
                    </a:lnTo>
                    <a:lnTo>
                      <a:pt x="0" y="15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7" name="Freeform 488"/>
              <p:cNvSpPr>
                <a:spLocks/>
              </p:cNvSpPr>
              <p:nvPr/>
            </p:nvSpPr>
            <p:spPr bwMode="auto">
              <a:xfrm>
                <a:off x="-4413250" y="2682875"/>
                <a:ext cx="2540000" cy="1554163"/>
              </a:xfrm>
              <a:custGeom>
                <a:avLst/>
                <a:gdLst>
                  <a:gd name="T0" fmla="*/ 1034 w 1600"/>
                  <a:gd name="T1" fmla="*/ 979 h 979"/>
                  <a:gd name="T2" fmla="*/ 0 w 1600"/>
                  <a:gd name="T3" fmla="*/ 271 h 979"/>
                  <a:gd name="T4" fmla="*/ 0 w 1600"/>
                  <a:gd name="T5" fmla="*/ 271 h 979"/>
                  <a:gd name="T6" fmla="*/ 1600 w 1600"/>
                  <a:gd name="T7" fmla="*/ 0 h 979"/>
                  <a:gd name="T8" fmla="*/ 1034 w 1600"/>
                  <a:gd name="T9" fmla="*/ 979 h 979"/>
                </a:gdLst>
                <a:ahLst/>
                <a:cxnLst>
                  <a:cxn ang="0">
                    <a:pos x="T0" y="T1"/>
                  </a:cxn>
                  <a:cxn ang="0">
                    <a:pos x="T2" y="T3"/>
                  </a:cxn>
                  <a:cxn ang="0">
                    <a:pos x="T4" y="T5"/>
                  </a:cxn>
                  <a:cxn ang="0">
                    <a:pos x="T6" y="T7"/>
                  </a:cxn>
                  <a:cxn ang="0">
                    <a:pos x="T8" y="T9"/>
                  </a:cxn>
                </a:cxnLst>
                <a:rect l="0" t="0" r="r" b="b"/>
                <a:pathLst>
                  <a:path w="1600" h="979">
                    <a:moveTo>
                      <a:pt x="1034" y="979"/>
                    </a:moveTo>
                    <a:lnTo>
                      <a:pt x="0" y="271"/>
                    </a:lnTo>
                    <a:lnTo>
                      <a:pt x="0" y="271"/>
                    </a:lnTo>
                    <a:lnTo>
                      <a:pt x="1600" y="0"/>
                    </a:lnTo>
                    <a:lnTo>
                      <a:pt x="1034"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8" name="Freeform 489"/>
              <p:cNvSpPr>
                <a:spLocks noEditPoints="1"/>
              </p:cNvSpPr>
              <p:nvPr/>
            </p:nvSpPr>
            <p:spPr bwMode="auto">
              <a:xfrm>
                <a:off x="-2438400" y="5792787"/>
                <a:ext cx="1517650" cy="1866900"/>
              </a:xfrm>
              <a:custGeom>
                <a:avLst/>
                <a:gdLst>
                  <a:gd name="T0" fmla="*/ 184 w 1992"/>
                  <a:gd name="T1" fmla="*/ 2449 h 2449"/>
                  <a:gd name="T2" fmla="*/ 0 w 1992"/>
                  <a:gd name="T3" fmla="*/ 2449 h 2449"/>
                  <a:gd name="T4" fmla="*/ 742 w 1992"/>
                  <a:gd name="T5" fmla="*/ 0 h 2449"/>
                  <a:gd name="T6" fmla="*/ 1342 w 1992"/>
                  <a:gd name="T7" fmla="*/ 650 h 2449"/>
                  <a:gd name="T8" fmla="*/ 1992 w 1992"/>
                  <a:gd name="T9" fmla="*/ 1354 h 2449"/>
                  <a:gd name="T10" fmla="*/ 184 w 1992"/>
                  <a:gd name="T11" fmla="*/ 2449 h 2449"/>
                  <a:gd name="T12" fmla="*/ 742 w 1992"/>
                  <a:gd name="T13" fmla="*/ 0 h 2449"/>
                  <a:gd name="T14" fmla="*/ 742 w 1992"/>
                  <a:gd name="T15" fmla="*/ 0 h 2449"/>
                  <a:gd name="T16" fmla="*/ 742 w 1992"/>
                  <a:gd name="T17" fmla="*/ 0 h 2449"/>
                  <a:gd name="T18" fmla="*/ 742 w 1992"/>
                  <a:gd name="T19" fmla="*/ 0 h 2449"/>
                  <a:gd name="T20" fmla="*/ 742 w 1992"/>
                  <a:gd name="T21" fmla="*/ 0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2" h="2449">
                    <a:moveTo>
                      <a:pt x="184" y="2449"/>
                    </a:moveTo>
                    <a:lnTo>
                      <a:pt x="0" y="2449"/>
                    </a:lnTo>
                    <a:lnTo>
                      <a:pt x="742" y="0"/>
                    </a:lnTo>
                    <a:lnTo>
                      <a:pt x="1342" y="650"/>
                    </a:lnTo>
                    <a:lnTo>
                      <a:pt x="1992" y="1354"/>
                    </a:lnTo>
                    <a:lnTo>
                      <a:pt x="184" y="2449"/>
                    </a:lnTo>
                    <a:moveTo>
                      <a:pt x="742" y="0"/>
                    </a:moveTo>
                    <a:lnTo>
                      <a:pt x="742" y="0"/>
                    </a:lnTo>
                    <a:moveTo>
                      <a:pt x="742" y="0"/>
                    </a:moveTo>
                    <a:lnTo>
                      <a:pt x="742" y="0"/>
                    </a:lnTo>
                    <a:lnTo>
                      <a:pt x="742"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69" name="Freeform 490"/>
              <p:cNvSpPr>
                <a:spLocks/>
              </p:cNvSpPr>
              <p:nvPr/>
            </p:nvSpPr>
            <p:spPr bwMode="auto">
              <a:xfrm>
                <a:off x="-2771775" y="4237037"/>
                <a:ext cx="898525" cy="1555750"/>
              </a:xfrm>
              <a:custGeom>
                <a:avLst/>
                <a:gdLst>
                  <a:gd name="T0" fmla="*/ 566 w 566"/>
                  <a:gd name="T1" fmla="*/ 980 h 980"/>
                  <a:gd name="T2" fmla="*/ 0 w 566"/>
                  <a:gd name="T3" fmla="*/ 0 h 980"/>
                  <a:gd name="T4" fmla="*/ 452 w 566"/>
                  <a:gd name="T5" fmla="*/ 427 h 980"/>
                  <a:gd name="T6" fmla="*/ 547 w 566"/>
                  <a:gd name="T7" fmla="*/ 885 h 980"/>
                  <a:gd name="T8" fmla="*/ 566 w 566"/>
                  <a:gd name="T9" fmla="*/ 980 h 980"/>
                </a:gdLst>
                <a:ahLst/>
                <a:cxnLst>
                  <a:cxn ang="0">
                    <a:pos x="T0" y="T1"/>
                  </a:cxn>
                  <a:cxn ang="0">
                    <a:pos x="T2" y="T3"/>
                  </a:cxn>
                  <a:cxn ang="0">
                    <a:pos x="T4" y="T5"/>
                  </a:cxn>
                  <a:cxn ang="0">
                    <a:pos x="T6" y="T7"/>
                  </a:cxn>
                  <a:cxn ang="0">
                    <a:pos x="T8" y="T9"/>
                  </a:cxn>
                </a:cxnLst>
                <a:rect l="0" t="0" r="r" b="b"/>
                <a:pathLst>
                  <a:path w="566" h="980">
                    <a:moveTo>
                      <a:pt x="566" y="980"/>
                    </a:moveTo>
                    <a:lnTo>
                      <a:pt x="0" y="0"/>
                    </a:lnTo>
                    <a:lnTo>
                      <a:pt x="452" y="427"/>
                    </a:lnTo>
                    <a:lnTo>
                      <a:pt x="547" y="88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0" name="Freeform 491"/>
              <p:cNvSpPr>
                <a:spLocks/>
              </p:cNvSpPr>
              <p:nvPr/>
            </p:nvSpPr>
            <p:spPr bwMode="auto">
              <a:xfrm>
                <a:off x="-1873250" y="5792787"/>
                <a:ext cx="1019175" cy="1031875"/>
              </a:xfrm>
              <a:custGeom>
                <a:avLst/>
                <a:gdLst>
                  <a:gd name="T0" fmla="*/ 600 w 642"/>
                  <a:gd name="T1" fmla="*/ 650 h 650"/>
                  <a:gd name="T2" fmla="*/ 288 w 642"/>
                  <a:gd name="T3" fmla="*/ 312 h 650"/>
                  <a:gd name="T4" fmla="*/ 0 w 642"/>
                  <a:gd name="T5" fmla="*/ 0 h 650"/>
                  <a:gd name="T6" fmla="*/ 642 w 642"/>
                  <a:gd name="T7" fmla="*/ 0 h 650"/>
                  <a:gd name="T8" fmla="*/ 642 w 642"/>
                  <a:gd name="T9" fmla="*/ 600 h 650"/>
                  <a:gd name="T10" fmla="*/ 600 w 642"/>
                  <a:gd name="T11" fmla="*/ 650 h 650"/>
                </a:gdLst>
                <a:ahLst/>
                <a:cxnLst>
                  <a:cxn ang="0">
                    <a:pos x="T0" y="T1"/>
                  </a:cxn>
                  <a:cxn ang="0">
                    <a:pos x="T2" y="T3"/>
                  </a:cxn>
                  <a:cxn ang="0">
                    <a:pos x="T4" y="T5"/>
                  </a:cxn>
                  <a:cxn ang="0">
                    <a:pos x="T6" y="T7"/>
                  </a:cxn>
                  <a:cxn ang="0">
                    <a:pos x="T8" y="T9"/>
                  </a:cxn>
                  <a:cxn ang="0">
                    <a:pos x="T10" y="T11"/>
                  </a:cxn>
                </a:cxnLst>
                <a:rect l="0" t="0" r="r" b="b"/>
                <a:pathLst>
                  <a:path w="642" h="650">
                    <a:moveTo>
                      <a:pt x="600" y="650"/>
                    </a:moveTo>
                    <a:lnTo>
                      <a:pt x="288" y="312"/>
                    </a:lnTo>
                    <a:lnTo>
                      <a:pt x="0" y="0"/>
                    </a:lnTo>
                    <a:lnTo>
                      <a:pt x="642" y="0"/>
                    </a:lnTo>
                    <a:lnTo>
                      <a:pt x="642" y="600"/>
                    </a:lnTo>
                    <a:lnTo>
                      <a:pt x="600" y="650"/>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1" name="Freeform 492"/>
              <p:cNvSpPr>
                <a:spLocks noEditPoints="1"/>
              </p:cNvSpPr>
              <p:nvPr/>
            </p:nvSpPr>
            <p:spPr bwMode="auto">
              <a:xfrm>
                <a:off x="-4214813" y="4237037"/>
                <a:ext cx="2341563" cy="2058988"/>
              </a:xfrm>
              <a:custGeom>
                <a:avLst/>
                <a:gdLst>
                  <a:gd name="T0" fmla="*/ 0 w 3073"/>
                  <a:gd name="T1" fmla="*/ 2701 h 2701"/>
                  <a:gd name="T2" fmla="*/ 0 w 3073"/>
                  <a:gd name="T3" fmla="*/ 2701 h 2701"/>
                  <a:gd name="T4" fmla="*/ 0 w 3073"/>
                  <a:gd name="T5" fmla="*/ 2701 h 2701"/>
                  <a:gd name="T6" fmla="*/ 0 w 3073"/>
                  <a:gd name="T7" fmla="*/ 2701 h 2701"/>
                  <a:gd name="T8" fmla="*/ 0 w 3073"/>
                  <a:gd name="T9" fmla="*/ 2701 h 2701"/>
                  <a:gd name="T10" fmla="*/ 1894 w 3073"/>
                  <a:gd name="T11" fmla="*/ 0 h 2701"/>
                  <a:gd name="T12" fmla="*/ 3073 w 3073"/>
                  <a:gd name="T13" fmla="*/ 2042 h 2701"/>
                  <a:gd name="T14" fmla="*/ 3073 w 3073"/>
                  <a:gd name="T15" fmla="*/ 2042 h 2701"/>
                  <a:gd name="T16" fmla="*/ 0 w 3073"/>
                  <a:gd name="T17" fmla="*/ 2701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701">
                    <a:moveTo>
                      <a:pt x="0" y="2701"/>
                    </a:moveTo>
                    <a:lnTo>
                      <a:pt x="0" y="2701"/>
                    </a:lnTo>
                    <a:lnTo>
                      <a:pt x="0" y="2701"/>
                    </a:lnTo>
                    <a:lnTo>
                      <a:pt x="0" y="2701"/>
                    </a:lnTo>
                    <a:moveTo>
                      <a:pt x="0" y="2701"/>
                    </a:moveTo>
                    <a:lnTo>
                      <a:pt x="1894" y="0"/>
                    </a:lnTo>
                    <a:lnTo>
                      <a:pt x="3073" y="2042"/>
                    </a:lnTo>
                    <a:lnTo>
                      <a:pt x="3073" y="2042"/>
                    </a:lnTo>
                    <a:lnTo>
                      <a:pt x="0" y="270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2" name="Freeform 493"/>
              <p:cNvSpPr>
                <a:spLocks/>
              </p:cNvSpPr>
              <p:nvPr/>
            </p:nvSpPr>
            <p:spPr bwMode="auto">
              <a:xfrm>
                <a:off x="-2054225" y="4914900"/>
                <a:ext cx="1200150" cy="877888"/>
              </a:xfrm>
              <a:custGeom>
                <a:avLst/>
                <a:gdLst>
                  <a:gd name="T0" fmla="*/ 114 w 756"/>
                  <a:gd name="T1" fmla="*/ 553 h 553"/>
                  <a:gd name="T2" fmla="*/ 114 w 756"/>
                  <a:gd name="T3" fmla="*/ 553 h 553"/>
                  <a:gd name="T4" fmla="*/ 114 w 756"/>
                  <a:gd name="T5" fmla="*/ 553 h 553"/>
                  <a:gd name="T6" fmla="*/ 95 w 756"/>
                  <a:gd name="T7" fmla="*/ 458 h 553"/>
                  <a:gd name="T8" fmla="*/ 0 w 756"/>
                  <a:gd name="T9" fmla="*/ 0 h 553"/>
                  <a:gd name="T10" fmla="*/ 756 w 756"/>
                  <a:gd name="T11" fmla="*/ 336 h 553"/>
                  <a:gd name="T12" fmla="*/ 756 w 756"/>
                  <a:gd name="T13" fmla="*/ 553 h 553"/>
                  <a:gd name="T14" fmla="*/ 114 w 756"/>
                  <a:gd name="T15" fmla="*/ 553 h 5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6" h="553">
                    <a:moveTo>
                      <a:pt x="114" y="553"/>
                    </a:moveTo>
                    <a:lnTo>
                      <a:pt x="114" y="553"/>
                    </a:lnTo>
                    <a:lnTo>
                      <a:pt x="114" y="553"/>
                    </a:lnTo>
                    <a:lnTo>
                      <a:pt x="95" y="458"/>
                    </a:lnTo>
                    <a:lnTo>
                      <a:pt x="0" y="0"/>
                    </a:lnTo>
                    <a:lnTo>
                      <a:pt x="756" y="336"/>
                    </a:lnTo>
                    <a:lnTo>
                      <a:pt x="756" y="553"/>
                    </a:lnTo>
                    <a:lnTo>
                      <a:pt x="114" y="5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3" name="Freeform 494"/>
              <p:cNvSpPr>
                <a:spLocks noEditPoints="1"/>
              </p:cNvSpPr>
              <p:nvPr/>
            </p:nvSpPr>
            <p:spPr bwMode="auto">
              <a:xfrm>
                <a:off x="-4214813" y="5792787"/>
                <a:ext cx="2341563" cy="1866900"/>
              </a:xfrm>
              <a:custGeom>
                <a:avLst/>
                <a:gdLst>
                  <a:gd name="T0" fmla="*/ 2331 w 3073"/>
                  <a:gd name="T1" fmla="*/ 2449 h 2449"/>
                  <a:gd name="T2" fmla="*/ 2127 w 3073"/>
                  <a:gd name="T3" fmla="*/ 2449 h 2449"/>
                  <a:gd name="T4" fmla="*/ 0 w 3073"/>
                  <a:gd name="T5" fmla="*/ 659 h 2449"/>
                  <a:gd name="T6" fmla="*/ 3073 w 3073"/>
                  <a:gd name="T7" fmla="*/ 0 h 2449"/>
                  <a:gd name="T8" fmla="*/ 2331 w 3073"/>
                  <a:gd name="T9" fmla="*/ 2449 h 2449"/>
                  <a:gd name="T10" fmla="*/ 0 w 3073"/>
                  <a:gd name="T11" fmla="*/ 659 h 2449"/>
                  <a:gd name="T12" fmla="*/ 0 w 3073"/>
                  <a:gd name="T13" fmla="*/ 659 h 2449"/>
                  <a:gd name="T14" fmla="*/ 0 w 3073"/>
                  <a:gd name="T15" fmla="*/ 659 h 2449"/>
                  <a:gd name="T16" fmla="*/ 0 w 3073"/>
                  <a:gd name="T17" fmla="*/ 659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449">
                    <a:moveTo>
                      <a:pt x="2331" y="2449"/>
                    </a:moveTo>
                    <a:lnTo>
                      <a:pt x="2127" y="2449"/>
                    </a:lnTo>
                    <a:lnTo>
                      <a:pt x="0" y="659"/>
                    </a:lnTo>
                    <a:lnTo>
                      <a:pt x="3073" y="0"/>
                    </a:lnTo>
                    <a:lnTo>
                      <a:pt x="2331" y="2449"/>
                    </a:lnTo>
                    <a:moveTo>
                      <a:pt x="0" y="659"/>
                    </a:moveTo>
                    <a:lnTo>
                      <a:pt x="0" y="659"/>
                    </a:lnTo>
                    <a:lnTo>
                      <a:pt x="0" y="659"/>
                    </a:lnTo>
                    <a:lnTo>
                      <a:pt x="0" y="659"/>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4" name="Rectangle 495"/>
              <p:cNvSpPr>
                <a:spLocks noChangeArrowheads="1"/>
              </p:cNvSpPr>
              <p:nvPr/>
            </p:nvSpPr>
            <p:spPr bwMode="auto">
              <a:xfrm>
                <a:off x="-4214813" y="6296025"/>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5" name="Freeform 496"/>
              <p:cNvSpPr>
                <a:spLocks/>
              </p:cNvSpPr>
              <p:nvPr/>
            </p:nvSpPr>
            <p:spPr bwMode="auto">
              <a:xfrm>
                <a:off x="-2438400" y="5792787"/>
                <a:ext cx="565150" cy="1866900"/>
              </a:xfrm>
              <a:custGeom>
                <a:avLst/>
                <a:gdLst>
                  <a:gd name="T0" fmla="*/ 0 w 356"/>
                  <a:gd name="T1" fmla="*/ 1176 h 1176"/>
                  <a:gd name="T2" fmla="*/ 0 w 356"/>
                  <a:gd name="T3" fmla="*/ 1176 h 1176"/>
                  <a:gd name="T4" fmla="*/ 356 w 356"/>
                  <a:gd name="T5" fmla="*/ 0 h 1176"/>
                  <a:gd name="T6" fmla="*/ 356 w 356"/>
                  <a:gd name="T7" fmla="*/ 0 h 1176"/>
                  <a:gd name="T8" fmla="*/ 0 w 356"/>
                  <a:gd name="T9" fmla="*/ 1176 h 1176"/>
                </a:gdLst>
                <a:ahLst/>
                <a:cxnLst>
                  <a:cxn ang="0">
                    <a:pos x="T0" y="T1"/>
                  </a:cxn>
                  <a:cxn ang="0">
                    <a:pos x="T2" y="T3"/>
                  </a:cxn>
                  <a:cxn ang="0">
                    <a:pos x="T4" y="T5"/>
                  </a:cxn>
                  <a:cxn ang="0">
                    <a:pos x="T6" y="T7"/>
                  </a:cxn>
                  <a:cxn ang="0">
                    <a:pos x="T8" y="T9"/>
                  </a:cxn>
                </a:cxnLst>
                <a:rect l="0" t="0" r="r" b="b"/>
                <a:pathLst>
                  <a:path w="356" h="1176">
                    <a:moveTo>
                      <a:pt x="0" y="1176"/>
                    </a:moveTo>
                    <a:lnTo>
                      <a:pt x="0" y="1176"/>
                    </a:lnTo>
                    <a:lnTo>
                      <a:pt x="356" y="0"/>
                    </a:lnTo>
                    <a:lnTo>
                      <a:pt x="356" y="0"/>
                    </a:lnTo>
                    <a:lnTo>
                      <a:pt x="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6" name="Freeform 497"/>
              <p:cNvSpPr>
                <a:spLocks/>
              </p:cNvSpPr>
              <p:nvPr/>
            </p:nvSpPr>
            <p:spPr bwMode="auto">
              <a:xfrm>
                <a:off x="-4214813" y="5792787"/>
                <a:ext cx="2341563" cy="503238"/>
              </a:xfrm>
              <a:custGeom>
                <a:avLst/>
                <a:gdLst>
                  <a:gd name="T0" fmla="*/ 0 w 1475"/>
                  <a:gd name="T1" fmla="*/ 317 h 317"/>
                  <a:gd name="T2" fmla="*/ 0 w 1475"/>
                  <a:gd name="T3" fmla="*/ 317 h 317"/>
                  <a:gd name="T4" fmla="*/ 0 w 1475"/>
                  <a:gd name="T5" fmla="*/ 317 h 317"/>
                  <a:gd name="T6" fmla="*/ 1475 w 1475"/>
                  <a:gd name="T7" fmla="*/ 0 h 317"/>
                  <a:gd name="T8" fmla="*/ 1475 w 1475"/>
                  <a:gd name="T9" fmla="*/ 0 h 317"/>
                  <a:gd name="T10" fmla="*/ 0 w 1475"/>
                  <a:gd name="T11" fmla="*/ 317 h 317"/>
                </a:gdLst>
                <a:ahLst/>
                <a:cxnLst>
                  <a:cxn ang="0">
                    <a:pos x="T0" y="T1"/>
                  </a:cxn>
                  <a:cxn ang="0">
                    <a:pos x="T2" y="T3"/>
                  </a:cxn>
                  <a:cxn ang="0">
                    <a:pos x="T4" y="T5"/>
                  </a:cxn>
                  <a:cxn ang="0">
                    <a:pos x="T6" y="T7"/>
                  </a:cxn>
                  <a:cxn ang="0">
                    <a:pos x="T8" y="T9"/>
                  </a:cxn>
                  <a:cxn ang="0">
                    <a:pos x="T10" y="T11"/>
                  </a:cxn>
                </a:cxnLst>
                <a:rect l="0" t="0" r="r" b="b"/>
                <a:pathLst>
                  <a:path w="1475" h="317">
                    <a:moveTo>
                      <a:pt x="0" y="317"/>
                    </a:moveTo>
                    <a:lnTo>
                      <a:pt x="0" y="317"/>
                    </a:lnTo>
                    <a:lnTo>
                      <a:pt x="0" y="317"/>
                    </a:lnTo>
                    <a:lnTo>
                      <a:pt x="1475" y="0"/>
                    </a:lnTo>
                    <a:lnTo>
                      <a:pt x="1475" y="0"/>
                    </a:lnTo>
                    <a:lnTo>
                      <a:pt x="0" y="317"/>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7" name="Freeform 498"/>
              <p:cNvSpPr>
                <a:spLocks/>
              </p:cNvSpPr>
              <p:nvPr/>
            </p:nvSpPr>
            <p:spPr bwMode="auto">
              <a:xfrm>
                <a:off x="-2054225" y="3560762"/>
                <a:ext cx="1200150" cy="1354138"/>
              </a:xfrm>
              <a:custGeom>
                <a:avLst/>
                <a:gdLst>
                  <a:gd name="T0" fmla="*/ 0 w 756"/>
                  <a:gd name="T1" fmla="*/ 853 h 853"/>
                  <a:gd name="T2" fmla="*/ 0 w 756"/>
                  <a:gd name="T3" fmla="*/ 853 h 853"/>
                  <a:gd name="T4" fmla="*/ 756 w 756"/>
                  <a:gd name="T5" fmla="*/ 0 h 853"/>
                  <a:gd name="T6" fmla="*/ 756 w 756"/>
                  <a:gd name="T7" fmla="*/ 675 h 853"/>
                  <a:gd name="T8" fmla="*/ 0 w 756"/>
                  <a:gd name="T9" fmla="*/ 853 h 853"/>
                </a:gdLst>
                <a:ahLst/>
                <a:cxnLst>
                  <a:cxn ang="0">
                    <a:pos x="T0" y="T1"/>
                  </a:cxn>
                  <a:cxn ang="0">
                    <a:pos x="T2" y="T3"/>
                  </a:cxn>
                  <a:cxn ang="0">
                    <a:pos x="T4" y="T5"/>
                  </a:cxn>
                  <a:cxn ang="0">
                    <a:pos x="T6" y="T7"/>
                  </a:cxn>
                  <a:cxn ang="0">
                    <a:pos x="T8" y="T9"/>
                  </a:cxn>
                </a:cxnLst>
                <a:rect l="0" t="0" r="r" b="b"/>
                <a:pathLst>
                  <a:path w="756" h="853">
                    <a:moveTo>
                      <a:pt x="0" y="853"/>
                    </a:moveTo>
                    <a:lnTo>
                      <a:pt x="0" y="853"/>
                    </a:lnTo>
                    <a:lnTo>
                      <a:pt x="756" y="0"/>
                    </a:lnTo>
                    <a:lnTo>
                      <a:pt x="756" y="675"/>
                    </a:lnTo>
                    <a:lnTo>
                      <a:pt x="0" y="853"/>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8" name="Freeform 499"/>
              <p:cNvSpPr>
                <a:spLocks/>
              </p:cNvSpPr>
              <p:nvPr/>
            </p:nvSpPr>
            <p:spPr bwMode="auto">
              <a:xfrm>
                <a:off x="-2054225" y="3560762"/>
                <a:ext cx="1200150" cy="1354138"/>
              </a:xfrm>
              <a:custGeom>
                <a:avLst/>
                <a:gdLst>
                  <a:gd name="T0" fmla="*/ 0 w 756"/>
                  <a:gd name="T1" fmla="*/ 853 h 853"/>
                  <a:gd name="T2" fmla="*/ 756 w 756"/>
                  <a:gd name="T3" fmla="*/ 0 h 853"/>
                  <a:gd name="T4" fmla="*/ 756 w 756"/>
                  <a:gd name="T5" fmla="*/ 0 h 853"/>
                  <a:gd name="T6" fmla="*/ 0 w 756"/>
                  <a:gd name="T7" fmla="*/ 853 h 853"/>
                </a:gdLst>
                <a:ahLst/>
                <a:cxnLst>
                  <a:cxn ang="0">
                    <a:pos x="T0" y="T1"/>
                  </a:cxn>
                  <a:cxn ang="0">
                    <a:pos x="T2" y="T3"/>
                  </a:cxn>
                  <a:cxn ang="0">
                    <a:pos x="T4" y="T5"/>
                  </a:cxn>
                  <a:cxn ang="0">
                    <a:pos x="T6" y="T7"/>
                  </a:cxn>
                </a:cxnLst>
                <a:rect l="0" t="0" r="r" b="b"/>
                <a:pathLst>
                  <a:path w="756" h="853">
                    <a:moveTo>
                      <a:pt x="0" y="853"/>
                    </a:moveTo>
                    <a:lnTo>
                      <a:pt x="756" y="0"/>
                    </a:lnTo>
                    <a:lnTo>
                      <a:pt x="756" y="0"/>
                    </a:lnTo>
                    <a:lnTo>
                      <a:pt x="0" y="853"/>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79" name="Freeform 500"/>
              <p:cNvSpPr>
                <a:spLocks/>
              </p:cNvSpPr>
              <p:nvPr/>
            </p:nvSpPr>
            <p:spPr bwMode="auto">
              <a:xfrm>
                <a:off x="-2054225" y="4632325"/>
                <a:ext cx="1200150" cy="815975"/>
              </a:xfrm>
              <a:custGeom>
                <a:avLst/>
                <a:gdLst>
                  <a:gd name="T0" fmla="*/ 756 w 756"/>
                  <a:gd name="T1" fmla="*/ 514 h 514"/>
                  <a:gd name="T2" fmla="*/ 0 w 756"/>
                  <a:gd name="T3" fmla="*/ 178 h 514"/>
                  <a:gd name="T4" fmla="*/ 756 w 756"/>
                  <a:gd name="T5" fmla="*/ 0 h 514"/>
                  <a:gd name="T6" fmla="*/ 756 w 756"/>
                  <a:gd name="T7" fmla="*/ 514 h 514"/>
                </a:gdLst>
                <a:ahLst/>
                <a:cxnLst>
                  <a:cxn ang="0">
                    <a:pos x="T0" y="T1"/>
                  </a:cxn>
                  <a:cxn ang="0">
                    <a:pos x="T2" y="T3"/>
                  </a:cxn>
                  <a:cxn ang="0">
                    <a:pos x="T4" y="T5"/>
                  </a:cxn>
                  <a:cxn ang="0">
                    <a:pos x="T6" y="T7"/>
                  </a:cxn>
                </a:cxnLst>
                <a:rect l="0" t="0" r="r" b="b"/>
                <a:pathLst>
                  <a:path w="756" h="514">
                    <a:moveTo>
                      <a:pt x="756" y="514"/>
                    </a:moveTo>
                    <a:lnTo>
                      <a:pt x="0" y="178"/>
                    </a:lnTo>
                    <a:lnTo>
                      <a:pt x="756" y="0"/>
                    </a:lnTo>
                    <a:lnTo>
                      <a:pt x="756" y="514"/>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0" name="Freeform 501"/>
              <p:cNvSpPr>
                <a:spLocks/>
              </p:cNvSpPr>
              <p:nvPr/>
            </p:nvSpPr>
            <p:spPr bwMode="auto">
              <a:xfrm>
                <a:off x="-2298700" y="6824662"/>
                <a:ext cx="1377950" cy="835025"/>
              </a:xfrm>
              <a:custGeom>
                <a:avLst/>
                <a:gdLst>
                  <a:gd name="T0" fmla="*/ 661 w 868"/>
                  <a:gd name="T1" fmla="*/ 526 h 526"/>
                  <a:gd name="T2" fmla="*/ 0 w 868"/>
                  <a:gd name="T3" fmla="*/ 526 h 526"/>
                  <a:gd name="T4" fmla="*/ 868 w 868"/>
                  <a:gd name="T5" fmla="*/ 0 h 526"/>
                  <a:gd name="T6" fmla="*/ 661 w 868"/>
                  <a:gd name="T7" fmla="*/ 526 h 526"/>
                </a:gdLst>
                <a:ahLst/>
                <a:cxnLst>
                  <a:cxn ang="0">
                    <a:pos x="T0" y="T1"/>
                  </a:cxn>
                  <a:cxn ang="0">
                    <a:pos x="T2" y="T3"/>
                  </a:cxn>
                  <a:cxn ang="0">
                    <a:pos x="T4" y="T5"/>
                  </a:cxn>
                  <a:cxn ang="0">
                    <a:pos x="T6" y="T7"/>
                  </a:cxn>
                </a:cxnLst>
                <a:rect l="0" t="0" r="r" b="b"/>
                <a:pathLst>
                  <a:path w="868" h="526">
                    <a:moveTo>
                      <a:pt x="661" y="526"/>
                    </a:moveTo>
                    <a:lnTo>
                      <a:pt x="0" y="526"/>
                    </a:lnTo>
                    <a:lnTo>
                      <a:pt x="868" y="0"/>
                    </a:lnTo>
                    <a:lnTo>
                      <a:pt x="661" y="526"/>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1" name="Freeform 502"/>
              <p:cNvSpPr>
                <a:spLocks/>
              </p:cNvSpPr>
              <p:nvPr/>
            </p:nvSpPr>
            <p:spPr bwMode="auto">
              <a:xfrm>
                <a:off x="-1249363" y="6824662"/>
                <a:ext cx="395288" cy="835025"/>
              </a:xfrm>
              <a:custGeom>
                <a:avLst/>
                <a:gdLst>
                  <a:gd name="T0" fmla="*/ 249 w 249"/>
                  <a:gd name="T1" fmla="*/ 526 h 526"/>
                  <a:gd name="T2" fmla="*/ 0 w 249"/>
                  <a:gd name="T3" fmla="*/ 526 h 526"/>
                  <a:gd name="T4" fmla="*/ 207 w 249"/>
                  <a:gd name="T5" fmla="*/ 0 h 526"/>
                  <a:gd name="T6" fmla="*/ 249 w 249"/>
                  <a:gd name="T7" fmla="*/ 166 h 526"/>
                  <a:gd name="T8" fmla="*/ 249 w 249"/>
                  <a:gd name="T9" fmla="*/ 526 h 526"/>
                </a:gdLst>
                <a:ahLst/>
                <a:cxnLst>
                  <a:cxn ang="0">
                    <a:pos x="T0" y="T1"/>
                  </a:cxn>
                  <a:cxn ang="0">
                    <a:pos x="T2" y="T3"/>
                  </a:cxn>
                  <a:cxn ang="0">
                    <a:pos x="T4" y="T5"/>
                  </a:cxn>
                  <a:cxn ang="0">
                    <a:pos x="T6" y="T7"/>
                  </a:cxn>
                  <a:cxn ang="0">
                    <a:pos x="T8" y="T9"/>
                  </a:cxn>
                </a:cxnLst>
                <a:rect l="0" t="0" r="r" b="b"/>
                <a:pathLst>
                  <a:path w="249" h="526">
                    <a:moveTo>
                      <a:pt x="249" y="526"/>
                    </a:moveTo>
                    <a:lnTo>
                      <a:pt x="0" y="526"/>
                    </a:lnTo>
                    <a:lnTo>
                      <a:pt x="207" y="0"/>
                    </a:lnTo>
                    <a:lnTo>
                      <a:pt x="249" y="166"/>
                    </a:lnTo>
                    <a:lnTo>
                      <a:pt x="249" y="52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2" name="Freeform 503"/>
              <p:cNvSpPr>
                <a:spLocks/>
              </p:cNvSpPr>
              <p:nvPr/>
            </p:nvSpPr>
            <p:spPr bwMode="auto">
              <a:xfrm>
                <a:off x="-920750" y="6745287"/>
                <a:ext cx="66675" cy="79375"/>
              </a:xfrm>
              <a:custGeom>
                <a:avLst/>
                <a:gdLst>
                  <a:gd name="T0" fmla="*/ 0 w 42"/>
                  <a:gd name="T1" fmla="*/ 50 h 50"/>
                  <a:gd name="T2" fmla="*/ 0 w 42"/>
                  <a:gd name="T3" fmla="*/ 50 h 50"/>
                  <a:gd name="T4" fmla="*/ 42 w 42"/>
                  <a:gd name="T5" fmla="*/ 0 h 50"/>
                  <a:gd name="T6" fmla="*/ 42 w 42"/>
                  <a:gd name="T7" fmla="*/ 47 h 50"/>
                  <a:gd name="T8" fmla="*/ 0 w 42"/>
                  <a:gd name="T9" fmla="*/ 50 h 50"/>
                </a:gdLst>
                <a:ahLst/>
                <a:cxnLst>
                  <a:cxn ang="0">
                    <a:pos x="T0" y="T1"/>
                  </a:cxn>
                  <a:cxn ang="0">
                    <a:pos x="T2" y="T3"/>
                  </a:cxn>
                  <a:cxn ang="0">
                    <a:pos x="T4" y="T5"/>
                  </a:cxn>
                  <a:cxn ang="0">
                    <a:pos x="T6" y="T7"/>
                  </a:cxn>
                  <a:cxn ang="0">
                    <a:pos x="T8" y="T9"/>
                  </a:cxn>
                </a:cxnLst>
                <a:rect l="0" t="0" r="r" b="b"/>
                <a:pathLst>
                  <a:path w="42" h="50">
                    <a:moveTo>
                      <a:pt x="0" y="50"/>
                    </a:moveTo>
                    <a:lnTo>
                      <a:pt x="0" y="50"/>
                    </a:lnTo>
                    <a:lnTo>
                      <a:pt x="42" y="0"/>
                    </a:lnTo>
                    <a:lnTo>
                      <a:pt x="42" y="47"/>
                    </a:lnTo>
                    <a:lnTo>
                      <a:pt x="0" y="5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sp>
            <p:nvSpPr>
              <p:cNvPr id="283" name="Freeform 504"/>
              <p:cNvSpPr>
                <a:spLocks/>
              </p:cNvSpPr>
              <p:nvPr/>
            </p:nvSpPr>
            <p:spPr bwMode="auto">
              <a:xfrm>
                <a:off x="-920750" y="6819900"/>
                <a:ext cx="66675" cy="268288"/>
              </a:xfrm>
              <a:custGeom>
                <a:avLst/>
                <a:gdLst>
                  <a:gd name="T0" fmla="*/ 42 w 42"/>
                  <a:gd name="T1" fmla="*/ 169 h 169"/>
                  <a:gd name="T2" fmla="*/ 0 w 42"/>
                  <a:gd name="T3" fmla="*/ 3 h 169"/>
                  <a:gd name="T4" fmla="*/ 42 w 42"/>
                  <a:gd name="T5" fmla="*/ 0 h 169"/>
                  <a:gd name="T6" fmla="*/ 42 w 42"/>
                  <a:gd name="T7" fmla="*/ 169 h 169"/>
                </a:gdLst>
                <a:ahLst/>
                <a:cxnLst>
                  <a:cxn ang="0">
                    <a:pos x="T0" y="T1"/>
                  </a:cxn>
                  <a:cxn ang="0">
                    <a:pos x="T2" y="T3"/>
                  </a:cxn>
                  <a:cxn ang="0">
                    <a:pos x="T4" y="T5"/>
                  </a:cxn>
                  <a:cxn ang="0">
                    <a:pos x="T6" y="T7"/>
                  </a:cxn>
                </a:cxnLst>
                <a:rect l="0" t="0" r="r" b="b"/>
                <a:pathLst>
                  <a:path w="42" h="169">
                    <a:moveTo>
                      <a:pt x="42" y="169"/>
                    </a:moveTo>
                    <a:lnTo>
                      <a:pt x="0" y="3"/>
                    </a:lnTo>
                    <a:lnTo>
                      <a:pt x="42" y="0"/>
                    </a:lnTo>
                    <a:lnTo>
                      <a:pt x="42" y="16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grpSp>
        <p:sp>
          <p:nvSpPr>
            <p:cNvPr id="56" name="AutoShape 303"/>
            <p:cNvSpPr>
              <a:spLocks noChangeArrowheads="1" noTextEdit="1"/>
            </p:cNvSpPr>
            <p:nvPr/>
          </p:nvSpPr>
          <p:spPr bwMode="auto">
            <a:xfrm>
              <a:off x="0" y="-1"/>
              <a:ext cx="8961438" cy="6721475"/>
            </a:xfrm>
            <a:prstGeom prst="rect">
              <a:avLst/>
            </a:prstGeom>
            <a:solidFill>
              <a:schemeClr val="accent4">
                <a:alpha val="83000"/>
              </a:schemeClr>
            </a:solidFill>
            <a:ln>
              <a:noFill/>
            </a:ln>
          </p:spPr>
          <p:txBody>
            <a:bodyPr vert="horz" wrap="square" lIns="91440" tIns="45720" rIns="91440" bIns="45720" numCol="1" anchor="t" anchorCtr="0" compatLnSpc="1">
              <a:prstTxWarp prst="textNoShape">
                <a:avLst/>
              </a:prstTxWarp>
              <a:noAutofit/>
            </a:bodyPr>
            <a:lstStyle/>
            <a:p>
              <a:endParaRPr lang="en-US">
                <a:latin typeface="+mn-lt"/>
                <a:ea typeface="楷体" panose="02010609060101010101" pitchFamily="49" charset="-122"/>
              </a:endParaRPr>
            </a:p>
          </p:txBody>
        </p:sp>
      </p:grpSp>
      <p:sp>
        <p:nvSpPr>
          <p:cNvPr id="284" name="Title 1"/>
          <p:cNvSpPr txBox="1">
            <a:spLocks/>
          </p:cNvSpPr>
          <p:nvPr/>
        </p:nvSpPr>
        <p:spPr bwMode="auto">
          <a:xfrm>
            <a:off x="119062" y="230188"/>
            <a:ext cx="872331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zh-CN" kern="0" dirty="0">
                <a:solidFill>
                  <a:schemeClr val="bg1"/>
                </a:solidFill>
                <a:latin typeface="+mn-lt"/>
                <a:ea typeface="楷体" panose="02010609060101010101" pitchFamily="49" charset="-122"/>
                <a:cs typeface="SimSun"/>
              </a:rPr>
              <a:t>2010年代人工智能的突破推动了今天深度学习的</a:t>
            </a:r>
            <a:r>
              <a:rPr lang="zh-CN" altLang="en-US" kern="0" dirty="0">
                <a:solidFill>
                  <a:schemeClr val="bg1"/>
                </a:solidFill>
                <a:latin typeface="+mn-lt"/>
                <a:ea typeface="楷体" panose="02010609060101010101" pitchFamily="49" charset="-122"/>
                <a:cs typeface="SimSun"/>
              </a:rPr>
              <a:t>蓬勃</a:t>
            </a:r>
            <a:r>
              <a:rPr lang="zh-CN" kern="0" dirty="0">
                <a:solidFill>
                  <a:schemeClr val="bg1"/>
                </a:solidFill>
                <a:latin typeface="+mn-lt"/>
                <a:ea typeface="楷体" panose="02010609060101010101" pitchFamily="49" charset="-122"/>
                <a:cs typeface="SimSun"/>
              </a:rPr>
              <a:t>发展</a:t>
            </a:r>
          </a:p>
        </p:txBody>
      </p:sp>
      <p:grpSp>
        <p:nvGrpSpPr>
          <p:cNvPr id="6" name="Group 5"/>
          <p:cNvGrpSpPr/>
          <p:nvPr/>
        </p:nvGrpSpPr>
        <p:grpSpPr>
          <a:xfrm>
            <a:off x="1004410" y="1314180"/>
            <a:ext cx="5560624" cy="174643"/>
            <a:chOff x="1004410" y="1314180"/>
            <a:chExt cx="5560624" cy="523875"/>
          </a:xfrm>
        </p:grpSpPr>
        <p:sp>
          <p:nvSpPr>
            <p:cNvPr id="42" name="Line 89"/>
            <p:cNvSpPr>
              <a:spLocks noChangeShapeType="1"/>
            </p:cNvSpPr>
            <p:nvPr>
              <p:custDataLst>
                <p:tags r:id="rId23"/>
              </p:custDataLst>
            </p:nvPr>
          </p:nvSpPr>
          <p:spPr bwMode="auto">
            <a:xfrm>
              <a:off x="1004410" y="1314180"/>
              <a:ext cx="0" cy="523875"/>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pPr fontAlgn="auto">
                <a:spcBef>
                  <a:spcPts val="0"/>
                </a:spcBef>
                <a:spcAft>
                  <a:spcPts val="0"/>
                </a:spcAft>
                <a:defRPr/>
              </a:pPr>
              <a:endParaRPr lang="en-US" sz="1000" kern="0" dirty="0">
                <a:solidFill>
                  <a:srgbClr val="000000"/>
                </a:solidFill>
                <a:latin typeface="+mn-lt"/>
                <a:ea typeface="楷体" panose="02010609060101010101" pitchFamily="49" charset="-122"/>
              </a:endParaRPr>
            </a:p>
          </p:txBody>
        </p:sp>
        <p:sp>
          <p:nvSpPr>
            <p:cNvPr id="44" name="Line 91"/>
            <p:cNvSpPr>
              <a:spLocks noChangeShapeType="1"/>
            </p:cNvSpPr>
            <p:nvPr>
              <p:custDataLst>
                <p:tags r:id="rId24"/>
              </p:custDataLst>
            </p:nvPr>
          </p:nvSpPr>
          <p:spPr bwMode="auto">
            <a:xfrm>
              <a:off x="3785800" y="1314180"/>
              <a:ext cx="0" cy="523875"/>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pPr fontAlgn="auto">
                <a:spcBef>
                  <a:spcPts val="0"/>
                </a:spcBef>
                <a:spcAft>
                  <a:spcPts val="0"/>
                </a:spcAft>
                <a:defRPr/>
              </a:pPr>
              <a:endParaRPr lang="en-US" sz="1000" kern="0" dirty="0">
                <a:solidFill>
                  <a:srgbClr val="000000"/>
                </a:solidFill>
                <a:latin typeface="+mn-lt"/>
                <a:ea typeface="楷体" panose="02010609060101010101" pitchFamily="49" charset="-122"/>
              </a:endParaRPr>
            </a:p>
          </p:txBody>
        </p:sp>
        <p:sp>
          <p:nvSpPr>
            <p:cNvPr id="46" name="Line 93"/>
            <p:cNvSpPr>
              <a:spLocks noChangeShapeType="1"/>
            </p:cNvSpPr>
            <p:nvPr>
              <p:custDataLst>
                <p:tags r:id="rId25"/>
              </p:custDataLst>
            </p:nvPr>
          </p:nvSpPr>
          <p:spPr bwMode="auto">
            <a:xfrm>
              <a:off x="6563446" y="1314180"/>
              <a:ext cx="1588" cy="523875"/>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pPr fontAlgn="auto">
                <a:spcBef>
                  <a:spcPts val="0"/>
                </a:spcBef>
                <a:spcAft>
                  <a:spcPts val="0"/>
                </a:spcAft>
                <a:defRPr/>
              </a:pPr>
              <a:endParaRPr lang="en-US" sz="1000" kern="0" dirty="0">
                <a:solidFill>
                  <a:srgbClr val="000000"/>
                </a:solidFill>
                <a:latin typeface="+mn-lt"/>
                <a:ea typeface="楷体" panose="02010609060101010101" pitchFamily="49" charset="-122"/>
              </a:endParaRPr>
            </a:p>
          </p:txBody>
        </p:sp>
      </p:grpSp>
      <p:sp>
        <p:nvSpPr>
          <p:cNvPr id="47" name="Rectangle 16"/>
          <p:cNvSpPr>
            <a:spLocks noChangeArrowheads="1"/>
          </p:cNvSpPr>
          <p:nvPr>
            <p:custDataLst>
              <p:tags r:id="rId1"/>
            </p:custDataLst>
          </p:nvPr>
        </p:nvSpPr>
        <p:spPr bwMode="auto">
          <a:xfrm>
            <a:off x="249241" y="683081"/>
            <a:ext cx="105986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95350" fontAlgn="auto">
              <a:spcBef>
                <a:spcPts val="0"/>
              </a:spcBef>
              <a:spcAft>
                <a:spcPts val="0"/>
              </a:spcAft>
              <a:buClr>
                <a:srgbClr val="002960"/>
              </a:buClr>
            </a:pPr>
            <a:r>
              <a:rPr lang="zh-CN" sz="1000" b="1" dirty="0">
                <a:solidFill>
                  <a:srgbClr val="FFCA21"/>
                </a:solidFill>
                <a:latin typeface="+mn-lt"/>
                <a:ea typeface="楷体" panose="02010609060101010101" pitchFamily="49" charset="-122"/>
                <a:cs typeface="SimSun"/>
              </a:rPr>
              <a:t>1950-1974年</a:t>
            </a:r>
          </a:p>
        </p:txBody>
      </p:sp>
      <p:sp>
        <p:nvSpPr>
          <p:cNvPr id="67" name="Freeform 9"/>
          <p:cNvSpPr>
            <a:spLocks/>
          </p:cNvSpPr>
          <p:nvPr>
            <p:custDataLst>
              <p:tags r:id="rId2"/>
            </p:custDataLst>
          </p:nvPr>
        </p:nvSpPr>
        <p:spPr bwMode="auto">
          <a:xfrm>
            <a:off x="119063" y="896336"/>
            <a:ext cx="1484240" cy="417844"/>
          </a:xfrm>
          <a:prstGeom prst="homePlate">
            <a:avLst>
              <a:gd name="adj" fmla="val 18199"/>
            </a:avLst>
          </a:prstGeom>
          <a:noFill/>
          <a:ln w="12700" cap="flat" cmpd="sng">
            <a:solidFill>
              <a:srgbClr val="FFCA21"/>
            </a:solidFill>
            <a:prstDash val="solid"/>
            <a:round/>
            <a:headEnd/>
            <a:tailEnd/>
          </a:ln>
          <a:effectLst/>
        </p:spPr>
        <p:txBody>
          <a:bodyPr lIns="45720" tIns="0" rIns="45720" bIns="0" anchor="ctr">
            <a:noAutofit/>
          </a:bodyPr>
          <a:lstStyle/>
          <a:p>
            <a:pPr fontAlgn="auto">
              <a:spcBef>
                <a:spcPts val="0"/>
              </a:spcBef>
              <a:spcAft>
                <a:spcPts val="0"/>
              </a:spcAft>
              <a:defRPr/>
            </a:pPr>
            <a:endParaRPr lang="en-US" sz="1000" kern="0" dirty="0">
              <a:solidFill>
                <a:srgbClr val="000000"/>
              </a:solidFill>
              <a:latin typeface="+mn-lt"/>
              <a:ea typeface="楷体" panose="02010609060101010101" pitchFamily="49" charset="-122"/>
            </a:endParaRPr>
          </a:p>
        </p:txBody>
      </p:sp>
      <p:sp>
        <p:nvSpPr>
          <p:cNvPr id="68" name="Rectangle 51"/>
          <p:cNvSpPr>
            <a:spLocks noChangeArrowheads="1"/>
          </p:cNvSpPr>
          <p:nvPr>
            <p:custDataLst>
              <p:tags r:id="rId3"/>
            </p:custDataLst>
          </p:nvPr>
        </p:nvSpPr>
        <p:spPr bwMode="auto">
          <a:xfrm>
            <a:off x="249241" y="951370"/>
            <a:ext cx="116673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defTabSz="895350" fontAlgn="auto">
              <a:spcBef>
                <a:spcPts val="0"/>
              </a:spcBef>
              <a:spcAft>
                <a:spcPts val="0"/>
              </a:spcAft>
              <a:buClr>
                <a:srgbClr val="002960"/>
              </a:buClr>
              <a:defRPr/>
            </a:pPr>
            <a:r>
              <a:rPr lang="zh-CN" sz="1000" b="1" kern="0" dirty="0">
                <a:solidFill>
                  <a:srgbClr val="FFFFFF"/>
                </a:solidFill>
                <a:latin typeface="+mn-lt"/>
                <a:ea typeface="楷体" panose="02010609060101010101" pitchFamily="49" charset="-122"/>
                <a:cs typeface="SimSun"/>
              </a:rPr>
              <a:t>人工智能诞生和乐观</a:t>
            </a:r>
            <a:r>
              <a:rPr lang="zh-CN" altLang="en-US" sz="1000" b="1" kern="0" dirty="0">
                <a:solidFill>
                  <a:srgbClr val="FFFFFF"/>
                </a:solidFill>
                <a:latin typeface="+mn-lt"/>
                <a:ea typeface="楷体" panose="02010609060101010101" pitchFamily="49" charset="-122"/>
                <a:cs typeface="SimSun"/>
              </a:rPr>
              <a:t>主义</a:t>
            </a:r>
            <a:endParaRPr lang="zh-CN" sz="1000" b="1" kern="0" dirty="0">
              <a:solidFill>
                <a:srgbClr val="FFFFFF"/>
              </a:solidFill>
              <a:latin typeface="+mn-lt"/>
              <a:ea typeface="楷体" panose="02010609060101010101" pitchFamily="49" charset="-122"/>
              <a:cs typeface="SimSun"/>
            </a:endParaRPr>
          </a:p>
        </p:txBody>
      </p:sp>
      <p:sp>
        <p:nvSpPr>
          <p:cNvPr id="70" name="Freeform 11"/>
          <p:cNvSpPr>
            <a:spLocks/>
          </p:cNvSpPr>
          <p:nvPr>
            <p:custDataLst>
              <p:tags r:id="rId4"/>
            </p:custDataLst>
          </p:nvPr>
        </p:nvSpPr>
        <p:spPr bwMode="auto">
          <a:xfrm>
            <a:off x="1545922" y="896336"/>
            <a:ext cx="1484240" cy="417844"/>
          </a:xfrm>
          <a:prstGeom prst="chevron">
            <a:avLst>
              <a:gd name="adj" fmla="val 18199"/>
            </a:avLst>
          </a:prstGeom>
          <a:noFill/>
          <a:ln w="12700" cap="flat" cmpd="sng">
            <a:solidFill>
              <a:srgbClr val="FFCA21"/>
            </a:solidFill>
            <a:prstDash val="solid"/>
            <a:round/>
            <a:headEnd/>
            <a:tailEnd/>
          </a:ln>
          <a:effectLst/>
        </p:spPr>
        <p:txBody>
          <a:bodyPr lIns="45720" tIns="0" rIns="45720" bIns="0" anchor="ctr">
            <a:noAutofit/>
          </a:bodyPr>
          <a:lstStyle/>
          <a:p>
            <a:pPr fontAlgn="auto">
              <a:spcBef>
                <a:spcPts val="0"/>
              </a:spcBef>
              <a:spcAft>
                <a:spcPts val="0"/>
              </a:spcAft>
              <a:defRPr/>
            </a:pPr>
            <a:endParaRPr lang="en-US" sz="1000" kern="0" dirty="0">
              <a:solidFill>
                <a:srgbClr val="000000"/>
              </a:solidFill>
              <a:latin typeface="+mn-lt"/>
              <a:ea typeface="楷体" panose="02010609060101010101" pitchFamily="49" charset="-122"/>
            </a:endParaRPr>
          </a:p>
        </p:txBody>
      </p:sp>
      <p:sp>
        <p:nvSpPr>
          <p:cNvPr id="71" name="Rectangle 52"/>
          <p:cNvSpPr>
            <a:spLocks noChangeArrowheads="1"/>
          </p:cNvSpPr>
          <p:nvPr>
            <p:custDataLst>
              <p:tags r:id="rId5"/>
            </p:custDataLst>
          </p:nvPr>
        </p:nvSpPr>
        <p:spPr bwMode="auto">
          <a:xfrm>
            <a:off x="1758111" y="1028314"/>
            <a:ext cx="116673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defTabSz="895350" fontAlgn="auto">
              <a:spcBef>
                <a:spcPts val="0"/>
              </a:spcBef>
              <a:spcAft>
                <a:spcPts val="0"/>
              </a:spcAft>
              <a:buClr>
                <a:srgbClr val="002960"/>
              </a:buClr>
            </a:pPr>
            <a:r>
              <a:rPr lang="zh-CN" sz="1000" b="1" kern="0" dirty="0">
                <a:solidFill>
                  <a:srgbClr val="FFFFFF"/>
                </a:solidFill>
                <a:latin typeface="+mn-lt"/>
                <a:ea typeface="楷体" panose="02010609060101010101" pitchFamily="49" charset="-122"/>
                <a:cs typeface="SimSun"/>
              </a:rPr>
              <a:t>第一次飞跃</a:t>
            </a:r>
          </a:p>
        </p:txBody>
      </p:sp>
      <p:sp>
        <p:nvSpPr>
          <p:cNvPr id="73" name="Freeform 13"/>
          <p:cNvSpPr>
            <a:spLocks/>
          </p:cNvSpPr>
          <p:nvPr>
            <p:custDataLst>
              <p:tags r:id="rId6"/>
            </p:custDataLst>
          </p:nvPr>
        </p:nvSpPr>
        <p:spPr bwMode="auto">
          <a:xfrm>
            <a:off x="2972781" y="896336"/>
            <a:ext cx="1484240" cy="417844"/>
          </a:xfrm>
          <a:prstGeom prst="chevron">
            <a:avLst>
              <a:gd name="adj" fmla="val 18199"/>
            </a:avLst>
          </a:prstGeom>
          <a:noFill/>
          <a:ln w="12700" cap="flat" cmpd="sng">
            <a:solidFill>
              <a:srgbClr val="FFCA21"/>
            </a:solidFill>
            <a:prstDash val="solid"/>
            <a:round/>
            <a:headEnd/>
            <a:tailEnd/>
          </a:ln>
          <a:effectLst/>
        </p:spPr>
        <p:txBody>
          <a:bodyPr lIns="45720" tIns="0" rIns="45720" bIns="0" anchor="ctr">
            <a:noAutofit/>
          </a:bodyPr>
          <a:lstStyle/>
          <a:p>
            <a:pPr fontAlgn="auto">
              <a:spcBef>
                <a:spcPts val="0"/>
              </a:spcBef>
              <a:spcAft>
                <a:spcPts val="0"/>
              </a:spcAft>
              <a:defRPr/>
            </a:pPr>
            <a:endParaRPr lang="en-US" sz="1000" kern="0" dirty="0">
              <a:solidFill>
                <a:srgbClr val="000000"/>
              </a:solidFill>
              <a:latin typeface="+mn-lt"/>
              <a:ea typeface="楷体" panose="02010609060101010101" pitchFamily="49" charset="-122"/>
            </a:endParaRPr>
          </a:p>
        </p:txBody>
      </p:sp>
      <p:sp>
        <p:nvSpPr>
          <p:cNvPr id="74" name="Rectangle 53"/>
          <p:cNvSpPr>
            <a:spLocks noChangeArrowheads="1"/>
          </p:cNvSpPr>
          <p:nvPr>
            <p:custDataLst>
              <p:tags r:id="rId7"/>
            </p:custDataLst>
          </p:nvPr>
        </p:nvSpPr>
        <p:spPr bwMode="auto">
          <a:xfrm>
            <a:off x="3188684" y="1028314"/>
            <a:ext cx="116673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defTabSz="895350" fontAlgn="auto">
              <a:spcBef>
                <a:spcPts val="0"/>
              </a:spcBef>
              <a:spcAft>
                <a:spcPts val="0"/>
              </a:spcAft>
              <a:buClr>
                <a:srgbClr val="002960"/>
              </a:buClr>
              <a:defRPr/>
            </a:pPr>
            <a:r>
              <a:rPr lang="zh-CN" sz="1000" b="1" kern="0" dirty="0">
                <a:solidFill>
                  <a:srgbClr val="FFFFFF"/>
                </a:solidFill>
                <a:latin typeface="+mn-lt"/>
                <a:ea typeface="楷体" panose="02010609060101010101" pitchFamily="49" charset="-122"/>
                <a:cs typeface="SimSun"/>
              </a:rPr>
              <a:t>繁荣时期</a:t>
            </a:r>
          </a:p>
        </p:txBody>
      </p:sp>
      <p:sp>
        <p:nvSpPr>
          <p:cNvPr id="76" name="Freeform 7"/>
          <p:cNvSpPr>
            <a:spLocks/>
          </p:cNvSpPr>
          <p:nvPr>
            <p:custDataLst>
              <p:tags r:id="rId8"/>
            </p:custDataLst>
          </p:nvPr>
        </p:nvSpPr>
        <p:spPr bwMode="auto">
          <a:xfrm>
            <a:off x="4399640" y="896336"/>
            <a:ext cx="1484240" cy="417844"/>
          </a:xfrm>
          <a:prstGeom prst="chevron">
            <a:avLst>
              <a:gd name="adj" fmla="val 18199"/>
            </a:avLst>
          </a:prstGeom>
          <a:noFill/>
          <a:ln w="12700" cap="flat" cmpd="sng">
            <a:solidFill>
              <a:srgbClr val="FFCA21"/>
            </a:solidFill>
            <a:prstDash val="solid"/>
            <a:round/>
            <a:headEnd/>
            <a:tailEnd/>
          </a:ln>
          <a:effectLst/>
        </p:spPr>
        <p:txBody>
          <a:bodyPr lIns="45720" tIns="0" rIns="45720" bIns="0" anchor="ctr">
            <a:noAutofit/>
          </a:bodyPr>
          <a:lstStyle/>
          <a:p>
            <a:pPr fontAlgn="auto">
              <a:spcBef>
                <a:spcPts val="0"/>
              </a:spcBef>
              <a:spcAft>
                <a:spcPts val="0"/>
              </a:spcAft>
              <a:defRPr/>
            </a:pPr>
            <a:endParaRPr lang="en-US" sz="1000" kern="0" dirty="0">
              <a:solidFill>
                <a:srgbClr val="000000"/>
              </a:solidFill>
              <a:latin typeface="+mn-lt"/>
              <a:ea typeface="楷体" panose="02010609060101010101" pitchFamily="49" charset="-122"/>
            </a:endParaRPr>
          </a:p>
        </p:txBody>
      </p:sp>
      <p:sp>
        <p:nvSpPr>
          <p:cNvPr id="77" name="Rectangle 54"/>
          <p:cNvSpPr>
            <a:spLocks noChangeArrowheads="1"/>
          </p:cNvSpPr>
          <p:nvPr>
            <p:custDataLst>
              <p:tags r:id="rId9"/>
            </p:custDataLst>
          </p:nvPr>
        </p:nvSpPr>
        <p:spPr bwMode="auto">
          <a:xfrm>
            <a:off x="4615543" y="1028314"/>
            <a:ext cx="116673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defTabSz="895350" fontAlgn="auto">
              <a:spcBef>
                <a:spcPts val="0"/>
              </a:spcBef>
              <a:spcAft>
                <a:spcPts val="0"/>
              </a:spcAft>
              <a:buClr>
                <a:srgbClr val="002960"/>
              </a:buClr>
            </a:pPr>
            <a:r>
              <a:rPr lang="zh-CN" sz="1000" b="1" kern="0" dirty="0">
                <a:solidFill>
                  <a:srgbClr val="FFFFFF"/>
                </a:solidFill>
                <a:latin typeface="+mn-lt"/>
                <a:ea typeface="楷体" panose="02010609060101010101" pitchFamily="49" charset="-122"/>
                <a:cs typeface="SimSun"/>
              </a:rPr>
              <a:t>第二次飞跃</a:t>
            </a:r>
          </a:p>
        </p:txBody>
      </p:sp>
      <p:sp>
        <p:nvSpPr>
          <p:cNvPr id="79" name="Freeform 25"/>
          <p:cNvSpPr>
            <a:spLocks/>
          </p:cNvSpPr>
          <p:nvPr>
            <p:custDataLst>
              <p:tags r:id="rId10"/>
            </p:custDataLst>
          </p:nvPr>
        </p:nvSpPr>
        <p:spPr bwMode="auto">
          <a:xfrm>
            <a:off x="5826499" y="896336"/>
            <a:ext cx="1484240" cy="417844"/>
          </a:xfrm>
          <a:prstGeom prst="chevron">
            <a:avLst>
              <a:gd name="adj" fmla="val 18199"/>
            </a:avLst>
          </a:prstGeom>
          <a:noFill/>
          <a:ln w="12700" cap="flat" cmpd="sng">
            <a:solidFill>
              <a:srgbClr val="FFCA21"/>
            </a:solidFill>
            <a:prstDash val="solid"/>
            <a:round/>
            <a:headEnd/>
            <a:tailEnd/>
          </a:ln>
          <a:effectLst/>
        </p:spPr>
        <p:txBody>
          <a:bodyPr lIns="45720" tIns="0" rIns="45720" bIns="0" anchor="ctr">
            <a:noAutofit/>
          </a:bodyPr>
          <a:lstStyle/>
          <a:p>
            <a:pPr fontAlgn="auto">
              <a:spcBef>
                <a:spcPts val="0"/>
              </a:spcBef>
              <a:spcAft>
                <a:spcPts val="0"/>
              </a:spcAft>
              <a:defRPr/>
            </a:pPr>
            <a:endParaRPr lang="en-US" sz="1000" kern="0" dirty="0">
              <a:solidFill>
                <a:srgbClr val="000000"/>
              </a:solidFill>
              <a:latin typeface="+mn-lt"/>
              <a:ea typeface="楷体" panose="02010609060101010101" pitchFamily="49" charset="-122"/>
            </a:endParaRPr>
          </a:p>
        </p:txBody>
      </p:sp>
      <p:sp>
        <p:nvSpPr>
          <p:cNvPr id="80" name="Rectangle 55"/>
          <p:cNvSpPr>
            <a:spLocks noChangeArrowheads="1"/>
          </p:cNvSpPr>
          <p:nvPr>
            <p:custDataLst>
              <p:tags r:id="rId11"/>
            </p:custDataLst>
          </p:nvPr>
        </p:nvSpPr>
        <p:spPr bwMode="auto">
          <a:xfrm>
            <a:off x="6042402" y="1028314"/>
            <a:ext cx="116673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defTabSz="895350" fontAlgn="auto">
              <a:spcBef>
                <a:spcPts val="0"/>
              </a:spcBef>
              <a:spcAft>
                <a:spcPts val="0"/>
              </a:spcAft>
              <a:buClr>
                <a:srgbClr val="002960"/>
              </a:buClr>
              <a:defRPr/>
            </a:pPr>
            <a:r>
              <a:rPr lang="zh-CN" sz="1000" b="1" kern="0" dirty="0">
                <a:solidFill>
                  <a:srgbClr val="FFFFFF"/>
                </a:solidFill>
                <a:latin typeface="+mn-lt"/>
                <a:ea typeface="楷体" panose="02010609060101010101" pitchFamily="49" charset="-122"/>
                <a:cs typeface="SimSun"/>
              </a:rPr>
              <a:t>复苏时期</a:t>
            </a:r>
          </a:p>
        </p:txBody>
      </p:sp>
      <p:sp>
        <p:nvSpPr>
          <p:cNvPr id="82" name="Freeform 25"/>
          <p:cNvSpPr>
            <a:spLocks/>
          </p:cNvSpPr>
          <p:nvPr>
            <p:custDataLst>
              <p:tags r:id="rId12"/>
            </p:custDataLst>
          </p:nvPr>
        </p:nvSpPr>
        <p:spPr bwMode="auto">
          <a:xfrm>
            <a:off x="7253360" y="896336"/>
            <a:ext cx="1484240" cy="417844"/>
          </a:xfrm>
          <a:prstGeom prst="chevron">
            <a:avLst>
              <a:gd name="adj" fmla="val 18199"/>
            </a:avLst>
          </a:prstGeom>
          <a:noFill/>
          <a:ln w="12700" cap="flat" cmpd="sng">
            <a:solidFill>
              <a:srgbClr val="FFCA21"/>
            </a:solidFill>
            <a:prstDash val="solid"/>
            <a:round/>
            <a:headEnd/>
            <a:tailEnd/>
          </a:ln>
          <a:effectLst/>
        </p:spPr>
        <p:txBody>
          <a:bodyPr wrap="square" lIns="45720" tIns="0" rIns="45720" bIns="0" anchor="ctr">
            <a:noAutofit/>
          </a:bodyPr>
          <a:lstStyle/>
          <a:p>
            <a:pPr fontAlgn="auto">
              <a:spcBef>
                <a:spcPts val="0"/>
              </a:spcBef>
              <a:spcAft>
                <a:spcPts val="0"/>
              </a:spcAft>
              <a:defRPr/>
            </a:pPr>
            <a:endParaRPr lang="en-US" sz="1000" kern="0" dirty="0">
              <a:solidFill>
                <a:srgbClr val="000000"/>
              </a:solidFill>
              <a:latin typeface="+mn-lt"/>
              <a:ea typeface="楷体" panose="02010609060101010101" pitchFamily="49" charset="-122"/>
            </a:endParaRPr>
          </a:p>
        </p:txBody>
      </p:sp>
      <p:sp>
        <p:nvSpPr>
          <p:cNvPr id="83" name="Rectangle 55"/>
          <p:cNvSpPr>
            <a:spLocks noChangeArrowheads="1"/>
          </p:cNvSpPr>
          <p:nvPr>
            <p:custDataLst>
              <p:tags r:id="rId13"/>
            </p:custDataLst>
          </p:nvPr>
        </p:nvSpPr>
        <p:spPr bwMode="auto">
          <a:xfrm>
            <a:off x="7469263" y="1028314"/>
            <a:ext cx="116673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defTabSz="895350" fontAlgn="auto">
              <a:spcBef>
                <a:spcPts val="0"/>
              </a:spcBef>
              <a:spcAft>
                <a:spcPts val="0"/>
              </a:spcAft>
              <a:buClr>
                <a:srgbClr val="002960"/>
              </a:buClr>
              <a:defRPr/>
            </a:pPr>
            <a:r>
              <a:rPr lang="zh-CN" sz="1000" b="1" kern="0" dirty="0">
                <a:solidFill>
                  <a:srgbClr val="FFFFFF"/>
                </a:solidFill>
                <a:latin typeface="+mn-lt"/>
                <a:ea typeface="楷体" panose="02010609060101010101" pitchFamily="49" charset="-122"/>
                <a:cs typeface="SimSun"/>
              </a:rPr>
              <a:t>深度学习蓬勃发展</a:t>
            </a:r>
          </a:p>
        </p:txBody>
      </p:sp>
      <p:sp>
        <p:nvSpPr>
          <p:cNvPr id="85" name="Rectangle 16"/>
          <p:cNvSpPr>
            <a:spLocks noChangeArrowheads="1"/>
          </p:cNvSpPr>
          <p:nvPr>
            <p:custDataLst>
              <p:tags r:id="rId14"/>
            </p:custDataLst>
          </p:nvPr>
        </p:nvSpPr>
        <p:spPr bwMode="auto">
          <a:xfrm>
            <a:off x="1758111" y="683081"/>
            <a:ext cx="105986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95350" fontAlgn="auto">
              <a:spcBef>
                <a:spcPts val="0"/>
              </a:spcBef>
              <a:spcAft>
                <a:spcPts val="0"/>
              </a:spcAft>
              <a:buClr>
                <a:srgbClr val="002960"/>
              </a:buClr>
            </a:pPr>
            <a:r>
              <a:rPr lang="zh-CN" sz="1000" b="1" dirty="0">
                <a:solidFill>
                  <a:srgbClr val="FFCA21"/>
                </a:solidFill>
                <a:latin typeface="+mn-lt"/>
                <a:ea typeface="楷体" panose="02010609060101010101" pitchFamily="49" charset="-122"/>
                <a:cs typeface="SimSun"/>
              </a:rPr>
              <a:t>1974-1980年</a:t>
            </a:r>
          </a:p>
        </p:txBody>
      </p:sp>
      <p:sp>
        <p:nvSpPr>
          <p:cNvPr id="86" name="Rectangle 16"/>
          <p:cNvSpPr>
            <a:spLocks noChangeArrowheads="1"/>
          </p:cNvSpPr>
          <p:nvPr>
            <p:custDataLst>
              <p:tags r:id="rId15"/>
            </p:custDataLst>
          </p:nvPr>
        </p:nvSpPr>
        <p:spPr bwMode="auto">
          <a:xfrm>
            <a:off x="3188684" y="683081"/>
            <a:ext cx="105986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95350" fontAlgn="auto">
              <a:spcBef>
                <a:spcPts val="0"/>
              </a:spcBef>
              <a:spcAft>
                <a:spcPts val="0"/>
              </a:spcAft>
              <a:buClr>
                <a:srgbClr val="002960"/>
              </a:buClr>
            </a:pPr>
            <a:r>
              <a:rPr lang="zh-CN" sz="1000" b="1" dirty="0">
                <a:solidFill>
                  <a:srgbClr val="FFCA21"/>
                </a:solidFill>
                <a:latin typeface="+mn-lt"/>
                <a:ea typeface="楷体" panose="02010609060101010101" pitchFamily="49" charset="-122"/>
                <a:cs typeface="SimSun"/>
              </a:rPr>
              <a:t>1980-1987年</a:t>
            </a:r>
          </a:p>
        </p:txBody>
      </p:sp>
      <p:sp>
        <p:nvSpPr>
          <p:cNvPr id="87" name="Rectangle 16"/>
          <p:cNvSpPr>
            <a:spLocks noChangeArrowheads="1"/>
          </p:cNvSpPr>
          <p:nvPr>
            <p:custDataLst>
              <p:tags r:id="rId16"/>
            </p:custDataLst>
          </p:nvPr>
        </p:nvSpPr>
        <p:spPr bwMode="auto">
          <a:xfrm>
            <a:off x="4615543" y="683081"/>
            <a:ext cx="105986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95350" fontAlgn="auto">
              <a:spcBef>
                <a:spcPts val="0"/>
              </a:spcBef>
              <a:spcAft>
                <a:spcPts val="0"/>
              </a:spcAft>
              <a:buClr>
                <a:srgbClr val="002960"/>
              </a:buClr>
            </a:pPr>
            <a:r>
              <a:rPr lang="zh-CN" sz="1000" b="1" dirty="0">
                <a:solidFill>
                  <a:srgbClr val="FFCA21"/>
                </a:solidFill>
                <a:latin typeface="+mn-lt"/>
                <a:ea typeface="楷体" panose="02010609060101010101" pitchFamily="49" charset="-122"/>
                <a:cs typeface="SimSun"/>
              </a:rPr>
              <a:t>1987-1993年</a:t>
            </a:r>
          </a:p>
        </p:txBody>
      </p:sp>
      <p:sp>
        <p:nvSpPr>
          <p:cNvPr id="88" name="Rectangle 16"/>
          <p:cNvSpPr>
            <a:spLocks noChangeArrowheads="1"/>
          </p:cNvSpPr>
          <p:nvPr>
            <p:custDataLst>
              <p:tags r:id="rId17"/>
            </p:custDataLst>
          </p:nvPr>
        </p:nvSpPr>
        <p:spPr bwMode="auto">
          <a:xfrm>
            <a:off x="6042402" y="683081"/>
            <a:ext cx="105986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95350" fontAlgn="auto">
              <a:spcBef>
                <a:spcPts val="0"/>
              </a:spcBef>
              <a:spcAft>
                <a:spcPts val="0"/>
              </a:spcAft>
              <a:buClr>
                <a:srgbClr val="002960"/>
              </a:buClr>
            </a:pPr>
            <a:r>
              <a:rPr lang="zh-CN" sz="1000" b="1" dirty="0">
                <a:solidFill>
                  <a:srgbClr val="FFCA21"/>
                </a:solidFill>
                <a:latin typeface="+mn-lt"/>
                <a:ea typeface="楷体" panose="02010609060101010101" pitchFamily="49" charset="-122"/>
                <a:cs typeface="SimSun"/>
              </a:rPr>
              <a:t>1993-2001年</a:t>
            </a:r>
          </a:p>
        </p:txBody>
      </p:sp>
      <p:sp>
        <p:nvSpPr>
          <p:cNvPr id="89" name="Rectangle 16"/>
          <p:cNvSpPr>
            <a:spLocks noChangeArrowheads="1"/>
          </p:cNvSpPr>
          <p:nvPr>
            <p:custDataLst>
              <p:tags r:id="rId18"/>
            </p:custDataLst>
          </p:nvPr>
        </p:nvSpPr>
        <p:spPr bwMode="auto">
          <a:xfrm>
            <a:off x="7469263" y="683081"/>
            <a:ext cx="105986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95350" fontAlgn="auto">
              <a:spcBef>
                <a:spcPts val="0"/>
              </a:spcBef>
              <a:spcAft>
                <a:spcPts val="0"/>
              </a:spcAft>
              <a:buClr>
                <a:srgbClr val="002960"/>
              </a:buClr>
            </a:pPr>
            <a:r>
              <a:rPr lang="zh-CN" sz="1000" b="1" dirty="0">
                <a:solidFill>
                  <a:srgbClr val="FFCA21"/>
                </a:solidFill>
                <a:latin typeface="+mn-lt"/>
                <a:ea typeface="楷体" panose="02010609060101010101" pitchFamily="49" charset="-122"/>
                <a:cs typeface="SimSun"/>
              </a:rPr>
              <a:t>2000年至今</a:t>
            </a:r>
          </a:p>
        </p:txBody>
      </p:sp>
      <p:sp>
        <p:nvSpPr>
          <p:cNvPr id="3" name="TextBox 2"/>
          <p:cNvSpPr txBox="1">
            <a:spLocks/>
          </p:cNvSpPr>
          <p:nvPr/>
        </p:nvSpPr>
        <p:spPr>
          <a:xfrm>
            <a:off x="119063" y="1491019"/>
            <a:ext cx="2350383" cy="2068262"/>
          </a:xfrm>
          <a:prstGeom prst="rect">
            <a:avLst/>
          </a:prstGeom>
          <a:solidFill>
            <a:srgbClr val="0065BD">
              <a:alpha val="30196"/>
            </a:srgbClr>
          </a:solidFill>
          <a:ln>
            <a:noFill/>
          </a:ln>
        </p:spPr>
        <p:txBody>
          <a:bodyPr vert="horz" wrap="square" lIns="73152" tIns="73152" rIns="73152" bIns="73152" rtlCol="0" anchor="t"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0000"/>
              </a:spcBef>
              <a:buClr>
                <a:schemeClr val="bg1"/>
              </a:buClr>
            </a:pPr>
            <a:r>
              <a:rPr lang="zh-CN" sz="1000" dirty="0">
                <a:solidFill>
                  <a:schemeClr val="bg1"/>
                </a:solidFill>
                <a:ea typeface="楷体" panose="02010609060101010101" pitchFamily="49" charset="-122"/>
                <a:cs typeface="SimSun"/>
              </a:rPr>
              <a:t>学术界取得</a:t>
            </a:r>
            <a:r>
              <a:rPr lang="zh-CN" sz="1000" b="1" dirty="0">
                <a:solidFill>
                  <a:schemeClr val="bg1"/>
                </a:solidFill>
                <a:ea typeface="楷体" panose="02010609060101010101" pitchFamily="49" charset="-122"/>
                <a:cs typeface="SimSun"/>
              </a:rPr>
              <a:t>大量进展</a:t>
            </a:r>
          </a:p>
          <a:p>
            <a:pPr lvl="1">
              <a:spcBef>
                <a:spcPct val="20000"/>
              </a:spcBef>
              <a:buClr>
                <a:schemeClr val="bg1"/>
              </a:buClr>
            </a:pPr>
            <a:r>
              <a:rPr lang="zh-CN" sz="1000" dirty="0">
                <a:solidFill>
                  <a:schemeClr val="bg1"/>
                </a:solidFill>
                <a:ea typeface="楷体" panose="02010609060101010101" pitchFamily="49" charset="-122"/>
                <a:cs typeface="SimSun"/>
              </a:rPr>
              <a:t>50年：图灵测试</a:t>
            </a:r>
          </a:p>
          <a:p>
            <a:pPr lvl="1">
              <a:spcBef>
                <a:spcPct val="20000"/>
              </a:spcBef>
              <a:buClr>
                <a:schemeClr val="bg1"/>
              </a:buClr>
            </a:pPr>
            <a:r>
              <a:rPr lang="zh-CN" sz="1000" dirty="0">
                <a:solidFill>
                  <a:schemeClr val="bg1"/>
                </a:solidFill>
                <a:ea typeface="楷体" panose="02010609060101010101" pitchFamily="49" charset="-122"/>
                <a:cs typeface="SimSun"/>
              </a:rPr>
              <a:t>54年：神经网络（NN）</a:t>
            </a:r>
          </a:p>
          <a:p>
            <a:pPr lvl="1">
              <a:spcBef>
                <a:spcPct val="20000"/>
              </a:spcBef>
              <a:buClr>
                <a:schemeClr val="bg1"/>
              </a:buClr>
            </a:pPr>
            <a:r>
              <a:rPr lang="zh-CN" sz="1000" dirty="0">
                <a:solidFill>
                  <a:schemeClr val="bg1"/>
                </a:solidFill>
                <a:ea typeface="楷体" panose="02010609060101010101" pitchFamily="49" charset="-122"/>
                <a:cs typeface="SimSun"/>
              </a:rPr>
              <a:t>57年：感知机算法</a:t>
            </a:r>
          </a:p>
          <a:p>
            <a:pPr lvl="1">
              <a:spcBef>
                <a:spcPct val="20000"/>
              </a:spcBef>
              <a:buClr>
                <a:schemeClr val="bg1"/>
              </a:buClr>
            </a:pPr>
            <a:r>
              <a:rPr lang="zh-CN" sz="1000" dirty="0">
                <a:solidFill>
                  <a:schemeClr val="bg1"/>
                </a:solidFill>
                <a:ea typeface="楷体" panose="02010609060101010101" pitchFamily="49" charset="-122"/>
                <a:cs typeface="SimSun"/>
              </a:rPr>
              <a:t>58年：逻辑回归</a:t>
            </a:r>
          </a:p>
          <a:p>
            <a:pPr lvl="1">
              <a:spcBef>
                <a:spcPct val="20000"/>
              </a:spcBef>
              <a:buClr>
                <a:schemeClr val="bg1"/>
              </a:buClr>
            </a:pPr>
            <a:r>
              <a:rPr lang="zh-CN" sz="1000" dirty="0">
                <a:solidFill>
                  <a:schemeClr val="bg1"/>
                </a:solidFill>
                <a:ea typeface="楷体" panose="02010609060101010101" pitchFamily="49" charset="-122"/>
                <a:cs typeface="SimSun"/>
              </a:rPr>
              <a:t>63年：支持向量机</a:t>
            </a:r>
          </a:p>
          <a:p>
            <a:pPr lvl="1">
              <a:spcBef>
                <a:spcPct val="20000"/>
              </a:spcBef>
              <a:buClr>
                <a:schemeClr val="bg1"/>
              </a:buClr>
            </a:pPr>
            <a:r>
              <a:rPr lang="zh-CN" sz="1000" dirty="0">
                <a:solidFill>
                  <a:schemeClr val="bg1"/>
                </a:solidFill>
                <a:ea typeface="楷体" panose="02010609060101010101" pitchFamily="49" charset="-122"/>
                <a:cs typeface="SimSun"/>
              </a:rPr>
              <a:t>65年：多层神经网络</a:t>
            </a:r>
            <a:endParaRPr lang="zh-CN" sz="1000" dirty="0">
              <a:solidFill>
                <a:schemeClr val="bg1"/>
              </a:solidFill>
              <a:ea typeface="楷体" panose="02010609060101010101" pitchFamily="49" charset="-122"/>
            </a:endParaRPr>
          </a:p>
          <a:p>
            <a:pPr lvl="1">
              <a:spcBef>
                <a:spcPct val="20000"/>
              </a:spcBef>
              <a:buClr>
                <a:schemeClr val="bg1"/>
              </a:buClr>
            </a:pPr>
            <a:r>
              <a:rPr lang="zh-CN" sz="1000" dirty="0">
                <a:solidFill>
                  <a:schemeClr val="bg1"/>
                </a:solidFill>
                <a:ea typeface="楷体" panose="02010609060101010101" pitchFamily="49" charset="-122"/>
                <a:cs typeface="SimSun"/>
              </a:rPr>
              <a:t>“</a:t>
            </a:r>
            <a:r>
              <a:rPr lang="zh-CN" sz="1000" b="1" dirty="0">
                <a:solidFill>
                  <a:schemeClr val="bg1"/>
                </a:solidFill>
                <a:ea typeface="楷体" panose="02010609060101010101" pitchFamily="49" charset="-122"/>
                <a:cs typeface="SimSun"/>
              </a:rPr>
              <a:t>20年内机器将能胜任任何人类工作</a:t>
            </a:r>
            <a:r>
              <a:rPr lang="zh-CN" sz="1000" dirty="0">
                <a:solidFill>
                  <a:schemeClr val="bg1"/>
                </a:solidFill>
                <a:ea typeface="楷体" panose="02010609060101010101" pitchFamily="49" charset="-122"/>
                <a:cs typeface="SimSun"/>
              </a:rPr>
              <a:t>。” – H.A.Simon, 1965</a:t>
            </a:r>
          </a:p>
        </p:txBody>
      </p:sp>
      <p:sp>
        <p:nvSpPr>
          <p:cNvPr id="5" name="TextBox 4"/>
          <p:cNvSpPr txBox="1">
            <a:spLocks/>
          </p:cNvSpPr>
          <p:nvPr/>
        </p:nvSpPr>
        <p:spPr>
          <a:xfrm>
            <a:off x="2838272" y="1491019"/>
            <a:ext cx="2341741" cy="2068262"/>
          </a:xfrm>
          <a:prstGeom prst="rect">
            <a:avLst/>
          </a:prstGeom>
          <a:solidFill>
            <a:srgbClr val="0065BD">
              <a:alpha val="30196"/>
            </a:srgbClr>
          </a:solidFill>
          <a:ln>
            <a:noFill/>
          </a:ln>
        </p:spPr>
        <p:txBody>
          <a:bodyPr vert="horz" wrap="square" lIns="73152" tIns="73152" rIns="73152" bIns="73152" rtlCol="0" anchor="t"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0000"/>
              </a:spcBef>
              <a:buClr>
                <a:schemeClr val="bg1"/>
              </a:buClr>
            </a:pPr>
            <a:r>
              <a:rPr lang="zh-CN" sz="1000" dirty="0">
                <a:solidFill>
                  <a:schemeClr val="bg1"/>
                </a:solidFill>
                <a:ea typeface="楷体" panose="02010609060101010101" pitchFamily="49" charset="-122"/>
                <a:cs typeface="SimSun"/>
              </a:rPr>
              <a:t>85年：贝叶斯网络</a:t>
            </a:r>
          </a:p>
          <a:p>
            <a:pPr lvl="1">
              <a:spcBef>
                <a:spcPct val="20000"/>
              </a:spcBef>
              <a:buClr>
                <a:schemeClr val="bg1"/>
              </a:buClr>
            </a:pPr>
            <a:r>
              <a:rPr lang="zh-CN" sz="1000" dirty="0">
                <a:solidFill>
                  <a:schemeClr val="bg1"/>
                </a:solidFill>
                <a:ea typeface="楷体" panose="02010609060101010101" pitchFamily="49" charset="-122"/>
                <a:cs typeface="SimSun"/>
              </a:rPr>
              <a:t>87年：决策树归纳法</a:t>
            </a:r>
          </a:p>
          <a:p>
            <a:pPr lvl="1">
              <a:spcBef>
                <a:spcPct val="20000"/>
              </a:spcBef>
              <a:buClr>
                <a:schemeClr val="bg1"/>
              </a:buClr>
            </a:pPr>
            <a:r>
              <a:rPr lang="zh-CN" sz="1000" b="1" dirty="0">
                <a:solidFill>
                  <a:schemeClr val="bg1"/>
                </a:solidFill>
                <a:ea typeface="楷体" panose="02010609060101010101" pitchFamily="49" charset="-122"/>
                <a:cs typeface="SimSun"/>
              </a:rPr>
              <a:t>第一次有效应用：</a:t>
            </a:r>
            <a:r>
              <a:rPr lang="zh-CN" sz="1000" dirty="0">
                <a:solidFill>
                  <a:schemeClr val="bg1"/>
                </a:solidFill>
                <a:ea typeface="楷体" panose="02010609060101010101" pitchFamily="49" charset="-122"/>
                <a:cs typeface="SimSun"/>
              </a:rPr>
              <a:t>1980年代，一种名为“专家系统”、仅限于某个小型特定知识领域的人工智能程序为世界各地企业所采用，知识成为主流人工智能研究的重点</a:t>
            </a:r>
          </a:p>
        </p:txBody>
      </p:sp>
      <p:sp>
        <p:nvSpPr>
          <p:cNvPr id="7" name="TextBox 6"/>
          <p:cNvSpPr txBox="1">
            <a:spLocks/>
          </p:cNvSpPr>
          <p:nvPr/>
        </p:nvSpPr>
        <p:spPr>
          <a:xfrm>
            <a:off x="5584920" y="1491019"/>
            <a:ext cx="2333261" cy="2068262"/>
          </a:xfrm>
          <a:prstGeom prst="rect">
            <a:avLst/>
          </a:prstGeom>
          <a:solidFill>
            <a:srgbClr val="0065BD">
              <a:alpha val="30196"/>
            </a:srgbClr>
          </a:solidFill>
          <a:ln>
            <a:noFill/>
          </a:ln>
        </p:spPr>
        <p:txBody>
          <a:bodyPr vert="horz" wrap="square" lIns="73152" tIns="73152" rIns="73152" bIns="73152" rtlCol="0" anchor="t"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0000"/>
              </a:spcBef>
              <a:buClr>
                <a:schemeClr val="bg1"/>
              </a:buClr>
            </a:pPr>
            <a:r>
              <a:rPr lang="zh-CN" sz="1000" dirty="0">
                <a:solidFill>
                  <a:schemeClr val="bg1"/>
                </a:solidFill>
                <a:ea typeface="楷体" panose="02010609060101010101" pitchFamily="49" charset="-122"/>
                <a:cs typeface="SimSun"/>
              </a:rPr>
              <a:t>95年：随机森林</a:t>
            </a:r>
          </a:p>
          <a:p>
            <a:pPr lvl="1">
              <a:spcBef>
                <a:spcPct val="20000"/>
              </a:spcBef>
              <a:buClr>
                <a:schemeClr val="bg1"/>
              </a:buClr>
            </a:pPr>
            <a:r>
              <a:rPr lang="zh-CN" sz="1000" dirty="0">
                <a:solidFill>
                  <a:schemeClr val="bg1"/>
                </a:solidFill>
                <a:ea typeface="楷体" panose="02010609060101010101" pitchFamily="49" charset="-122"/>
                <a:cs typeface="SimSun"/>
              </a:rPr>
              <a:t>97年：深蓝击败卡斯帕罗夫</a:t>
            </a:r>
          </a:p>
          <a:p>
            <a:pPr lvl="1">
              <a:spcBef>
                <a:spcPct val="20000"/>
              </a:spcBef>
              <a:buClr>
                <a:schemeClr val="bg1"/>
              </a:buClr>
            </a:pPr>
            <a:r>
              <a:rPr lang="zh-CN" sz="1000" dirty="0">
                <a:solidFill>
                  <a:schemeClr val="bg1"/>
                </a:solidFill>
                <a:ea typeface="楷体" panose="02010609060101010101" pitchFamily="49" charset="-122"/>
                <a:cs typeface="SimSun"/>
              </a:rPr>
              <a:t>人工智能开始成功用于整个科技行业，尽管</a:t>
            </a:r>
            <a:r>
              <a:rPr lang="zh-CN" altLang="en-US" sz="1000" dirty="0">
                <a:solidFill>
                  <a:schemeClr val="bg1"/>
                </a:solidFill>
                <a:ea typeface="楷体" panose="02010609060101010101" pitchFamily="49" charset="-122"/>
                <a:cs typeface="SimSun"/>
              </a:rPr>
              <a:t>在</a:t>
            </a:r>
            <a:r>
              <a:rPr lang="zh-CN" sz="1000" dirty="0">
                <a:solidFill>
                  <a:schemeClr val="bg1"/>
                </a:solidFill>
                <a:ea typeface="楷体" panose="02010609060101010101" pitchFamily="49" charset="-122"/>
                <a:cs typeface="SimSun"/>
              </a:rPr>
              <a:t>某种程度上</a:t>
            </a:r>
            <a:r>
              <a:rPr lang="zh-CN" altLang="en-US" sz="1000" dirty="0">
                <a:solidFill>
                  <a:schemeClr val="bg1"/>
                </a:solidFill>
                <a:ea typeface="楷体" panose="02010609060101010101" pitchFamily="49" charset="-122"/>
                <a:cs typeface="SimSun"/>
              </a:rPr>
              <a:t>处于</a:t>
            </a:r>
            <a:r>
              <a:rPr lang="zh-CN" sz="1000" dirty="0">
                <a:solidFill>
                  <a:schemeClr val="bg1"/>
                </a:solidFill>
                <a:ea typeface="楷体" panose="02010609060101010101" pitchFamily="49" charset="-122"/>
                <a:cs typeface="SimSun"/>
              </a:rPr>
              <a:t>幕后</a:t>
            </a:r>
          </a:p>
          <a:p>
            <a:pPr lvl="1">
              <a:spcBef>
                <a:spcPct val="20000"/>
              </a:spcBef>
              <a:buClr>
                <a:schemeClr val="bg1"/>
              </a:buClr>
            </a:pPr>
            <a:r>
              <a:rPr lang="zh-CN" altLang="en-US" sz="1000" dirty="0">
                <a:solidFill>
                  <a:schemeClr val="bg1"/>
                </a:solidFill>
                <a:ea typeface="楷体" panose="02010609060101010101" pitchFamily="49" charset="-122"/>
                <a:cs typeface="SimSun"/>
              </a:rPr>
              <a:t>成功部分得益于</a:t>
            </a:r>
            <a:r>
              <a:rPr lang="zh-CN" sz="1000" dirty="0">
                <a:solidFill>
                  <a:schemeClr val="bg1"/>
                </a:solidFill>
                <a:ea typeface="楷体" panose="02010609060101010101" pitchFamily="49" charset="-122"/>
                <a:cs typeface="SimSun"/>
              </a:rPr>
              <a:t>计算机能力的提升，部分归功于对特定孤立问题的关注</a:t>
            </a:r>
          </a:p>
        </p:txBody>
      </p:sp>
      <p:cxnSp>
        <p:nvCxnSpPr>
          <p:cNvPr id="18" name="Straight Connector 17"/>
          <p:cNvCxnSpPr>
            <a:cxnSpLocks/>
          </p:cNvCxnSpPr>
          <p:nvPr/>
        </p:nvCxnSpPr>
        <p:spPr>
          <a:xfrm flipH="1">
            <a:off x="119063" y="6270824"/>
            <a:ext cx="8618537" cy="0"/>
          </a:xfrm>
          <a:prstGeom prst="line">
            <a:avLst/>
          </a:prstGeom>
          <a:ln w="38100">
            <a:solidFill>
              <a:schemeClr val="bg1"/>
            </a:solidFill>
            <a:headEnd type="triangle"/>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2951007" y="6178491"/>
            <a:ext cx="2954655" cy="184666"/>
          </a:xfrm>
          <a:prstGeom prst="rect">
            <a:avLst/>
          </a:prstGeom>
          <a:solidFill>
            <a:srgbClr val="0E3A6E"/>
          </a:solidFill>
        </p:spPr>
        <p:txBody>
          <a:bodyPr vert="horz" wrap="none" lIns="91440" tIns="0" rIns="91440" bIns="0"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zh-CN" sz="1200" b="1" dirty="0">
                <a:solidFill>
                  <a:schemeClr val="bg1"/>
                </a:solidFill>
                <a:ea typeface="楷体" panose="02010609060101010101" pitchFamily="49" charset="-122"/>
                <a:cs typeface="SimSun"/>
              </a:rPr>
              <a:t>处理能力大约每两年翻一倍（摩尔定律）</a:t>
            </a:r>
          </a:p>
        </p:txBody>
      </p:sp>
      <p:grpSp>
        <p:nvGrpSpPr>
          <p:cNvPr id="94" name="Group 93"/>
          <p:cNvGrpSpPr/>
          <p:nvPr/>
        </p:nvGrpSpPr>
        <p:grpSpPr>
          <a:xfrm>
            <a:off x="2636782" y="951370"/>
            <a:ext cx="315956" cy="312331"/>
            <a:chOff x="-7348538" y="-415925"/>
            <a:chExt cx="968375" cy="957263"/>
          </a:xfrm>
          <a:solidFill>
            <a:schemeClr val="bg1">
              <a:lumMod val="95000"/>
            </a:schemeClr>
          </a:solidFill>
        </p:grpSpPr>
        <p:sp>
          <p:nvSpPr>
            <p:cNvPr id="51" name="Freeform 172"/>
            <p:cNvSpPr>
              <a:spLocks noEditPoints="1"/>
            </p:cNvSpPr>
            <p:nvPr/>
          </p:nvSpPr>
          <p:spPr bwMode="auto">
            <a:xfrm>
              <a:off x="-7348538" y="-233363"/>
              <a:ext cx="968375" cy="280988"/>
            </a:xfrm>
            <a:custGeom>
              <a:avLst/>
              <a:gdLst>
                <a:gd name="T0" fmla="*/ 516 w 610"/>
                <a:gd name="T1" fmla="*/ 152 h 177"/>
                <a:gd name="T2" fmla="*/ 520 w 610"/>
                <a:gd name="T3" fmla="*/ 153 h 177"/>
                <a:gd name="T4" fmla="*/ 577 w 610"/>
                <a:gd name="T5" fmla="*/ 149 h 177"/>
                <a:gd name="T6" fmla="*/ 590 w 610"/>
                <a:gd name="T7" fmla="*/ 128 h 177"/>
                <a:gd name="T8" fmla="*/ 589 w 610"/>
                <a:gd name="T9" fmla="*/ 41 h 177"/>
                <a:gd name="T10" fmla="*/ 583 w 610"/>
                <a:gd name="T11" fmla="*/ 31 h 177"/>
                <a:gd name="T12" fmla="*/ 111 w 610"/>
                <a:gd name="T13" fmla="*/ 22 h 177"/>
                <a:gd name="T14" fmla="*/ 33 w 610"/>
                <a:gd name="T15" fmla="*/ 25 h 177"/>
                <a:gd name="T16" fmla="*/ 21 w 610"/>
                <a:gd name="T17" fmla="*/ 47 h 177"/>
                <a:gd name="T18" fmla="*/ 24 w 610"/>
                <a:gd name="T19" fmla="*/ 137 h 177"/>
                <a:gd name="T20" fmla="*/ 41 w 610"/>
                <a:gd name="T21" fmla="*/ 152 h 177"/>
                <a:gd name="T22" fmla="*/ 47 w 610"/>
                <a:gd name="T23" fmla="*/ 152 h 177"/>
                <a:gd name="T24" fmla="*/ 96 w 610"/>
                <a:gd name="T25" fmla="*/ 50 h 177"/>
                <a:gd name="T26" fmla="*/ 286 w 610"/>
                <a:gd name="T27" fmla="*/ 20 h 177"/>
                <a:gd name="T28" fmla="*/ 226 w 610"/>
                <a:gd name="T29" fmla="*/ 22 h 177"/>
                <a:gd name="T30" fmla="*/ 222 w 610"/>
                <a:gd name="T31" fmla="*/ 26 h 177"/>
                <a:gd name="T32" fmla="*/ 160 w 610"/>
                <a:gd name="T33" fmla="*/ 149 h 177"/>
                <a:gd name="T34" fmla="*/ 221 w 610"/>
                <a:gd name="T35" fmla="*/ 153 h 177"/>
                <a:gd name="T36" fmla="*/ 225 w 610"/>
                <a:gd name="T37" fmla="*/ 150 h 177"/>
                <a:gd name="T38" fmla="*/ 286 w 610"/>
                <a:gd name="T39" fmla="*/ 27 h 177"/>
                <a:gd name="T40" fmla="*/ 288 w 610"/>
                <a:gd name="T41" fmla="*/ 22 h 177"/>
                <a:gd name="T42" fmla="*/ 468 w 610"/>
                <a:gd name="T43" fmla="*/ 20 h 177"/>
                <a:gd name="T44" fmla="*/ 404 w 610"/>
                <a:gd name="T45" fmla="*/ 22 h 177"/>
                <a:gd name="T46" fmla="*/ 401 w 610"/>
                <a:gd name="T47" fmla="*/ 26 h 177"/>
                <a:gd name="T48" fmla="*/ 340 w 610"/>
                <a:gd name="T49" fmla="*/ 149 h 177"/>
                <a:gd name="T50" fmla="*/ 401 w 610"/>
                <a:gd name="T51" fmla="*/ 153 h 177"/>
                <a:gd name="T52" fmla="*/ 404 w 610"/>
                <a:gd name="T53" fmla="*/ 150 h 177"/>
                <a:gd name="T54" fmla="*/ 466 w 610"/>
                <a:gd name="T55" fmla="*/ 26 h 177"/>
                <a:gd name="T56" fmla="*/ 468 w 610"/>
                <a:gd name="T57" fmla="*/ 20 h 177"/>
                <a:gd name="T58" fmla="*/ 582 w 610"/>
                <a:gd name="T59" fmla="*/ 0 h 177"/>
                <a:gd name="T60" fmla="*/ 603 w 610"/>
                <a:gd name="T61" fmla="*/ 7 h 177"/>
                <a:gd name="T62" fmla="*/ 610 w 610"/>
                <a:gd name="T63" fmla="*/ 29 h 177"/>
                <a:gd name="T64" fmla="*/ 607 w 610"/>
                <a:gd name="T65" fmla="*/ 164 h 177"/>
                <a:gd name="T66" fmla="*/ 589 w 610"/>
                <a:gd name="T67" fmla="*/ 177 h 177"/>
                <a:gd name="T68" fmla="*/ 571 w 610"/>
                <a:gd name="T69" fmla="*/ 177 h 177"/>
                <a:gd name="T70" fmla="*/ 27 w 610"/>
                <a:gd name="T71" fmla="*/ 177 h 177"/>
                <a:gd name="T72" fmla="*/ 4 w 610"/>
                <a:gd name="T73" fmla="*/ 165 h 177"/>
                <a:gd name="T74" fmla="*/ 0 w 610"/>
                <a:gd name="T75" fmla="*/ 26 h 177"/>
                <a:gd name="T76" fmla="*/ 8 w 610"/>
                <a:gd name="T77" fmla="*/ 7 h 177"/>
                <a:gd name="T78" fmla="*/ 29 w 610"/>
                <a:gd name="T7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10" h="177">
                  <a:moveTo>
                    <a:pt x="579" y="27"/>
                  </a:moveTo>
                  <a:lnTo>
                    <a:pt x="516" y="152"/>
                  </a:lnTo>
                  <a:lnTo>
                    <a:pt x="519" y="153"/>
                  </a:lnTo>
                  <a:lnTo>
                    <a:pt x="520" y="153"/>
                  </a:lnTo>
                  <a:lnTo>
                    <a:pt x="563" y="153"/>
                  </a:lnTo>
                  <a:lnTo>
                    <a:pt x="577" y="149"/>
                  </a:lnTo>
                  <a:lnTo>
                    <a:pt x="586" y="140"/>
                  </a:lnTo>
                  <a:lnTo>
                    <a:pt x="590" y="128"/>
                  </a:lnTo>
                  <a:lnTo>
                    <a:pt x="590" y="46"/>
                  </a:lnTo>
                  <a:lnTo>
                    <a:pt x="589" y="41"/>
                  </a:lnTo>
                  <a:lnTo>
                    <a:pt x="587" y="35"/>
                  </a:lnTo>
                  <a:lnTo>
                    <a:pt x="583" y="31"/>
                  </a:lnTo>
                  <a:lnTo>
                    <a:pt x="579" y="27"/>
                  </a:lnTo>
                  <a:close/>
                  <a:moveTo>
                    <a:pt x="111" y="22"/>
                  </a:moveTo>
                  <a:lnTo>
                    <a:pt x="47" y="22"/>
                  </a:lnTo>
                  <a:lnTo>
                    <a:pt x="33" y="25"/>
                  </a:lnTo>
                  <a:lnTo>
                    <a:pt x="24" y="34"/>
                  </a:lnTo>
                  <a:lnTo>
                    <a:pt x="21" y="47"/>
                  </a:lnTo>
                  <a:lnTo>
                    <a:pt x="21" y="126"/>
                  </a:lnTo>
                  <a:lnTo>
                    <a:pt x="24" y="137"/>
                  </a:lnTo>
                  <a:lnTo>
                    <a:pt x="31" y="146"/>
                  </a:lnTo>
                  <a:lnTo>
                    <a:pt x="41" y="152"/>
                  </a:lnTo>
                  <a:lnTo>
                    <a:pt x="44" y="153"/>
                  </a:lnTo>
                  <a:lnTo>
                    <a:pt x="47" y="152"/>
                  </a:lnTo>
                  <a:lnTo>
                    <a:pt x="49" y="148"/>
                  </a:lnTo>
                  <a:lnTo>
                    <a:pt x="96" y="50"/>
                  </a:lnTo>
                  <a:lnTo>
                    <a:pt x="111" y="22"/>
                  </a:lnTo>
                  <a:close/>
                  <a:moveTo>
                    <a:pt x="286" y="20"/>
                  </a:moveTo>
                  <a:lnTo>
                    <a:pt x="227" y="22"/>
                  </a:lnTo>
                  <a:lnTo>
                    <a:pt x="226" y="22"/>
                  </a:lnTo>
                  <a:lnTo>
                    <a:pt x="223" y="23"/>
                  </a:lnTo>
                  <a:lnTo>
                    <a:pt x="222" y="26"/>
                  </a:lnTo>
                  <a:lnTo>
                    <a:pt x="162" y="146"/>
                  </a:lnTo>
                  <a:lnTo>
                    <a:pt x="160" y="149"/>
                  </a:lnTo>
                  <a:lnTo>
                    <a:pt x="159" y="153"/>
                  </a:lnTo>
                  <a:lnTo>
                    <a:pt x="221" y="153"/>
                  </a:lnTo>
                  <a:lnTo>
                    <a:pt x="223" y="152"/>
                  </a:lnTo>
                  <a:lnTo>
                    <a:pt x="225" y="150"/>
                  </a:lnTo>
                  <a:lnTo>
                    <a:pt x="226" y="149"/>
                  </a:lnTo>
                  <a:lnTo>
                    <a:pt x="286" y="27"/>
                  </a:lnTo>
                  <a:lnTo>
                    <a:pt x="289" y="22"/>
                  </a:lnTo>
                  <a:lnTo>
                    <a:pt x="288" y="22"/>
                  </a:lnTo>
                  <a:lnTo>
                    <a:pt x="286" y="20"/>
                  </a:lnTo>
                  <a:close/>
                  <a:moveTo>
                    <a:pt x="468" y="20"/>
                  </a:moveTo>
                  <a:lnTo>
                    <a:pt x="405" y="22"/>
                  </a:lnTo>
                  <a:lnTo>
                    <a:pt x="404" y="22"/>
                  </a:lnTo>
                  <a:lnTo>
                    <a:pt x="403" y="23"/>
                  </a:lnTo>
                  <a:lnTo>
                    <a:pt x="401" y="26"/>
                  </a:lnTo>
                  <a:lnTo>
                    <a:pt x="341" y="146"/>
                  </a:lnTo>
                  <a:lnTo>
                    <a:pt x="340" y="149"/>
                  </a:lnTo>
                  <a:lnTo>
                    <a:pt x="338" y="153"/>
                  </a:lnTo>
                  <a:lnTo>
                    <a:pt x="401" y="153"/>
                  </a:lnTo>
                  <a:lnTo>
                    <a:pt x="403" y="152"/>
                  </a:lnTo>
                  <a:lnTo>
                    <a:pt x="404" y="150"/>
                  </a:lnTo>
                  <a:lnTo>
                    <a:pt x="405" y="149"/>
                  </a:lnTo>
                  <a:lnTo>
                    <a:pt x="466" y="26"/>
                  </a:lnTo>
                  <a:lnTo>
                    <a:pt x="467" y="25"/>
                  </a:lnTo>
                  <a:lnTo>
                    <a:pt x="468" y="20"/>
                  </a:lnTo>
                  <a:close/>
                  <a:moveTo>
                    <a:pt x="500" y="0"/>
                  </a:moveTo>
                  <a:lnTo>
                    <a:pt x="582" y="0"/>
                  </a:lnTo>
                  <a:lnTo>
                    <a:pt x="594" y="2"/>
                  </a:lnTo>
                  <a:lnTo>
                    <a:pt x="603" y="7"/>
                  </a:lnTo>
                  <a:lnTo>
                    <a:pt x="609" y="16"/>
                  </a:lnTo>
                  <a:lnTo>
                    <a:pt x="610" y="29"/>
                  </a:lnTo>
                  <a:lnTo>
                    <a:pt x="610" y="150"/>
                  </a:lnTo>
                  <a:lnTo>
                    <a:pt x="607" y="164"/>
                  </a:lnTo>
                  <a:lnTo>
                    <a:pt x="599" y="173"/>
                  </a:lnTo>
                  <a:lnTo>
                    <a:pt x="589" y="177"/>
                  </a:lnTo>
                  <a:lnTo>
                    <a:pt x="581" y="177"/>
                  </a:lnTo>
                  <a:lnTo>
                    <a:pt x="571" y="177"/>
                  </a:lnTo>
                  <a:lnTo>
                    <a:pt x="562" y="177"/>
                  </a:lnTo>
                  <a:lnTo>
                    <a:pt x="27" y="177"/>
                  </a:lnTo>
                  <a:lnTo>
                    <a:pt x="13" y="174"/>
                  </a:lnTo>
                  <a:lnTo>
                    <a:pt x="4" y="165"/>
                  </a:lnTo>
                  <a:lnTo>
                    <a:pt x="0" y="152"/>
                  </a:lnTo>
                  <a:lnTo>
                    <a:pt x="0" y="26"/>
                  </a:lnTo>
                  <a:lnTo>
                    <a:pt x="3" y="15"/>
                  </a:lnTo>
                  <a:lnTo>
                    <a:pt x="8" y="7"/>
                  </a:lnTo>
                  <a:lnTo>
                    <a:pt x="17" y="2"/>
                  </a:lnTo>
                  <a:lnTo>
                    <a:pt x="29" y="0"/>
                  </a:lnTo>
                  <a:lnTo>
                    <a:pt x="50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mn-lt"/>
                <a:ea typeface="楷体" panose="02010609060101010101" pitchFamily="49" charset="-122"/>
              </a:endParaRPr>
            </a:p>
          </p:txBody>
        </p:sp>
        <p:sp>
          <p:nvSpPr>
            <p:cNvPr id="52" name="Freeform 173"/>
            <p:cNvSpPr>
              <a:spLocks noEditPoints="1"/>
            </p:cNvSpPr>
            <p:nvPr/>
          </p:nvSpPr>
          <p:spPr bwMode="auto">
            <a:xfrm>
              <a:off x="-7267575" y="85725"/>
              <a:ext cx="809625" cy="455613"/>
            </a:xfrm>
            <a:custGeom>
              <a:avLst/>
              <a:gdLst>
                <a:gd name="T0" fmla="*/ 49 w 510"/>
                <a:gd name="T1" fmla="*/ 131 h 287"/>
                <a:gd name="T2" fmla="*/ 49 w 510"/>
                <a:gd name="T3" fmla="*/ 232 h 287"/>
                <a:gd name="T4" fmla="*/ 51 w 510"/>
                <a:gd name="T5" fmla="*/ 233 h 287"/>
                <a:gd name="T6" fmla="*/ 96 w 510"/>
                <a:gd name="T7" fmla="*/ 131 h 287"/>
                <a:gd name="T8" fmla="*/ 49 w 510"/>
                <a:gd name="T9" fmla="*/ 131 h 287"/>
                <a:gd name="T10" fmla="*/ 215 w 510"/>
                <a:gd name="T11" fmla="*/ 130 h 287"/>
                <a:gd name="T12" fmla="*/ 211 w 510"/>
                <a:gd name="T13" fmla="*/ 130 h 287"/>
                <a:gd name="T14" fmla="*/ 210 w 510"/>
                <a:gd name="T15" fmla="*/ 133 h 287"/>
                <a:gd name="T16" fmla="*/ 207 w 510"/>
                <a:gd name="T17" fmla="*/ 135 h 287"/>
                <a:gd name="T18" fmla="*/ 162 w 510"/>
                <a:gd name="T19" fmla="*/ 226 h 287"/>
                <a:gd name="T20" fmla="*/ 160 w 510"/>
                <a:gd name="T21" fmla="*/ 229 h 287"/>
                <a:gd name="T22" fmla="*/ 159 w 510"/>
                <a:gd name="T23" fmla="*/ 233 h 287"/>
                <a:gd name="T24" fmla="*/ 167 w 510"/>
                <a:gd name="T25" fmla="*/ 233 h 287"/>
                <a:gd name="T26" fmla="*/ 219 w 510"/>
                <a:gd name="T27" fmla="*/ 233 h 287"/>
                <a:gd name="T28" fmla="*/ 222 w 510"/>
                <a:gd name="T29" fmla="*/ 233 h 287"/>
                <a:gd name="T30" fmla="*/ 223 w 510"/>
                <a:gd name="T31" fmla="*/ 232 h 287"/>
                <a:gd name="T32" fmla="*/ 226 w 510"/>
                <a:gd name="T33" fmla="*/ 230 h 287"/>
                <a:gd name="T34" fmla="*/ 227 w 510"/>
                <a:gd name="T35" fmla="*/ 228 h 287"/>
                <a:gd name="T36" fmla="*/ 273 w 510"/>
                <a:gd name="T37" fmla="*/ 137 h 287"/>
                <a:gd name="T38" fmla="*/ 274 w 510"/>
                <a:gd name="T39" fmla="*/ 134 h 287"/>
                <a:gd name="T40" fmla="*/ 275 w 510"/>
                <a:gd name="T41" fmla="*/ 130 h 287"/>
                <a:gd name="T42" fmla="*/ 215 w 510"/>
                <a:gd name="T43" fmla="*/ 130 h 287"/>
                <a:gd name="T44" fmla="*/ 396 w 510"/>
                <a:gd name="T45" fmla="*/ 130 h 287"/>
                <a:gd name="T46" fmla="*/ 392 w 510"/>
                <a:gd name="T47" fmla="*/ 130 h 287"/>
                <a:gd name="T48" fmla="*/ 389 w 510"/>
                <a:gd name="T49" fmla="*/ 133 h 287"/>
                <a:gd name="T50" fmla="*/ 386 w 510"/>
                <a:gd name="T51" fmla="*/ 135 h 287"/>
                <a:gd name="T52" fmla="*/ 341 w 510"/>
                <a:gd name="T53" fmla="*/ 228 h 287"/>
                <a:gd name="T54" fmla="*/ 340 w 510"/>
                <a:gd name="T55" fmla="*/ 230 h 287"/>
                <a:gd name="T56" fmla="*/ 338 w 510"/>
                <a:gd name="T57" fmla="*/ 233 h 287"/>
                <a:gd name="T58" fmla="*/ 400 w 510"/>
                <a:gd name="T59" fmla="*/ 233 h 287"/>
                <a:gd name="T60" fmla="*/ 401 w 510"/>
                <a:gd name="T61" fmla="*/ 233 h 287"/>
                <a:gd name="T62" fmla="*/ 404 w 510"/>
                <a:gd name="T63" fmla="*/ 230 h 287"/>
                <a:gd name="T64" fmla="*/ 405 w 510"/>
                <a:gd name="T65" fmla="*/ 229 h 287"/>
                <a:gd name="T66" fmla="*/ 452 w 510"/>
                <a:gd name="T67" fmla="*/ 135 h 287"/>
                <a:gd name="T68" fmla="*/ 452 w 510"/>
                <a:gd name="T69" fmla="*/ 134 h 287"/>
                <a:gd name="T70" fmla="*/ 453 w 510"/>
                <a:gd name="T71" fmla="*/ 130 h 287"/>
                <a:gd name="T72" fmla="*/ 451 w 510"/>
                <a:gd name="T73" fmla="*/ 130 h 287"/>
                <a:gd name="T74" fmla="*/ 447 w 510"/>
                <a:gd name="T75" fmla="*/ 130 h 287"/>
                <a:gd name="T76" fmla="*/ 396 w 510"/>
                <a:gd name="T77" fmla="*/ 130 h 287"/>
                <a:gd name="T78" fmla="*/ 0 w 510"/>
                <a:gd name="T79" fmla="*/ 0 h 287"/>
                <a:gd name="T80" fmla="*/ 49 w 510"/>
                <a:gd name="T81" fmla="*/ 0 h 287"/>
                <a:gd name="T82" fmla="*/ 49 w 510"/>
                <a:gd name="T83" fmla="*/ 110 h 287"/>
                <a:gd name="T84" fmla="*/ 460 w 510"/>
                <a:gd name="T85" fmla="*/ 110 h 287"/>
                <a:gd name="T86" fmla="*/ 460 w 510"/>
                <a:gd name="T87" fmla="*/ 0 h 287"/>
                <a:gd name="T88" fmla="*/ 510 w 510"/>
                <a:gd name="T89" fmla="*/ 0 h 287"/>
                <a:gd name="T90" fmla="*/ 510 w 510"/>
                <a:gd name="T91" fmla="*/ 48 h 287"/>
                <a:gd name="T92" fmla="*/ 510 w 510"/>
                <a:gd name="T93" fmla="*/ 287 h 287"/>
                <a:gd name="T94" fmla="*/ 461 w 510"/>
                <a:gd name="T95" fmla="*/ 287 h 287"/>
                <a:gd name="T96" fmla="*/ 461 w 510"/>
                <a:gd name="T97" fmla="*/ 258 h 287"/>
                <a:gd name="T98" fmla="*/ 49 w 510"/>
                <a:gd name="T99" fmla="*/ 258 h 287"/>
                <a:gd name="T100" fmla="*/ 49 w 510"/>
                <a:gd name="T101" fmla="*/ 266 h 287"/>
                <a:gd name="T102" fmla="*/ 49 w 510"/>
                <a:gd name="T103" fmla="*/ 287 h 287"/>
                <a:gd name="T104" fmla="*/ 0 w 510"/>
                <a:gd name="T105" fmla="*/ 287 h 287"/>
                <a:gd name="T106" fmla="*/ 0 w 510"/>
                <a:gd name="T107" fmla="*/ 273 h 287"/>
                <a:gd name="T108" fmla="*/ 0 w 510"/>
                <a:gd name="T109"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0" h="287">
                  <a:moveTo>
                    <a:pt x="49" y="131"/>
                  </a:moveTo>
                  <a:lnTo>
                    <a:pt x="49" y="232"/>
                  </a:lnTo>
                  <a:lnTo>
                    <a:pt x="51" y="233"/>
                  </a:lnTo>
                  <a:lnTo>
                    <a:pt x="96" y="131"/>
                  </a:lnTo>
                  <a:lnTo>
                    <a:pt x="49" y="131"/>
                  </a:lnTo>
                  <a:close/>
                  <a:moveTo>
                    <a:pt x="215" y="130"/>
                  </a:moveTo>
                  <a:lnTo>
                    <a:pt x="211" y="130"/>
                  </a:lnTo>
                  <a:lnTo>
                    <a:pt x="210" y="133"/>
                  </a:lnTo>
                  <a:lnTo>
                    <a:pt x="207" y="135"/>
                  </a:lnTo>
                  <a:lnTo>
                    <a:pt x="162" y="226"/>
                  </a:lnTo>
                  <a:lnTo>
                    <a:pt x="160" y="229"/>
                  </a:lnTo>
                  <a:lnTo>
                    <a:pt x="159" y="233"/>
                  </a:lnTo>
                  <a:lnTo>
                    <a:pt x="167" y="233"/>
                  </a:lnTo>
                  <a:lnTo>
                    <a:pt x="219" y="233"/>
                  </a:lnTo>
                  <a:lnTo>
                    <a:pt x="222" y="233"/>
                  </a:lnTo>
                  <a:lnTo>
                    <a:pt x="223" y="232"/>
                  </a:lnTo>
                  <a:lnTo>
                    <a:pt x="226" y="230"/>
                  </a:lnTo>
                  <a:lnTo>
                    <a:pt x="227" y="228"/>
                  </a:lnTo>
                  <a:lnTo>
                    <a:pt x="273" y="137"/>
                  </a:lnTo>
                  <a:lnTo>
                    <a:pt x="274" y="134"/>
                  </a:lnTo>
                  <a:lnTo>
                    <a:pt x="275" y="130"/>
                  </a:lnTo>
                  <a:lnTo>
                    <a:pt x="215" y="130"/>
                  </a:lnTo>
                  <a:close/>
                  <a:moveTo>
                    <a:pt x="396" y="130"/>
                  </a:moveTo>
                  <a:lnTo>
                    <a:pt x="392" y="130"/>
                  </a:lnTo>
                  <a:lnTo>
                    <a:pt x="389" y="133"/>
                  </a:lnTo>
                  <a:lnTo>
                    <a:pt x="386" y="135"/>
                  </a:lnTo>
                  <a:lnTo>
                    <a:pt x="341" y="228"/>
                  </a:lnTo>
                  <a:lnTo>
                    <a:pt x="340" y="230"/>
                  </a:lnTo>
                  <a:lnTo>
                    <a:pt x="338" y="233"/>
                  </a:lnTo>
                  <a:lnTo>
                    <a:pt x="400" y="233"/>
                  </a:lnTo>
                  <a:lnTo>
                    <a:pt x="401" y="233"/>
                  </a:lnTo>
                  <a:lnTo>
                    <a:pt x="404" y="230"/>
                  </a:lnTo>
                  <a:lnTo>
                    <a:pt x="405" y="229"/>
                  </a:lnTo>
                  <a:lnTo>
                    <a:pt x="452" y="135"/>
                  </a:lnTo>
                  <a:lnTo>
                    <a:pt x="452" y="134"/>
                  </a:lnTo>
                  <a:lnTo>
                    <a:pt x="453" y="130"/>
                  </a:lnTo>
                  <a:lnTo>
                    <a:pt x="451" y="130"/>
                  </a:lnTo>
                  <a:lnTo>
                    <a:pt x="447" y="130"/>
                  </a:lnTo>
                  <a:lnTo>
                    <a:pt x="396" y="130"/>
                  </a:lnTo>
                  <a:close/>
                  <a:moveTo>
                    <a:pt x="0" y="0"/>
                  </a:moveTo>
                  <a:lnTo>
                    <a:pt x="49" y="0"/>
                  </a:lnTo>
                  <a:lnTo>
                    <a:pt x="49" y="110"/>
                  </a:lnTo>
                  <a:lnTo>
                    <a:pt x="460" y="110"/>
                  </a:lnTo>
                  <a:lnTo>
                    <a:pt x="460" y="0"/>
                  </a:lnTo>
                  <a:lnTo>
                    <a:pt x="510" y="0"/>
                  </a:lnTo>
                  <a:lnTo>
                    <a:pt x="510" y="48"/>
                  </a:lnTo>
                  <a:lnTo>
                    <a:pt x="510" y="287"/>
                  </a:lnTo>
                  <a:lnTo>
                    <a:pt x="461" y="287"/>
                  </a:lnTo>
                  <a:lnTo>
                    <a:pt x="461" y="258"/>
                  </a:lnTo>
                  <a:lnTo>
                    <a:pt x="49" y="258"/>
                  </a:lnTo>
                  <a:lnTo>
                    <a:pt x="49" y="266"/>
                  </a:lnTo>
                  <a:lnTo>
                    <a:pt x="49" y="287"/>
                  </a:lnTo>
                  <a:lnTo>
                    <a:pt x="0" y="287"/>
                  </a:lnTo>
                  <a:lnTo>
                    <a:pt x="0" y="27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mn-lt"/>
                <a:ea typeface="楷体" panose="02010609060101010101" pitchFamily="49" charset="-122"/>
              </a:endParaRPr>
            </a:p>
          </p:txBody>
        </p:sp>
        <p:sp>
          <p:nvSpPr>
            <p:cNvPr id="53" name="Freeform 174"/>
            <p:cNvSpPr>
              <a:spLocks/>
            </p:cNvSpPr>
            <p:nvPr/>
          </p:nvSpPr>
          <p:spPr bwMode="auto">
            <a:xfrm>
              <a:off x="-7180263" y="-415925"/>
              <a:ext cx="152400" cy="150813"/>
            </a:xfrm>
            <a:custGeom>
              <a:avLst/>
              <a:gdLst>
                <a:gd name="T0" fmla="*/ 48 w 96"/>
                <a:gd name="T1" fmla="*/ 0 h 95"/>
                <a:gd name="T2" fmla="*/ 67 w 96"/>
                <a:gd name="T3" fmla="*/ 4 h 95"/>
                <a:gd name="T4" fmla="*/ 81 w 96"/>
                <a:gd name="T5" fmla="*/ 14 h 95"/>
                <a:gd name="T6" fmla="*/ 92 w 96"/>
                <a:gd name="T7" fmla="*/ 30 h 95"/>
                <a:gd name="T8" fmla="*/ 96 w 96"/>
                <a:gd name="T9" fmla="*/ 49 h 95"/>
                <a:gd name="T10" fmla="*/ 92 w 96"/>
                <a:gd name="T11" fmla="*/ 67 h 95"/>
                <a:gd name="T12" fmla="*/ 81 w 96"/>
                <a:gd name="T13" fmla="*/ 82 h 95"/>
                <a:gd name="T14" fmla="*/ 67 w 96"/>
                <a:gd name="T15" fmla="*/ 93 h 95"/>
                <a:gd name="T16" fmla="*/ 48 w 96"/>
                <a:gd name="T17" fmla="*/ 95 h 95"/>
                <a:gd name="T18" fmla="*/ 29 w 96"/>
                <a:gd name="T19" fmla="*/ 93 h 95"/>
                <a:gd name="T20" fmla="*/ 14 w 96"/>
                <a:gd name="T21" fmla="*/ 82 h 95"/>
                <a:gd name="T22" fmla="*/ 4 w 96"/>
                <a:gd name="T23" fmla="*/ 67 h 95"/>
                <a:gd name="T24" fmla="*/ 0 w 96"/>
                <a:gd name="T25" fmla="*/ 49 h 95"/>
                <a:gd name="T26" fmla="*/ 4 w 96"/>
                <a:gd name="T27" fmla="*/ 30 h 95"/>
                <a:gd name="T28" fmla="*/ 14 w 96"/>
                <a:gd name="T29" fmla="*/ 14 h 95"/>
                <a:gd name="T30" fmla="*/ 29 w 96"/>
                <a:gd name="T31" fmla="*/ 4 h 95"/>
                <a:gd name="T32" fmla="*/ 48 w 96"/>
                <a:gd name="T3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95">
                  <a:moveTo>
                    <a:pt x="48" y="0"/>
                  </a:moveTo>
                  <a:lnTo>
                    <a:pt x="67" y="4"/>
                  </a:lnTo>
                  <a:lnTo>
                    <a:pt x="81" y="14"/>
                  </a:lnTo>
                  <a:lnTo>
                    <a:pt x="92" y="30"/>
                  </a:lnTo>
                  <a:lnTo>
                    <a:pt x="96" y="49"/>
                  </a:lnTo>
                  <a:lnTo>
                    <a:pt x="92" y="67"/>
                  </a:lnTo>
                  <a:lnTo>
                    <a:pt x="81" y="82"/>
                  </a:lnTo>
                  <a:lnTo>
                    <a:pt x="67" y="93"/>
                  </a:lnTo>
                  <a:lnTo>
                    <a:pt x="48" y="95"/>
                  </a:lnTo>
                  <a:lnTo>
                    <a:pt x="29" y="93"/>
                  </a:lnTo>
                  <a:lnTo>
                    <a:pt x="14" y="82"/>
                  </a:lnTo>
                  <a:lnTo>
                    <a:pt x="4" y="67"/>
                  </a:lnTo>
                  <a:lnTo>
                    <a:pt x="0" y="49"/>
                  </a:lnTo>
                  <a:lnTo>
                    <a:pt x="4" y="30"/>
                  </a:lnTo>
                  <a:lnTo>
                    <a:pt x="14" y="14"/>
                  </a:lnTo>
                  <a:lnTo>
                    <a:pt x="29" y="4"/>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mn-lt"/>
                <a:ea typeface="楷体" panose="02010609060101010101" pitchFamily="49" charset="-122"/>
              </a:endParaRPr>
            </a:p>
          </p:txBody>
        </p:sp>
        <p:sp>
          <p:nvSpPr>
            <p:cNvPr id="54" name="Freeform 175"/>
            <p:cNvSpPr>
              <a:spLocks/>
            </p:cNvSpPr>
            <p:nvPr/>
          </p:nvSpPr>
          <p:spPr bwMode="auto">
            <a:xfrm>
              <a:off x="-6699250" y="-415925"/>
              <a:ext cx="153987" cy="150813"/>
            </a:xfrm>
            <a:custGeom>
              <a:avLst/>
              <a:gdLst>
                <a:gd name="T0" fmla="*/ 48 w 97"/>
                <a:gd name="T1" fmla="*/ 0 h 95"/>
                <a:gd name="T2" fmla="*/ 67 w 97"/>
                <a:gd name="T3" fmla="*/ 4 h 95"/>
                <a:gd name="T4" fmla="*/ 82 w 97"/>
                <a:gd name="T5" fmla="*/ 14 h 95"/>
                <a:gd name="T6" fmla="*/ 93 w 97"/>
                <a:gd name="T7" fmla="*/ 30 h 95"/>
                <a:gd name="T8" fmla="*/ 97 w 97"/>
                <a:gd name="T9" fmla="*/ 49 h 95"/>
                <a:gd name="T10" fmla="*/ 93 w 97"/>
                <a:gd name="T11" fmla="*/ 67 h 95"/>
                <a:gd name="T12" fmla="*/ 82 w 97"/>
                <a:gd name="T13" fmla="*/ 82 h 95"/>
                <a:gd name="T14" fmla="*/ 67 w 97"/>
                <a:gd name="T15" fmla="*/ 93 h 95"/>
                <a:gd name="T16" fmla="*/ 48 w 97"/>
                <a:gd name="T17" fmla="*/ 95 h 95"/>
                <a:gd name="T18" fmla="*/ 30 w 97"/>
                <a:gd name="T19" fmla="*/ 93 h 95"/>
                <a:gd name="T20" fmla="*/ 15 w 97"/>
                <a:gd name="T21" fmla="*/ 82 h 95"/>
                <a:gd name="T22" fmla="*/ 4 w 97"/>
                <a:gd name="T23" fmla="*/ 67 h 95"/>
                <a:gd name="T24" fmla="*/ 0 w 97"/>
                <a:gd name="T25" fmla="*/ 49 h 95"/>
                <a:gd name="T26" fmla="*/ 4 w 97"/>
                <a:gd name="T27" fmla="*/ 30 h 95"/>
                <a:gd name="T28" fmla="*/ 15 w 97"/>
                <a:gd name="T29" fmla="*/ 14 h 95"/>
                <a:gd name="T30" fmla="*/ 30 w 97"/>
                <a:gd name="T31" fmla="*/ 4 h 95"/>
                <a:gd name="T32" fmla="*/ 48 w 97"/>
                <a:gd name="T3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7" h="95">
                  <a:moveTo>
                    <a:pt x="48" y="0"/>
                  </a:moveTo>
                  <a:lnTo>
                    <a:pt x="67" y="4"/>
                  </a:lnTo>
                  <a:lnTo>
                    <a:pt x="82" y="14"/>
                  </a:lnTo>
                  <a:lnTo>
                    <a:pt x="93" y="30"/>
                  </a:lnTo>
                  <a:lnTo>
                    <a:pt x="97" y="49"/>
                  </a:lnTo>
                  <a:lnTo>
                    <a:pt x="93" y="67"/>
                  </a:lnTo>
                  <a:lnTo>
                    <a:pt x="82" y="82"/>
                  </a:lnTo>
                  <a:lnTo>
                    <a:pt x="67" y="93"/>
                  </a:lnTo>
                  <a:lnTo>
                    <a:pt x="48" y="95"/>
                  </a:lnTo>
                  <a:lnTo>
                    <a:pt x="30" y="93"/>
                  </a:lnTo>
                  <a:lnTo>
                    <a:pt x="15" y="82"/>
                  </a:lnTo>
                  <a:lnTo>
                    <a:pt x="4" y="67"/>
                  </a:lnTo>
                  <a:lnTo>
                    <a:pt x="0" y="49"/>
                  </a:lnTo>
                  <a:lnTo>
                    <a:pt x="4" y="30"/>
                  </a:lnTo>
                  <a:lnTo>
                    <a:pt x="15" y="14"/>
                  </a:lnTo>
                  <a:lnTo>
                    <a:pt x="30" y="4"/>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mn-lt"/>
                <a:ea typeface="楷体" panose="02010609060101010101" pitchFamily="49" charset="-122"/>
              </a:endParaRPr>
            </a:p>
          </p:txBody>
        </p:sp>
      </p:grpSp>
      <p:grpSp>
        <p:nvGrpSpPr>
          <p:cNvPr id="96" name="Group 95"/>
          <p:cNvGrpSpPr/>
          <p:nvPr/>
        </p:nvGrpSpPr>
        <p:grpSpPr>
          <a:xfrm>
            <a:off x="5489206" y="946448"/>
            <a:ext cx="315956" cy="312331"/>
            <a:chOff x="-7348538" y="-415925"/>
            <a:chExt cx="968375" cy="957263"/>
          </a:xfrm>
          <a:solidFill>
            <a:schemeClr val="bg1">
              <a:lumMod val="95000"/>
            </a:schemeClr>
          </a:solidFill>
        </p:grpSpPr>
        <p:sp>
          <p:nvSpPr>
            <p:cNvPr id="97" name="Freeform 172"/>
            <p:cNvSpPr>
              <a:spLocks noEditPoints="1"/>
            </p:cNvSpPr>
            <p:nvPr/>
          </p:nvSpPr>
          <p:spPr bwMode="auto">
            <a:xfrm>
              <a:off x="-7348538" y="-233363"/>
              <a:ext cx="968375" cy="280988"/>
            </a:xfrm>
            <a:custGeom>
              <a:avLst/>
              <a:gdLst>
                <a:gd name="T0" fmla="*/ 516 w 610"/>
                <a:gd name="T1" fmla="*/ 152 h 177"/>
                <a:gd name="T2" fmla="*/ 520 w 610"/>
                <a:gd name="T3" fmla="*/ 153 h 177"/>
                <a:gd name="T4" fmla="*/ 577 w 610"/>
                <a:gd name="T5" fmla="*/ 149 h 177"/>
                <a:gd name="T6" fmla="*/ 590 w 610"/>
                <a:gd name="T7" fmla="*/ 128 h 177"/>
                <a:gd name="T8" fmla="*/ 589 w 610"/>
                <a:gd name="T9" fmla="*/ 41 h 177"/>
                <a:gd name="T10" fmla="*/ 583 w 610"/>
                <a:gd name="T11" fmla="*/ 31 h 177"/>
                <a:gd name="T12" fmla="*/ 111 w 610"/>
                <a:gd name="T13" fmla="*/ 22 h 177"/>
                <a:gd name="T14" fmla="*/ 33 w 610"/>
                <a:gd name="T15" fmla="*/ 25 h 177"/>
                <a:gd name="T16" fmla="*/ 21 w 610"/>
                <a:gd name="T17" fmla="*/ 47 h 177"/>
                <a:gd name="T18" fmla="*/ 24 w 610"/>
                <a:gd name="T19" fmla="*/ 137 h 177"/>
                <a:gd name="T20" fmla="*/ 41 w 610"/>
                <a:gd name="T21" fmla="*/ 152 h 177"/>
                <a:gd name="T22" fmla="*/ 47 w 610"/>
                <a:gd name="T23" fmla="*/ 152 h 177"/>
                <a:gd name="T24" fmla="*/ 96 w 610"/>
                <a:gd name="T25" fmla="*/ 50 h 177"/>
                <a:gd name="T26" fmla="*/ 286 w 610"/>
                <a:gd name="T27" fmla="*/ 20 h 177"/>
                <a:gd name="T28" fmla="*/ 226 w 610"/>
                <a:gd name="T29" fmla="*/ 22 h 177"/>
                <a:gd name="T30" fmla="*/ 222 w 610"/>
                <a:gd name="T31" fmla="*/ 26 h 177"/>
                <a:gd name="T32" fmla="*/ 160 w 610"/>
                <a:gd name="T33" fmla="*/ 149 h 177"/>
                <a:gd name="T34" fmla="*/ 221 w 610"/>
                <a:gd name="T35" fmla="*/ 153 h 177"/>
                <a:gd name="T36" fmla="*/ 225 w 610"/>
                <a:gd name="T37" fmla="*/ 150 h 177"/>
                <a:gd name="T38" fmla="*/ 286 w 610"/>
                <a:gd name="T39" fmla="*/ 27 h 177"/>
                <a:gd name="T40" fmla="*/ 288 w 610"/>
                <a:gd name="T41" fmla="*/ 22 h 177"/>
                <a:gd name="T42" fmla="*/ 468 w 610"/>
                <a:gd name="T43" fmla="*/ 20 h 177"/>
                <a:gd name="T44" fmla="*/ 404 w 610"/>
                <a:gd name="T45" fmla="*/ 22 h 177"/>
                <a:gd name="T46" fmla="*/ 401 w 610"/>
                <a:gd name="T47" fmla="*/ 26 h 177"/>
                <a:gd name="T48" fmla="*/ 340 w 610"/>
                <a:gd name="T49" fmla="*/ 149 h 177"/>
                <a:gd name="T50" fmla="*/ 401 w 610"/>
                <a:gd name="T51" fmla="*/ 153 h 177"/>
                <a:gd name="T52" fmla="*/ 404 w 610"/>
                <a:gd name="T53" fmla="*/ 150 h 177"/>
                <a:gd name="T54" fmla="*/ 466 w 610"/>
                <a:gd name="T55" fmla="*/ 26 h 177"/>
                <a:gd name="T56" fmla="*/ 468 w 610"/>
                <a:gd name="T57" fmla="*/ 20 h 177"/>
                <a:gd name="T58" fmla="*/ 582 w 610"/>
                <a:gd name="T59" fmla="*/ 0 h 177"/>
                <a:gd name="T60" fmla="*/ 603 w 610"/>
                <a:gd name="T61" fmla="*/ 7 h 177"/>
                <a:gd name="T62" fmla="*/ 610 w 610"/>
                <a:gd name="T63" fmla="*/ 29 h 177"/>
                <a:gd name="T64" fmla="*/ 607 w 610"/>
                <a:gd name="T65" fmla="*/ 164 h 177"/>
                <a:gd name="T66" fmla="*/ 589 w 610"/>
                <a:gd name="T67" fmla="*/ 177 h 177"/>
                <a:gd name="T68" fmla="*/ 571 w 610"/>
                <a:gd name="T69" fmla="*/ 177 h 177"/>
                <a:gd name="T70" fmla="*/ 27 w 610"/>
                <a:gd name="T71" fmla="*/ 177 h 177"/>
                <a:gd name="T72" fmla="*/ 4 w 610"/>
                <a:gd name="T73" fmla="*/ 165 h 177"/>
                <a:gd name="T74" fmla="*/ 0 w 610"/>
                <a:gd name="T75" fmla="*/ 26 h 177"/>
                <a:gd name="T76" fmla="*/ 8 w 610"/>
                <a:gd name="T77" fmla="*/ 7 h 177"/>
                <a:gd name="T78" fmla="*/ 29 w 610"/>
                <a:gd name="T7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10" h="177">
                  <a:moveTo>
                    <a:pt x="579" y="27"/>
                  </a:moveTo>
                  <a:lnTo>
                    <a:pt x="516" y="152"/>
                  </a:lnTo>
                  <a:lnTo>
                    <a:pt x="519" y="153"/>
                  </a:lnTo>
                  <a:lnTo>
                    <a:pt x="520" y="153"/>
                  </a:lnTo>
                  <a:lnTo>
                    <a:pt x="563" y="153"/>
                  </a:lnTo>
                  <a:lnTo>
                    <a:pt x="577" y="149"/>
                  </a:lnTo>
                  <a:lnTo>
                    <a:pt x="586" y="140"/>
                  </a:lnTo>
                  <a:lnTo>
                    <a:pt x="590" y="128"/>
                  </a:lnTo>
                  <a:lnTo>
                    <a:pt x="590" y="46"/>
                  </a:lnTo>
                  <a:lnTo>
                    <a:pt x="589" y="41"/>
                  </a:lnTo>
                  <a:lnTo>
                    <a:pt x="587" y="35"/>
                  </a:lnTo>
                  <a:lnTo>
                    <a:pt x="583" y="31"/>
                  </a:lnTo>
                  <a:lnTo>
                    <a:pt x="579" y="27"/>
                  </a:lnTo>
                  <a:close/>
                  <a:moveTo>
                    <a:pt x="111" y="22"/>
                  </a:moveTo>
                  <a:lnTo>
                    <a:pt x="47" y="22"/>
                  </a:lnTo>
                  <a:lnTo>
                    <a:pt x="33" y="25"/>
                  </a:lnTo>
                  <a:lnTo>
                    <a:pt x="24" y="34"/>
                  </a:lnTo>
                  <a:lnTo>
                    <a:pt x="21" y="47"/>
                  </a:lnTo>
                  <a:lnTo>
                    <a:pt x="21" y="126"/>
                  </a:lnTo>
                  <a:lnTo>
                    <a:pt x="24" y="137"/>
                  </a:lnTo>
                  <a:lnTo>
                    <a:pt x="31" y="146"/>
                  </a:lnTo>
                  <a:lnTo>
                    <a:pt x="41" y="152"/>
                  </a:lnTo>
                  <a:lnTo>
                    <a:pt x="44" y="153"/>
                  </a:lnTo>
                  <a:lnTo>
                    <a:pt x="47" y="152"/>
                  </a:lnTo>
                  <a:lnTo>
                    <a:pt x="49" y="148"/>
                  </a:lnTo>
                  <a:lnTo>
                    <a:pt x="96" y="50"/>
                  </a:lnTo>
                  <a:lnTo>
                    <a:pt x="111" y="22"/>
                  </a:lnTo>
                  <a:close/>
                  <a:moveTo>
                    <a:pt x="286" y="20"/>
                  </a:moveTo>
                  <a:lnTo>
                    <a:pt x="227" y="22"/>
                  </a:lnTo>
                  <a:lnTo>
                    <a:pt x="226" y="22"/>
                  </a:lnTo>
                  <a:lnTo>
                    <a:pt x="223" y="23"/>
                  </a:lnTo>
                  <a:lnTo>
                    <a:pt x="222" y="26"/>
                  </a:lnTo>
                  <a:lnTo>
                    <a:pt x="162" y="146"/>
                  </a:lnTo>
                  <a:lnTo>
                    <a:pt x="160" y="149"/>
                  </a:lnTo>
                  <a:lnTo>
                    <a:pt x="159" y="153"/>
                  </a:lnTo>
                  <a:lnTo>
                    <a:pt x="221" y="153"/>
                  </a:lnTo>
                  <a:lnTo>
                    <a:pt x="223" y="152"/>
                  </a:lnTo>
                  <a:lnTo>
                    <a:pt x="225" y="150"/>
                  </a:lnTo>
                  <a:lnTo>
                    <a:pt x="226" y="149"/>
                  </a:lnTo>
                  <a:lnTo>
                    <a:pt x="286" y="27"/>
                  </a:lnTo>
                  <a:lnTo>
                    <a:pt x="289" y="22"/>
                  </a:lnTo>
                  <a:lnTo>
                    <a:pt x="288" y="22"/>
                  </a:lnTo>
                  <a:lnTo>
                    <a:pt x="286" y="20"/>
                  </a:lnTo>
                  <a:close/>
                  <a:moveTo>
                    <a:pt x="468" y="20"/>
                  </a:moveTo>
                  <a:lnTo>
                    <a:pt x="405" y="22"/>
                  </a:lnTo>
                  <a:lnTo>
                    <a:pt x="404" y="22"/>
                  </a:lnTo>
                  <a:lnTo>
                    <a:pt x="403" y="23"/>
                  </a:lnTo>
                  <a:lnTo>
                    <a:pt x="401" y="26"/>
                  </a:lnTo>
                  <a:lnTo>
                    <a:pt x="341" y="146"/>
                  </a:lnTo>
                  <a:lnTo>
                    <a:pt x="340" y="149"/>
                  </a:lnTo>
                  <a:lnTo>
                    <a:pt x="338" y="153"/>
                  </a:lnTo>
                  <a:lnTo>
                    <a:pt x="401" y="153"/>
                  </a:lnTo>
                  <a:lnTo>
                    <a:pt x="403" y="152"/>
                  </a:lnTo>
                  <a:lnTo>
                    <a:pt x="404" y="150"/>
                  </a:lnTo>
                  <a:lnTo>
                    <a:pt x="405" y="149"/>
                  </a:lnTo>
                  <a:lnTo>
                    <a:pt x="466" y="26"/>
                  </a:lnTo>
                  <a:lnTo>
                    <a:pt x="467" y="25"/>
                  </a:lnTo>
                  <a:lnTo>
                    <a:pt x="468" y="20"/>
                  </a:lnTo>
                  <a:close/>
                  <a:moveTo>
                    <a:pt x="500" y="0"/>
                  </a:moveTo>
                  <a:lnTo>
                    <a:pt x="582" y="0"/>
                  </a:lnTo>
                  <a:lnTo>
                    <a:pt x="594" y="2"/>
                  </a:lnTo>
                  <a:lnTo>
                    <a:pt x="603" y="7"/>
                  </a:lnTo>
                  <a:lnTo>
                    <a:pt x="609" y="16"/>
                  </a:lnTo>
                  <a:lnTo>
                    <a:pt x="610" y="29"/>
                  </a:lnTo>
                  <a:lnTo>
                    <a:pt x="610" y="150"/>
                  </a:lnTo>
                  <a:lnTo>
                    <a:pt x="607" y="164"/>
                  </a:lnTo>
                  <a:lnTo>
                    <a:pt x="599" y="173"/>
                  </a:lnTo>
                  <a:lnTo>
                    <a:pt x="589" y="177"/>
                  </a:lnTo>
                  <a:lnTo>
                    <a:pt x="581" y="177"/>
                  </a:lnTo>
                  <a:lnTo>
                    <a:pt x="571" y="177"/>
                  </a:lnTo>
                  <a:lnTo>
                    <a:pt x="562" y="177"/>
                  </a:lnTo>
                  <a:lnTo>
                    <a:pt x="27" y="177"/>
                  </a:lnTo>
                  <a:lnTo>
                    <a:pt x="13" y="174"/>
                  </a:lnTo>
                  <a:lnTo>
                    <a:pt x="4" y="165"/>
                  </a:lnTo>
                  <a:lnTo>
                    <a:pt x="0" y="152"/>
                  </a:lnTo>
                  <a:lnTo>
                    <a:pt x="0" y="26"/>
                  </a:lnTo>
                  <a:lnTo>
                    <a:pt x="3" y="15"/>
                  </a:lnTo>
                  <a:lnTo>
                    <a:pt x="8" y="7"/>
                  </a:lnTo>
                  <a:lnTo>
                    <a:pt x="17" y="2"/>
                  </a:lnTo>
                  <a:lnTo>
                    <a:pt x="29" y="0"/>
                  </a:lnTo>
                  <a:lnTo>
                    <a:pt x="50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mn-lt"/>
                <a:ea typeface="楷体" panose="02010609060101010101" pitchFamily="49" charset="-122"/>
              </a:endParaRPr>
            </a:p>
          </p:txBody>
        </p:sp>
        <p:sp>
          <p:nvSpPr>
            <p:cNvPr id="98" name="Freeform 173"/>
            <p:cNvSpPr>
              <a:spLocks noEditPoints="1"/>
            </p:cNvSpPr>
            <p:nvPr/>
          </p:nvSpPr>
          <p:spPr bwMode="auto">
            <a:xfrm>
              <a:off x="-7267575" y="85725"/>
              <a:ext cx="809625" cy="455613"/>
            </a:xfrm>
            <a:custGeom>
              <a:avLst/>
              <a:gdLst>
                <a:gd name="T0" fmla="*/ 49 w 510"/>
                <a:gd name="T1" fmla="*/ 131 h 287"/>
                <a:gd name="T2" fmla="*/ 49 w 510"/>
                <a:gd name="T3" fmla="*/ 232 h 287"/>
                <a:gd name="T4" fmla="*/ 51 w 510"/>
                <a:gd name="T5" fmla="*/ 233 h 287"/>
                <a:gd name="T6" fmla="*/ 96 w 510"/>
                <a:gd name="T7" fmla="*/ 131 h 287"/>
                <a:gd name="T8" fmla="*/ 49 w 510"/>
                <a:gd name="T9" fmla="*/ 131 h 287"/>
                <a:gd name="T10" fmla="*/ 215 w 510"/>
                <a:gd name="T11" fmla="*/ 130 h 287"/>
                <a:gd name="T12" fmla="*/ 211 w 510"/>
                <a:gd name="T13" fmla="*/ 130 h 287"/>
                <a:gd name="T14" fmla="*/ 210 w 510"/>
                <a:gd name="T15" fmla="*/ 133 h 287"/>
                <a:gd name="T16" fmla="*/ 207 w 510"/>
                <a:gd name="T17" fmla="*/ 135 h 287"/>
                <a:gd name="T18" fmla="*/ 162 w 510"/>
                <a:gd name="T19" fmla="*/ 226 h 287"/>
                <a:gd name="T20" fmla="*/ 160 w 510"/>
                <a:gd name="T21" fmla="*/ 229 h 287"/>
                <a:gd name="T22" fmla="*/ 159 w 510"/>
                <a:gd name="T23" fmla="*/ 233 h 287"/>
                <a:gd name="T24" fmla="*/ 167 w 510"/>
                <a:gd name="T25" fmla="*/ 233 h 287"/>
                <a:gd name="T26" fmla="*/ 219 w 510"/>
                <a:gd name="T27" fmla="*/ 233 h 287"/>
                <a:gd name="T28" fmla="*/ 222 w 510"/>
                <a:gd name="T29" fmla="*/ 233 h 287"/>
                <a:gd name="T30" fmla="*/ 223 w 510"/>
                <a:gd name="T31" fmla="*/ 232 h 287"/>
                <a:gd name="T32" fmla="*/ 226 w 510"/>
                <a:gd name="T33" fmla="*/ 230 h 287"/>
                <a:gd name="T34" fmla="*/ 227 w 510"/>
                <a:gd name="T35" fmla="*/ 228 h 287"/>
                <a:gd name="T36" fmla="*/ 273 w 510"/>
                <a:gd name="T37" fmla="*/ 137 h 287"/>
                <a:gd name="T38" fmla="*/ 274 w 510"/>
                <a:gd name="T39" fmla="*/ 134 h 287"/>
                <a:gd name="T40" fmla="*/ 275 w 510"/>
                <a:gd name="T41" fmla="*/ 130 h 287"/>
                <a:gd name="T42" fmla="*/ 215 w 510"/>
                <a:gd name="T43" fmla="*/ 130 h 287"/>
                <a:gd name="T44" fmla="*/ 396 w 510"/>
                <a:gd name="T45" fmla="*/ 130 h 287"/>
                <a:gd name="T46" fmla="*/ 392 w 510"/>
                <a:gd name="T47" fmla="*/ 130 h 287"/>
                <a:gd name="T48" fmla="*/ 389 w 510"/>
                <a:gd name="T49" fmla="*/ 133 h 287"/>
                <a:gd name="T50" fmla="*/ 386 w 510"/>
                <a:gd name="T51" fmla="*/ 135 h 287"/>
                <a:gd name="T52" fmla="*/ 341 w 510"/>
                <a:gd name="T53" fmla="*/ 228 h 287"/>
                <a:gd name="T54" fmla="*/ 340 w 510"/>
                <a:gd name="T55" fmla="*/ 230 h 287"/>
                <a:gd name="T56" fmla="*/ 338 w 510"/>
                <a:gd name="T57" fmla="*/ 233 h 287"/>
                <a:gd name="T58" fmla="*/ 400 w 510"/>
                <a:gd name="T59" fmla="*/ 233 h 287"/>
                <a:gd name="T60" fmla="*/ 401 w 510"/>
                <a:gd name="T61" fmla="*/ 233 h 287"/>
                <a:gd name="T62" fmla="*/ 404 w 510"/>
                <a:gd name="T63" fmla="*/ 230 h 287"/>
                <a:gd name="T64" fmla="*/ 405 w 510"/>
                <a:gd name="T65" fmla="*/ 229 h 287"/>
                <a:gd name="T66" fmla="*/ 452 w 510"/>
                <a:gd name="T67" fmla="*/ 135 h 287"/>
                <a:gd name="T68" fmla="*/ 452 w 510"/>
                <a:gd name="T69" fmla="*/ 134 h 287"/>
                <a:gd name="T70" fmla="*/ 453 w 510"/>
                <a:gd name="T71" fmla="*/ 130 h 287"/>
                <a:gd name="T72" fmla="*/ 451 w 510"/>
                <a:gd name="T73" fmla="*/ 130 h 287"/>
                <a:gd name="T74" fmla="*/ 447 w 510"/>
                <a:gd name="T75" fmla="*/ 130 h 287"/>
                <a:gd name="T76" fmla="*/ 396 w 510"/>
                <a:gd name="T77" fmla="*/ 130 h 287"/>
                <a:gd name="T78" fmla="*/ 0 w 510"/>
                <a:gd name="T79" fmla="*/ 0 h 287"/>
                <a:gd name="T80" fmla="*/ 49 w 510"/>
                <a:gd name="T81" fmla="*/ 0 h 287"/>
                <a:gd name="T82" fmla="*/ 49 w 510"/>
                <a:gd name="T83" fmla="*/ 110 h 287"/>
                <a:gd name="T84" fmla="*/ 460 w 510"/>
                <a:gd name="T85" fmla="*/ 110 h 287"/>
                <a:gd name="T86" fmla="*/ 460 w 510"/>
                <a:gd name="T87" fmla="*/ 0 h 287"/>
                <a:gd name="T88" fmla="*/ 510 w 510"/>
                <a:gd name="T89" fmla="*/ 0 h 287"/>
                <a:gd name="T90" fmla="*/ 510 w 510"/>
                <a:gd name="T91" fmla="*/ 48 h 287"/>
                <a:gd name="T92" fmla="*/ 510 w 510"/>
                <a:gd name="T93" fmla="*/ 287 h 287"/>
                <a:gd name="T94" fmla="*/ 461 w 510"/>
                <a:gd name="T95" fmla="*/ 287 h 287"/>
                <a:gd name="T96" fmla="*/ 461 w 510"/>
                <a:gd name="T97" fmla="*/ 258 h 287"/>
                <a:gd name="T98" fmla="*/ 49 w 510"/>
                <a:gd name="T99" fmla="*/ 258 h 287"/>
                <a:gd name="T100" fmla="*/ 49 w 510"/>
                <a:gd name="T101" fmla="*/ 266 h 287"/>
                <a:gd name="T102" fmla="*/ 49 w 510"/>
                <a:gd name="T103" fmla="*/ 287 h 287"/>
                <a:gd name="T104" fmla="*/ 0 w 510"/>
                <a:gd name="T105" fmla="*/ 287 h 287"/>
                <a:gd name="T106" fmla="*/ 0 w 510"/>
                <a:gd name="T107" fmla="*/ 273 h 287"/>
                <a:gd name="T108" fmla="*/ 0 w 510"/>
                <a:gd name="T109"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0" h="287">
                  <a:moveTo>
                    <a:pt x="49" y="131"/>
                  </a:moveTo>
                  <a:lnTo>
                    <a:pt x="49" y="232"/>
                  </a:lnTo>
                  <a:lnTo>
                    <a:pt x="51" y="233"/>
                  </a:lnTo>
                  <a:lnTo>
                    <a:pt x="96" y="131"/>
                  </a:lnTo>
                  <a:lnTo>
                    <a:pt x="49" y="131"/>
                  </a:lnTo>
                  <a:close/>
                  <a:moveTo>
                    <a:pt x="215" y="130"/>
                  </a:moveTo>
                  <a:lnTo>
                    <a:pt x="211" y="130"/>
                  </a:lnTo>
                  <a:lnTo>
                    <a:pt x="210" y="133"/>
                  </a:lnTo>
                  <a:lnTo>
                    <a:pt x="207" y="135"/>
                  </a:lnTo>
                  <a:lnTo>
                    <a:pt x="162" y="226"/>
                  </a:lnTo>
                  <a:lnTo>
                    <a:pt x="160" y="229"/>
                  </a:lnTo>
                  <a:lnTo>
                    <a:pt x="159" y="233"/>
                  </a:lnTo>
                  <a:lnTo>
                    <a:pt x="167" y="233"/>
                  </a:lnTo>
                  <a:lnTo>
                    <a:pt x="219" y="233"/>
                  </a:lnTo>
                  <a:lnTo>
                    <a:pt x="222" y="233"/>
                  </a:lnTo>
                  <a:lnTo>
                    <a:pt x="223" y="232"/>
                  </a:lnTo>
                  <a:lnTo>
                    <a:pt x="226" y="230"/>
                  </a:lnTo>
                  <a:lnTo>
                    <a:pt x="227" y="228"/>
                  </a:lnTo>
                  <a:lnTo>
                    <a:pt x="273" y="137"/>
                  </a:lnTo>
                  <a:lnTo>
                    <a:pt x="274" y="134"/>
                  </a:lnTo>
                  <a:lnTo>
                    <a:pt x="275" y="130"/>
                  </a:lnTo>
                  <a:lnTo>
                    <a:pt x="215" y="130"/>
                  </a:lnTo>
                  <a:close/>
                  <a:moveTo>
                    <a:pt x="396" y="130"/>
                  </a:moveTo>
                  <a:lnTo>
                    <a:pt x="392" y="130"/>
                  </a:lnTo>
                  <a:lnTo>
                    <a:pt x="389" y="133"/>
                  </a:lnTo>
                  <a:lnTo>
                    <a:pt x="386" y="135"/>
                  </a:lnTo>
                  <a:lnTo>
                    <a:pt x="341" y="228"/>
                  </a:lnTo>
                  <a:lnTo>
                    <a:pt x="340" y="230"/>
                  </a:lnTo>
                  <a:lnTo>
                    <a:pt x="338" y="233"/>
                  </a:lnTo>
                  <a:lnTo>
                    <a:pt x="400" y="233"/>
                  </a:lnTo>
                  <a:lnTo>
                    <a:pt x="401" y="233"/>
                  </a:lnTo>
                  <a:lnTo>
                    <a:pt x="404" y="230"/>
                  </a:lnTo>
                  <a:lnTo>
                    <a:pt x="405" y="229"/>
                  </a:lnTo>
                  <a:lnTo>
                    <a:pt x="452" y="135"/>
                  </a:lnTo>
                  <a:lnTo>
                    <a:pt x="452" y="134"/>
                  </a:lnTo>
                  <a:lnTo>
                    <a:pt x="453" y="130"/>
                  </a:lnTo>
                  <a:lnTo>
                    <a:pt x="451" y="130"/>
                  </a:lnTo>
                  <a:lnTo>
                    <a:pt x="447" y="130"/>
                  </a:lnTo>
                  <a:lnTo>
                    <a:pt x="396" y="130"/>
                  </a:lnTo>
                  <a:close/>
                  <a:moveTo>
                    <a:pt x="0" y="0"/>
                  </a:moveTo>
                  <a:lnTo>
                    <a:pt x="49" y="0"/>
                  </a:lnTo>
                  <a:lnTo>
                    <a:pt x="49" y="110"/>
                  </a:lnTo>
                  <a:lnTo>
                    <a:pt x="460" y="110"/>
                  </a:lnTo>
                  <a:lnTo>
                    <a:pt x="460" y="0"/>
                  </a:lnTo>
                  <a:lnTo>
                    <a:pt x="510" y="0"/>
                  </a:lnTo>
                  <a:lnTo>
                    <a:pt x="510" y="48"/>
                  </a:lnTo>
                  <a:lnTo>
                    <a:pt x="510" y="287"/>
                  </a:lnTo>
                  <a:lnTo>
                    <a:pt x="461" y="287"/>
                  </a:lnTo>
                  <a:lnTo>
                    <a:pt x="461" y="258"/>
                  </a:lnTo>
                  <a:lnTo>
                    <a:pt x="49" y="258"/>
                  </a:lnTo>
                  <a:lnTo>
                    <a:pt x="49" y="266"/>
                  </a:lnTo>
                  <a:lnTo>
                    <a:pt x="49" y="287"/>
                  </a:lnTo>
                  <a:lnTo>
                    <a:pt x="0" y="287"/>
                  </a:lnTo>
                  <a:lnTo>
                    <a:pt x="0" y="27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mn-lt"/>
                <a:ea typeface="楷体" panose="02010609060101010101" pitchFamily="49" charset="-122"/>
              </a:endParaRPr>
            </a:p>
          </p:txBody>
        </p:sp>
        <p:sp>
          <p:nvSpPr>
            <p:cNvPr id="99" name="Freeform 174"/>
            <p:cNvSpPr>
              <a:spLocks/>
            </p:cNvSpPr>
            <p:nvPr/>
          </p:nvSpPr>
          <p:spPr bwMode="auto">
            <a:xfrm>
              <a:off x="-7180263" y="-415925"/>
              <a:ext cx="152400" cy="150813"/>
            </a:xfrm>
            <a:custGeom>
              <a:avLst/>
              <a:gdLst>
                <a:gd name="T0" fmla="*/ 48 w 96"/>
                <a:gd name="T1" fmla="*/ 0 h 95"/>
                <a:gd name="T2" fmla="*/ 67 w 96"/>
                <a:gd name="T3" fmla="*/ 4 h 95"/>
                <a:gd name="T4" fmla="*/ 81 w 96"/>
                <a:gd name="T5" fmla="*/ 14 h 95"/>
                <a:gd name="T6" fmla="*/ 92 w 96"/>
                <a:gd name="T7" fmla="*/ 30 h 95"/>
                <a:gd name="T8" fmla="*/ 96 w 96"/>
                <a:gd name="T9" fmla="*/ 49 h 95"/>
                <a:gd name="T10" fmla="*/ 92 w 96"/>
                <a:gd name="T11" fmla="*/ 67 h 95"/>
                <a:gd name="T12" fmla="*/ 81 w 96"/>
                <a:gd name="T13" fmla="*/ 82 h 95"/>
                <a:gd name="T14" fmla="*/ 67 w 96"/>
                <a:gd name="T15" fmla="*/ 93 h 95"/>
                <a:gd name="T16" fmla="*/ 48 w 96"/>
                <a:gd name="T17" fmla="*/ 95 h 95"/>
                <a:gd name="T18" fmla="*/ 29 w 96"/>
                <a:gd name="T19" fmla="*/ 93 h 95"/>
                <a:gd name="T20" fmla="*/ 14 w 96"/>
                <a:gd name="T21" fmla="*/ 82 h 95"/>
                <a:gd name="T22" fmla="*/ 4 w 96"/>
                <a:gd name="T23" fmla="*/ 67 h 95"/>
                <a:gd name="T24" fmla="*/ 0 w 96"/>
                <a:gd name="T25" fmla="*/ 49 h 95"/>
                <a:gd name="T26" fmla="*/ 4 w 96"/>
                <a:gd name="T27" fmla="*/ 30 h 95"/>
                <a:gd name="T28" fmla="*/ 14 w 96"/>
                <a:gd name="T29" fmla="*/ 14 h 95"/>
                <a:gd name="T30" fmla="*/ 29 w 96"/>
                <a:gd name="T31" fmla="*/ 4 h 95"/>
                <a:gd name="T32" fmla="*/ 48 w 96"/>
                <a:gd name="T3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95">
                  <a:moveTo>
                    <a:pt x="48" y="0"/>
                  </a:moveTo>
                  <a:lnTo>
                    <a:pt x="67" y="4"/>
                  </a:lnTo>
                  <a:lnTo>
                    <a:pt x="81" y="14"/>
                  </a:lnTo>
                  <a:lnTo>
                    <a:pt x="92" y="30"/>
                  </a:lnTo>
                  <a:lnTo>
                    <a:pt x="96" y="49"/>
                  </a:lnTo>
                  <a:lnTo>
                    <a:pt x="92" y="67"/>
                  </a:lnTo>
                  <a:lnTo>
                    <a:pt x="81" y="82"/>
                  </a:lnTo>
                  <a:lnTo>
                    <a:pt x="67" y="93"/>
                  </a:lnTo>
                  <a:lnTo>
                    <a:pt x="48" y="95"/>
                  </a:lnTo>
                  <a:lnTo>
                    <a:pt x="29" y="93"/>
                  </a:lnTo>
                  <a:lnTo>
                    <a:pt x="14" y="82"/>
                  </a:lnTo>
                  <a:lnTo>
                    <a:pt x="4" y="67"/>
                  </a:lnTo>
                  <a:lnTo>
                    <a:pt x="0" y="49"/>
                  </a:lnTo>
                  <a:lnTo>
                    <a:pt x="4" y="30"/>
                  </a:lnTo>
                  <a:lnTo>
                    <a:pt x="14" y="14"/>
                  </a:lnTo>
                  <a:lnTo>
                    <a:pt x="29" y="4"/>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mn-lt"/>
                <a:ea typeface="楷体" panose="02010609060101010101" pitchFamily="49" charset="-122"/>
              </a:endParaRPr>
            </a:p>
          </p:txBody>
        </p:sp>
        <p:sp>
          <p:nvSpPr>
            <p:cNvPr id="100" name="Freeform 175"/>
            <p:cNvSpPr>
              <a:spLocks/>
            </p:cNvSpPr>
            <p:nvPr/>
          </p:nvSpPr>
          <p:spPr bwMode="auto">
            <a:xfrm>
              <a:off x="-6699250" y="-415925"/>
              <a:ext cx="153987" cy="150813"/>
            </a:xfrm>
            <a:custGeom>
              <a:avLst/>
              <a:gdLst>
                <a:gd name="T0" fmla="*/ 48 w 97"/>
                <a:gd name="T1" fmla="*/ 0 h 95"/>
                <a:gd name="T2" fmla="*/ 67 w 97"/>
                <a:gd name="T3" fmla="*/ 4 h 95"/>
                <a:gd name="T4" fmla="*/ 82 w 97"/>
                <a:gd name="T5" fmla="*/ 14 h 95"/>
                <a:gd name="T6" fmla="*/ 93 w 97"/>
                <a:gd name="T7" fmla="*/ 30 h 95"/>
                <a:gd name="T8" fmla="*/ 97 w 97"/>
                <a:gd name="T9" fmla="*/ 49 h 95"/>
                <a:gd name="T10" fmla="*/ 93 w 97"/>
                <a:gd name="T11" fmla="*/ 67 h 95"/>
                <a:gd name="T12" fmla="*/ 82 w 97"/>
                <a:gd name="T13" fmla="*/ 82 h 95"/>
                <a:gd name="T14" fmla="*/ 67 w 97"/>
                <a:gd name="T15" fmla="*/ 93 h 95"/>
                <a:gd name="T16" fmla="*/ 48 w 97"/>
                <a:gd name="T17" fmla="*/ 95 h 95"/>
                <a:gd name="T18" fmla="*/ 30 w 97"/>
                <a:gd name="T19" fmla="*/ 93 h 95"/>
                <a:gd name="T20" fmla="*/ 15 w 97"/>
                <a:gd name="T21" fmla="*/ 82 h 95"/>
                <a:gd name="T22" fmla="*/ 4 w 97"/>
                <a:gd name="T23" fmla="*/ 67 h 95"/>
                <a:gd name="T24" fmla="*/ 0 w 97"/>
                <a:gd name="T25" fmla="*/ 49 h 95"/>
                <a:gd name="T26" fmla="*/ 4 w 97"/>
                <a:gd name="T27" fmla="*/ 30 h 95"/>
                <a:gd name="T28" fmla="*/ 15 w 97"/>
                <a:gd name="T29" fmla="*/ 14 h 95"/>
                <a:gd name="T30" fmla="*/ 30 w 97"/>
                <a:gd name="T31" fmla="*/ 4 h 95"/>
                <a:gd name="T32" fmla="*/ 48 w 97"/>
                <a:gd name="T3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7" h="95">
                  <a:moveTo>
                    <a:pt x="48" y="0"/>
                  </a:moveTo>
                  <a:lnTo>
                    <a:pt x="67" y="4"/>
                  </a:lnTo>
                  <a:lnTo>
                    <a:pt x="82" y="14"/>
                  </a:lnTo>
                  <a:lnTo>
                    <a:pt x="93" y="30"/>
                  </a:lnTo>
                  <a:lnTo>
                    <a:pt x="97" y="49"/>
                  </a:lnTo>
                  <a:lnTo>
                    <a:pt x="93" y="67"/>
                  </a:lnTo>
                  <a:lnTo>
                    <a:pt x="82" y="82"/>
                  </a:lnTo>
                  <a:lnTo>
                    <a:pt x="67" y="93"/>
                  </a:lnTo>
                  <a:lnTo>
                    <a:pt x="48" y="95"/>
                  </a:lnTo>
                  <a:lnTo>
                    <a:pt x="30" y="93"/>
                  </a:lnTo>
                  <a:lnTo>
                    <a:pt x="15" y="82"/>
                  </a:lnTo>
                  <a:lnTo>
                    <a:pt x="4" y="67"/>
                  </a:lnTo>
                  <a:lnTo>
                    <a:pt x="0" y="49"/>
                  </a:lnTo>
                  <a:lnTo>
                    <a:pt x="4" y="30"/>
                  </a:lnTo>
                  <a:lnTo>
                    <a:pt x="15" y="14"/>
                  </a:lnTo>
                  <a:lnTo>
                    <a:pt x="30" y="4"/>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mn-lt"/>
                <a:ea typeface="楷体" panose="02010609060101010101" pitchFamily="49" charset="-122"/>
              </a:endParaRPr>
            </a:p>
          </p:txBody>
        </p:sp>
      </p:grpSp>
      <p:sp>
        <p:nvSpPr>
          <p:cNvPr id="50" name="5. Source"/>
          <p:cNvSpPr>
            <a:spLocks noChangeArrowheads="1"/>
          </p:cNvSpPr>
          <p:nvPr/>
        </p:nvSpPr>
        <p:spPr bwMode="gray">
          <a:xfrm>
            <a:off x="119063"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zh-CN" sz="800" dirty="0">
                <a:solidFill>
                  <a:schemeClr val="bg1"/>
                </a:solidFill>
                <a:latin typeface="+mn-lt"/>
                <a:ea typeface="楷体" panose="02010609060101010101" pitchFamily="49" charset="-122"/>
                <a:cs typeface="SimSun"/>
              </a:rPr>
              <a:t>资料来源：PD# 842342</a:t>
            </a:r>
          </a:p>
        </p:txBody>
      </p:sp>
      <p:sp>
        <p:nvSpPr>
          <p:cNvPr id="285" name="Slide Number"/>
          <p:cNvSpPr txBox="1">
            <a:spLocks/>
          </p:cNvSpPr>
          <p:nvPr/>
        </p:nvSpPr>
        <p:spPr bwMode="auto">
          <a:xfrm>
            <a:off x="8564563" y="6508272"/>
            <a:ext cx="115416"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r>
              <a:rPr lang="zh-CN" sz="800" baseline="0" dirty="0">
                <a:solidFill>
                  <a:schemeClr val="bg1"/>
                </a:solidFill>
                <a:ea typeface="楷体" panose="02010609060101010101" pitchFamily="49" charset="-122"/>
                <a:cs typeface="SimSun"/>
              </a:rPr>
              <a:t>43</a:t>
            </a:r>
          </a:p>
        </p:txBody>
      </p:sp>
      <p:sp>
        <p:nvSpPr>
          <p:cNvPr id="286" name="SlideLogoText"/>
          <p:cNvSpPr>
            <a:spLocks noChangeArrowheads="1"/>
          </p:cNvSpPr>
          <p:nvPr>
            <p:custDataLst>
              <p:tags r:id="rId19"/>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zh-CN" sz="800" baseline="0" dirty="0">
                <a:solidFill>
                  <a:schemeClr val="bg1"/>
                </a:solidFill>
                <a:latin typeface="+mn-lt"/>
                <a:ea typeface="楷体" panose="02010609060101010101" pitchFamily="49" charset="-122"/>
                <a:cs typeface="SimSun"/>
              </a:rPr>
              <a:t>McKinsey &amp; Company</a:t>
            </a:r>
          </a:p>
        </p:txBody>
      </p:sp>
      <p:sp>
        <p:nvSpPr>
          <p:cNvPr id="91" name="Line 92"/>
          <p:cNvSpPr>
            <a:spLocks noChangeShapeType="1"/>
          </p:cNvSpPr>
          <p:nvPr>
            <p:custDataLst>
              <p:tags r:id="rId20"/>
            </p:custDataLst>
          </p:nvPr>
        </p:nvSpPr>
        <p:spPr bwMode="auto">
          <a:xfrm flipV="1">
            <a:off x="8119404" y="1314180"/>
            <a:ext cx="0" cy="2432766"/>
          </a:xfrm>
          <a:prstGeom prst="line">
            <a:avLst/>
          </a:prstGeom>
          <a:noFill/>
          <a:ln w="9525">
            <a:solidFill>
              <a:schemeClr val="bg1"/>
            </a:solidFill>
            <a:round/>
            <a:headEnd/>
            <a:tailEnd type="oval"/>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pPr fontAlgn="auto">
              <a:spcBef>
                <a:spcPts val="0"/>
              </a:spcBef>
              <a:spcAft>
                <a:spcPts val="0"/>
              </a:spcAft>
            </a:pPr>
            <a:endParaRPr lang="en-US" sz="1000" kern="0" dirty="0">
              <a:solidFill>
                <a:srgbClr val="000000"/>
              </a:solidFill>
              <a:latin typeface="+mn-lt"/>
              <a:ea typeface="楷体" panose="02010609060101010101" pitchFamily="49" charset="-122"/>
            </a:endParaRPr>
          </a:p>
        </p:txBody>
      </p:sp>
      <p:sp>
        <p:nvSpPr>
          <p:cNvPr id="9" name="TextBox 8"/>
          <p:cNvSpPr txBox="1">
            <a:spLocks/>
          </p:cNvSpPr>
          <p:nvPr/>
        </p:nvSpPr>
        <p:spPr>
          <a:xfrm>
            <a:off x="6075819" y="3746946"/>
            <a:ext cx="2661781" cy="2346043"/>
          </a:xfrm>
          <a:prstGeom prst="rect">
            <a:avLst/>
          </a:prstGeom>
          <a:solidFill>
            <a:srgbClr val="0065BD">
              <a:alpha val="30196"/>
            </a:srgbClr>
          </a:solidFill>
          <a:ln>
            <a:noFill/>
          </a:ln>
        </p:spPr>
        <p:txBody>
          <a:bodyPr vert="horz" wrap="square" lIns="73152" tIns="73152" rIns="73152" bIns="73152" rtlCol="0" anchor="t"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0000"/>
              </a:spcBef>
              <a:buClr>
                <a:schemeClr val="bg1"/>
              </a:buClr>
            </a:pPr>
            <a:r>
              <a:rPr lang="zh-CN" sz="1000" dirty="0">
                <a:solidFill>
                  <a:schemeClr val="bg1"/>
                </a:solidFill>
                <a:ea typeface="楷体" panose="02010609060101010101" pitchFamily="49" charset="-122"/>
                <a:cs typeface="SimSun"/>
              </a:rPr>
              <a:t>海量数据（又称“大数据”）、更快的计算机、高级机器学习技术被成功用于解决整个经济领域的</a:t>
            </a:r>
            <a:r>
              <a:rPr lang="zh-CN" altLang="en-US" sz="1000" dirty="0">
                <a:solidFill>
                  <a:schemeClr val="bg1"/>
                </a:solidFill>
                <a:ea typeface="楷体" panose="02010609060101010101" pitchFamily="49" charset="-122"/>
                <a:cs typeface="SimSun"/>
              </a:rPr>
              <a:t>诸多</a:t>
            </a:r>
            <a:r>
              <a:rPr lang="zh-CN" sz="1000" dirty="0">
                <a:solidFill>
                  <a:schemeClr val="bg1"/>
                </a:solidFill>
                <a:ea typeface="楷体" panose="02010609060101010101" pitchFamily="49" charset="-122"/>
                <a:cs typeface="SimSun"/>
              </a:rPr>
              <a:t>问题</a:t>
            </a:r>
          </a:p>
          <a:p>
            <a:pPr lvl="1">
              <a:spcBef>
                <a:spcPct val="20000"/>
              </a:spcBef>
              <a:buClr>
                <a:schemeClr val="bg1"/>
              </a:buClr>
            </a:pPr>
            <a:r>
              <a:rPr lang="zh-CN" sz="1000" dirty="0">
                <a:solidFill>
                  <a:schemeClr val="bg1"/>
                </a:solidFill>
                <a:ea typeface="楷体" panose="02010609060101010101" pitchFamily="49" charset="-122"/>
                <a:cs typeface="SimSun"/>
              </a:rPr>
              <a:t>12年：Geoffrey Hinton团队运用深度学习（高效利用图形处理器（GPU）的卷积神经网络（CNN）），以较大优势（错误率15.3%比26.2%）</a:t>
            </a:r>
            <a:r>
              <a:rPr lang="zh-CN" altLang="en-US" sz="1000" dirty="0">
                <a:solidFill>
                  <a:schemeClr val="bg1"/>
                </a:solidFill>
                <a:ea typeface="楷体" panose="02010609060101010101" pitchFamily="49" charset="-122"/>
                <a:cs typeface="SimSun"/>
              </a:rPr>
              <a:t>在</a:t>
            </a:r>
            <a:r>
              <a:rPr lang="zh-CN" sz="1000" dirty="0">
                <a:solidFill>
                  <a:schemeClr val="bg1"/>
                </a:solidFill>
                <a:ea typeface="楷体" panose="02010609060101010101" pitchFamily="49" charset="-122"/>
                <a:cs typeface="SimSun"/>
              </a:rPr>
              <a:t>Imagenet比赛</a:t>
            </a:r>
            <a:r>
              <a:rPr lang="zh-CN" altLang="en-US" sz="1000" dirty="0">
                <a:solidFill>
                  <a:schemeClr val="bg1"/>
                </a:solidFill>
                <a:ea typeface="楷体" panose="02010609060101010101" pitchFamily="49" charset="-122"/>
                <a:cs typeface="SimSun"/>
              </a:rPr>
              <a:t>中获胜</a:t>
            </a:r>
            <a:r>
              <a:rPr lang="zh-CN" sz="1000" dirty="0">
                <a:solidFill>
                  <a:schemeClr val="bg1"/>
                </a:solidFill>
                <a:ea typeface="楷体" panose="02010609060101010101" pitchFamily="49" charset="-122"/>
                <a:cs typeface="SimSun"/>
              </a:rPr>
              <a:t> </a:t>
            </a:r>
          </a:p>
          <a:p>
            <a:pPr lvl="1">
              <a:spcBef>
                <a:spcPct val="20000"/>
              </a:spcBef>
              <a:buClr>
                <a:schemeClr val="bg1"/>
              </a:buClr>
            </a:pPr>
            <a:r>
              <a:rPr lang="zh-CN" sz="1000" dirty="0">
                <a:solidFill>
                  <a:schemeClr val="bg1"/>
                </a:solidFill>
                <a:ea typeface="楷体" panose="02010609060101010101" pitchFamily="49" charset="-122"/>
                <a:cs typeface="SimSun"/>
              </a:rPr>
              <a:t>12年：在谷歌，吴恩达建立了一个10亿连接的神经网络，经2万个数据点训练后，可从1000万条视频中识别出猫的形象，准确率达到75%</a:t>
            </a:r>
            <a:endParaRPr lang="zh-CN" dirty="0">
              <a:solidFill>
                <a:schemeClr val="bg1"/>
              </a:solidFill>
              <a:ea typeface="楷体" panose="02010609060101010101" pitchFamily="49" charset="-122"/>
            </a:endParaRPr>
          </a:p>
        </p:txBody>
      </p:sp>
      <p:sp>
        <p:nvSpPr>
          <p:cNvPr id="11" name="TextBox 10"/>
          <p:cNvSpPr txBox="1">
            <a:spLocks/>
          </p:cNvSpPr>
          <p:nvPr/>
        </p:nvSpPr>
        <p:spPr>
          <a:xfrm>
            <a:off x="3249868" y="3746946"/>
            <a:ext cx="2661781" cy="2346043"/>
          </a:xfrm>
          <a:prstGeom prst="rect">
            <a:avLst/>
          </a:prstGeom>
          <a:solidFill>
            <a:srgbClr val="0065BD">
              <a:alpha val="30196"/>
            </a:srgbClr>
          </a:solidFill>
          <a:ln>
            <a:noFill/>
          </a:ln>
        </p:spPr>
        <p:txBody>
          <a:bodyPr vert="horz" wrap="square" lIns="73152" tIns="73152" rIns="73152" bIns="73152" rtlCol="0" anchor="t"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0000"/>
              </a:spcBef>
              <a:buClr>
                <a:schemeClr val="bg1"/>
              </a:buClr>
            </a:pPr>
            <a:r>
              <a:rPr lang="zh-CN" sz="1000" dirty="0">
                <a:solidFill>
                  <a:schemeClr val="bg1"/>
                </a:solidFill>
                <a:ea typeface="楷体" panose="02010609060101010101" pitchFamily="49" charset="-122"/>
                <a:cs typeface="SimSun"/>
              </a:rPr>
              <a:t>80年代商界对人工智能的痴迷以经典的经济泡沫模式潮涨</a:t>
            </a:r>
            <a:r>
              <a:rPr lang="zh-CN" altLang="en-US" sz="1000" dirty="0">
                <a:solidFill>
                  <a:schemeClr val="bg1"/>
                </a:solidFill>
                <a:ea typeface="楷体" panose="02010609060101010101" pitchFamily="49" charset="-122"/>
                <a:cs typeface="SimSun"/>
              </a:rPr>
              <a:t>又</a:t>
            </a:r>
            <a:r>
              <a:rPr lang="zh-CN" sz="1000" dirty="0">
                <a:solidFill>
                  <a:schemeClr val="bg1"/>
                </a:solidFill>
                <a:ea typeface="楷体" panose="02010609060101010101" pitchFamily="49" charset="-122"/>
                <a:cs typeface="SimSun"/>
              </a:rPr>
              <a:t>潮落</a:t>
            </a:r>
          </a:p>
          <a:p>
            <a:pPr lvl="1">
              <a:spcBef>
                <a:spcPct val="20000"/>
              </a:spcBef>
              <a:buClr>
                <a:schemeClr val="bg1"/>
              </a:buClr>
            </a:pPr>
            <a:r>
              <a:rPr lang="zh-CN" altLang="en-US" sz="1000" b="1" dirty="0">
                <a:solidFill>
                  <a:schemeClr val="bg1"/>
                </a:solidFill>
                <a:ea typeface="楷体" panose="02010609060101010101" pitchFamily="49" charset="-122"/>
                <a:cs typeface="SimSun"/>
              </a:rPr>
              <a:t>崩溃</a:t>
            </a:r>
            <a:r>
              <a:rPr lang="zh-CN" sz="1000" b="1" dirty="0">
                <a:solidFill>
                  <a:schemeClr val="bg1"/>
                </a:solidFill>
                <a:ea typeface="楷体" panose="02010609060101010101" pitchFamily="49" charset="-122"/>
                <a:cs typeface="SimSun"/>
              </a:rPr>
              <a:t>只是</a:t>
            </a:r>
            <a:r>
              <a:rPr lang="zh-CN" sz="1000" dirty="0">
                <a:solidFill>
                  <a:schemeClr val="bg1"/>
                </a:solidFill>
                <a:ea typeface="楷体" panose="02010609060101010101" pitchFamily="49" charset="-122"/>
                <a:cs typeface="SimSun"/>
              </a:rPr>
              <a:t>政府部门和投资者的</a:t>
            </a:r>
            <a:r>
              <a:rPr lang="zh-CN" sz="1000" b="1" dirty="0">
                <a:solidFill>
                  <a:schemeClr val="bg1"/>
                </a:solidFill>
                <a:ea typeface="楷体" panose="02010609060101010101" pitchFamily="49" charset="-122"/>
                <a:cs typeface="SimSun"/>
              </a:rPr>
              <a:t>感受</a:t>
            </a:r>
            <a:r>
              <a:rPr lang="zh-CN" sz="1000" dirty="0">
                <a:solidFill>
                  <a:schemeClr val="bg1"/>
                </a:solidFill>
                <a:ea typeface="楷体" panose="02010609060101010101" pitchFamily="49" charset="-122"/>
                <a:cs typeface="SimSun"/>
              </a:rPr>
              <a:t> - 尽管批评之声四起，</a:t>
            </a:r>
            <a:r>
              <a:rPr lang="zh-CN" sz="1000" b="1" dirty="0">
                <a:solidFill>
                  <a:schemeClr val="bg1"/>
                </a:solidFill>
                <a:ea typeface="楷体" panose="02010609060101010101" pitchFamily="49" charset="-122"/>
                <a:cs typeface="SimSun"/>
              </a:rPr>
              <a:t>人工智能领域依然没有停下前行的脚步</a:t>
            </a:r>
          </a:p>
        </p:txBody>
      </p:sp>
      <p:sp>
        <p:nvSpPr>
          <p:cNvPr id="62" name="TextBox 61"/>
          <p:cNvSpPr txBox="1">
            <a:spLocks/>
          </p:cNvSpPr>
          <p:nvPr/>
        </p:nvSpPr>
        <p:spPr>
          <a:xfrm>
            <a:off x="423918" y="3746946"/>
            <a:ext cx="2661781" cy="2346043"/>
          </a:xfrm>
          <a:prstGeom prst="rect">
            <a:avLst/>
          </a:prstGeom>
          <a:solidFill>
            <a:srgbClr val="0065BD">
              <a:alpha val="30196"/>
            </a:srgbClr>
          </a:solidFill>
          <a:ln>
            <a:noFill/>
          </a:ln>
        </p:spPr>
        <p:txBody>
          <a:bodyPr vert="horz" wrap="square" lIns="73152" tIns="73152" rIns="73152" bIns="73152" rtlCol="0" anchor="t"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20000"/>
              </a:spcBef>
              <a:buClr>
                <a:schemeClr val="bg1"/>
              </a:buClr>
            </a:pPr>
            <a:r>
              <a:rPr lang="zh-CN" sz="1000" b="1" dirty="0">
                <a:solidFill>
                  <a:schemeClr val="bg1"/>
                </a:solidFill>
                <a:ea typeface="楷体" panose="02010609060101010101" pitchFamily="49" charset="-122"/>
                <a:cs typeface="SimSun"/>
              </a:rPr>
              <a:t>乐观情绪把期望抬高到了难以企及的水平</a:t>
            </a:r>
            <a:r>
              <a:rPr lang="zh-CN" sz="1000" dirty="0">
                <a:solidFill>
                  <a:schemeClr val="bg1"/>
                </a:solidFill>
                <a:ea typeface="楷体" panose="02010609060101010101" pitchFamily="49" charset="-122"/>
                <a:cs typeface="SimSun"/>
              </a:rPr>
              <a:t>，当</a:t>
            </a:r>
            <a:r>
              <a:rPr lang="zh-CN" sz="1000" b="1" dirty="0">
                <a:solidFill>
                  <a:schemeClr val="bg1"/>
                </a:solidFill>
                <a:ea typeface="楷体" panose="02010609060101010101" pitchFamily="49" charset="-122"/>
                <a:cs typeface="SimSun"/>
              </a:rPr>
              <a:t>承诺的结果化为无法兑现的泡影，投入人工智能的资本开始大失所望</a:t>
            </a:r>
          </a:p>
          <a:p>
            <a:pPr lvl="1">
              <a:spcBef>
                <a:spcPct val="20000"/>
              </a:spcBef>
              <a:buClr>
                <a:schemeClr val="bg1"/>
              </a:buClr>
            </a:pPr>
            <a:r>
              <a:rPr lang="zh-CN" sz="1000" dirty="0">
                <a:solidFill>
                  <a:schemeClr val="bg1"/>
                </a:solidFill>
                <a:ea typeface="楷体" panose="02010609060101010101" pitchFamily="49" charset="-122"/>
                <a:cs typeface="SimSun"/>
              </a:rPr>
              <a:t>主要存在</a:t>
            </a:r>
            <a:r>
              <a:rPr lang="zh-CN" sz="1000" b="1" dirty="0">
                <a:solidFill>
                  <a:schemeClr val="bg1"/>
                </a:solidFill>
                <a:ea typeface="楷体" panose="02010609060101010101" pitchFamily="49" charset="-122"/>
                <a:cs typeface="SimSun"/>
              </a:rPr>
              <a:t>五个问题：</a:t>
            </a:r>
          </a:p>
          <a:p>
            <a:pPr lvl="2">
              <a:spcBef>
                <a:spcPct val="10000"/>
              </a:spcBef>
              <a:buClr>
                <a:schemeClr val="bg1"/>
              </a:buClr>
            </a:pPr>
            <a:r>
              <a:rPr lang="zh-CN" sz="1000" dirty="0">
                <a:solidFill>
                  <a:schemeClr val="bg1"/>
                </a:solidFill>
                <a:ea typeface="楷体" panose="02010609060101010101" pitchFamily="49" charset="-122"/>
                <a:cs typeface="SimSun"/>
              </a:rPr>
              <a:t>计算机</a:t>
            </a:r>
            <a:r>
              <a:rPr lang="zh-CN" altLang="en-US" sz="1000" dirty="0">
                <a:solidFill>
                  <a:schemeClr val="bg1"/>
                </a:solidFill>
                <a:ea typeface="楷体" panose="02010609060101010101" pitchFamily="49" charset="-122"/>
                <a:cs typeface="SimSun"/>
              </a:rPr>
              <a:t>能力</a:t>
            </a:r>
            <a:r>
              <a:rPr lang="zh-CN" sz="1000" dirty="0">
                <a:solidFill>
                  <a:schemeClr val="bg1"/>
                </a:solidFill>
                <a:ea typeface="楷体" panose="02010609060101010101" pitchFamily="49" charset="-122"/>
                <a:cs typeface="SimSun"/>
              </a:rPr>
              <a:t>有限</a:t>
            </a:r>
          </a:p>
          <a:p>
            <a:pPr lvl="2">
              <a:spcBef>
                <a:spcPct val="10000"/>
              </a:spcBef>
              <a:buClr>
                <a:schemeClr val="bg1"/>
              </a:buClr>
            </a:pPr>
            <a:r>
              <a:rPr lang="zh-CN" sz="1000" dirty="0">
                <a:solidFill>
                  <a:schemeClr val="bg1"/>
                </a:solidFill>
                <a:ea typeface="楷体" panose="02010609060101010101" pitchFamily="49" charset="-122"/>
                <a:cs typeface="SimSun"/>
              </a:rPr>
              <a:t>难处理性和组合爆炸</a:t>
            </a:r>
          </a:p>
          <a:p>
            <a:pPr lvl="2">
              <a:spcBef>
                <a:spcPct val="10000"/>
              </a:spcBef>
              <a:buClr>
                <a:schemeClr val="bg1"/>
              </a:buClr>
            </a:pPr>
            <a:r>
              <a:rPr lang="zh-CN" sz="1000" dirty="0">
                <a:solidFill>
                  <a:schemeClr val="bg1"/>
                </a:solidFill>
                <a:ea typeface="楷体" panose="02010609060101010101" pitchFamily="49" charset="-122"/>
                <a:cs typeface="SimSun"/>
              </a:rPr>
              <a:t>常识认知及推理</a:t>
            </a:r>
          </a:p>
          <a:p>
            <a:pPr lvl="2">
              <a:spcBef>
                <a:spcPct val="10000"/>
              </a:spcBef>
              <a:buClr>
                <a:schemeClr val="bg1"/>
              </a:buClr>
            </a:pPr>
            <a:r>
              <a:rPr lang="zh-CN" sz="1000" dirty="0">
                <a:solidFill>
                  <a:schemeClr val="bg1"/>
                </a:solidFill>
                <a:ea typeface="楷体" panose="02010609060101010101" pitchFamily="49" charset="-122"/>
                <a:cs typeface="SimSun"/>
              </a:rPr>
              <a:t>莫拉维克悖论</a:t>
            </a:r>
          </a:p>
          <a:p>
            <a:pPr lvl="2">
              <a:spcBef>
                <a:spcPct val="10000"/>
              </a:spcBef>
              <a:buClr>
                <a:schemeClr val="bg1"/>
              </a:buClr>
            </a:pPr>
            <a:r>
              <a:rPr lang="zh-CN" sz="1000" dirty="0">
                <a:solidFill>
                  <a:schemeClr val="bg1"/>
                </a:solidFill>
                <a:ea typeface="楷体" panose="02010609060101010101" pitchFamily="49" charset="-122"/>
                <a:cs typeface="SimSun"/>
              </a:rPr>
              <a:t>框架和资格问题</a:t>
            </a:r>
          </a:p>
        </p:txBody>
      </p:sp>
      <p:sp>
        <p:nvSpPr>
          <p:cNvPr id="43" name="Line 90"/>
          <p:cNvSpPr>
            <a:spLocks noChangeShapeType="1"/>
          </p:cNvSpPr>
          <p:nvPr>
            <p:custDataLst>
              <p:tags r:id="rId21"/>
            </p:custDataLst>
          </p:nvPr>
        </p:nvSpPr>
        <p:spPr bwMode="auto">
          <a:xfrm flipV="1">
            <a:off x="2644297" y="1333147"/>
            <a:ext cx="0" cy="2413799"/>
          </a:xfrm>
          <a:prstGeom prst="line">
            <a:avLst/>
          </a:prstGeom>
          <a:noFill/>
          <a:ln w="9525">
            <a:solidFill>
              <a:schemeClr val="bg1"/>
            </a:solidFill>
            <a:round/>
            <a:headEnd/>
            <a:tailEnd type="oval"/>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pPr fontAlgn="auto">
              <a:spcBef>
                <a:spcPts val="0"/>
              </a:spcBef>
              <a:spcAft>
                <a:spcPts val="0"/>
              </a:spcAft>
              <a:defRPr/>
            </a:pPr>
            <a:endParaRPr lang="en-US" sz="1000" kern="0" dirty="0">
              <a:solidFill>
                <a:srgbClr val="000000"/>
              </a:solidFill>
              <a:latin typeface="+mn-lt"/>
              <a:ea typeface="楷体" panose="02010609060101010101" pitchFamily="49" charset="-122"/>
            </a:endParaRPr>
          </a:p>
        </p:txBody>
      </p:sp>
      <p:sp>
        <p:nvSpPr>
          <p:cNvPr id="45" name="Line 92"/>
          <p:cNvSpPr>
            <a:spLocks noChangeShapeType="1"/>
          </p:cNvSpPr>
          <p:nvPr>
            <p:custDataLst>
              <p:tags r:id="rId22"/>
            </p:custDataLst>
          </p:nvPr>
        </p:nvSpPr>
        <p:spPr bwMode="auto">
          <a:xfrm flipV="1">
            <a:off x="5382467" y="1333147"/>
            <a:ext cx="0" cy="2413799"/>
          </a:xfrm>
          <a:prstGeom prst="line">
            <a:avLst/>
          </a:prstGeom>
          <a:noFill/>
          <a:ln w="9525">
            <a:solidFill>
              <a:schemeClr val="bg1"/>
            </a:solidFill>
            <a:round/>
            <a:headEnd/>
            <a:tailEnd type="oval"/>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pPr fontAlgn="auto">
              <a:spcBef>
                <a:spcPts val="0"/>
              </a:spcBef>
              <a:spcAft>
                <a:spcPts val="0"/>
              </a:spcAft>
              <a:defRPr/>
            </a:pPr>
            <a:endParaRPr lang="en-US" sz="1000" kern="0" dirty="0">
              <a:solidFill>
                <a:srgbClr val="000000"/>
              </a:solidFill>
              <a:latin typeface="+mn-lt"/>
              <a:ea typeface="楷体" panose="02010609060101010101" pitchFamily="49" charset="-122"/>
            </a:endParaRPr>
          </a:p>
        </p:txBody>
      </p:sp>
    </p:spTree>
    <p:extLst>
      <p:ext uri="{BB962C8B-B14F-4D97-AF65-F5344CB8AC3E}">
        <p14:creationId xmlns:p14="http://schemas.microsoft.com/office/powerpoint/2010/main" val="1909623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6" name="Group 255"/>
          <p:cNvGrpSpPr>
            <a:grpSpLocks/>
          </p:cNvGrpSpPr>
          <p:nvPr/>
        </p:nvGrpSpPr>
        <p:grpSpPr bwMode="gray">
          <a:xfrm>
            <a:off x="0" y="-1"/>
            <a:ext cx="8961438" cy="6721475"/>
            <a:chOff x="749301" y="-1"/>
            <a:chExt cx="8961438" cy="6721475"/>
          </a:xfrm>
        </p:grpSpPr>
        <p:grpSp>
          <p:nvGrpSpPr>
            <p:cNvPr id="277" name="Group 276"/>
            <p:cNvGrpSpPr>
              <a:grpSpLocks/>
            </p:cNvGrpSpPr>
            <p:nvPr/>
          </p:nvGrpSpPr>
          <p:grpSpPr bwMode="gray">
            <a:xfrm>
              <a:off x="749301" y="-1"/>
              <a:ext cx="8961438" cy="6721475"/>
              <a:chOff x="-12625388" y="-4110038"/>
              <a:chExt cx="11771313" cy="11769726"/>
            </a:xfrm>
          </p:grpSpPr>
          <p:sp>
            <p:nvSpPr>
              <p:cNvPr id="279" name="Freeform 305"/>
              <p:cNvSpPr>
                <a:spLocks noEditPoints="1"/>
              </p:cNvSpPr>
              <p:nvPr/>
            </p:nvSpPr>
            <p:spPr bwMode="gray">
              <a:xfrm>
                <a:off x="-12625388" y="-4110038"/>
                <a:ext cx="11771313" cy="11769725"/>
              </a:xfrm>
              <a:custGeom>
                <a:avLst/>
                <a:gdLst>
                  <a:gd name="T0" fmla="*/ 15360 w 15446"/>
                  <a:gd name="T1" fmla="*/ 14351 h 15446"/>
                  <a:gd name="T2" fmla="*/ 11037 w 15446"/>
                  <a:gd name="T3" fmla="*/ 13656 h 15446"/>
                  <a:gd name="T4" fmla="*/ 5936 w 15446"/>
                  <a:gd name="T5" fmla="*/ 12632 h 15446"/>
                  <a:gd name="T6" fmla="*/ 13164 w 15446"/>
                  <a:gd name="T7" fmla="*/ 15446 h 15446"/>
                  <a:gd name="T8" fmla="*/ 7984 w 15446"/>
                  <a:gd name="T9" fmla="*/ 14465 h 15446"/>
                  <a:gd name="T10" fmla="*/ 4300 w 15446"/>
                  <a:gd name="T11" fmla="*/ 15446 h 15446"/>
                  <a:gd name="T12" fmla="*/ 750 w 15446"/>
                  <a:gd name="T13" fmla="*/ 12746 h 15446"/>
                  <a:gd name="T14" fmla="*/ 750 w 15446"/>
                  <a:gd name="T15" fmla="*/ 12746 h 15446"/>
                  <a:gd name="T16" fmla="*/ 750 w 15446"/>
                  <a:gd name="T17" fmla="*/ 12746 h 15446"/>
                  <a:gd name="T18" fmla="*/ 371 w 15446"/>
                  <a:gd name="T19" fmla="*/ 15010 h 15446"/>
                  <a:gd name="T20" fmla="*/ 14542 w 15446"/>
                  <a:gd name="T21" fmla="*/ 0 h 15446"/>
                  <a:gd name="T22" fmla="*/ 7468 w 15446"/>
                  <a:gd name="T23" fmla="*/ 1574 h 15446"/>
                  <a:gd name="T24" fmla="*/ 7468 w 15446"/>
                  <a:gd name="T25" fmla="*/ 1574 h 15446"/>
                  <a:gd name="T26" fmla="*/ 3502 w 15446"/>
                  <a:gd name="T27" fmla="*/ 2789 h 15446"/>
                  <a:gd name="T28" fmla="*/ 1065 w 15446"/>
                  <a:gd name="T29" fmla="*/ 1273 h 15446"/>
                  <a:gd name="T30" fmla="*/ 120 w 15446"/>
                  <a:gd name="T31" fmla="*/ 3894 h 15446"/>
                  <a:gd name="T32" fmla="*/ 1145 w 15446"/>
                  <a:gd name="T33" fmla="*/ 6872 h 15446"/>
                  <a:gd name="T34" fmla="*/ 0 w 15446"/>
                  <a:gd name="T35" fmla="*/ 7970 h 15446"/>
                  <a:gd name="T36" fmla="*/ 2324 w 15446"/>
                  <a:gd name="T37" fmla="*/ 8914 h 15446"/>
                  <a:gd name="T38" fmla="*/ 3502 w 15446"/>
                  <a:gd name="T39" fmla="*/ 10955 h 15446"/>
                  <a:gd name="T40" fmla="*/ 2324 w 15446"/>
                  <a:gd name="T41" fmla="*/ 8914 h 15446"/>
                  <a:gd name="T42" fmla="*/ 586 w 15446"/>
                  <a:gd name="T43" fmla="*/ 11428 h 15446"/>
                  <a:gd name="T44" fmla="*/ 3502 w 15446"/>
                  <a:gd name="T45" fmla="*/ 10956 h 15446"/>
                  <a:gd name="T46" fmla="*/ 4943 w 15446"/>
                  <a:gd name="T47" fmla="*/ 15446 h 15446"/>
                  <a:gd name="T48" fmla="*/ 901 w 15446"/>
                  <a:gd name="T49" fmla="*/ 1246 h 15446"/>
                  <a:gd name="T50" fmla="*/ 2324 w 15446"/>
                  <a:gd name="T51" fmla="*/ 748 h 15446"/>
                  <a:gd name="T52" fmla="*/ 45 w 15446"/>
                  <a:gd name="T53" fmla="*/ 0 h 15446"/>
                  <a:gd name="T54" fmla="*/ 3737 w 15446"/>
                  <a:gd name="T55" fmla="*/ 15446 h 15446"/>
                  <a:gd name="T56" fmla="*/ 11037 w 15446"/>
                  <a:gd name="T57" fmla="*/ 13656 h 15446"/>
                  <a:gd name="T58" fmla="*/ 8413 w 15446"/>
                  <a:gd name="T59" fmla="*/ 8879 h 15446"/>
                  <a:gd name="T60" fmla="*/ 10777 w 15446"/>
                  <a:gd name="T61" fmla="*/ 9480 h 15446"/>
                  <a:gd name="T62" fmla="*/ 14110 w 15446"/>
                  <a:gd name="T63" fmla="*/ 8914 h 15446"/>
                  <a:gd name="T64" fmla="*/ 12931 w 15446"/>
                  <a:gd name="T65" fmla="*/ 10955 h 15446"/>
                  <a:gd name="T66" fmla="*/ 14110 w 15446"/>
                  <a:gd name="T67" fmla="*/ 12997 h 15446"/>
                  <a:gd name="T68" fmla="*/ 2324 w 15446"/>
                  <a:gd name="T69" fmla="*/ 12997 h 15446"/>
                  <a:gd name="T70" fmla="*/ 5935 w 15446"/>
                  <a:gd name="T71" fmla="*/ 12631 h 15446"/>
                  <a:gd name="T72" fmla="*/ 5936 w 15446"/>
                  <a:gd name="T73" fmla="*/ 12632 h 15446"/>
                  <a:gd name="T74" fmla="*/ 12931 w 15446"/>
                  <a:gd name="T75" fmla="*/ 6872 h 15446"/>
                  <a:gd name="T76" fmla="*/ 12931 w 15446"/>
                  <a:gd name="T77" fmla="*/ 6872 h 15446"/>
                  <a:gd name="T78" fmla="*/ 5860 w 15446"/>
                  <a:gd name="T79" fmla="*/ 6872 h 15446"/>
                  <a:gd name="T80" fmla="*/ 7038 w 15446"/>
                  <a:gd name="T81" fmla="*/ 8914 h 15446"/>
                  <a:gd name="T82" fmla="*/ 15446 w 15446"/>
                  <a:gd name="T83" fmla="*/ 8914 h 15446"/>
                  <a:gd name="T84" fmla="*/ 8217 w 15446"/>
                  <a:gd name="T85" fmla="*/ 6872 h 15446"/>
                  <a:gd name="T86" fmla="*/ 4159 w 15446"/>
                  <a:gd name="T87" fmla="*/ 4109 h 15446"/>
                  <a:gd name="T88" fmla="*/ 4159 w 15446"/>
                  <a:gd name="T89" fmla="*/ 4109 h 15446"/>
                  <a:gd name="T90" fmla="*/ 2557 w 15446"/>
                  <a:gd name="T91" fmla="*/ 7302 h 15446"/>
                  <a:gd name="T92" fmla="*/ 5860 w 15446"/>
                  <a:gd name="T93" fmla="*/ 6872 h 15446"/>
                  <a:gd name="T94" fmla="*/ 15446 w 15446"/>
                  <a:gd name="T95" fmla="*/ 7072 h 15446"/>
                  <a:gd name="T96" fmla="*/ 10574 w 15446"/>
                  <a:gd name="T97" fmla="*/ 6872 h 15446"/>
                  <a:gd name="T98" fmla="*/ 10574 w 15446"/>
                  <a:gd name="T99" fmla="*/ 6872 h 15446"/>
                  <a:gd name="T100" fmla="*/ 9316 w 15446"/>
                  <a:gd name="T101" fmla="*/ 6257 h 15446"/>
                  <a:gd name="T102" fmla="*/ 12655 w 15446"/>
                  <a:gd name="T103" fmla="*/ 5604 h 15446"/>
                  <a:gd name="T104" fmla="*/ 9316 w 15446"/>
                  <a:gd name="T105" fmla="*/ 6257 h 15446"/>
                  <a:gd name="T106" fmla="*/ 12655 w 15446"/>
                  <a:gd name="T107" fmla="*/ 5604 h 15446"/>
                  <a:gd name="T108" fmla="*/ 8410 w 15446"/>
                  <a:gd name="T109" fmla="*/ 2581 h 15446"/>
                  <a:gd name="T110" fmla="*/ 7038 w 15446"/>
                  <a:gd name="T111" fmla="*/ 4831 h 15446"/>
                  <a:gd name="T112" fmla="*/ 14110 w 15446"/>
                  <a:gd name="T113" fmla="*/ 4831 h 15446"/>
                  <a:gd name="T114" fmla="*/ 14110 w 15446"/>
                  <a:gd name="T115" fmla="*/ 4831 h 15446"/>
                  <a:gd name="T116" fmla="*/ 4603 w 15446"/>
                  <a:gd name="T117" fmla="*/ 3765 h 15446"/>
                  <a:gd name="T118" fmla="*/ 9396 w 15446"/>
                  <a:gd name="T119" fmla="*/ 748 h 15446"/>
                  <a:gd name="T120" fmla="*/ 5859 w 15446"/>
                  <a:gd name="T121" fmla="*/ 2790 h 15446"/>
                  <a:gd name="T122" fmla="*/ 15446 w 15446"/>
                  <a:gd name="T123" fmla="*/ 1876 h 15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46" h="15446">
                    <a:moveTo>
                      <a:pt x="14929" y="15446"/>
                    </a:moveTo>
                    <a:lnTo>
                      <a:pt x="14929" y="15446"/>
                    </a:lnTo>
                    <a:lnTo>
                      <a:pt x="15360" y="14351"/>
                    </a:lnTo>
                    <a:lnTo>
                      <a:pt x="13552" y="15446"/>
                    </a:lnTo>
                    <a:lnTo>
                      <a:pt x="15360" y="14351"/>
                    </a:lnTo>
                    <a:lnTo>
                      <a:pt x="14710" y="13647"/>
                    </a:lnTo>
                    <a:lnTo>
                      <a:pt x="15360" y="14351"/>
                    </a:lnTo>
                    <a:lnTo>
                      <a:pt x="15446" y="14344"/>
                    </a:lnTo>
                    <a:lnTo>
                      <a:pt x="15446" y="14344"/>
                    </a:lnTo>
                    <a:lnTo>
                      <a:pt x="15360" y="14351"/>
                    </a:lnTo>
                    <a:lnTo>
                      <a:pt x="14929" y="15446"/>
                    </a:lnTo>
                    <a:moveTo>
                      <a:pt x="13164" y="15446"/>
                    </a:moveTo>
                    <a:lnTo>
                      <a:pt x="13164" y="15446"/>
                    </a:lnTo>
                    <a:lnTo>
                      <a:pt x="11037" y="13656"/>
                    </a:lnTo>
                    <a:lnTo>
                      <a:pt x="11394" y="15446"/>
                    </a:lnTo>
                    <a:lnTo>
                      <a:pt x="11394" y="15446"/>
                    </a:lnTo>
                    <a:lnTo>
                      <a:pt x="11037" y="13656"/>
                    </a:lnTo>
                    <a:lnTo>
                      <a:pt x="9396" y="12997"/>
                    </a:lnTo>
                    <a:lnTo>
                      <a:pt x="9395" y="12997"/>
                    </a:lnTo>
                    <a:lnTo>
                      <a:pt x="9396" y="12997"/>
                    </a:lnTo>
                    <a:lnTo>
                      <a:pt x="5936" y="12632"/>
                    </a:lnTo>
                    <a:lnTo>
                      <a:pt x="9395" y="12997"/>
                    </a:lnTo>
                    <a:lnTo>
                      <a:pt x="9395" y="12997"/>
                    </a:lnTo>
                    <a:lnTo>
                      <a:pt x="11037" y="13656"/>
                    </a:lnTo>
                    <a:lnTo>
                      <a:pt x="11037" y="13656"/>
                    </a:lnTo>
                    <a:lnTo>
                      <a:pt x="11037" y="13656"/>
                    </a:lnTo>
                    <a:lnTo>
                      <a:pt x="11037" y="13656"/>
                    </a:lnTo>
                    <a:lnTo>
                      <a:pt x="13164" y="15446"/>
                    </a:lnTo>
                    <a:moveTo>
                      <a:pt x="8513" y="15446"/>
                    </a:moveTo>
                    <a:lnTo>
                      <a:pt x="6538" y="15446"/>
                    </a:lnTo>
                    <a:lnTo>
                      <a:pt x="7984" y="14465"/>
                    </a:lnTo>
                    <a:lnTo>
                      <a:pt x="6538" y="15446"/>
                    </a:lnTo>
                    <a:lnTo>
                      <a:pt x="7984" y="14465"/>
                    </a:lnTo>
                    <a:lnTo>
                      <a:pt x="7376" y="13922"/>
                    </a:lnTo>
                    <a:lnTo>
                      <a:pt x="7984" y="14465"/>
                    </a:lnTo>
                    <a:lnTo>
                      <a:pt x="8513" y="15446"/>
                    </a:lnTo>
                    <a:moveTo>
                      <a:pt x="4943" y="15446"/>
                    </a:moveTo>
                    <a:lnTo>
                      <a:pt x="4943" y="15446"/>
                    </a:lnTo>
                    <a:lnTo>
                      <a:pt x="3564" y="14028"/>
                    </a:lnTo>
                    <a:lnTo>
                      <a:pt x="3502" y="15039"/>
                    </a:lnTo>
                    <a:lnTo>
                      <a:pt x="4300" y="15446"/>
                    </a:lnTo>
                    <a:lnTo>
                      <a:pt x="4300" y="15446"/>
                    </a:lnTo>
                    <a:lnTo>
                      <a:pt x="3502" y="15039"/>
                    </a:lnTo>
                    <a:lnTo>
                      <a:pt x="3502" y="15039"/>
                    </a:lnTo>
                    <a:lnTo>
                      <a:pt x="3502" y="15039"/>
                    </a:lnTo>
                    <a:lnTo>
                      <a:pt x="3564" y="14028"/>
                    </a:lnTo>
                    <a:lnTo>
                      <a:pt x="2324" y="12997"/>
                    </a:lnTo>
                    <a:lnTo>
                      <a:pt x="2324" y="12997"/>
                    </a:lnTo>
                    <a:lnTo>
                      <a:pt x="750" y="12746"/>
                    </a:lnTo>
                    <a:lnTo>
                      <a:pt x="750" y="12746"/>
                    </a:lnTo>
                    <a:lnTo>
                      <a:pt x="750" y="12746"/>
                    </a:lnTo>
                    <a:lnTo>
                      <a:pt x="750" y="12746"/>
                    </a:lnTo>
                    <a:lnTo>
                      <a:pt x="586" y="11428"/>
                    </a:lnTo>
                    <a:lnTo>
                      <a:pt x="0" y="11274"/>
                    </a:lnTo>
                    <a:lnTo>
                      <a:pt x="0" y="12062"/>
                    </a:lnTo>
                    <a:lnTo>
                      <a:pt x="750" y="12746"/>
                    </a:lnTo>
                    <a:lnTo>
                      <a:pt x="750" y="12746"/>
                    </a:lnTo>
                    <a:lnTo>
                      <a:pt x="0" y="12062"/>
                    </a:lnTo>
                    <a:lnTo>
                      <a:pt x="750" y="12746"/>
                    </a:lnTo>
                    <a:lnTo>
                      <a:pt x="0" y="13667"/>
                    </a:lnTo>
                    <a:lnTo>
                      <a:pt x="0" y="15111"/>
                    </a:lnTo>
                    <a:lnTo>
                      <a:pt x="371" y="15010"/>
                    </a:lnTo>
                    <a:lnTo>
                      <a:pt x="750" y="12746"/>
                    </a:lnTo>
                    <a:lnTo>
                      <a:pt x="750" y="12746"/>
                    </a:lnTo>
                    <a:lnTo>
                      <a:pt x="372" y="15010"/>
                    </a:lnTo>
                    <a:lnTo>
                      <a:pt x="1152" y="14205"/>
                    </a:lnTo>
                    <a:lnTo>
                      <a:pt x="372" y="15010"/>
                    </a:lnTo>
                    <a:lnTo>
                      <a:pt x="482" y="15446"/>
                    </a:lnTo>
                    <a:lnTo>
                      <a:pt x="482" y="15446"/>
                    </a:lnTo>
                    <a:lnTo>
                      <a:pt x="371" y="15010"/>
                    </a:lnTo>
                    <a:lnTo>
                      <a:pt x="0" y="15111"/>
                    </a:lnTo>
                    <a:lnTo>
                      <a:pt x="0" y="15446"/>
                    </a:lnTo>
                    <a:lnTo>
                      <a:pt x="0" y="0"/>
                    </a:lnTo>
                    <a:lnTo>
                      <a:pt x="15446" y="0"/>
                    </a:lnTo>
                    <a:lnTo>
                      <a:pt x="14542" y="0"/>
                    </a:lnTo>
                    <a:lnTo>
                      <a:pt x="14110" y="748"/>
                    </a:lnTo>
                    <a:lnTo>
                      <a:pt x="14542" y="0"/>
                    </a:lnTo>
                    <a:lnTo>
                      <a:pt x="8964" y="0"/>
                    </a:lnTo>
                    <a:lnTo>
                      <a:pt x="9395" y="747"/>
                    </a:lnTo>
                    <a:lnTo>
                      <a:pt x="9395" y="747"/>
                    </a:lnTo>
                    <a:lnTo>
                      <a:pt x="8964" y="0"/>
                    </a:lnTo>
                    <a:lnTo>
                      <a:pt x="7879" y="0"/>
                    </a:lnTo>
                    <a:lnTo>
                      <a:pt x="7468" y="1574"/>
                    </a:lnTo>
                    <a:lnTo>
                      <a:pt x="7468" y="1574"/>
                    </a:lnTo>
                    <a:lnTo>
                      <a:pt x="7879" y="0"/>
                    </a:lnTo>
                    <a:lnTo>
                      <a:pt x="6111" y="0"/>
                    </a:lnTo>
                    <a:lnTo>
                      <a:pt x="7468" y="1574"/>
                    </a:lnTo>
                    <a:lnTo>
                      <a:pt x="6111" y="0"/>
                    </a:lnTo>
                    <a:lnTo>
                      <a:pt x="4249" y="0"/>
                    </a:lnTo>
                    <a:lnTo>
                      <a:pt x="4681" y="748"/>
                    </a:lnTo>
                    <a:lnTo>
                      <a:pt x="7468" y="1574"/>
                    </a:lnTo>
                    <a:lnTo>
                      <a:pt x="7468" y="1574"/>
                    </a:lnTo>
                    <a:lnTo>
                      <a:pt x="4681" y="748"/>
                    </a:lnTo>
                    <a:lnTo>
                      <a:pt x="5860" y="2789"/>
                    </a:lnTo>
                    <a:lnTo>
                      <a:pt x="5859" y="2789"/>
                    </a:lnTo>
                    <a:lnTo>
                      <a:pt x="4681" y="748"/>
                    </a:lnTo>
                    <a:lnTo>
                      <a:pt x="3502" y="2790"/>
                    </a:lnTo>
                    <a:lnTo>
                      <a:pt x="3502" y="2789"/>
                    </a:lnTo>
                    <a:lnTo>
                      <a:pt x="4681" y="748"/>
                    </a:lnTo>
                    <a:lnTo>
                      <a:pt x="2324" y="748"/>
                    </a:lnTo>
                    <a:lnTo>
                      <a:pt x="3502" y="2789"/>
                    </a:lnTo>
                    <a:lnTo>
                      <a:pt x="3502" y="2789"/>
                    </a:lnTo>
                    <a:lnTo>
                      <a:pt x="2324" y="748"/>
                    </a:lnTo>
                    <a:lnTo>
                      <a:pt x="1065" y="1273"/>
                    </a:lnTo>
                    <a:lnTo>
                      <a:pt x="1065" y="1273"/>
                    </a:lnTo>
                    <a:lnTo>
                      <a:pt x="1065" y="1273"/>
                    </a:lnTo>
                    <a:lnTo>
                      <a:pt x="1065" y="1273"/>
                    </a:lnTo>
                    <a:lnTo>
                      <a:pt x="120" y="3894"/>
                    </a:lnTo>
                    <a:lnTo>
                      <a:pt x="2324" y="4831"/>
                    </a:lnTo>
                    <a:lnTo>
                      <a:pt x="2324" y="4831"/>
                    </a:lnTo>
                    <a:lnTo>
                      <a:pt x="120" y="3894"/>
                    </a:lnTo>
                    <a:lnTo>
                      <a:pt x="120" y="3894"/>
                    </a:lnTo>
                    <a:lnTo>
                      <a:pt x="1065" y="1273"/>
                    </a:lnTo>
                    <a:lnTo>
                      <a:pt x="0" y="1982"/>
                    </a:lnTo>
                    <a:lnTo>
                      <a:pt x="0" y="3795"/>
                    </a:lnTo>
                    <a:lnTo>
                      <a:pt x="120" y="3894"/>
                    </a:lnTo>
                    <a:lnTo>
                      <a:pt x="120" y="3894"/>
                    </a:lnTo>
                    <a:lnTo>
                      <a:pt x="270" y="4331"/>
                    </a:lnTo>
                    <a:lnTo>
                      <a:pt x="1145" y="6872"/>
                    </a:lnTo>
                    <a:lnTo>
                      <a:pt x="270" y="4331"/>
                    </a:lnTo>
                    <a:lnTo>
                      <a:pt x="1145" y="6872"/>
                    </a:lnTo>
                    <a:lnTo>
                      <a:pt x="2088" y="5239"/>
                    </a:lnTo>
                    <a:lnTo>
                      <a:pt x="1145" y="6872"/>
                    </a:lnTo>
                    <a:lnTo>
                      <a:pt x="1145" y="6872"/>
                    </a:lnTo>
                    <a:lnTo>
                      <a:pt x="1109" y="6907"/>
                    </a:lnTo>
                    <a:lnTo>
                      <a:pt x="0" y="7970"/>
                    </a:lnTo>
                    <a:lnTo>
                      <a:pt x="1109" y="6907"/>
                    </a:lnTo>
                    <a:lnTo>
                      <a:pt x="0" y="7970"/>
                    </a:lnTo>
                    <a:lnTo>
                      <a:pt x="0" y="8978"/>
                    </a:lnTo>
                    <a:lnTo>
                      <a:pt x="2324" y="8914"/>
                    </a:lnTo>
                    <a:lnTo>
                      <a:pt x="1145" y="6872"/>
                    </a:lnTo>
                    <a:lnTo>
                      <a:pt x="2324" y="8914"/>
                    </a:lnTo>
                    <a:lnTo>
                      <a:pt x="2324" y="8914"/>
                    </a:lnTo>
                    <a:lnTo>
                      <a:pt x="4116" y="9609"/>
                    </a:lnTo>
                    <a:lnTo>
                      <a:pt x="3114" y="8126"/>
                    </a:lnTo>
                    <a:lnTo>
                      <a:pt x="4116" y="9609"/>
                    </a:lnTo>
                    <a:lnTo>
                      <a:pt x="5860" y="10955"/>
                    </a:lnTo>
                    <a:lnTo>
                      <a:pt x="5859" y="10955"/>
                    </a:lnTo>
                    <a:lnTo>
                      <a:pt x="4116" y="9609"/>
                    </a:lnTo>
                    <a:lnTo>
                      <a:pt x="3502" y="10955"/>
                    </a:lnTo>
                    <a:lnTo>
                      <a:pt x="3502" y="10955"/>
                    </a:lnTo>
                    <a:lnTo>
                      <a:pt x="3502" y="10955"/>
                    </a:lnTo>
                    <a:lnTo>
                      <a:pt x="3502" y="10955"/>
                    </a:lnTo>
                    <a:lnTo>
                      <a:pt x="4116" y="9609"/>
                    </a:lnTo>
                    <a:lnTo>
                      <a:pt x="2324" y="8914"/>
                    </a:lnTo>
                    <a:lnTo>
                      <a:pt x="2324" y="8914"/>
                    </a:lnTo>
                    <a:lnTo>
                      <a:pt x="2324" y="8914"/>
                    </a:lnTo>
                    <a:lnTo>
                      <a:pt x="2324" y="8914"/>
                    </a:lnTo>
                    <a:lnTo>
                      <a:pt x="2324" y="8914"/>
                    </a:lnTo>
                    <a:lnTo>
                      <a:pt x="0" y="8978"/>
                    </a:lnTo>
                    <a:lnTo>
                      <a:pt x="0" y="11274"/>
                    </a:lnTo>
                    <a:lnTo>
                      <a:pt x="586" y="11428"/>
                    </a:lnTo>
                    <a:lnTo>
                      <a:pt x="1542" y="10045"/>
                    </a:lnTo>
                    <a:lnTo>
                      <a:pt x="586" y="11428"/>
                    </a:lnTo>
                    <a:lnTo>
                      <a:pt x="3502" y="10955"/>
                    </a:lnTo>
                    <a:lnTo>
                      <a:pt x="586" y="11428"/>
                    </a:lnTo>
                    <a:lnTo>
                      <a:pt x="750" y="12746"/>
                    </a:lnTo>
                    <a:lnTo>
                      <a:pt x="2324" y="12997"/>
                    </a:lnTo>
                    <a:lnTo>
                      <a:pt x="2324" y="12997"/>
                    </a:lnTo>
                    <a:lnTo>
                      <a:pt x="3564" y="14028"/>
                    </a:lnTo>
                    <a:lnTo>
                      <a:pt x="3502" y="10956"/>
                    </a:lnTo>
                    <a:lnTo>
                      <a:pt x="3564" y="14028"/>
                    </a:lnTo>
                    <a:lnTo>
                      <a:pt x="5860" y="10956"/>
                    </a:lnTo>
                    <a:lnTo>
                      <a:pt x="5860" y="10956"/>
                    </a:lnTo>
                    <a:lnTo>
                      <a:pt x="3564" y="14028"/>
                    </a:lnTo>
                    <a:lnTo>
                      <a:pt x="3564" y="14028"/>
                    </a:lnTo>
                    <a:lnTo>
                      <a:pt x="3564" y="14028"/>
                    </a:lnTo>
                    <a:lnTo>
                      <a:pt x="4943" y="15446"/>
                    </a:lnTo>
                    <a:moveTo>
                      <a:pt x="0" y="3795"/>
                    </a:moveTo>
                    <a:lnTo>
                      <a:pt x="120" y="3894"/>
                    </a:lnTo>
                    <a:lnTo>
                      <a:pt x="0" y="3795"/>
                    </a:lnTo>
                    <a:moveTo>
                      <a:pt x="0" y="1099"/>
                    </a:moveTo>
                    <a:lnTo>
                      <a:pt x="0" y="1982"/>
                    </a:lnTo>
                    <a:lnTo>
                      <a:pt x="1065" y="1273"/>
                    </a:lnTo>
                    <a:lnTo>
                      <a:pt x="901" y="1246"/>
                    </a:lnTo>
                    <a:lnTo>
                      <a:pt x="1065" y="1273"/>
                    </a:lnTo>
                    <a:lnTo>
                      <a:pt x="2324" y="748"/>
                    </a:lnTo>
                    <a:lnTo>
                      <a:pt x="0" y="916"/>
                    </a:lnTo>
                    <a:lnTo>
                      <a:pt x="0" y="1099"/>
                    </a:lnTo>
                    <a:moveTo>
                      <a:pt x="0" y="52"/>
                    </a:moveTo>
                    <a:lnTo>
                      <a:pt x="0" y="916"/>
                    </a:lnTo>
                    <a:lnTo>
                      <a:pt x="2324" y="748"/>
                    </a:lnTo>
                    <a:lnTo>
                      <a:pt x="4681" y="748"/>
                    </a:lnTo>
                    <a:lnTo>
                      <a:pt x="4249" y="0"/>
                    </a:lnTo>
                    <a:lnTo>
                      <a:pt x="1892" y="0"/>
                    </a:lnTo>
                    <a:lnTo>
                      <a:pt x="2324" y="748"/>
                    </a:lnTo>
                    <a:lnTo>
                      <a:pt x="2324" y="748"/>
                    </a:lnTo>
                    <a:lnTo>
                      <a:pt x="1892" y="0"/>
                    </a:lnTo>
                    <a:lnTo>
                      <a:pt x="45" y="0"/>
                    </a:lnTo>
                    <a:lnTo>
                      <a:pt x="0" y="52"/>
                    </a:lnTo>
                    <a:moveTo>
                      <a:pt x="0" y="0"/>
                    </a:moveTo>
                    <a:lnTo>
                      <a:pt x="0" y="52"/>
                    </a:lnTo>
                    <a:lnTo>
                      <a:pt x="44" y="0"/>
                    </a:lnTo>
                    <a:lnTo>
                      <a:pt x="0" y="0"/>
                    </a:lnTo>
                    <a:moveTo>
                      <a:pt x="3737" y="15446"/>
                    </a:moveTo>
                    <a:lnTo>
                      <a:pt x="3737" y="15446"/>
                    </a:lnTo>
                    <a:lnTo>
                      <a:pt x="3502" y="15039"/>
                    </a:lnTo>
                    <a:lnTo>
                      <a:pt x="3737" y="15446"/>
                    </a:lnTo>
                    <a:moveTo>
                      <a:pt x="1074" y="15446"/>
                    </a:moveTo>
                    <a:lnTo>
                      <a:pt x="1074" y="15446"/>
                    </a:lnTo>
                    <a:lnTo>
                      <a:pt x="800" y="15275"/>
                    </a:lnTo>
                    <a:lnTo>
                      <a:pt x="1074" y="15446"/>
                    </a:lnTo>
                    <a:moveTo>
                      <a:pt x="11037" y="13656"/>
                    </a:moveTo>
                    <a:lnTo>
                      <a:pt x="12931" y="10955"/>
                    </a:lnTo>
                    <a:lnTo>
                      <a:pt x="10777" y="9480"/>
                    </a:lnTo>
                    <a:lnTo>
                      <a:pt x="10433" y="11715"/>
                    </a:lnTo>
                    <a:lnTo>
                      <a:pt x="10433" y="11715"/>
                    </a:lnTo>
                    <a:lnTo>
                      <a:pt x="10433" y="11715"/>
                    </a:lnTo>
                    <a:lnTo>
                      <a:pt x="10777" y="9480"/>
                    </a:lnTo>
                    <a:lnTo>
                      <a:pt x="8413" y="8879"/>
                    </a:lnTo>
                    <a:lnTo>
                      <a:pt x="8413" y="8879"/>
                    </a:lnTo>
                    <a:lnTo>
                      <a:pt x="8413" y="8879"/>
                    </a:lnTo>
                    <a:lnTo>
                      <a:pt x="8413" y="8879"/>
                    </a:lnTo>
                    <a:lnTo>
                      <a:pt x="7038" y="8914"/>
                    </a:lnTo>
                    <a:lnTo>
                      <a:pt x="7038" y="8914"/>
                    </a:lnTo>
                    <a:lnTo>
                      <a:pt x="8413" y="8879"/>
                    </a:lnTo>
                    <a:lnTo>
                      <a:pt x="10777" y="9480"/>
                    </a:lnTo>
                    <a:lnTo>
                      <a:pt x="10777" y="9480"/>
                    </a:lnTo>
                    <a:lnTo>
                      <a:pt x="10777" y="9480"/>
                    </a:lnTo>
                    <a:lnTo>
                      <a:pt x="10777" y="9480"/>
                    </a:lnTo>
                    <a:lnTo>
                      <a:pt x="12931" y="10955"/>
                    </a:lnTo>
                    <a:lnTo>
                      <a:pt x="13871" y="11844"/>
                    </a:lnTo>
                    <a:lnTo>
                      <a:pt x="14110" y="8914"/>
                    </a:lnTo>
                    <a:lnTo>
                      <a:pt x="14110" y="8914"/>
                    </a:lnTo>
                    <a:lnTo>
                      <a:pt x="13871" y="11844"/>
                    </a:lnTo>
                    <a:lnTo>
                      <a:pt x="15446" y="11473"/>
                    </a:lnTo>
                    <a:lnTo>
                      <a:pt x="15446" y="11473"/>
                    </a:lnTo>
                    <a:lnTo>
                      <a:pt x="13871" y="11844"/>
                    </a:lnTo>
                    <a:lnTo>
                      <a:pt x="14069" y="12799"/>
                    </a:lnTo>
                    <a:lnTo>
                      <a:pt x="13871" y="11844"/>
                    </a:lnTo>
                    <a:lnTo>
                      <a:pt x="12931" y="10955"/>
                    </a:lnTo>
                    <a:lnTo>
                      <a:pt x="14110" y="12997"/>
                    </a:lnTo>
                    <a:lnTo>
                      <a:pt x="14110" y="12997"/>
                    </a:lnTo>
                    <a:lnTo>
                      <a:pt x="14110" y="12997"/>
                    </a:lnTo>
                    <a:lnTo>
                      <a:pt x="12931" y="10955"/>
                    </a:lnTo>
                    <a:lnTo>
                      <a:pt x="11037" y="13656"/>
                    </a:lnTo>
                    <a:moveTo>
                      <a:pt x="15446" y="12997"/>
                    </a:moveTo>
                    <a:lnTo>
                      <a:pt x="14110" y="12997"/>
                    </a:lnTo>
                    <a:lnTo>
                      <a:pt x="14110" y="12997"/>
                    </a:lnTo>
                    <a:lnTo>
                      <a:pt x="15446" y="12997"/>
                    </a:lnTo>
                    <a:lnTo>
                      <a:pt x="15446" y="12997"/>
                    </a:lnTo>
                    <a:moveTo>
                      <a:pt x="2324" y="12997"/>
                    </a:moveTo>
                    <a:lnTo>
                      <a:pt x="586" y="11428"/>
                    </a:lnTo>
                    <a:lnTo>
                      <a:pt x="2324" y="12997"/>
                    </a:lnTo>
                    <a:lnTo>
                      <a:pt x="2324" y="12997"/>
                    </a:lnTo>
                    <a:moveTo>
                      <a:pt x="750" y="12746"/>
                    </a:moveTo>
                    <a:lnTo>
                      <a:pt x="750" y="12746"/>
                    </a:lnTo>
                    <a:lnTo>
                      <a:pt x="750" y="12746"/>
                    </a:lnTo>
                    <a:lnTo>
                      <a:pt x="750" y="12746"/>
                    </a:lnTo>
                    <a:lnTo>
                      <a:pt x="750" y="12746"/>
                    </a:lnTo>
                    <a:moveTo>
                      <a:pt x="5936" y="12632"/>
                    </a:moveTo>
                    <a:lnTo>
                      <a:pt x="5935" y="12631"/>
                    </a:lnTo>
                    <a:lnTo>
                      <a:pt x="7357" y="11428"/>
                    </a:lnTo>
                    <a:lnTo>
                      <a:pt x="5860" y="10955"/>
                    </a:lnTo>
                    <a:lnTo>
                      <a:pt x="5860" y="10955"/>
                    </a:lnTo>
                    <a:lnTo>
                      <a:pt x="7357" y="11428"/>
                    </a:lnTo>
                    <a:lnTo>
                      <a:pt x="7093" y="9346"/>
                    </a:lnTo>
                    <a:lnTo>
                      <a:pt x="7357" y="11428"/>
                    </a:lnTo>
                    <a:lnTo>
                      <a:pt x="5936" y="12632"/>
                    </a:lnTo>
                    <a:moveTo>
                      <a:pt x="5935" y="12632"/>
                    </a:moveTo>
                    <a:lnTo>
                      <a:pt x="5927" y="12440"/>
                    </a:lnTo>
                    <a:lnTo>
                      <a:pt x="5935" y="12631"/>
                    </a:lnTo>
                    <a:moveTo>
                      <a:pt x="10777" y="9480"/>
                    </a:moveTo>
                    <a:lnTo>
                      <a:pt x="12931" y="6872"/>
                    </a:lnTo>
                    <a:lnTo>
                      <a:pt x="10574" y="6872"/>
                    </a:lnTo>
                    <a:lnTo>
                      <a:pt x="12931" y="6872"/>
                    </a:lnTo>
                    <a:lnTo>
                      <a:pt x="12818" y="6352"/>
                    </a:lnTo>
                    <a:lnTo>
                      <a:pt x="12931" y="6872"/>
                    </a:lnTo>
                    <a:lnTo>
                      <a:pt x="15446" y="7725"/>
                    </a:lnTo>
                    <a:lnTo>
                      <a:pt x="15446" y="7725"/>
                    </a:lnTo>
                    <a:lnTo>
                      <a:pt x="12931" y="6872"/>
                    </a:lnTo>
                    <a:lnTo>
                      <a:pt x="14110" y="8914"/>
                    </a:lnTo>
                    <a:lnTo>
                      <a:pt x="12931" y="6872"/>
                    </a:lnTo>
                    <a:lnTo>
                      <a:pt x="10777" y="9480"/>
                    </a:lnTo>
                    <a:lnTo>
                      <a:pt x="10777" y="9480"/>
                    </a:lnTo>
                    <a:moveTo>
                      <a:pt x="7038" y="8914"/>
                    </a:moveTo>
                    <a:lnTo>
                      <a:pt x="7038" y="8914"/>
                    </a:lnTo>
                    <a:lnTo>
                      <a:pt x="8217" y="6872"/>
                    </a:lnTo>
                    <a:lnTo>
                      <a:pt x="5860" y="6872"/>
                    </a:lnTo>
                    <a:lnTo>
                      <a:pt x="5860" y="6872"/>
                    </a:lnTo>
                    <a:lnTo>
                      <a:pt x="8217" y="6872"/>
                    </a:lnTo>
                    <a:lnTo>
                      <a:pt x="7366" y="5398"/>
                    </a:lnTo>
                    <a:lnTo>
                      <a:pt x="8217" y="6872"/>
                    </a:lnTo>
                    <a:lnTo>
                      <a:pt x="9050" y="6406"/>
                    </a:lnTo>
                    <a:lnTo>
                      <a:pt x="8217" y="6872"/>
                    </a:lnTo>
                    <a:lnTo>
                      <a:pt x="8217" y="6872"/>
                    </a:lnTo>
                    <a:lnTo>
                      <a:pt x="7038" y="8914"/>
                    </a:lnTo>
                    <a:moveTo>
                      <a:pt x="7038" y="8914"/>
                    </a:moveTo>
                    <a:lnTo>
                      <a:pt x="5868" y="6886"/>
                    </a:lnTo>
                    <a:lnTo>
                      <a:pt x="7038" y="8914"/>
                    </a:lnTo>
                    <a:lnTo>
                      <a:pt x="7038" y="8914"/>
                    </a:lnTo>
                    <a:moveTo>
                      <a:pt x="15446" y="8914"/>
                    </a:moveTo>
                    <a:lnTo>
                      <a:pt x="14110" y="8914"/>
                    </a:lnTo>
                    <a:lnTo>
                      <a:pt x="15446" y="8914"/>
                    </a:lnTo>
                    <a:lnTo>
                      <a:pt x="15446" y="8914"/>
                    </a:lnTo>
                    <a:moveTo>
                      <a:pt x="14110" y="8914"/>
                    </a:moveTo>
                    <a:lnTo>
                      <a:pt x="14110" y="8914"/>
                    </a:lnTo>
                    <a:lnTo>
                      <a:pt x="14874" y="8485"/>
                    </a:lnTo>
                    <a:lnTo>
                      <a:pt x="14110" y="8914"/>
                    </a:lnTo>
                    <a:moveTo>
                      <a:pt x="8413" y="8878"/>
                    </a:moveTo>
                    <a:lnTo>
                      <a:pt x="8217" y="6872"/>
                    </a:lnTo>
                    <a:lnTo>
                      <a:pt x="8217" y="6872"/>
                    </a:lnTo>
                    <a:lnTo>
                      <a:pt x="8413" y="8878"/>
                    </a:lnTo>
                    <a:lnTo>
                      <a:pt x="8413" y="8878"/>
                    </a:lnTo>
                    <a:moveTo>
                      <a:pt x="2557" y="7302"/>
                    </a:moveTo>
                    <a:lnTo>
                      <a:pt x="2557" y="7302"/>
                    </a:lnTo>
                    <a:lnTo>
                      <a:pt x="2557" y="7302"/>
                    </a:lnTo>
                    <a:lnTo>
                      <a:pt x="4159" y="4109"/>
                    </a:lnTo>
                    <a:lnTo>
                      <a:pt x="2324" y="4831"/>
                    </a:lnTo>
                    <a:lnTo>
                      <a:pt x="2324" y="4831"/>
                    </a:lnTo>
                    <a:lnTo>
                      <a:pt x="2324" y="4831"/>
                    </a:lnTo>
                    <a:lnTo>
                      <a:pt x="2324" y="4831"/>
                    </a:lnTo>
                    <a:lnTo>
                      <a:pt x="2324" y="4831"/>
                    </a:lnTo>
                    <a:lnTo>
                      <a:pt x="4159" y="4109"/>
                    </a:lnTo>
                    <a:lnTo>
                      <a:pt x="4159" y="4109"/>
                    </a:lnTo>
                    <a:lnTo>
                      <a:pt x="4159" y="4109"/>
                    </a:lnTo>
                    <a:lnTo>
                      <a:pt x="4159" y="4109"/>
                    </a:lnTo>
                    <a:lnTo>
                      <a:pt x="4159" y="4109"/>
                    </a:lnTo>
                    <a:lnTo>
                      <a:pt x="5860" y="6872"/>
                    </a:lnTo>
                    <a:lnTo>
                      <a:pt x="5859" y="6872"/>
                    </a:lnTo>
                    <a:lnTo>
                      <a:pt x="4159" y="4109"/>
                    </a:lnTo>
                    <a:lnTo>
                      <a:pt x="2557" y="7302"/>
                    </a:lnTo>
                    <a:lnTo>
                      <a:pt x="2557" y="7302"/>
                    </a:lnTo>
                    <a:moveTo>
                      <a:pt x="2557" y="7302"/>
                    </a:moveTo>
                    <a:lnTo>
                      <a:pt x="2324" y="4831"/>
                    </a:lnTo>
                    <a:lnTo>
                      <a:pt x="2324" y="4831"/>
                    </a:lnTo>
                    <a:lnTo>
                      <a:pt x="2557" y="7302"/>
                    </a:lnTo>
                    <a:moveTo>
                      <a:pt x="2909" y="7256"/>
                    </a:moveTo>
                    <a:lnTo>
                      <a:pt x="5860" y="6872"/>
                    </a:lnTo>
                    <a:lnTo>
                      <a:pt x="5860" y="6872"/>
                    </a:lnTo>
                    <a:lnTo>
                      <a:pt x="5860" y="6872"/>
                    </a:lnTo>
                    <a:lnTo>
                      <a:pt x="2909" y="7256"/>
                    </a:lnTo>
                    <a:moveTo>
                      <a:pt x="15446" y="7072"/>
                    </a:moveTo>
                    <a:lnTo>
                      <a:pt x="15229" y="6708"/>
                    </a:lnTo>
                    <a:lnTo>
                      <a:pt x="15446" y="7072"/>
                    </a:lnTo>
                    <a:lnTo>
                      <a:pt x="15446" y="7072"/>
                    </a:lnTo>
                    <a:moveTo>
                      <a:pt x="1145" y="6872"/>
                    </a:moveTo>
                    <a:lnTo>
                      <a:pt x="1145" y="6872"/>
                    </a:lnTo>
                    <a:moveTo>
                      <a:pt x="10574" y="6872"/>
                    </a:moveTo>
                    <a:lnTo>
                      <a:pt x="10574" y="6872"/>
                    </a:lnTo>
                    <a:lnTo>
                      <a:pt x="10574" y="6872"/>
                    </a:lnTo>
                    <a:lnTo>
                      <a:pt x="12458" y="5724"/>
                    </a:lnTo>
                    <a:lnTo>
                      <a:pt x="10574" y="6872"/>
                    </a:lnTo>
                    <a:moveTo>
                      <a:pt x="8217" y="6872"/>
                    </a:moveTo>
                    <a:lnTo>
                      <a:pt x="8217" y="6872"/>
                    </a:lnTo>
                    <a:lnTo>
                      <a:pt x="8217" y="6872"/>
                    </a:lnTo>
                    <a:lnTo>
                      <a:pt x="8217" y="6872"/>
                    </a:lnTo>
                    <a:moveTo>
                      <a:pt x="10574" y="6872"/>
                    </a:moveTo>
                    <a:lnTo>
                      <a:pt x="9445" y="6321"/>
                    </a:lnTo>
                    <a:lnTo>
                      <a:pt x="10574" y="6872"/>
                    </a:lnTo>
                    <a:lnTo>
                      <a:pt x="10574" y="6872"/>
                    </a:lnTo>
                    <a:moveTo>
                      <a:pt x="9316" y="6257"/>
                    </a:moveTo>
                    <a:lnTo>
                      <a:pt x="9316" y="6257"/>
                    </a:lnTo>
                    <a:lnTo>
                      <a:pt x="9316" y="6257"/>
                    </a:lnTo>
                    <a:lnTo>
                      <a:pt x="9316" y="6257"/>
                    </a:lnTo>
                    <a:lnTo>
                      <a:pt x="9316" y="6257"/>
                    </a:lnTo>
                    <a:lnTo>
                      <a:pt x="9316" y="6257"/>
                    </a:lnTo>
                    <a:lnTo>
                      <a:pt x="12655" y="5604"/>
                    </a:lnTo>
                    <a:lnTo>
                      <a:pt x="12655" y="5604"/>
                    </a:lnTo>
                    <a:lnTo>
                      <a:pt x="12655" y="5604"/>
                    </a:lnTo>
                    <a:lnTo>
                      <a:pt x="12655" y="5604"/>
                    </a:lnTo>
                    <a:lnTo>
                      <a:pt x="14110" y="4831"/>
                    </a:lnTo>
                    <a:lnTo>
                      <a:pt x="12655" y="5604"/>
                    </a:lnTo>
                    <a:lnTo>
                      <a:pt x="12655" y="5604"/>
                    </a:lnTo>
                    <a:lnTo>
                      <a:pt x="12655" y="5604"/>
                    </a:lnTo>
                    <a:lnTo>
                      <a:pt x="9316" y="6257"/>
                    </a:lnTo>
                    <a:moveTo>
                      <a:pt x="9316" y="6257"/>
                    </a:moveTo>
                    <a:lnTo>
                      <a:pt x="7038" y="4831"/>
                    </a:lnTo>
                    <a:lnTo>
                      <a:pt x="7038" y="4831"/>
                    </a:lnTo>
                    <a:lnTo>
                      <a:pt x="9316" y="6257"/>
                    </a:lnTo>
                    <a:lnTo>
                      <a:pt x="9316" y="6257"/>
                    </a:lnTo>
                    <a:moveTo>
                      <a:pt x="9316" y="6257"/>
                    </a:moveTo>
                    <a:lnTo>
                      <a:pt x="9316" y="3550"/>
                    </a:lnTo>
                    <a:lnTo>
                      <a:pt x="9316" y="6257"/>
                    </a:lnTo>
                    <a:moveTo>
                      <a:pt x="12655" y="5604"/>
                    </a:moveTo>
                    <a:lnTo>
                      <a:pt x="12655" y="5604"/>
                    </a:lnTo>
                    <a:lnTo>
                      <a:pt x="12201" y="3434"/>
                    </a:lnTo>
                    <a:lnTo>
                      <a:pt x="12655" y="5604"/>
                    </a:lnTo>
                    <a:moveTo>
                      <a:pt x="7038" y="4831"/>
                    </a:moveTo>
                    <a:lnTo>
                      <a:pt x="7038" y="4831"/>
                    </a:lnTo>
                    <a:lnTo>
                      <a:pt x="9316" y="3550"/>
                    </a:lnTo>
                    <a:lnTo>
                      <a:pt x="5859" y="2789"/>
                    </a:lnTo>
                    <a:lnTo>
                      <a:pt x="5860" y="2789"/>
                    </a:lnTo>
                    <a:lnTo>
                      <a:pt x="9316" y="3550"/>
                    </a:lnTo>
                    <a:lnTo>
                      <a:pt x="8410" y="2581"/>
                    </a:lnTo>
                    <a:lnTo>
                      <a:pt x="9316" y="3550"/>
                    </a:lnTo>
                    <a:lnTo>
                      <a:pt x="9319" y="3444"/>
                    </a:lnTo>
                    <a:lnTo>
                      <a:pt x="9316" y="3550"/>
                    </a:lnTo>
                    <a:lnTo>
                      <a:pt x="10574" y="2789"/>
                    </a:lnTo>
                    <a:lnTo>
                      <a:pt x="9316" y="3550"/>
                    </a:lnTo>
                    <a:lnTo>
                      <a:pt x="7038" y="4831"/>
                    </a:lnTo>
                    <a:moveTo>
                      <a:pt x="7038" y="4831"/>
                    </a:moveTo>
                    <a:lnTo>
                      <a:pt x="6499" y="3898"/>
                    </a:lnTo>
                    <a:lnTo>
                      <a:pt x="7038" y="4831"/>
                    </a:lnTo>
                    <a:moveTo>
                      <a:pt x="2324" y="4831"/>
                    </a:moveTo>
                    <a:lnTo>
                      <a:pt x="1405" y="2233"/>
                    </a:lnTo>
                    <a:lnTo>
                      <a:pt x="2324" y="4831"/>
                    </a:lnTo>
                    <a:lnTo>
                      <a:pt x="2324" y="4831"/>
                    </a:lnTo>
                    <a:moveTo>
                      <a:pt x="14110" y="4831"/>
                    </a:moveTo>
                    <a:lnTo>
                      <a:pt x="12201" y="3434"/>
                    </a:lnTo>
                    <a:lnTo>
                      <a:pt x="12066" y="2627"/>
                    </a:lnTo>
                    <a:lnTo>
                      <a:pt x="12201" y="3434"/>
                    </a:lnTo>
                    <a:lnTo>
                      <a:pt x="15446" y="2602"/>
                    </a:lnTo>
                    <a:lnTo>
                      <a:pt x="15446" y="2602"/>
                    </a:lnTo>
                    <a:lnTo>
                      <a:pt x="12201" y="3434"/>
                    </a:lnTo>
                    <a:lnTo>
                      <a:pt x="14110" y="4831"/>
                    </a:lnTo>
                    <a:moveTo>
                      <a:pt x="14110" y="4831"/>
                    </a:moveTo>
                    <a:lnTo>
                      <a:pt x="14110" y="4831"/>
                    </a:lnTo>
                    <a:lnTo>
                      <a:pt x="15358" y="3331"/>
                    </a:lnTo>
                    <a:lnTo>
                      <a:pt x="14110" y="4831"/>
                    </a:lnTo>
                    <a:moveTo>
                      <a:pt x="4159" y="4109"/>
                    </a:moveTo>
                    <a:lnTo>
                      <a:pt x="4159" y="4109"/>
                    </a:lnTo>
                    <a:lnTo>
                      <a:pt x="4603" y="3765"/>
                    </a:lnTo>
                    <a:lnTo>
                      <a:pt x="4159" y="4109"/>
                    </a:lnTo>
                    <a:moveTo>
                      <a:pt x="12201" y="3434"/>
                    </a:moveTo>
                    <a:lnTo>
                      <a:pt x="10574" y="2789"/>
                    </a:lnTo>
                    <a:lnTo>
                      <a:pt x="10574" y="2789"/>
                    </a:lnTo>
                    <a:lnTo>
                      <a:pt x="10574" y="2789"/>
                    </a:lnTo>
                    <a:lnTo>
                      <a:pt x="11753" y="748"/>
                    </a:lnTo>
                    <a:lnTo>
                      <a:pt x="9396" y="748"/>
                    </a:lnTo>
                    <a:lnTo>
                      <a:pt x="9396" y="748"/>
                    </a:lnTo>
                    <a:lnTo>
                      <a:pt x="11753" y="748"/>
                    </a:lnTo>
                    <a:lnTo>
                      <a:pt x="11753" y="748"/>
                    </a:lnTo>
                    <a:lnTo>
                      <a:pt x="11753" y="748"/>
                    </a:lnTo>
                    <a:lnTo>
                      <a:pt x="10574" y="2789"/>
                    </a:lnTo>
                    <a:lnTo>
                      <a:pt x="12201" y="3434"/>
                    </a:lnTo>
                    <a:moveTo>
                      <a:pt x="5859" y="2790"/>
                    </a:moveTo>
                    <a:lnTo>
                      <a:pt x="3502" y="2790"/>
                    </a:lnTo>
                    <a:lnTo>
                      <a:pt x="5860" y="2789"/>
                    </a:lnTo>
                    <a:lnTo>
                      <a:pt x="5859" y="2789"/>
                    </a:lnTo>
                    <a:lnTo>
                      <a:pt x="5859" y="2790"/>
                    </a:lnTo>
                    <a:moveTo>
                      <a:pt x="15446" y="1876"/>
                    </a:moveTo>
                    <a:lnTo>
                      <a:pt x="14110" y="748"/>
                    </a:lnTo>
                    <a:lnTo>
                      <a:pt x="15446" y="1876"/>
                    </a:lnTo>
                    <a:lnTo>
                      <a:pt x="15446" y="1876"/>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80" name="Freeform 306"/>
              <p:cNvSpPr>
                <a:spLocks/>
              </p:cNvSpPr>
              <p:nvPr/>
            </p:nvSpPr>
            <p:spPr bwMode="gray">
              <a:xfrm>
                <a:off x="-12625388" y="-3271838"/>
                <a:ext cx="811213" cy="671513"/>
              </a:xfrm>
              <a:custGeom>
                <a:avLst/>
                <a:gdLst>
                  <a:gd name="T0" fmla="*/ 0 w 511"/>
                  <a:gd name="T1" fmla="*/ 423 h 423"/>
                  <a:gd name="T2" fmla="*/ 0 w 511"/>
                  <a:gd name="T3" fmla="*/ 0 h 423"/>
                  <a:gd name="T4" fmla="*/ 433 w 511"/>
                  <a:gd name="T5" fmla="*/ 70 h 423"/>
                  <a:gd name="T6" fmla="*/ 511 w 511"/>
                  <a:gd name="T7" fmla="*/ 83 h 423"/>
                  <a:gd name="T8" fmla="*/ 0 w 511"/>
                  <a:gd name="T9" fmla="*/ 423 h 423"/>
                </a:gdLst>
                <a:ahLst/>
                <a:cxnLst>
                  <a:cxn ang="0">
                    <a:pos x="T0" y="T1"/>
                  </a:cxn>
                  <a:cxn ang="0">
                    <a:pos x="T2" y="T3"/>
                  </a:cxn>
                  <a:cxn ang="0">
                    <a:pos x="T4" y="T5"/>
                  </a:cxn>
                  <a:cxn ang="0">
                    <a:pos x="T6" y="T7"/>
                  </a:cxn>
                  <a:cxn ang="0">
                    <a:pos x="T8" y="T9"/>
                  </a:cxn>
                </a:cxnLst>
                <a:rect l="0" t="0" r="r" b="b"/>
                <a:pathLst>
                  <a:path w="511" h="423">
                    <a:moveTo>
                      <a:pt x="0" y="423"/>
                    </a:moveTo>
                    <a:lnTo>
                      <a:pt x="0" y="0"/>
                    </a:lnTo>
                    <a:lnTo>
                      <a:pt x="433" y="70"/>
                    </a:lnTo>
                    <a:lnTo>
                      <a:pt x="511" y="83"/>
                    </a:lnTo>
                    <a:lnTo>
                      <a:pt x="0" y="42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81" name="Freeform 307"/>
              <p:cNvSpPr>
                <a:spLocks/>
              </p:cNvSpPr>
              <p:nvPr/>
            </p:nvSpPr>
            <p:spPr bwMode="gray">
              <a:xfrm>
                <a:off x="-12625388" y="-4110038"/>
                <a:ext cx="33338" cy="39688"/>
              </a:xfrm>
              <a:custGeom>
                <a:avLst/>
                <a:gdLst>
                  <a:gd name="T0" fmla="*/ 0 w 21"/>
                  <a:gd name="T1" fmla="*/ 25 h 25"/>
                  <a:gd name="T2" fmla="*/ 0 w 21"/>
                  <a:gd name="T3" fmla="*/ 0 h 25"/>
                  <a:gd name="T4" fmla="*/ 21 w 21"/>
                  <a:gd name="T5" fmla="*/ 0 h 25"/>
                  <a:gd name="T6" fmla="*/ 0 w 21"/>
                  <a:gd name="T7" fmla="*/ 25 h 25"/>
                </a:gdLst>
                <a:ahLst/>
                <a:cxnLst>
                  <a:cxn ang="0">
                    <a:pos x="T0" y="T1"/>
                  </a:cxn>
                  <a:cxn ang="0">
                    <a:pos x="T2" y="T3"/>
                  </a:cxn>
                  <a:cxn ang="0">
                    <a:pos x="T4" y="T5"/>
                  </a:cxn>
                  <a:cxn ang="0">
                    <a:pos x="T6" y="T7"/>
                  </a:cxn>
                </a:cxnLst>
                <a:rect l="0" t="0" r="r" b="b"/>
                <a:pathLst>
                  <a:path w="21" h="25">
                    <a:moveTo>
                      <a:pt x="0" y="25"/>
                    </a:moveTo>
                    <a:lnTo>
                      <a:pt x="0" y="0"/>
                    </a:lnTo>
                    <a:lnTo>
                      <a:pt x="21" y="0"/>
                    </a:lnTo>
                    <a:lnTo>
                      <a:pt x="0" y="25"/>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82" name="Freeform 308"/>
              <p:cNvSpPr>
                <a:spLocks/>
              </p:cNvSpPr>
              <p:nvPr/>
            </p:nvSpPr>
            <p:spPr bwMode="gray">
              <a:xfrm>
                <a:off x="-12625388" y="-3540126"/>
                <a:ext cx="1771650" cy="400050"/>
              </a:xfrm>
              <a:custGeom>
                <a:avLst/>
                <a:gdLst>
                  <a:gd name="T0" fmla="*/ 511 w 1116"/>
                  <a:gd name="T1" fmla="*/ 252 h 252"/>
                  <a:gd name="T2" fmla="*/ 433 w 1116"/>
                  <a:gd name="T3" fmla="*/ 239 h 252"/>
                  <a:gd name="T4" fmla="*/ 0 w 1116"/>
                  <a:gd name="T5" fmla="*/ 169 h 252"/>
                  <a:gd name="T6" fmla="*/ 0 w 1116"/>
                  <a:gd name="T7" fmla="*/ 81 h 252"/>
                  <a:gd name="T8" fmla="*/ 1116 w 1116"/>
                  <a:gd name="T9" fmla="*/ 0 h 252"/>
                  <a:gd name="T10" fmla="*/ 511 w 1116"/>
                  <a:gd name="T11" fmla="*/ 252 h 252"/>
                </a:gdLst>
                <a:ahLst/>
                <a:cxnLst>
                  <a:cxn ang="0">
                    <a:pos x="T0" y="T1"/>
                  </a:cxn>
                  <a:cxn ang="0">
                    <a:pos x="T2" y="T3"/>
                  </a:cxn>
                  <a:cxn ang="0">
                    <a:pos x="T4" y="T5"/>
                  </a:cxn>
                  <a:cxn ang="0">
                    <a:pos x="T6" y="T7"/>
                  </a:cxn>
                  <a:cxn ang="0">
                    <a:pos x="T8" y="T9"/>
                  </a:cxn>
                  <a:cxn ang="0">
                    <a:pos x="T10" y="T11"/>
                  </a:cxn>
                </a:cxnLst>
                <a:rect l="0" t="0" r="r" b="b"/>
                <a:pathLst>
                  <a:path w="1116" h="252">
                    <a:moveTo>
                      <a:pt x="511" y="252"/>
                    </a:moveTo>
                    <a:lnTo>
                      <a:pt x="433" y="239"/>
                    </a:lnTo>
                    <a:lnTo>
                      <a:pt x="0" y="169"/>
                    </a:lnTo>
                    <a:lnTo>
                      <a:pt x="0" y="81"/>
                    </a:lnTo>
                    <a:lnTo>
                      <a:pt x="1116" y="0"/>
                    </a:lnTo>
                    <a:lnTo>
                      <a:pt x="511" y="25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83" name="Freeform 309"/>
              <p:cNvSpPr>
                <a:spLocks/>
              </p:cNvSpPr>
              <p:nvPr/>
            </p:nvSpPr>
            <p:spPr bwMode="gray">
              <a:xfrm>
                <a:off x="-12625388" y="-4110038"/>
                <a:ext cx="1771650" cy="698500"/>
              </a:xfrm>
              <a:custGeom>
                <a:avLst/>
                <a:gdLst>
                  <a:gd name="T0" fmla="*/ 0 w 1116"/>
                  <a:gd name="T1" fmla="*/ 440 h 440"/>
                  <a:gd name="T2" fmla="*/ 0 w 1116"/>
                  <a:gd name="T3" fmla="*/ 25 h 440"/>
                  <a:gd name="T4" fmla="*/ 22 w 1116"/>
                  <a:gd name="T5" fmla="*/ 0 h 440"/>
                  <a:gd name="T6" fmla="*/ 908 w 1116"/>
                  <a:gd name="T7" fmla="*/ 0 h 440"/>
                  <a:gd name="T8" fmla="*/ 1116 w 1116"/>
                  <a:gd name="T9" fmla="*/ 359 h 440"/>
                  <a:gd name="T10" fmla="*/ 1116 w 1116"/>
                  <a:gd name="T11" fmla="*/ 359 h 440"/>
                  <a:gd name="T12" fmla="*/ 1116 w 1116"/>
                  <a:gd name="T13" fmla="*/ 359 h 440"/>
                  <a:gd name="T14" fmla="*/ 0 w 1116"/>
                  <a:gd name="T15" fmla="*/ 440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6" h="440">
                    <a:moveTo>
                      <a:pt x="0" y="440"/>
                    </a:moveTo>
                    <a:lnTo>
                      <a:pt x="0" y="25"/>
                    </a:lnTo>
                    <a:lnTo>
                      <a:pt x="22" y="0"/>
                    </a:lnTo>
                    <a:lnTo>
                      <a:pt x="908" y="0"/>
                    </a:lnTo>
                    <a:lnTo>
                      <a:pt x="1116" y="359"/>
                    </a:lnTo>
                    <a:lnTo>
                      <a:pt x="1116" y="359"/>
                    </a:lnTo>
                    <a:lnTo>
                      <a:pt x="1116" y="359"/>
                    </a:lnTo>
                    <a:lnTo>
                      <a:pt x="0" y="440"/>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85" name="Freeform 310"/>
              <p:cNvSpPr>
                <a:spLocks noEditPoints="1"/>
              </p:cNvSpPr>
              <p:nvPr/>
            </p:nvSpPr>
            <p:spPr bwMode="gray">
              <a:xfrm>
                <a:off x="-10853738" y="-4110038"/>
                <a:ext cx="1795463" cy="569913"/>
              </a:xfrm>
              <a:custGeom>
                <a:avLst/>
                <a:gdLst>
                  <a:gd name="T0" fmla="*/ 2357 w 2357"/>
                  <a:gd name="T1" fmla="*/ 748 h 748"/>
                  <a:gd name="T2" fmla="*/ 0 w 2357"/>
                  <a:gd name="T3" fmla="*/ 748 h 748"/>
                  <a:gd name="T4" fmla="*/ 432 w 2357"/>
                  <a:gd name="T5" fmla="*/ 0 h 748"/>
                  <a:gd name="T6" fmla="*/ 1925 w 2357"/>
                  <a:gd name="T7" fmla="*/ 0 h 748"/>
                  <a:gd name="T8" fmla="*/ 2357 w 2357"/>
                  <a:gd name="T9" fmla="*/ 748 h 748"/>
                  <a:gd name="T10" fmla="*/ 0 w 2357"/>
                  <a:gd name="T11" fmla="*/ 748 h 748"/>
                  <a:gd name="T12" fmla="*/ 0 w 2357"/>
                  <a:gd name="T13" fmla="*/ 748 h 748"/>
                  <a:gd name="T14" fmla="*/ 0 w 2357"/>
                  <a:gd name="T15" fmla="*/ 748 h 748"/>
                  <a:gd name="T16" fmla="*/ 0 w 2357"/>
                  <a:gd name="T17" fmla="*/ 748 h 748"/>
                  <a:gd name="T18" fmla="*/ 0 w 2357"/>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7" h="748">
                    <a:moveTo>
                      <a:pt x="2357" y="748"/>
                    </a:moveTo>
                    <a:lnTo>
                      <a:pt x="0" y="748"/>
                    </a:lnTo>
                    <a:lnTo>
                      <a:pt x="432" y="0"/>
                    </a:lnTo>
                    <a:lnTo>
                      <a:pt x="1925" y="0"/>
                    </a:lnTo>
                    <a:lnTo>
                      <a:pt x="2357" y="748"/>
                    </a:lnTo>
                    <a:moveTo>
                      <a:pt x="0" y="748"/>
                    </a:moveTo>
                    <a:lnTo>
                      <a:pt x="0" y="748"/>
                    </a:lnTo>
                    <a:lnTo>
                      <a:pt x="0" y="748"/>
                    </a:lnTo>
                    <a:lnTo>
                      <a:pt x="0" y="748"/>
                    </a:lnTo>
                    <a:lnTo>
                      <a:pt x="0"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86" name="Freeform 311"/>
              <p:cNvSpPr>
                <a:spLocks/>
              </p:cNvSpPr>
              <p:nvPr/>
            </p:nvSpPr>
            <p:spPr bwMode="gray">
              <a:xfrm>
                <a:off x="-9386888" y="-4110038"/>
                <a:ext cx="865188" cy="569913"/>
              </a:xfrm>
              <a:custGeom>
                <a:avLst/>
                <a:gdLst>
                  <a:gd name="T0" fmla="*/ 207 w 545"/>
                  <a:gd name="T1" fmla="*/ 359 h 359"/>
                  <a:gd name="T2" fmla="*/ 0 w 545"/>
                  <a:gd name="T3" fmla="*/ 0 h 359"/>
                  <a:gd name="T4" fmla="*/ 545 w 545"/>
                  <a:gd name="T5" fmla="*/ 0 h 359"/>
                  <a:gd name="T6" fmla="*/ 207 w 545"/>
                  <a:gd name="T7" fmla="*/ 359 h 359"/>
                </a:gdLst>
                <a:ahLst/>
                <a:cxnLst>
                  <a:cxn ang="0">
                    <a:pos x="T0" y="T1"/>
                  </a:cxn>
                  <a:cxn ang="0">
                    <a:pos x="T2" y="T3"/>
                  </a:cxn>
                  <a:cxn ang="0">
                    <a:pos x="T4" y="T5"/>
                  </a:cxn>
                  <a:cxn ang="0">
                    <a:pos x="T6" y="T7"/>
                  </a:cxn>
                </a:cxnLst>
                <a:rect l="0" t="0" r="r" b="b"/>
                <a:pathLst>
                  <a:path w="545" h="359">
                    <a:moveTo>
                      <a:pt x="207" y="359"/>
                    </a:moveTo>
                    <a:lnTo>
                      <a:pt x="0" y="0"/>
                    </a:lnTo>
                    <a:lnTo>
                      <a:pt x="545" y="0"/>
                    </a:lnTo>
                    <a:lnTo>
                      <a:pt x="207"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87" name="Freeform 312"/>
              <p:cNvSpPr>
                <a:spLocks/>
              </p:cNvSpPr>
              <p:nvPr/>
            </p:nvSpPr>
            <p:spPr bwMode="gray">
              <a:xfrm>
                <a:off x="-11183938" y="-4110038"/>
                <a:ext cx="658813" cy="569913"/>
              </a:xfrm>
              <a:custGeom>
                <a:avLst/>
                <a:gdLst>
                  <a:gd name="T0" fmla="*/ 208 w 415"/>
                  <a:gd name="T1" fmla="*/ 359 h 359"/>
                  <a:gd name="T2" fmla="*/ 0 w 415"/>
                  <a:gd name="T3" fmla="*/ 0 h 359"/>
                  <a:gd name="T4" fmla="*/ 415 w 415"/>
                  <a:gd name="T5" fmla="*/ 0 h 359"/>
                  <a:gd name="T6" fmla="*/ 208 w 415"/>
                  <a:gd name="T7" fmla="*/ 359 h 359"/>
                </a:gdLst>
                <a:ahLst/>
                <a:cxnLst>
                  <a:cxn ang="0">
                    <a:pos x="T0" y="T1"/>
                  </a:cxn>
                  <a:cxn ang="0">
                    <a:pos x="T2" y="T3"/>
                  </a:cxn>
                  <a:cxn ang="0">
                    <a:pos x="T4" y="T5"/>
                  </a:cxn>
                  <a:cxn ang="0">
                    <a:pos x="T6" y="T7"/>
                  </a:cxn>
                </a:cxnLst>
                <a:rect l="0" t="0" r="r" b="b"/>
                <a:pathLst>
                  <a:path w="415" h="359">
                    <a:moveTo>
                      <a:pt x="208" y="359"/>
                    </a:moveTo>
                    <a:lnTo>
                      <a:pt x="0" y="0"/>
                    </a:lnTo>
                    <a:lnTo>
                      <a:pt x="415" y="0"/>
                    </a:lnTo>
                    <a:lnTo>
                      <a:pt x="208"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88" name="Freeform 313"/>
              <p:cNvSpPr>
                <a:spLocks/>
              </p:cNvSpPr>
              <p:nvPr/>
            </p:nvSpPr>
            <p:spPr bwMode="gray">
              <a:xfrm>
                <a:off x="-10853738" y="-4110038"/>
                <a:ext cx="328613" cy="569913"/>
              </a:xfrm>
              <a:custGeom>
                <a:avLst/>
                <a:gdLst>
                  <a:gd name="T0" fmla="*/ 0 w 207"/>
                  <a:gd name="T1" fmla="*/ 359 h 359"/>
                  <a:gd name="T2" fmla="*/ 0 w 207"/>
                  <a:gd name="T3" fmla="*/ 359 h 359"/>
                  <a:gd name="T4" fmla="*/ 0 w 207"/>
                  <a:gd name="T5" fmla="*/ 359 h 359"/>
                  <a:gd name="T6" fmla="*/ 207 w 207"/>
                  <a:gd name="T7" fmla="*/ 0 h 359"/>
                  <a:gd name="T8" fmla="*/ 207 w 207"/>
                  <a:gd name="T9" fmla="*/ 0 h 359"/>
                  <a:gd name="T10" fmla="*/ 0 w 207"/>
                  <a:gd name="T11" fmla="*/ 359 h 359"/>
                </a:gdLst>
                <a:ahLst/>
                <a:cxnLst>
                  <a:cxn ang="0">
                    <a:pos x="T0" y="T1"/>
                  </a:cxn>
                  <a:cxn ang="0">
                    <a:pos x="T2" y="T3"/>
                  </a:cxn>
                  <a:cxn ang="0">
                    <a:pos x="T4" y="T5"/>
                  </a:cxn>
                  <a:cxn ang="0">
                    <a:pos x="T6" y="T7"/>
                  </a:cxn>
                  <a:cxn ang="0">
                    <a:pos x="T8" y="T9"/>
                  </a:cxn>
                  <a:cxn ang="0">
                    <a:pos x="T10" y="T11"/>
                  </a:cxn>
                </a:cxnLst>
                <a:rect l="0" t="0" r="r" b="b"/>
                <a:pathLst>
                  <a:path w="207" h="359">
                    <a:moveTo>
                      <a:pt x="0" y="359"/>
                    </a:moveTo>
                    <a:lnTo>
                      <a:pt x="0" y="359"/>
                    </a:lnTo>
                    <a:lnTo>
                      <a:pt x="0" y="359"/>
                    </a:lnTo>
                    <a:lnTo>
                      <a:pt x="207" y="0"/>
                    </a:lnTo>
                    <a:lnTo>
                      <a:pt x="207"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89" name="Freeform 314"/>
              <p:cNvSpPr>
                <a:spLocks noEditPoints="1"/>
              </p:cNvSpPr>
              <p:nvPr/>
            </p:nvSpPr>
            <p:spPr bwMode="gray">
              <a:xfrm>
                <a:off x="-12533313" y="-1143001"/>
                <a:ext cx="781050" cy="2268538"/>
              </a:xfrm>
              <a:custGeom>
                <a:avLst/>
                <a:gdLst>
                  <a:gd name="T0" fmla="*/ 1025 w 1025"/>
                  <a:gd name="T1" fmla="*/ 2978 h 2978"/>
                  <a:gd name="T2" fmla="*/ 150 w 1025"/>
                  <a:gd name="T3" fmla="*/ 437 h 2978"/>
                  <a:gd name="T4" fmla="*/ 1025 w 1025"/>
                  <a:gd name="T5" fmla="*/ 2978 h 2978"/>
                  <a:gd name="T6" fmla="*/ 0 w 1025"/>
                  <a:gd name="T7" fmla="*/ 0 h 2978"/>
                  <a:gd name="T8" fmla="*/ 0 w 1025"/>
                  <a:gd name="T9" fmla="*/ 0 h 2978"/>
                </a:gdLst>
                <a:ahLst/>
                <a:cxnLst>
                  <a:cxn ang="0">
                    <a:pos x="T0" y="T1"/>
                  </a:cxn>
                  <a:cxn ang="0">
                    <a:pos x="T2" y="T3"/>
                  </a:cxn>
                  <a:cxn ang="0">
                    <a:pos x="T4" y="T5"/>
                  </a:cxn>
                  <a:cxn ang="0">
                    <a:pos x="T6" y="T7"/>
                  </a:cxn>
                  <a:cxn ang="0">
                    <a:pos x="T8" y="T9"/>
                  </a:cxn>
                </a:cxnLst>
                <a:rect l="0" t="0" r="r" b="b"/>
                <a:pathLst>
                  <a:path w="1025" h="2978">
                    <a:moveTo>
                      <a:pt x="1025" y="2978"/>
                    </a:moveTo>
                    <a:lnTo>
                      <a:pt x="150" y="437"/>
                    </a:lnTo>
                    <a:lnTo>
                      <a:pt x="1025" y="2978"/>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91" name="Freeform 315"/>
              <p:cNvSpPr>
                <a:spLocks/>
              </p:cNvSpPr>
              <p:nvPr/>
            </p:nvSpPr>
            <p:spPr bwMode="gray">
              <a:xfrm>
                <a:off x="-12625388" y="-3140076"/>
                <a:ext cx="811213" cy="1997075"/>
              </a:xfrm>
              <a:custGeom>
                <a:avLst/>
                <a:gdLst>
                  <a:gd name="T0" fmla="*/ 58 w 511"/>
                  <a:gd name="T1" fmla="*/ 1258 h 1258"/>
                  <a:gd name="T2" fmla="*/ 0 w 511"/>
                  <a:gd name="T3" fmla="*/ 1211 h 1258"/>
                  <a:gd name="T4" fmla="*/ 0 w 511"/>
                  <a:gd name="T5" fmla="*/ 340 h 1258"/>
                  <a:gd name="T6" fmla="*/ 511 w 511"/>
                  <a:gd name="T7" fmla="*/ 0 h 1258"/>
                  <a:gd name="T8" fmla="*/ 58 w 511"/>
                  <a:gd name="T9" fmla="*/ 1258 h 1258"/>
                </a:gdLst>
                <a:ahLst/>
                <a:cxnLst>
                  <a:cxn ang="0">
                    <a:pos x="T0" y="T1"/>
                  </a:cxn>
                  <a:cxn ang="0">
                    <a:pos x="T2" y="T3"/>
                  </a:cxn>
                  <a:cxn ang="0">
                    <a:pos x="T4" y="T5"/>
                  </a:cxn>
                  <a:cxn ang="0">
                    <a:pos x="T6" y="T7"/>
                  </a:cxn>
                  <a:cxn ang="0">
                    <a:pos x="T8" y="T9"/>
                  </a:cxn>
                </a:cxnLst>
                <a:rect l="0" t="0" r="r" b="b"/>
                <a:pathLst>
                  <a:path w="511" h="1258">
                    <a:moveTo>
                      <a:pt x="58" y="1258"/>
                    </a:moveTo>
                    <a:lnTo>
                      <a:pt x="0" y="1211"/>
                    </a:lnTo>
                    <a:lnTo>
                      <a:pt x="0" y="340"/>
                    </a:lnTo>
                    <a:lnTo>
                      <a:pt x="511" y="0"/>
                    </a:lnTo>
                    <a:lnTo>
                      <a:pt x="58" y="1258"/>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92" name="Line 316"/>
              <p:cNvSpPr>
                <a:spLocks noChangeShapeType="1"/>
              </p:cNvSpPr>
              <p:nvPr/>
            </p:nvSpPr>
            <p:spPr bwMode="gray">
              <a:xfrm>
                <a:off x="-12533313" y="-1143001"/>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94" name="Freeform 317"/>
              <p:cNvSpPr>
                <a:spLocks noEditPoints="1"/>
              </p:cNvSpPr>
              <p:nvPr/>
            </p:nvSpPr>
            <p:spPr bwMode="gray">
              <a:xfrm>
                <a:off x="-12533313" y="-1143001"/>
                <a:ext cx="1679575" cy="2268538"/>
              </a:xfrm>
              <a:custGeom>
                <a:avLst/>
                <a:gdLst>
                  <a:gd name="T0" fmla="*/ 1025 w 2204"/>
                  <a:gd name="T1" fmla="*/ 2978 h 2978"/>
                  <a:gd name="T2" fmla="*/ 150 w 2204"/>
                  <a:gd name="T3" fmla="*/ 437 h 2978"/>
                  <a:gd name="T4" fmla="*/ 0 w 2204"/>
                  <a:gd name="T5" fmla="*/ 0 h 2978"/>
                  <a:gd name="T6" fmla="*/ 2204 w 2204"/>
                  <a:gd name="T7" fmla="*/ 937 h 2978"/>
                  <a:gd name="T8" fmla="*/ 2204 w 2204"/>
                  <a:gd name="T9" fmla="*/ 937 h 2978"/>
                  <a:gd name="T10" fmla="*/ 2204 w 2204"/>
                  <a:gd name="T11" fmla="*/ 937 h 2978"/>
                  <a:gd name="T12" fmla="*/ 2204 w 2204"/>
                  <a:gd name="T13" fmla="*/ 937 h 2978"/>
                  <a:gd name="T14" fmla="*/ 2204 w 2204"/>
                  <a:gd name="T15" fmla="*/ 937 h 2978"/>
                  <a:gd name="T16" fmla="*/ 1968 w 2204"/>
                  <a:gd name="T17" fmla="*/ 1345 h 2978"/>
                  <a:gd name="T18" fmla="*/ 1025 w 2204"/>
                  <a:gd name="T19" fmla="*/ 2978 h 2978"/>
                  <a:gd name="T20" fmla="*/ 150 w 2204"/>
                  <a:gd name="T21" fmla="*/ 437 h 2978"/>
                  <a:gd name="T22" fmla="*/ 0 w 2204"/>
                  <a:gd name="T23" fmla="*/ 0 h 2978"/>
                  <a:gd name="T24" fmla="*/ 150 w 2204"/>
                  <a:gd name="T25" fmla="*/ 437 h 2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4" h="2978">
                    <a:moveTo>
                      <a:pt x="1025" y="2978"/>
                    </a:moveTo>
                    <a:lnTo>
                      <a:pt x="150" y="437"/>
                    </a:lnTo>
                    <a:lnTo>
                      <a:pt x="0" y="0"/>
                    </a:lnTo>
                    <a:lnTo>
                      <a:pt x="2204" y="937"/>
                    </a:lnTo>
                    <a:lnTo>
                      <a:pt x="2204" y="937"/>
                    </a:lnTo>
                    <a:lnTo>
                      <a:pt x="2204" y="937"/>
                    </a:lnTo>
                    <a:lnTo>
                      <a:pt x="2204" y="937"/>
                    </a:lnTo>
                    <a:lnTo>
                      <a:pt x="2204" y="937"/>
                    </a:lnTo>
                    <a:lnTo>
                      <a:pt x="1968" y="1345"/>
                    </a:lnTo>
                    <a:lnTo>
                      <a:pt x="1025" y="2978"/>
                    </a:lnTo>
                    <a:moveTo>
                      <a:pt x="150" y="437"/>
                    </a:moveTo>
                    <a:lnTo>
                      <a:pt x="0" y="0"/>
                    </a:lnTo>
                    <a:lnTo>
                      <a:pt x="150" y="437"/>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95" name="Freeform 318"/>
              <p:cNvSpPr>
                <a:spLocks/>
              </p:cNvSpPr>
              <p:nvPr/>
            </p:nvSpPr>
            <p:spPr bwMode="gray">
              <a:xfrm>
                <a:off x="-12533313" y="-1143001"/>
                <a:ext cx="114300" cy="333375"/>
              </a:xfrm>
              <a:custGeom>
                <a:avLst/>
                <a:gdLst>
                  <a:gd name="T0" fmla="*/ 72 w 72"/>
                  <a:gd name="T1" fmla="*/ 210 h 210"/>
                  <a:gd name="T2" fmla="*/ 72 w 72"/>
                  <a:gd name="T3" fmla="*/ 210 h 210"/>
                  <a:gd name="T4" fmla="*/ 0 w 72"/>
                  <a:gd name="T5" fmla="*/ 0 h 210"/>
                  <a:gd name="T6" fmla="*/ 0 w 72"/>
                  <a:gd name="T7" fmla="*/ 0 h 210"/>
                  <a:gd name="T8" fmla="*/ 72 w 72"/>
                  <a:gd name="T9" fmla="*/ 210 h 210"/>
                </a:gdLst>
                <a:ahLst/>
                <a:cxnLst>
                  <a:cxn ang="0">
                    <a:pos x="T0" y="T1"/>
                  </a:cxn>
                  <a:cxn ang="0">
                    <a:pos x="T2" y="T3"/>
                  </a:cxn>
                  <a:cxn ang="0">
                    <a:pos x="T4" y="T5"/>
                  </a:cxn>
                  <a:cxn ang="0">
                    <a:pos x="T6" y="T7"/>
                  </a:cxn>
                  <a:cxn ang="0">
                    <a:pos x="T8" y="T9"/>
                  </a:cxn>
                </a:cxnLst>
                <a:rect l="0" t="0" r="r" b="b"/>
                <a:pathLst>
                  <a:path w="72" h="210">
                    <a:moveTo>
                      <a:pt x="72" y="210"/>
                    </a:moveTo>
                    <a:lnTo>
                      <a:pt x="72" y="210"/>
                    </a:lnTo>
                    <a:lnTo>
                      <a:pt x="0" y="0"/>
                    </a:lnTo>
                    <a:lnTo>
                      <a:pt x="0" y="0"/>
                    </a:lnTo>
                    <a:lnTo>
                      <a:pt x="72" y="210"/>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96" name="Freeform 319"/>
              <p:cNvSpPr>
                <a:spLocks/>
              </p:cNvSpPr>
              <p:nvPr/>
            </p:nvSpPr>
            <p:spPr bwMode="gray">
              <a:xfrm>
                <a:off x="-12625388" y="-1217613"/>
                <a:ext cx="92075" cy="74613"/>
              </a:xfrm>
              <a:custGeom>
                <a:avLst/>
                <a:gdLst>
                  <a:gd name="T0" fmla="*/ 58 w 58"/>
                  <a:gd name="T1" fmla="*/ 47 h 47"/>
                  <a:gd name="T2" fmla="*/ 0 w 58"/>
                  <a:gd name="T3" fmla="*/ 0 h 47"/>
                  <a:gd name="T4" fmla="*/ 58 w 58"/>
                  <a:gd name="T5" fmla="*/ 47 h 47"/>
                </a:gdLst>
                <a:ahLst/>
                <a:cxnLst>
                  <a:cxn ang="0">
                    <a:pos x="T0" y="T1"/>
                  </a:cxn>
                  <a:cxn ang="0">
                    <a:pos x="T2" y="T3"/>
                  </a:cxn>
                  <a:cxn ang="0">
                    <a:pos x="T4" y="T5"/>
                  </a:cxn>
                </a:cxnLst>
                <a:rect l="0" t="0" r="r" b="b"/>
                <a:pathLst>
                  <a:path w="58" h="47">
                    <a:moveTo>
                      <a:pt x="58" y="47"/>
                    </a:moveTo>
                    <a:lnTo>
                      <a:pt x="0" y="0"/>
                    </a:lnTo>
                    <a:lnTo>
                      <a:pt x="58" y="4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00" name="Freeform 320"/>
              <p:cNvSpPr>
                <a:spLocks noEditPoints="1"/>
              </p:cNvSpPr>
              <p:nvPr/>
            </p:nvSpPr>
            <p:spPr bwMode="gray">
              <a:xfrm>
                <a:off x="-12533313" y="-3140076"/>
                <a:ext cx="1679575" cy="2711450"/>
              </a:xfrm>
              <a:custGeom>
                <a:avLst/>
                <a:gdLst>
                  <a:gd name="T0" fmla="*/ 2204 w 2204"/>
                  <a:gd name="T1" fmla="*/ 3558 h 3558"/>
                  <a:gd name="T2" fmla="*/ 0 w 2204"/>
                  <a:gd name="T3" fmla="*/ 2621 h 3558"/>
                  <a:gd name="T4" fmla="*/ 945 w 2204"/>
                  <a:gd name="T5" fmla="*/ 0 h 3558"/>
                  <a:gd name="T6" fmla="*/ 945 w 2204"/>
                  <a:gd name="T7" fmla="*/ 0 h 3558"/>
                  <a:gd name="T8" fmla="*/ 945 w 2204"/>
                  <a:gd name="T9" fmla="*/ 0 h 3558"/>
                  <a:gd name="T10" fmla="*/ 1285 w 2204"/>
                  <a:gd name="T11" fmla="*/ 960 h 3558"/>
                  <a:gd name="T12" fmla="*/ 2204 w 2204"/>
                  <a:gd name="T13" fmla="*/ 3558 h 3558"/>
                  <a:gd name="T14" fmla="*/ 2204 w 2204"/>
                  <a:gd name="T15" fmla="*/ 3558 h 3558"/>
                  <a:gd name="T16" fmla="*/ 2204 w 2204"/>
                  <a:gd name="T17" fmla="*/ 3558 h 3558"/>
                  <a:gd name="T18" fmla="*/ 2204 w 2204"/>
                  <a:gd name="T19" fmla="*/ 3558 h 3558"/>
                  <a:gd name="T20" fmla="*/ 945 w 2204"/>
                  <a:gd name="T21" fmla="*/ 0 h 3558"/>
                  <a:gd name="T22" fmla="*/ 945 w 2204"/>
                  <a:gd name="T23" fmla="*/ 0 h 3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4" h="3558">
                    <a:moveTo>
                      <a:pt x="2204" y="3558"/>
                    </a:moveTo>
                    <a:lnTo>
                      <a:pt x="0" y="2621"/>
                    </a:lnTo>
                    <a:lnTo>
                      <a:pt x="945" y="0"/>
                    </a:lnTo>
                    <a:lnTo>
                      <a:pt x="945" y="0"/>
                    </a:lnTo>
                    <a:lnTo>
                      <a:pt x="945" y="0"/>
                    </a:lnTo>
                    <a:lnTo>
                      <a:pt x="1285" y="960"/>
                    </a:lnTo>
                    <a:lnTo>
                      <a:pt x="2204" y="3558"/>
                    </a:lnTo>
                    <a:lnTo>
                      <a:pt x="2204" y="3558"/>
                    </a:lnTo>
                    <a:lnTo>
                      <a:pt x="2204" y="3558"/>
                    </a:lnTo>
                    <a:lnTo>
                      <a:pt x="2204" y="3558"/>
                    </a:lnTo>
                    <a:moveTo>
                      <a:pt x="945" y="0"/>
                    </a:moveTo>
                    <a:lnTo>
                      <a:pt x="945" y="0"/>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01" name="Rectangle 321"/>
              <p:cNvSpPr>
                <a:spLocks noChangeArrowheads="1"/>
              </p:cNvSpPr>
              <p:nvPr/>
            </p:nvSpPr>
            <p:spPr bwMode="gray">
              <a:xfrm>
                <a:off x="-10853738" y="-428626"/>
                <a:ext cx="1588" cy="1588"/>
              </a:xfrm>
              <a:prstGeom prst="rect">
                <a:avLst/>
              </a:prstGeom>
              <a:solidFill>
                <a:srgbClr val="518DB3"/>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02" name="Freeform 322"/>
              <p:cNvSpPr>
                <a:spLocks/>
              </p:cNvSpPr>
              <p:nvPr/>
            </p:nvSpPr>
            <p:spPr bwMode="gray">
              <a:xfrm>
                <a:off x="-10853738" y="-1984376"/>
                <a:ext cx="1397000" cy="1555750"/>
              </a:xfrm>
              <a:custGeom>
                <a:avLst/>
                <a:gdLst>
                  <a:gd name="T0" fmla="*/ 0 w 880"/>
                  <a:gd name="T1" fmla="*/ 980 h 980"/>
                  <a:gd name="T2" fmla="*/ 565 w 880"/>
                  <a:gd name="T3" fmla="*/ 0 h 980"/>
                  <a:gd name="T4" fmla="*/ 880 w 880"/>
                  <a:gd name="T5" fmla="*/ 633 h 980"/>
                  <a:gd name="T6" fmla="*/ 0 w 880"/>
                  <a:gd name="T7" fmla="*/ 980 h 980"/>
                </a:gdLst>
                <a:ahLst/>
                <a:cxnLst>
                  <a:cxn ang="0">
                    <a:pos x="T0" y="T1"/>
                  </a:cxn>
                  <a:cxn ang="0">
                    <a:pos x="T2" y="T3"/>
                  </a:cxn>
                  <a:cxn ang="0">
                    <a:pos x="T4" y="T5"/>
                  </a:cxn>
                  <a:cxn ang="0">
                    <a:pos x="T6" y="T7"/>
                  </a:cxn>
                </a:cxnLst>
                <a:rect l="0" t="0" r="r" b="b"/>
                <a:pathLst>
                  <a:path w="880" h="980">
                    <a:moveTo>
                      <a:pt x="0" y="980"/>
                    </a:moveTo>
                    <a:lnTo>
                      <a:pt x="565" y="0"/>
                    </a:lnTo>
                    <a:lnTo>
                      <a:pt x="880" y="633"/>
                    </a:lnTo>
                    <a:lnTo>
                      <a:pt x="0"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03" name="Freeform 323"/>
              <p:cNvSpPr>
                <a:spLocks/>
              </p:cNvSpPr>
              <p:nvPr/>
            </p:nvSpPr>
            <p:spPr bwMode="gray">
              <a:xfrm>
                <a:off x="-10853738" y="-3540126"/>
                <a:ext cx="1795463" cy="1555750"/>
              </a:xfrm>
              <a:custGeom>
                <a:avLst/>
                <a:gdLst>
                  <a:gd name="T0" fmla="*/ 565 w 1131"/>
                  <a:gd name="T1" fmla="*/ 980 h 980"/>
                  <a:gd name="T2" fmla="*/ 565 w 1131"/>
                  <a:gd name="T3" fmla="*/ 980 h 980"/>
                  <a:gd name="T4" fmla="*/ 0 w 1131"/>
                  <a:gd name="T5" fmla="*/ 0 h 980"/>
                  <a:gd name="T6" fmla="*/ 1131 w 1131"/>
                  <a:gd name="T7" fmla="*/ 0 h 980"/>
                  <a:gd name="T8" fmla="*/ 565 w 1131"/>
                  <a:gd name="T9" fmla="*/ 980 h 980"/>
                </a:gdLst>
                <a:ahLst/>
                <a:cxnLst>
                  <a:cxn ang="0">
                    <a:pos x="T0" y="T1"/>
                  </a:cxn>
                  <a:cxn ang="0">
                    <a:pos x="T2" y="T3"/>
                  </a:cxn>
                  <a:cxn ang="0">
                    <a:pos x="T4" y="T5"/>
                  </a:cxn>
                  <a:cxn ang="0">
                    <a:pos x="T6" y="T7"/>
                  </a:cxn>
                  <a:cxn ang="0">
                    <a:pos x="T8" y="T9"/>
                  </a:cxn>
                </a:cxnLst>
                <a:rect l="0" t="0" r="r" b="b"/>
                <a:pathLst>
                  <a:path w="1131" h="980">
                    <a:moveTo>
                      <a:pt x="565" y="980"/>
                    </a:moveTo>
                    <a:lnTo>
                      <a:pt x="565" y="980"/>
                    </a:lnTo>
                    <a:lnTo>
                      <a:pt x="0" y="0"/>
                    </a:lnTo>
                    <a:lnTo>
                      <a:pt x="1131" y="0"/>
                    </a:lnTo>
                    <a:lnTo>
                      <a:pt x="565"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04" name="Freeform 324"/>
              <p:cNvSpPr>
                <a:spLocks/>
              </p:cNvSpPr>
              <p:nvPr/>
            </p:nvSpPr>
            <p:spPr bwMode="gray">
              <a:xfrm>
                <a:off x="-9956800" y="-1984376"/>
                <a:ext cx="1797050" cy="1004888"/>
              </a:xfrm>
              <a:custGeom>
                <a:avLst/>
                <a:gdLst>
                  <a:gd name="T0" fmla="*/ 315 w 1132"/>
                  <a:gd name="T1" fmla="*/ 633 h 633"/>
                  <a:gd name="T2" fmla="*/ 315 w 1132"/>
                  <a:gd name="T3" fmla="*/ 633 h 633"/>
                  <a:gd name="T4" fmla="*/ 0 w 1132"/>
                  <a:gd name="T5" fmla="*/ 0 h 633"/>
                  <a:gd name="T6" fmla="*/ 0 w 1132"/>
                  <a:gd name="T7" fmla="*/ 0 h 633"/>
                  <a:gd name="T8" fmla="*/ 1132 w 1132"/>
                  <a:gd name="T9" fmla="*/ 0 h 633"/>
                  <a:gd name="T10" fmla="*/ 529 w 1132"/>
                  <a:gd name="T11" fmla="*/ 468 h 633"/>
                  <a:gd name="T12" fmla="*/ 315 w 1132"/>
                  <a:gd name="T13" fmla="*/ 633 h 633"/>
                  <a:gd name="T14" fmla="*/ 315 w 1132"/>
                  <a:gd name="T15" fmla="*/ 633 h 633"/>
                  <a:gd name="T16" fmla="*/ 315 w 1132"/>
                  <a:gd name="T17" fmla="*/ 633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2" h="633">
                    <a:moveTo>
                      <a:pt x="315" y="633"/>
                    </a:moveTo>
                    <a:lnTo>
                      <a:pt x="315" y="633"/>
                    </a:lnTo>
                    <a:lnTo>
                      <a:pt x="0" y="0"/>
                    </a:lnTo>
                    <a:lnTo>
                      <a:pt x="0" y="0"/>
                    </a:lnTo>
                    <a:lnTo>
                      <a:pt x="1132" y="0"/>
                    </a:lnTo>
                    <a:lnTo>
                      <a:pt x="529" y="468"/>
                    </a:lnTo>
                    <a:lnTo>
                      <a:pt x="315" y="633"/>
                    </a:lnTo>
                    <a:lnTo>
                      <a:pt x="315" y="633"/>
                    </a:lnTo>
                    <a:lnTo>
                      <a:pt x="315" y="633"/>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05" name="Freeform 325"/>
              <p:cNvSpPr>
                <a:spLocks/>
              </p:cNvSpPr>
              <p:nvPr/>
            </p:nvSpPr>
            <p:spPr bwMode="gray">
              <a:xfrm>
                <a:off x="-9956800" y="-1984376"/>
                <a:ext cx="500063" cy="1004888"/>
              </a:xfrm>
              <a:custGeom>
                <a:avLst/>
                <a:gdLst>
                  <a:gd name="T0" fmla="*/ 315 w 315"/>
                  <a:gd name="T1" fmla="*/ 633 h 633"/>
                  <a:gd name="T2" fmla="*/ 0 w 315"/>
                  <a:gd name="T3" fmla="*/ 0 h 633"/>
                  <a:gd name="T4" fmla="*/ 0 w 315"/>
                  <a:gd name="T5" fmla="*/ 0 h 633"/>
                  <a:gd name="T6" fmla="*/ 315 w 315"/>
                  <a:gd name="T7" fmla="*/ 633 h 633"/>
                </a:gdLst>
                <a:ahLst/>
                <a:cxnLst>
                  <a:cxn ang="0">
                    <a:pos x="T0" y="T1"/>
                  </a:cxn>
                  <a:cxn ang="0">
                    <a:pos x="T2" y="T3"/>
                  </a:cxn>
                  <a:cxn ang="0">
                    <a:pos x="T4" y="T5"/>
                  </a:cxn>
                  <a:cxn ang="0">
                    <a:pos x="T6" y="T7"/>
                  </a:cxn>
                </a:cxnLst>
                <a:rect l="0" t="0" r="r" b="b"/>
                <a:pathLst>
                  <a:path w="315" h="633">
                    <a:moveTo>
                      <a:pt x="315" y="633"/>
                    </a:moveTo>
                    <a:lnTo>
                      <a:pt x="0" y="0"/>
                    </a:lnTo>
                    <a:lnTo>
                      <a:pt x="0" y="0"/>
                    </a:lnTo>
                    <a:lnTo>
                      <a:pt x="315" y="63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06" name="Freeform 326"/>
              <p:cNvSpPr>
                <a:spLocks/>
              </p:cNvSpPr>
              <p:nvPr/>
            </p:nvSpPr>
            <p:spPr bwMode="gray">
              <a:xfrm>
                <a:off x="-11814175" y="-3540126"/>
                <a:ext cx="1857375" cy="1555750"/>
              </a:xfrm>
              <a:custGeom>
                <a:avLst/>
                <a:gdLst>
                  <a:gd name="T0" fmla="*/ 1170 w 1170"/>
                  <a:gd name="T1" fmla="*/ 980 h 980"/>
                  <a:gd name="T2" fmla="*/ 0 w 1170"/>
                  <a:gd name="T3" fmla="*/ 252 h 980"/>
                  <a:gd name="T4" fmla="*/ 605 w 1170"/>
                  <a:gd name="T5" fmla="*/ 0 h 980"/>
                  <a:gd name="T6" fmla="*/ 1170 w 1170"/>
                  <a:gd name="T7" fmla="*/ 980 h 980"/>
                </a:gdLst>
                <a:ahLst/>
                <a:cxnLst>
                  <a:cxn ang="0">
                    <a:pos x="T0" y="T1"/>
                  </a:cxn>
                  <a:cxn ang="0">
                    <a:pos x="T2" y="T3"/>
                  </a:cxn>
                  <a:cxn ang="0">
                    <a:pos x="T4" y="T5"/>
                  </a:cxn>
                  <a:cxn ang="0">
                    <a:pos x="T6" y="T7"/>
                  </a:cxn>
                </a:cxnLst>
                <a:rect l="0" t="0" r="r" b="b"/>
                <a:pathLst>
                  <a:path w="1170" h="980">
                    <a:moveTo>
                      <a:pt x="1170" y="980"/>
                    </a:moveTo>
                    <a:lnTo>
                      <a:pt x="0" y="252"/>
                    </a:lnTo>
                    <a:lnTo>
                      <a:pt x="605" y="0"/>
                    </a:lnTo>
                    <a:lnTo>
                      <a:pt x="1170"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07" name="Freeform 327"/>
              <p:cNvSpPr>
                <a:spLocks/>
              </p:cNvSpPr>
              <p:nvPr/>
            </p:nvSpPr>
            <p:spPr bwMode="gray">
              <a:xfrm>
                <a:off x="-9956800" y="-3540126"/>
                <a:ext cx="1797050" cy="1555750"/>
              </a:xfrm>
              <a:custGeom>
                <a:avLst/>
                <a:gdLst>
                  <a:gd name="T0" fmla="*/ 0 w 1132"/>
                  <a:gd name="T1" fmla="*/ 980 h 980"/>
                  <a:gd name="T2" fmla="*/ 0 w 1132"/>
                  <a:gd name="T3" fmla="*/ 980 h 980"/>
                  <a:gd name="T4" fmla="*/ 566 w 1132"/>
                  <a:gd name="T5" fmla="*/ 0 h 980"/>
                  <a:gd name="T6" fmla="*/ 1132 w 1132"/>
                  <a:gd name="T7" fmla="*/ 980 h 980"/>
                  <a:gd name="T8" fmla="*/ 1132 w 1132"/>
                  <a:gd name="T9" fmla="*/ 980 h 980"/>
                  <a:gd name="T10" fmla="*/ 1132 w 1132"/>
                  <a:gd name="T11" fmla="*/ 980 h 980"/>
                  <a:gd name="T12" fmla="*/ 1132 w 1132"/>
                  <a:gd name="T13" fmla="*/ 980 h 980"/>
                  <a:gd name="T14" fmla="*/ 0 w 1132"/>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980">
                    <a:moveTo>
                      <a:pt x="0" y="980"/>
                    </a:moveTo>
                    <a:lnTo>
                      <a:pt x="0" y="980"/>
                    </a:lnTo>
                    <a:lnTo>
                      <a:pt x="566" y="0"/>
                    </a:lnTo>
                    <a:lnTo>
                      <a:pt x="1132" y="980"/>
                    </a:lnTo>
                    <a:lnTo>
                      <a:pt x="1132" y="980"/>
                    </a:lnTo>
                    <a:lnTo>
                      <a:pt x="1132" y="980"/>
                    </a:lnTo>
                    <a:lnTo>
                      <a:pt x="1132" y="980"/>
                    </a:lnTo>
                    <a:lnTo>
                      <a:pt x="0" y="98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08" name="Freeform 328"/>
              <p:cNvSpPr>
                <a:spLocks/>
              </p:cNvSpPr>
              <p:nvPr/>
            </p:nvSpPr>
            <p:spPr bwMode="gray">
              <a:xfrm>
                <a:off x="-11814175" y="-3140076"/>
                <a:ext cx="1857375" cy="2711450"/>
              </a:xfrm>
              <a:custGeom>
                <a:avLst/>
                <a:gdLst>
                  <a:gd name="T0" fmla="*/ 605 w 1170"/>
                  <a:gd name="T1" fmla="*/ 1708 h 1708"/>
                  <a:gd name="T2" fmla="*/ 605 w 1170"/>
                  <a:gd name="T3" fmla="*/ 1708 h 1708"/>
                  <a:gd name="T4" fmla="*/ 605 w 1170"/>
                  <a:gd name="T5" fmla="*/ 1708 h 1708"/>
                  <a:gd name="T6" fmla="*/ 163 w 1170"/>
                  <a:gd name="T7" fmla="*/ 461 h 1708"/>
                  <a:gd name="T8" fmla="*/ 0 w 1170"/>
                  <a:gd name="T9" fmla="*/ 0 h 1708"/>
                  <a:gd name="T10" fmla="*/ 0 w 1170"/>
                  <a:gd name="T11" fmla="*/ 0 h 1708"/>
                  <a:gd name="T12" fmla="*/ 1170 w 1170"/>
                  <a:gd name="T13" fmla="*/ 728 h 1708"/>
                  <a:gd name="T14" fmla="*/ 1170 w 1170"/>
                  <a:gd name="T15" fmla="*/ 728 h 1708"/>
                  <a:gd name="T16" fmla="*/ 1170 w 1170"/>
                  <a:gd name="T17" fmla="*/ 728 h 1708"/>
                  <a:gd name="T18" fmla="*/ 1170 w 1170"/>
                  <a:gd name="T19" fmla="*/ 728 h 1708"/>
                  <a:gd name="T20" fmla="*/ 1170 w 1170"/>
                  <a:gd name="T21" fmla="*/ 728 h 1708"/>
                  <a:gd name="T22" fmla="*/ 1170 w 1170"/>
                  <a:gd name="T23" fmla="*/ 728 h 1708"/>
                  <a:gd name="T24" fmla="*/ 605 w 1170"/>
                  <a:gd name="T25" fmla="*/ 1708 h 1708"/>
                  <a:gd name="T26" fmla="*/ 605 w 1170"/>
                  <a:gd name="T27" fmla="*/ 1708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0" h="1708">
                    <a:moveTo>
                      <a:pt x="605" y="1708"/>
                    </a:moveTo>
                    <a:lnTo>
                      <a:pt x="605" y="1708"/>
                    </a:lnTo>
                    <a:lnTo>
                      <a:pt x="605" y="1708"/>
                    </a:lnTo>
                    <a:lnTo>
                      <a:pt x="163" y="461"/>
                    </a:lnTo>
                    <a:lnTo>
                      <a:pt x="0" y="0"/>
                    </a:lnTo>
                    <a:lnTo>
                      <a:pt x="0" y="0"/>
                    </a:lnTo>
                    <a:lnTo>
                      <a:pt x="1170" y="728"/>
                    </a:lnTo>
                    <a:lnTo>
                      <a:pt x="1170" y="728"/>
                    </a:lnTo>
                    <a:lnTo>
                      <a:pt x="1170" y="728"/>
                    </a:lnTo>
                    <a:lnTo>
                      <a:pt x="1170" y="728"/>
                    </a:lnTo>
                    <a:lnTo>
                      <a:pt x="1170" y="728"/>
                    </a:lnTo>
                    <a:lnTo>
                      <a:pt x="1170" y="728"/>
                    </a:lnTo>
                    <a:lnTo>
                      <a:pt x="605" y="1708"/>
                    </a:lnTo>
                    <a:lnTo>
                      <a:pt x="605" y="1708"/>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09" name="Freeform 329"/>
              <p:cNvSpPr>
                <a:spLocks/>
              </p:cNvSpPr>
              <p:nvPr/>
            </p:nvSpPr>
            <p:spPr bwMode="gray">
              <a:xfrm>
                <a:off x="-12625388" y="3949700"/>
                <a:ext cx="446088" cy="647700"/>
              </a:xfrm>
              <a:custGeom>
                <a:avLst/>
                <a:gdLst>
                  <a:gd name="T0" fmla="*/ 281 w 281"/>
                  <a:gd name="T1" fmla="*/ 408 h 408"/>
                  <a:gd name="T2" fmla="*/ 0 w 281"/>
                  <a:gd name="T3" fmla="*/ 334 h 408"/>
                  <a:gd name="T4" fmla="*/ 0 w 281"/>
                  <a:gd name="T5" fmla="*/ 0 h 408"/>
                  <a:gd name="T6" fmla="*/ 281 w 281"/>
                  <a:gd name="T7" fmla="*/ 408 h 408"/>
                </a:gdLst>
                <a:ahLst/>
                <a:cxnLst>
                  <a:cxn ang="0">
                    <a:pos x="T0" y="T1"/>
                  </a:cxn>
                  <a:cxn ang="0">
                    <a:pos x="T2" y="T3"/>
                  </a:cxn>
                  <a:cxn ang="0">
                    <a:pos x="T4" y="T5"/>
                  </a:cxn>
                  <a:cxn ang="0">
                    <a:pos x="T6" y="T7"/>
                  </a:cxn>
                </a:cxnLst>
                <a:rect l="0" t="0" r="r" b="b"/>
                <a:pathLst>
                  <a:path w="281" h="408">
                    <a:moveTo>
                      <a:pt x="281" y="408"/>
                    </a:moveTo>
                    <a:lnTo>
                      <a:pt x="0" y="334"/>
                    </a:lnTo>
                    <a:lnTo>
                      <a:pt x="0" y="0"/>
                    </a:lnTo>
                    <a:lnTo>
                      <a:pt x="281" y="408"/>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10" name="Freeform 330"/>
              <p:cNvSpPr>
                <a:spLocks/>
              </p:cNvSpPr>
              <p:nvPr/>
            </p:nvSpPr>
            <p:spPr bwMode="gray">
              <a:xfrm>
                <a:off x="-12625388" y="1152525"/>
                <a:ext cx="844550" cy="811213"/>
              </a:xfrm>
              <a:custGeom>
                <a:avLst/>
                <a:gdLst>
                  <a:gd name="T0" fmla="*/ 0 w 532"/>
                  <a:gd name="T1" fmla="*/ 511 h 511"/>
                  <a:gd name="T2" fmla="*/ 0 w 532"/>
                  <a:gd name="T3" fmla="*/ 511 h 511"/>
                  <a:gd name="T4" fmla="*/ 532 w 532"/>
                  <a:gd name="T5" fmla="*/ 0 h 511"/>
                  <a:gd name="T6" fmla="*/ 0 w 532"/>
                  <a:gd name="T7" fmla="*/ 511 h 511"/>
                </a:gdLst>
                <a:ahLst/>
                <a:cxnLst>
                  <a:cxn ang="0">
                    <a:pos x="T0" y="T1"/>
                  </a:cxn>
                  <a:cxn ang="0">
                    <a:pos x="T2" y="T3"/>
                  </a:cxn>
                  <a:cxn ang="0">
                    <a:pos x="T4" y="T5"/>
                  </a:cxn>
                  <a:cxn ang="0">
                    <a:pos x="T6" y="T7"/>
                  </a:cxn>
                </a:cxnLst>
                <a:rect l="0" t="0" r="r" b="b"/>
                <a:pathLst>
                  <a:path w="532" h="511">
                    <a:moveTo>
                      <a:pt x="0" y="511"/>
                    </a:moveTo>
                    <a:lnTo>
                      <a:pt x="0" y="511"/>
                    </a:lnTo>
                    <a:lnTo>
                      <a:pt x="532" y="0"/>
                    </a:lnTo>
                    <a:lnTo>
                      <a:pt x="0" y="51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11" name="Freeform 331"/>
              <p:cNvSpPr>
                <a:spLocks noEditPoints="1"/>
              </p:cNvSpPr>
              <p:nvPr/>
            </p:nvSpPr>
            <p:spPr bwMode="gray">
              <a:xfrm>
                <a:off x="-12625388" y="2682875"/>
                <a:ext cx="1771650" cy="1914525"/>
              </a:xfrm>
              <a:custGeom>
                <a:avLst/>
                <a:gdLst>
                  <a:gd name="T0" fmla="*/ 586 w 2324"/>
                  <a:gd name="T1" fmla="*/ 2514 h 2514"/>
                  <a:gd name="T2" fmla="*/ 586 w 2324"/>
                  <a:gd name="T3" fmla="*/ 2514 h 2514"/>
                  <a:gd name="T4" fmla="*/ 0 w 2324"/>
                  <a:gd name="T5" fmla="*/ 1664 h 2514"/>
                  <a:gd name="T6" fmla="*/ 0 w 2324"/>
                  <a:gd name="T7" fmla="*/ 64 h 2514"/>
                  <a:gd name="T8" fmla="*/ 2324 w 2324"/>
                  <a:gd name="T9" fmla="*/ 0 h 2514"/>
                  <a:gd name="T10" fmla="*/ 1542 w 2324"/>
                  <a:gd name="T11" fmla="*/ 1131 h 2514"/>
                  <a:gd name="T12" fmla="*/ 586 w 2324"/>
                  <a:gd name="T13" fmla="*/ 2514 h 2514"/>
                  <a:gd name="T14" fmla="*/ 2324 w 2324"/>
                  <a:gd name="T15" fmla="*/ 0 h 2514"/>
                  <a:gd name="T16" fmla="*/ 2324 w 2324"/>
                  <a:gd name="T17" fmla="*/ 0 h 2514"/>
                  <a:gd name="T18" fmla="*/ 2324 w 2324"/>
                  <a:gd name="T19"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4" h="2514">
                    <a:moveTo>
                      <a:pt x="586" y="2514"/>
                    </a:moveTo>
                    <a:lnTo>
                      <a:pt x="586" y="2514"/>
                    </a:lnTo>
                    <a:lnTo>
                      <a:pt x="0" y="1664"/>
                    </a:lnTo>
                    <a:lnTo>
                      <a:pt x="0" y="64"/>
                    </a:lnTo>
                    <a:lnTo>
                      <a:pt x="2324" y="0"/>
                    </a:lnTo>
                    <a:lnTo>
                      <a:pt x="1542" y="1131"/>
                    </a:lnTo>
                    <a:lnTo>
                      <a:pt x="586" y="2514"/>
                    </a:lnTo>
                    <a:moveTo>
                      <a:pt x="2324" y="0"/>
                    </a:moveTo>
                    <a:lnTo>
                      <a:pt x="2324" y="0"/>
                    </a:lnTo>
                    <a:lnTo>
                      <a:pt x="2324"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12" name="Freeform 332"/>
              <p:cNvSpPr>
                <a:spLocks/>
              </p:cNvSpPr>
              <p:nvPr/>
            </p:nvSpPr>
            <p:spPr bwMode="gray">
              <a:xfrm>
                <a:off x="-12625388" y="1125537"/>
                <a:ext cx="1771650" cy="1604963"/>
              </a:xfrm>
              <a:custGeom>
                <a:avLst/>
                <a:gdLst>
                  <a:gd name="T0" fmla="*/ 0 w 1116"/>
                  <a:gd name="T1" fmla="*/ 1011 h 1011"/>
                  <a:gd name="T2" fmla="*/ 0 w 1116"/>
                  <a:gd name="T3" fmla="*/ 528 h 1011"/>
                  <a:gd name="T4" fmla="*/ 532 w 1116"/>
                  <a:gd name="T5" fmla="*/ 17 h 1011"/>
                  <a:gd name="T6" fmla="*/ 550 w 1116"/>
                  <a:gd name="T7" fmla="*/ 0 h 1011"/>
                  <a:gd name="T8" fmla="*/ 532 w 1116"/>
                  <a:gd name="T9" fmla="*/ 17 h 1011"/>
                  <a:gd name="T10" fmla="*/ 550 w 1116"/>
                  <a:gd name="T11" fmla="*/ 0 h 1011"/>
                  <a:gd name="T12" fmla="*/ 550 w 1116"/>
                  <a:gd name="T13" fmla="*/ 0 h 1011"/>
                  <a:gd name="T14" fmla="*/ 550 w 1116"/>
                  <a:gd name="T15" fmla="*/ 0 h 1011"/>
                  <a:gd name="T16" fmla="*/ 1116 w 1116"/>
                  <a:gd name="T17" fmla="*/ 981 h 1011"/>
                  <a:gd name="T18" fmla="*/ 0 w 1116"/>
                  <a:gd name="T19" fmla="*/ 1011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6" h="1011">
                    <a:moveTo>
                      <a:pt x="0" y="1011"/>
                    </a:moveTo>
                    <a:lnTo>
                      <a:pt x="0" y="528"/>
                    </a:lnTo>
                    <a:lnTo>
                      <a:pt x="532" y="17"/>
                    </a:lnTo>
                    <a:lnTo>
                      <a:pt x="550" y="0"/>
                    </a:lnTo>
                    <a:lnTo>
                      <a:pt x="532" y="17"/>
                    </a:lnTo>
                    <a:lnTo>
                      <a:pt x="550" y="0"/>
                    </a:lnTo>
                    <a:lnTo>
                      <a:pt x="550" y="0"/>
                    </a:lnTo>
                    <a:lnTo>
                      <a:pt x="550" y="0"/>
                    </a:lnTo>
                    <a:lnTo>
                      <a:pt x="1116" y="981"/>
                    </a:lnTo>
                    <a:lnTo>
                      <a:pt x="0" y="101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13" name="Freeform 333"/>
              <p:cNvSpPr>
                <a:spLocks/>
              </p:cNvSpPr>
              <p:nvPr/>
            </p:nvSpPr>
            <p:spPr bwMode="gray">
              <a:xfrm>
                <a:off x="-11780838" y="1125537"/>
                <a:ext cx="28575" cy="26988"/>
              </a:xfrm>
              <a:custGeom>
                <a:avLst/>
                <a:gdLst>
                  <a:gd name="T0" fmla="*/ 0 w 18"/>
                  <a:gd name="T1" fmla="*/ 17 h 17"/>
                  <a:gd name="T2" fmla="*/ 0 w 18"/>
                  <a:gd name="T3" fmla="*/ 17 h 17"/>
                  <a:gd name="T4" fmla="*/ 18 w 18"/>
                  <a:gd name="T5" fmla="*/ 0 h 17"/>
                  <a:gd name="T6" fmla="*/ 0 w 18"/>
                  <a:gd name="T7" fmla="*/ 17 h 17"/>
                </a:gdLst>
                <a:ahLst/>
                <a:cxnLst>
                  <a:cxn ang="0">
                    <a:pos x="T0" y="T1"/>
                  </a:cxn>
                  <a:cxn ang="0">
                    <a:pos x="T2" y="T3"/>
                  </a:cxn>
                  <a:cxn ang="0">
                    <a:pos x="T4" y="T5"/>
                  </a:cxn>
                  <a:cxn ang="0">
                    <a:pos x="T6" y="T7"/>
                  </a:cxn>
                </a:cxnLst>
                <a:rect l="0" t="0" r="r" b="b"/>
                <a:pathLst>
                  <a:path w="18" h="17">
                    <a:moveTo>
                      <a:pt x="0" y="17"/>
                    </a:moveTo>
                    <a:lnTo>
                      <a:pt x="0" y="17"/>
                    </a:lnTo>
                    <a:lnTo>
                      <a:pt x="18" y="0"/>
                    </a:lnTo>
                    <a:lnTo>
                      <a:pt x="0" y="1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14" name="Freeform 334"/>
              <p:cNvSpPr>
                <a:spLocks noEditPoints="1"/>
              </p:cNvSpPr>
              <p:nvPr/>
            </p:nvSpPr>
            <p:spPr bwMode="gray">
              <a:xfrm>
                <a:off x="-10853738" y="1454150"/>
                <a:ext cx="1365250" cy="1757363"/>
              </a:xfrm>
              <a:custGeom>
                <a:avLst/>
                <a:gdLst>
                  <a:gd name="T0" fmla="*/ 1792 w 1792"/>
                  <a:gd name="T1" fmla="*/ 2307 h 2307"/>
                  <a:gd name="T2" fmla="*/ 0 w 1792"/>
                  <a:gd name="T3" fmla="*/ 1612 h 2307"/>
                  <a:gd name="T4" fmla="*/ 0 w 1792"/>
                  <a:gd name="T5" fmla="*/ 1612 h 2307"/>
                  <a:gd name="T6" fmla="*/ 0 w 1792"/>
                  <a:gd name="T7" fmla="*/ 1612 h 2307"/>
                  <a:gd name="T8" fmla="*/ 233 w 1792"/>
                  <a:gd name="T9" fmla="*/ 0 h 2307"/>
                  <a:gd name="T10" fmla="*/ 790 w 1792"/>
                  <a:gd name="T11" fmla="*/ 824 h 2307"/>
                  <a:gd name="T12" fmla="*/ 1792 w 1792"/>
                  <a:gd name="T13" fmla="*/ 2307 h 2307"/>
                  <a:gd name="T14" fmla="*/ 233 w 1792"/>
                  <a:gd name="T15" fmla="*/ 0 h 2307"/>
                  <a:gd name="T16" fmla="*/ 233 w 1792"/>
                  <a:gd name="T17" fmla="*/ 0 h 2307"/>
                  <a:gd name="T18" fmla="*/ 233 w 1792"/>
                  <a:gd name="T19" fmla="*/ 0 h 2307"/>
                  <a:gd name="T20" fmla="*/ 233 w 1792"/>
                  <a:gd name="T21" fmla="*/ 0 h 2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2" h="2307">
                    <a:moveTo>
                      <a:pt x="1792" y="2307"/>
                    </a:moveTo>
                    <a:lnTo>
                      <a:pt x="0" y="1612"/>
                    </a:lnTo>
                    <a:lnTo>
                      <a:pt x="0" y="1612"/>
                    </a:lnTo>
                    <a:lnTo>
                      <a:pt x="0" y="1612"/>
                    </a:lnTo>
                    <a:lnTo>
                      <a:pt x="233" y="0"/>
                    </a:lnTo>
                    <a:lnTo>
                      <a:pt x="790" y="824"/>
                    </a:lnTo>
                    <a:lnTo>
                      <a:pt x="1792" y="2307"/>
                    </a:lnTo>
                    <a:moveTo>
                      <a:pt x="233" y="0"/>
                    </a:moveTo>
                    <a:lnTo>
                      <a:pt x="233" y="0"/>
                    </a:lnTo>
                    <a:lnTo>
                      <a:pt x="233" y="0"/>
                    </a:lnTo>
                    <a:lnTo>
                      <a:pt x="233"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15" name="Freeform 335"/>
              <p:cNvSpPr>
                <a:spLocks/>
              </p:cNvSpPr>
              <p:nvPr/>
            </p:nvSpPr>
            <p:spPr bwMode="gray">
              <a:xfrm>
                <a:off x="-10853738" y="-979488"/>
                <a:ext cx="1397000" cy="2433638"/>
              </a:xfrm>
              <a:custGeom>
                <a:avLst/>
                <a:gdLst>
                  <a:gd name="T0" fmla="*/ 111 w 880"/>
                  <a:gd name="T1" fmla="*/ 1533 h 1533"/>
                  <a:gd name="T2" fmla="*/ 111 w 880"/>
                  <a:gd name="T3" fmla="*/ 1533 h 1533"/>
                  <a:gd name="T4" fmla="*/ 0 w 880"/>
                  <a:gd name="T5" fmla="*/ 347 h 1533"/>
                  <a:gd name="T6" fmla="*/ 0 w 880"/>
                  <a:gd name="T7" fmla="*/ 347 h 1533"/>
                  <a:gd name="T8" fmla="*/ 0 w 880"/>
                  <a:gd name="T9" fmla="*/ 347 h 1533"/>
                  <a:gd name="T10" fmla="*/ 880 w 880"/>
                  <a:gd name="T11" fmla="*/ 0 h 1533"/>
                  <a:gd name="T12" fmla="*/ 111 w 880"/>
                  <a:gd name="T13" fmla="*/ 1533 h 1533"/>
                </a:gdLst>
                <a:ahLst/>
                <a:cxnLst>
                  <a:cxn ang="0">
                    <a:pos x="T0" y="T1"/>
                  </a:cxn>
                  <a:cxn ang="0">
                    <a:pos x="T2" y="T3"/>
                  </a:cxn>
                  <a:cxn ang="0">
                    <a:pos x="T4" y="T5"/>
                  </a:cxn>
                  <a:cxn ang="0">
                    <a:pos x="T6" y="T7"/>
                  </a:cxn>
                  <a:cxn ang="0">
                    <a:pos x="T8" y="T9"/>
                  </a:cxn>
                  <a:cxn ang="0">
                    <a:pos x="T10" y="T11"/>
                  </a:cxn>
                  <a:cxn ang="0">
                    <a:pos x="T12" y="T13"/>
                  </a:cxn>
                </a:cxnLst>
                <a:rect l="0" t="0" r="r" b="b"/>
                <a:pathLst>
                  <a:path w="880" h="1533">
                    <a:moveTo>
                      <a:pt x="111" y="1533"/>
                    </a:moveTo>
                    <a:lnTo>
                      <a:pt x="111" y="1533"/>
                    </a:lnTo>
                    <a:lnTo>
                      <a:pt x="0" y="347"/>
                    </a:lnTo>
                    <a:lnTo>
                      <a:pt x="0" y="347"/>
                    </a:lnTo>
                    <a:lnTo>
                      <a:pt x="0" y="347"/>
                    </a:lnTo>
                    <a:lnTo>
                      <a:pt x="880" y="0"/>
                    </a:lnTo>
                    <a:lnTo>
                      <a:pt x="111" y="15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16" name="Freeform 336"/>
              <p:cNvSpPr>
                <a:spLocks/>
              </p:cNvSpPr>
              <p:nvPr/>
            </p:nvSpPr>
            <p:spPr bwMode="gray">
              <a:xfrm>
                <a:off x="-10677525" y="1125537"/>
                <a:ext cx="2517775" cy="2085975"/>
              </a:xfrm>
              <a:custGeom>
                <a:avLst/>
                <a:gdLst>
                  <a:gd name="T0" fmla="*/ 749 w 1586"/>
                  <a:gd name="T1" fmla="*/ 1314 h 1314"/>
                  <a:gd name="T2" fmla="*/ 268 w 1586"/>
                  <a:gd name="T3" fmla="*/ 602 h 1314"/>
                  <a:gd name="T4" fmla="*/ 0 w 1586"/>
                  <a:gd name="T5" fmla="*/ 207 h 1314"/>
                  <a:gd name="T6" fmla="*/ 0 w 1586"/>
                  <a:gd name="T7" fmla="*/ 207 h 1314"/>
                  <a:gd name="T8" fmla="*/ 0 w 1586"/>
                  <a:gd name="T9" fmla="*/ 207 h 1314"/>
                  <a:gd name="T10" fmla="*/ 0 w 1586"/>
                  <a:gd name="T11" fmla="*/ 207 h 1314"/>
                  <a:gd name="T12" fmla="*/ 169 w 1586"/>
                  <a:gd name="T13" fmla="*/ 185 h 1314"/>
                  <a:gd name="T14" fmla="*/ 1586 w 1586"/>
                  <a:gd name="T15" fmla="*/ 0 h 1314"/>
                  <a:gd name="T16" fmla="*/ 749 w 1586"/>
                  <a:gd name="T17" fmla="*/ 1314 h 1314"/>
                  <a:gd name="T18" fmla="*/ 749 w 1586"/>
                  <a:gd name="T19" fmla="*/ 1314 h 1314"/>
                  <a:gd name="T20" fmla="*/ 749 w 1586"/>
                  <a:gd name="T21" fmla="*/ 1314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6" h="1314">
                    <a:moveTo>
                      <a:pt x="749" y="1314"/>
                    </a:moveTo>
                    <a:lnTo>
                      <a:pt x="268" y="602"/>
                    </a:lnTo>
                    <a:lnTo>
                      <a:pt x="0" y="207"/>
                    </a:lnTo>
                    <a:lnTo>
                      <a:pt x="0" y="207"/>
                    </a:lnTo>
                    <a:lnTo>
                      <a:pt x="0" y="207"/>
                    </a:lnTo>
                    <a:lnTo>
                      <a:pt x="0" y="207"/>
                    </a:lnTo>
                    <a:lnTo>
                      <a:pt x="169" y="185"/>
                    </a:lnTo>
                    <a:lnTo>
                      <a:pt x="1586" y="0"/>
                    </a:lnTo>
                    <a:lnTo>
                      <a:pt x="749" y="1314"/>
                    </a:lnTo>
                    <a:lnTo>
                      <a:pt x="749" y="1314"/>
                    </a:lnTo>
                    <a:lnTo>
                      <a:pt x="749" y="1314"/>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17" name="Freeform 337"/>
              <p:cNvSpPr>
                <a:spLocks/>
              </p:cNvSpPr>
              <p:nvPr/>
            </p:nvSpPr>
            <p:spPr bwMode="gray">
              <a:xfrm>
                <a:off x="-10677525" y="1454150"/>
                <a:ext cx="425450" cy="627063"/>
              </a:xfrm>
              <a:custGeom>
                <a:avLst/>
                <a:gdLst>
                  <a:gd name="T0" fmla="*/ 268 w 268"/>
                  <a:gd name="T1" fmla="*/ 395 h 395"/>
                  <a:gd name="T2" fmla="*/ 0 w 268"/>
                  <a:gd name="T3" fmla="*/ 0 h 395"/>
                  <a:gd name="T4" fmla="*/ 0 w 268"/>
                  <a:gd name="T5" fmla="*/ 0 h 395"/>
                  <a:gd name="T6" fmla="*/ 268 w 268"/>
                  <a:gd name="T7" fmla="*/ 395 h 395"/>
                </a:gdLst>
                <a:ahLst/>
                <a:cxnLst>
                  <a:cxn ang="0">
                    <a:pos x="T0" y="T1"/>
                  </a:cxn>
                  <a:cxn ang="0">
                    <a:pos x="T2" y="T3"/>
                  </a:cxn>
                  <a:cxn ang="0">
                    <a:pos x="T4" y="T5"/>
                  </a:cxn>
                  <a:cxn ang="0">
                    <a:pos x="T6" y="T7"/>
                  </a:cxn>
                </a:cxnLst>
                <a:rect l="0" t="0" r="r" b="b"/>
                <a:pathLst>
                  <a:path w="268" h="395">
                    <a:moveTo>
                      <a:pt x="268" y="395"/>
                    </a:moveTo>
                    <a:lnTo>
                      <a:pt x="0" y="0"/>
                    </a:lnTo>
                    <a:lnTo>
                      <a:pt x="0" y="0"/>
                    </a:lnTo>
                    <a:lnTo>
                      <a:pt x="268" y="39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18" name="Freeform 338"/>
              <p:cNvSpPr>
                <a:spLocks/>
              </p:cNvSpPr>
              <p:nvPr/>
            </p:nvSpPr>
            <p:spPr bwMode="gray">
              <a:xfrm>
                <a:off x="-11752263" y="-428626"/>
                <a:ext cx="1074738" cy="1882775"/>
              </a:xfrm>
              <a:custGeom>
                <a:avLst/>
                <a:gdLst>
                  <a:gd name="T0" fmla="*/ 677 w 677"/>
                  <a:gd name="T1" fmla="*/ 1186 h 1186"/>
                  <a:gd name="T2" fmla="*/ 0 w 677"/>
                  <a:gd name="T3" fmla="*/ 979 h 1186"/>
                  <a:gd name="T4" fmla="*/ 452 w 677"/>
                  <a:gd name="T5" fmla="*/ 196 h 1186"/>
                  <a:gd name="T6" fmla="*/ 566 w 677"/>
                  <a:gd name="T7" fmla="*/ 0 h 1186"/>
                  <a:gd name="T8" fmla="*/ 677 w 677"/>
                  <a:gd name="T9" fmla="*/ 1186 h 1186"/>
                  <a:gd name="T10" fmla="*/ 677 w 677"/>
                  <a:gd name="T11" fmla="*/ 1186 h 1186"/>
                </a:gdLst>
                <a:ahLst/>
                <a:cxnLst>
                  <a:cxn ang="0">
                    <a:pos x="T0" y="T1"/>
                  </a:cxn>
                  <a:cxn ang="0">
                    <a:pos x="T2" y="T3"/>
                  </a:cxn>
                  <a:cxn ang="0">
                    <a:pos x="T4" y="T5"/>
                  </a:cxn>
                  <a:cxn ang="0">
                    <a:pos x="T6" y="T7"/>
                  </a:cxn>
                  <a:cxn ang="0">
                    <a:pos x="T8" y="T9"/>
                  </a:cxn>
                  <a:cxn ang="0">
                    <a:pos x="T10" y="T11"/>
                  </a:cxn>
                </a:cxnLst>
                <a:rect l="0" t="0" r="r" b="b"/>
                <a:pathLst>
                  <a:path w="677" h="1186">
                    <a:moveTo>
                      <a:pt x="677" y="1186"/>
                    </a:moveTo>
                    <a:lnTo>
                      <a:pt x="0" y="979"/>
                    </a:lnTo>
                    <a:lnTo>
                      <a:pt x="452" y="196"/>
                    </a:lnTo>
                    <a:lnTo>
                      <a:pt x="566" y="0"/>
                    </a:lnTo>
                    <a:lnTo>
                      <a:pt x="677" y="1186"/>
                    </a:lnTo>
                    <a:lnTo>
                      <a:pt x="677" y="118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19" name="Rectangle 339"/>
              <p:cNvSpPr>
                <a:spLocks noChangeArrowheads="1"/>
              </p:cNvSpPr>
              <p:nvPr/>
            </p:nvSpPr>
            <p:spPr bwMode="gray">
              <a:xfrm>
                <a:off x="-10677525" y="1454150"/>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20" name="Rectangle 340"/>
              <p:cNvSpPr>
                <a:spLocks noChangeArrowheads="1"/>
              </p:cNvSpPr>
              <p:nvPr/>
            </p:nvSpPr>
            <p:spPr bwMode="gray">
              <a:xfrm>
                <a:off x="-11752263" y="1125537"/>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21" name="Freeform 341"/>
              <p:cNvSpPr>
                <a:spLocks/>
              </p:cNvSpPr>
              <p:nvPr/>
            </p:nvSpPr>
            <p:spPr bwMode="gray">
              <a:xfrm>
                <a:off x="-10677525" y="-979488"/>
                <a:ext cx="2517775" cy="2433638"/>
              </a:xfrm>
              <a:custGeom>
                <a:avLst/>
                <a:gdLst>
                  <a:gd name="T0" fmla="*/ 0 w 1586"/>
                  <a:gd name="T1" fmla="*/ 1533 h 1533"/>
                  <a:gd name="T2" fmla="*/ 769 w 1586"/>
                  <a:gd name="T3" fmla="*/ 0 h 1533"/>
                  <a:gd name="T4" fmla="*/ 1586 w 1586"/>
                  <a:gd name="T5" fmla="*/ 1326 h 1533"/>
                  <a:gd name="T6" fmla="*/ 1586 w 1586"/>
                  <a:gd name="T7" fmla="*/ 1326 h 1533"/>
                  <a:gd name="T8" fmla="*/ 1586 w 1586"/>
                  <a:gd name="T9" fmla="*/ 1326 h 1533"/>
                  <a:gd name="T10" fmla="*/ 1586 w 1586"/>
                  <a:gd name="T11" fmla="*/ 1326 h 1533"/>
                  <a:gd name="T12" fmla="*/ 169 w 1586"/>
                  <a:gd name="T13" fmla="*/ 1511 h 1533"/>
                  <a:gd name="T14" fmla="*/ 0 w 1586"/>
                  <a:gd name="T15" fmla="*/ 1533 h 15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6" h="1533">
                    <a:moveTo>
                      <a:pt x="0" y="1533"/>
                    </a:moveTo>
                    <a:lnTo>
                      <a:pt x="769" y="0"/>
                    </a:lnTo>
                    <a:lnTo>
                      <a:pt x="1586" y="1326"/>
                    </a:lnTo>
                    <a:lnTo>
                      <a:pt x="1586" y="1326"/>
                    </a:lnTo>
                    <a:lnTo>
                      <a:pt x="1586" y="1326"/>
                    </a:lnTo>
                    <a:lnTo>
                      <a:pt x="1586" y="1326"/>
                    </a:lnTo>
                    <a:lnTo>
                      <a:pt x="169" y="1511"/>
                    </a:lnTo>
                    <a:lnTo>
                      <a:pt x="0" y="1533"/>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22" name="Freeform 342"/>
              <p:cNvSpPr>
                <a:spLocks noEditPoints="1"/>
              </p:cNvSpPr>
              <p:nvPr/>
            </p:nvSpPr>
            <p:spPr bwMode="gray">
              <a:xfrm>
                <a:off x="-11752263" y="1125537"/>
                <a:ext cx="1074738" cy="1557338"/>
              </a:xfrm>
              <a:custGeom>
                <a:avLst/>
                <a:gdLst>
                  <a:gd name="T0" fmla="*/ 1179 w 1412"/>
                  <a:gd name="T1" fmla="*/ 2042 h 2042"/>
                  <a:gd name="T2" fmla="*/ 0 w 1412"/>
                  <a:gd name="T3" fmla="*/ 0 h 2042"/>
                  <a:gd name="T4" fmla="*/ 1412 w 1412"/>
                  <a:gd name="T5" fmla="*/ 430 h 2042"/>
                  <a:gd name="T6" fmla="*/ 1179 w 1412"/>
                  <a:gd name="T7" fmla="*/ 2042 h 2042"/>
                  <a:gd name="T8" fmla="*/ 1412 w 1412"/>
                  <a:gd name="T9" fmla="*/ 430 h 2042"/>
                  <a:gd name="T10" fmla="*/ 1412 w 1412"/>
                  <a:gd name="T11" fmla="*/ 430 h 2042"/>
                  <a:gd name="T12" fmla="*/ 1412 w 1412"/>
                  <a:gd name="T13" fmla="*/ 430 h 2042"/>
                  <a:gd name="T14" fmla="*/ 1412 w 1412"/>
                  <a:gd name="T15" fmla="*/ 430 h 20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2042">
                    <a:moveTo>
                      <a:pt x="1179" y="2042"/>
                    </a:moveTo>
                    <a:lnTo>
                      <a:pt x="0" y="0"/>
                    </a:lnTo>
                    <a:lnTo>
                      <a:pt x="1412" y="430"/>
                    </a:lnTo>
                    <a:lnTo>
                      <a:pt x="1179" y="2042"/>
                    </a:lnTo>
                    <a:moveTo>
                      <a:pt x="1412" y="430"/>
                    </a:moveTo>
                    <a:lnTo>
                      <a:pt x="1412" y="430"/>
                    </a:lnTo>
                    <a:lnTo>
                      <a:pt x="1412" y="430"/>
                    </a:lnTo>
                    <a:lnTo>
                      <a:pt x="1412" y="430"/>
                    </a:lnTo>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23" name="Freeform 343"/>
              <p:cNvSpPr>
                <a:spLocks/>
              </p:cNvSpPr>
              <p:nvPr/>
            </p:nvSpPr>
            <p:spPr bwMode="gray">
              <a:xfrm>
                <a:off x="-10853738" y="1454150"/>
                <a:ext cx="176213" cy="1228725"/>
              </a:xfrm>
              <a:custGeom>
                <a:avLst/>
                <a:gdLst>
                  <a:gd name="T0" fmla="*/ 0 w 111"/>
                  <a:gd name="T1" fmla="*/ 774 h 774"/>
                  <a:gd name="T2" fmla="*/ 0 w 111"/>
                  <a:gd name="T3" fmla="*/ 774 h 774"/>
                  <a:gd name="T4" fmla="*/ 111 w 111"/>
                  <a:gd name="T5" fmla="*/ 0 h 774"/>
                  <a:gd name="T6" fmla="*/ 111 w 111"/>
                  <a:gd name="T7" fmla="*/ 0 h 774"/>
                  <a:gd name="T8" fmla="*/ 111 w 111"/>
                  <a:gd name="T9" fmla="*/ 0 h 774"/>
                  <a:gd name="T10" fmla="*/ 111 w 111"/>
                  <a:gd name="T11" fmla="*/ 0 h 774"/>
                  <a:gd name="T12" fmla="*/ 111 w 111"/>
                  <a:gd name="T13" fmla="*/ 0 h 774"/>
                  <a:gd name="T14" fmla="*/ 111 w 111"/>
                  <a:gd name="T15" fmla="*/ 0 h 774"/>
                  <a:gd name="T16" fmla="*/ 0 w 111"/>
                  <a:gd name="T17" fmla="*/ 77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74">
                    <a:moveTo>
                      <a:pt x="0" y="774"/>
                    </a:moveTo>
                    <a:lnTo>
                      <a:pt x="0" y="774"/>
                    </a:lnTo>
                    <a:lnTo>
                      <a:pt x="111" y="0"/>
                    </a:lnTo>
                    <a:lnTo>
                      <a:pt x="111" y="0"/>
                    </a:lnTo>
                    <a:lnTo>
                      <a:pt x="111" y="0"/>
                    </a:lnTo>
                    <a:lnTo>
                      <a:pt x="111" y="0"/>
                    </a:lnTo>
                    <a:lnTo>
                      <a:pt x="111" y="0"/>
                    </a:lnTo>
                    <a:lnTo>
                      <a:pt x="111" y="0"/>
                    </a:lnTo>
                    <a:lnTo>
                      <a:pt x="0" y="774"/>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24" name="Rectangle 344"/>
              <p:cNvSpPr>
                <a:spLocks noChangeArrowheads="1"/>
              </p:cNvSpPr>
              <p:nvPr/>
            </p:nvSpPr>
            <p:spPr bwMode="gray">
              <a:xfrm>
                <a:off x="-11752263" y="1125537"/>
                <a:ext cx="1588" cy="1588"/>
              </a:xfrm>
              <a:prstGeom prst="rect">
                <a:avLst/>
              </a:prstGeom>
              <a:solidFill>
                <a:srgbClr val="579ABA"/>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25" name="Rectangle 345"/>
              <p:cNvSpPr>
                <a:spLocks noChangeArrowheads="1"/>
              </p:cNvSpPr>
              <p:nvPr/>
            </p:nvSpPr>
            <p:spPr bwMode="gray">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26" name="Rectangle 346"/>
              <p:cNvSpPr>
                <a:spLocks noChangeArrowheads="1"/>
              </p:cNvSpPr>
              <p:nvPr/>
            </p:nvSpPr>
            <p:spPr bwMode="gray">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27" name="Freeform 347"/>
              <p:cNvSpPr>
                <a:spLocks/>
              </p:cNvSpPr>
              <p:nvPr/>
            </p:nvSpPr>
            <p:spPr bwMode="gray">
              <a:xfrm>
                <a:off x="-11752263" y="1125537"/>
                <a:ext cx="1074738" cy="328613"/>
              </a:xfrm>
              <a:custGeom>
                <a:avLst/>
                <a:gdLst>
                  <a:gd name="T0" fmla="*/ 677 w 677"/>
                  <a:gd name="T1" fmla="*/ 207 h 207"/>
                  <a:gd name="T2" fmla="*/ 0 w 677"/>
                  <a:gd name="T3" fmla="*/ 0 h 207"/>
                  <a:gd name="T4" fmla="*/ 0 w 677"/>
                  <a:gd name="T5" fmla="*/ 0 h 207"/>
                  <a:gd name="T6" fmla="*/ 0 w 677"/>
                  <a:gd name="T7" fmla="*/ 0 h 207"/>
                  <a:gd name="T8" fmla="*/ 677 w 677"/>
                  <a:gd name="T9" fmla="*/ 207 h 207"/>
                  <a:gd name="T10" fmla="*/ 677 w 677"/>
                  <a:gd name="T11" fmla="*/ 207 h 207"/>
                </a:gdLst>
                <a:ahLst/>
                <a:cxnLst>
                  <a:cxn ang="0">
                    <a:pos x="T0" y="T1"/>
                  </a:cxn>
                  <a:cxn ang="0">
                    <a:pos x="T2" y="T3"/>
                  </a:cxn>
                  <a:cxn ang="0">
                    <a:pos x="T4" y="T5"/>
                  </a:cxn>
                  <a:cxn ang="0">
                    <a:pos x="T6" y="T7"/>
                  </a:cxn>
                  <a:cxn ang="0">
                    <a:pos x="T8" y="T9"/>
                  </a:cxn>
                  <a:cxn ang="0">
                    <a:pos x="T10" y="T11"/>
                  </a:cxn>
                </a:cxnLst>
                <a:rect l="0" t="0" r="r" b="b"/>
                <a:pathLst>
                  <a:path w="677" h="207">
                    <a:moveTo>
                      <a:pt x="677" y="207"/>
                    </a:moveTo>
                    <a:lnTo>
                      <a:pt x="0" y="0"/>
                    </a:lnTo>
                    <a:lnTo>
                      <a:pt x="0" y="0"/>
                    </a:lnTo>
                    <a:lnTo>
                      <a:pt x="0" y="0"/>
                    </a:lnTo>
                    <a:lnTo>
                      <a:pt x="677" y="207"/>
                    </a:lnTo>
                    <a:lnTo>
                      <a:pt x="677" y="20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28" name="Rectangle 348"/>
              <p:cNvSpPr>
                <a:spLocks noChangeArrowheads="1"/>
              </p:cNvSpPr>
              <p:nvPr/>
            </p:nvSpPr>
            <p:spPr bwMode="gray">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29" name="Freeform 349"/>
              <p:cNvSpPr>
                <a:spLocks noEditPoints="1"/>
              </p:cNvSpPr>
              <p:nvPr/>
            </p:nvSpPr>
            <p:spPr bwMode="gray">
              <a:xfrm>
                <a:off x="-12625388" y="5602287"/>
                <a:ext cx="571500" cy="1801813"/>
              </a:xfrm>
              <a:custGeom>
                <a:avLst/>
                <a:gdLst>
                  <a:gd name="T0" fmla="*/ 0 w 750"/>
                  <a:gd name="T1" fmla="*/ 2365 h 2365"/>
                  <a:gd name="T2" fmla="*/ 0 w 750"/>
                  <a:gd name="T3" fmla="*/ 921 h 2365"/>
                  <a:gd name="T4" fmla="*/ 750 w 750"/>
                  <a:gd name="T5" fmla="*/ 0 h 2365"/>
                  <a:gd name="T6" fmla="*/ 371 w 750"/>
                  <a:gd name="T7" fmla="*/ 2264 h 2365"/>
                  <a:gd name="T8" fmla="*/ 0 w 750"/>
                  <a:gd name="T9" fmla="*/ 2365 h 2365"/>
                  <a:gd name="T10" fmla="*/ 0 w 750"/>
                  <a:gd name="T11" fmla="*/ 921 h 2365"/>
                  <a:gd name="T12" fmla="*/ 0 w 750"/>
                  <a:gd name="T13" fmla="*/ 921 h 2365"/>
                  <a:gd name="T14" fmla="*/ 750 w 750"/>
                  <a:gd name="T15" fmla="*/ 0 h 2365"/>
                  <a:gd name="T16" fmla="*/ 750 w 750"/>
                  <a:gd name="T17" fmla="*/ 0 h 2365"/>
                  <a:gd name="T18" fmla="*/ 750 w 750"/>
                  <a:gd name="T19" fmla="*/ 0 h 2365"/>
                  <a:gd name="T20" fmla="*/ 0 w 750"/>
                  <a:gd name="T21" fmla="*/ 921 h 2365"/>
                  <a:gd name="T22" fmla="*/ 750 w 750"/>
                  <a:gd name="T23" fmla="*/ 0 h 2365"/>
                  <a:gd name="T24" fmla="*/ 750 w 750"/>
                  <a:gd name="T25" fmla="*/ 0 h 2365"/>
                  <a:gd name="T26" fmla="*/ 750 w 750"/>
                  <a:gd name="T27" fmla="*/ 0 h 2365"/>
                  <a:gd name="T28" fmla="*/ 750 w 750"/>
                  <a:gd name="T29" fmla="*/ 0 h 2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0" h="2365">
                    <a:moveTo>
                      <a:pt x="0" y="2365"/>
                    </a:moveTo>
                    <a:lnTo>
                      <a:pt x="0" y="921"/>
                    </a:lnTo>
                    <a:lnTo>
                      <a:pt x="750" y="0"/>
                    </a:lnTo>
                    <a:lnTo>
                      <a:pt x="371" y="2264"/>
                    </a:lnTo>
                    <a:lnTo>
                      <a:pt x="0" y="2365"/>
                    </a:lnTo>
                    <a:moveTo>
                      <a:pt x="0" y="921"/>
                    </a:moveTo>
                    <a:lnTo>
                      <a:pt x="0" y="921"/>
                    </a:lnTo>
                    <a:lnTo>
                      <a:pt x="750" y="0"/>
                    </a:lnTo>
                    <a:lnTo>
                      <a:pt x="750" y="0"/>
                    </a:lnTo>
                    <a:lnTo>
                      <a:pt x="750" y="0"/>
                    </a:lnTo>
                    <a:lnTo>
                      <a:pt x="0" y="921"/>
                    </a:lnTo>
                    <a:moveTo>
                      <a:pt x="750" y="0"/>
                    </a:moveTo>
                    <a:lnTo>
                      <a:pt x="750" y="0"/>
                    </a:lnTo>
                    <a:lnTo>
                      <a:pt x="750" y="0"/>
                    </a:lnTo>
                    <a:lnTo>
                      <a:pt x="750" y="0"/>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30" name="Freeform 350"/>
              <p:cNvSpPr>
                <a:spLocks/>
              </p:cNvSpPr>
              <p:nvPr/>
            </p:nvSpPr>
            <p:spPr bwMode="gray">
              <a:xfrm>
                <a:off x="-12625388" y="4479925"/>
                <a:ext cx="571500" cy="1122363"/>
              </a:xfrm>
              <a:custGeom>
                <a:avLst/>
                <a:gdLst>
                  <a:gd name="T0" fmla="*/ 360 w 360"/>
                  <a:gd name="T1" fmla="*/ 707 h 707"/>
                  <a:gd name="T2" fmla="*/ 0 w 360"/>
                  <a:gd name="T3" fmla="*/ 379 h 707"/>
                  <a:gd name="T4" fmla="*/ 0 w 360"/>
                  <a:gd name="T5" fmla="*/ 0 h 707"/>
                  <a:gd name="T6" fmla="*/ 281 w 360"/>
                  <a:gd name="T7" fmla="*/ 74 h 707"/>
                  <a:gd name="T8" fmla="*/ 360 w 360"/>
                  <a:gd name="T9" fmla="*/ 707 h 707"/>
                </a:gdLst>
                <a:ahLst/>
                <a:cxnLst>
                  <a:cxn ang="0">
                    <a:pos x="T0" y="T1"/>
                  </a:cxn>
                  <a:cxn ang="0">
                    <a:pos x="T2" y="T3"/>
                  </a:cxn>
                  <a:cxn ang="0">
                    <a:pos x="T4" y="T5"/>
                  </a:cxn>
                  <a:cxn ang="0">
                    <a:pos x="T6" y="T7"/>
                  </a:cxn>
                  <a:cxn ang="0">
                    <a:pos x="T8" y="T9"/>
                  </a:cxn>
                </a:cxnLst>
                <a:rect l="0" t="0" r="r" b="b"/>
                <a:pathLst>
                  <a:path w="360" h="707">
                    <a:moveTo>
                      <a:pt x="360" y="707"/>
                    </a:moveTo>
                    <a:lnTo>
                      <a:pt x="0" y="379"/>
                    </a:lnTo>
                    <a:lnTo>
                      <a:pt x="0" y="0"/>
                    </a:lnTo>
                    <a:lnTo>
                      <a:pt x="281" y="74"/>
                    </a:lnTo>
                    <a:lnTo>
                      <a:pt x="360" y="707"/>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31" name="Freeform 351"/>
              <p:cNvSpPr>
                <a:spLocks noEditPoints="1"/>
              </p:cNvSpPr>
              <p:nvPr/>
            </p:nvSpPr>
            <p:spPr bwMode="gray">
              <a:xfrm>
                <a:off x="-12341225" y="5602287"/>
                <a:ext cx="1487488" cy="1725613"/>
              </a:xfrm>
              <a:custGeom>
                <a:avLst/>
                <a:gdLst>
                  <a:gd name="T0" fmla="*/ 0 w 1952"/>
                  <a:gd name="T1" fmla="*/ 2264 h 2264"/>
                  <a:gd name="T2" fmla="*/ 378 w 1952"/>
                  <a:gd name="T3" fmla="*/ 0 h 2264"/>
                  <a:gd name="T4" fmla="*/ 378 w 1952"/>
                  <a:gd name="T5" fmla="*/ 0 h 2264"/>
                  <a:gd name="T6" fmla="*/ 1952 w 1952"/>
                  <a:gd name="T7" fmla="*/ 251 h 2264"/>
                  <a:gd name="T8" fmla="*/ 1952 w 1952"/>
                  <a:gd name="T9" fmla="*/ 251 h 2264"/>
                  <a:gd name="T10" fmla="*/ 1952 w 1952"/>
                  <a:gd name="T11" fmla="*/ 251 h 2264"/>
                  <a:gd name="T12" fmla="*/ 1952 w 1952"/>
                  <a:gd name="T13" fmla="*/ 251 h 2264"/>
                  <a:gd name="T14" fmla="*/ 780 w 1952"/>
                  <a:gd name="T15" fmla="*/ 1459 h 2264"/>
                  <a:gd name="T16" fmla="*/ 0 w 1952"/>
                  <a:gd name="T17" fmla="*/ 2264 h 2264"/>
                  <a:gd name="T18" fmla="*/ 378 w 1952"/>
                  <a:gd name="T19" fmla="*/ 0 h 2264"/>
                  <a:gd name="T20" fmla="*/ 378 w 1952"/>
                  <a:gd name="T21" fmla="*/ 0 h 2264"/>
                  <a:gd name="T22" fmla="*/ 378 w 1952"/>
                  <a:gd name="T23" fmla="*/ 0 h 2264"/>
                  <a:gd name="T24" fmla="*/ 378 w 1952"/>
                  <a:gd name="T25" fmla="*/ 0 h 2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52" h="2264">
                    <a:moveTo>
                      <a:pt x="0" y="2264"/>
                    </a:moveTo>
                    <a:lnTo>
                      <a:pt x="378" y="0"/>
                    </a:lnTo>
                    <a:lnTo>
                      <a:pt x="378" y="0"/>
                    </a:lnTo>
                    <a:lnTo>
                      <a:pt x="1952" y="251"/>
                    </a:lnTo>
                    <a:lnTo>
                      <a:pt x="1952" y="251"/>
                    </a:lnTo>
                    <a:lnTo>
                      <a:pt x="1952" y="251"/>
                    </a:lnTo>
                    <a:lnTo>
                      <a:pt x="1952" y="251"/>
                    </a:lnTo>
                    <a:lnTo>
                      <a:pt x="780" y="1459"/>
                    </a:lnTo>
                    <a:lnTo>
                      <a:pt x="0" y="2264"/>
                    </a:lnTo>
                    <a:moveTo>
                      <a:pt x="378" y="0"/>
                    </a:moveTo>
                    <a:lnTo>
                      <a:pt x="378" y="0"/>
                    </a:lnTo>
                    <a:lnTo>
                      <a:pt x="378" y="0"/>
                    </a:lnTo>
                    <a:lnTo>
                      <a:pt x="378"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32" name="Freeform 352"/>
              <p:cNvSpPr>
                <a:spLocks noEditPoints="1"/>
              </p:cNvSpPr>
              <p:nvPr/>
            </p:nvSpPr>
            <p:spPr bwMode="gray">
              <a:xfrm>
                <a:off x="-12625388" y="5081587"/>
                <a:ext cx="571500" cy="520700"/>
              </a:xfrm>
              <a:custGeom>
                <a:avLst/>
                <a:gdLst>
                  <a:gd name="T0" fmla="*/ 750 w 750"/>
                  <a:gd name="T1" fmla="*/ 684 h 684"/>
                  <a:gd name="T2" fmla="*/ 750 w 750"/>
                  <a:gd name="T3" fmla="*/ 684 h 684"/>
                  <a:gd name="T4" fmla="*/ 750 w 750"/>
                  <a:gd name="T5" fmla="*/ 684 h 684"/>
                  <a:gd name="T6" fmla="*/ 750 w 750"/>
                  <a:gd name="T7" fmla="*/ 684 h 684"/>
                  <a:gd name="T8" fmla="*/ 750 w 750"/>
                  <a:gd name="T9" fmla="*/ 684 h 684"/>
                  <a:gd name="T10" fmla="*/ 0 w 750"/>
                  <a:gd name="T11" fmla="*/ 0 h 684"/>
                  <a:gd name="T12" fmla="*/ 750 w 750"/>
                  <a:gd name="T13" fmla="*/ 684 h 684"/>
                </a:gdLst>
                <a:ahLst/>
                <a:cxnLst>
                  <a:cxn ang="0">
                    <a:pos x="T0" y="T1"/>
                  </a:cxn>
                  <a:cxn ang="0">
                    <a:pos x="T2" y="T3"/>
                  </a:cxn>
                  <a:cxn ang="0">
                    <a:pos x="T4" y="T5"/>
                  </a:cxn>
                  <a:cxn ang="0">
                    <a:pos x="T6" y="T7"/>
                  </a:cxn>
                  <a:cxn ang="0">
                    <a:pos x="T8" y="T9"/>
                  </a:cxn>
                  <a:cxn ang="0">
                    <a:pos x="T10" y="T11"/>
                  </a:cxn>
                  <a:cxn ang="0">
                    <a:pos x="T12" y="T13"/>
                  </a:cxn>
                </a:cxnLst>
                <a:rect l="0" t="0" r="r" b="b"/>
                <a:pathLst>
                  <a:path w="750" h="684">
                    <a:moveTo>
                      <a:pt x="750" y="684"/>
                    </a:moveTo>
                    <a:lnTo>
                      <a:pt x="750" y="684"/>
                    </a:lnTo>
                    <a:lnTo>
                      <a:pt x="750" y="684"/>
                    </a:lnTo>
                    <a:lnTo>
                      <a:pt x="750" y="684"/>
                    </a:lnTo>
                    <a:moveTo>
                      <a:pt x="750" y="684"/>
                    </a:moveTo>
                    <a:lnTo>
                      <a:pt x="0" y="0"/>
                    </a:lnTo>
                    <a:lnTo>
                      <a:pt x="750" y="684"/>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33" name="Rectangle 353"/>
              <p:cNvSpPr>
                <a:spLocks noChangeArrowheads="1"/>
              </p:cNvSpPr>
              <p:nvPr/>
            </p:nvSpPr>
            <p:spPr bwMode="gray">
              <a:xfrm>
                <a:off x="-12053888" y="5602287"/>
                <a:ext cx="1588" cy="1588"/>
              </a:xfrm>
              <a:prstGeom prst="rect">
                <a:avLst/>
              </a:prstGeom>
              <a:solidFill>
                <a:srgbClr val="599DBC"/>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34" name="Line 354"/>
              <p:cNvSpPr>
                <a:spLocks noChangeShapeType="1"/>
              </p:cNvSpPr>
              <p:nvPr/>
            </p:nvSpPr>
            <p:spPr bwMode="gray">
              <a:xfrm>
                <a:off x="-12053888" y="56022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35" name="Freeform 355"/>
              <p:cNvSpPr>
                <a:spLocks/>
              </p:cNvSpPr>
              <p:nvPr/>
            </p:nvSpPr>
            <p:spPr bwMode="gray">
              <a:xfrm>
                <a:off x="-12179300" y="4597400"/>
                <a:ext cx="1325563" cy="1195388"/>
              </a:xfrm>
              <a:custGeom>
                <a:avLst/>
                <a:gdLst>
                  <a:gd name="T0" fmla="*/ 835 w 835"/>
                  <a:gd name="T1" fmla="*/ 753 h 753"/>
                  <a:gd name="T2" fmla="*/ 79 w 835"/>
                  <a:gd name="T3" fmla="*/ 633 h 753"/>
                  <a:gd name="T4" fmla="*/ 0 w 835"/>
                  <a:gd name="T5" fmla="*/ 0 h 753"/>
                  <a:gd name="T6" fmla="*/ 835 w 835"/>
                  <a:gd name="T7" fmla="*/ 753 h 753"/>
                  <a:gd name="T8" fmla="*/ 835 w 835"/>
                  <a:gd name="T9" fmla="*/ 753 h 753"/>
                </a:gdLst>
                <a:ahLst/>
                <a:cxnLst>
                  <a:cxn ang="0">
                    <a:pos x="T0" y="T1"/>
                  </a:cxn>
                  <a:cxn ang="0">
                    <a:pos x="T2" y="T3"/>
                  </a:cxn>
                  <a:cxn ang="0">
                    <a:pos x="T4" y="T5"/>
                  </a:cxn>
                  <a:cxn ang="0">
                    <a:pos x="T6" y="T7"/>
                  </a:cxn>
                  <a:cxn ang="0">
                    <a:pos x="T8" y="T9"/>
                  </a:cxn>
                </a:cxnLst>
                <a:rect l="0" t="0" r="r" b="b"/>
                <a:pathLst>
                  <a:path w="835" h="753">
                    <a:moveTo>
                      <a:pt x="835" y="753"/>
                    </a:moveTo>
                    <a:lnTo>
                      <a:pt x="79" y="633"/>
                    </a:lnTo>
                    <a:lnTo>
                      <a:pt x="0" y="0"/>
                    </a:lnTo>
                    <a:lnTo>
                      <a:pt x="835" y="753"/>
                    </a:lnTo>
                    <a:lnTo>
                      <a:pt x="835" y="753"/>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36" name="Freeform 356"/>
              <p:cNvSpPr>
                <a:spLocks/>
              </p:cNvSpPr>
              <p:nvPr/>
            </p:nvSpPr>
            <p:spPr bwMode="gray">
              <a:xfrm>
                <a:off x="-12625388" y="5602287"/>
                <a:ext cx="571500" cy="701675"/>
              </a:xfrm>
              <a:custGeom>
                <a:avLst/>
                <a:gdLst>
                  <a:gd name="T0" fmla="*/ 0 w 360"/>
                  <a:gd name="T1" fmla="*/ 442 h 442"/>
                  <a:gd name="T2" fmla="*/ 0 w 360"/>
                  <a:gd name="T3" fmla="*/ 442 h 442"/>
                  <a:gd name="T4" fmla="*/ 360 w 360"/>
                  <a:gd name="T5" fmla="*/ 0 h 442"/>
                  <a:gd name="T6" fmla="*/ 360 w 360"/>
                  <a:gd name="T7" fmla="*/ 0 h 442"/>
                  <a:gd name="T8" fmla="*/ 360 w 360"/>
                  <a:gd name="T9" fmla="*/ 0 h 442"/>
                  <a:gd name="T10" fmla="*/ 360 w 360"/>
                  <a:gd name="T11" fmla="*/ 0 h 442"/>
                  <a:gd name="T12" fmla="*/ 360 w 360"/>
                  <a:gd name="T13" fmla="*/ 0 h 442"/>
                  <a:gd name="T14" fmla="*/ 0 w 36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442">
                    <a:moveTo>
                      <a:pt x="0" y="442"/>
                    </a:moveTo>
                    <a:lnTo>
                      <a:pt x="0" y="442"/>
                    </a:lnTo>
                    <a:lnTo>
                      <a:pt x="360" y="0"/>
                    </a:lnTo>
                    <a:lnTo>
                      <a:pt x="360" y="0"/>
                    </a:lnTo>
                    <a:lnTo>
                      <a:pt x="360" y="0"/>
                    </a:lnTo>
                    <a:lnTo>
                      <a:pt x="360" y="0"/>
                    </a:lnTo>
                    <a:lnTo>
                      <a:pt x="360" y="0"/>
                    </a:lnTo>
                    <a:lnTo>
                      <a:pt x="0" y="4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37" name="Freeform 357"/>
              <p:cNvSpPr>
                <a:spLocks noEditPoints="1"/>
              </p:cNvSpPr>
              <p:nvPr/>
            </p:nvSpPr>
            <p:spPr bwMode="gray">
              <a:xfrm>
                <a:off x="-10853738" y="4237037"/>
                <a:ext cx="944563" cy="2341563"/>
              </a:xfrm>
              <a:custGeom>
                <a:avLst/>
                <a:gdLst>
                  <a:gd name="T0" fmla="*/ 1240 w 1240"/>
                  <a:gd name="T1" fmla="*/ 3073 h 3073"/>
                  <a:gd name="T2" fmla="*/ 0 w 1240"/>
                  <a:gd name="T3" fmla="*/ 2042 h 3073"/>
                  <a:gd name="T4" fmla="*/ 0 w 1240"/>
                  <a:gd name="T5" fmla="*/ 2042 h 3073"/>
                  <a:gd name="T6" fmla="*/ 0 w 1240"/>
                  <a:gd name="T7" fmla="*/ 2042 h 3073"/>
                  <a:gd name="T8" fmla="*/ 0 w 1240"/>
                  <a:gd name="T9" fmla="*/ 2042 h 3073"/>
                  <a:gd name="T10" fmla="*/ 1178 w 1240"/>
                  <a:gd name="T11" fmla="*/ 1 h 3073"/>
                  <a:gd name="T12" fmla="*/ 1240 w 1240"/>
                  <a:gd name="T13" fmla="*/ 3073 h 3073"/>
                  <a:gd name="T14" fmla="*/ 1178 w 1240"/>
                  <a:gd name="T15" fmla="*/ 0 h 3073"/>
                  <a:gd name="T16" fmla="*/ 1178 w 1240"/>
                  <a:gd name="T17" fmla="*/ 0 h 3073"/>
                  <a:gd name="T18" fmla="*/ 1178 w 1240"/>
                  <a:gd name="T19" fmla="*/ 0 h 3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0" h="3073">
                    <a:moveTo>
                      <a:pt x="1240" y="3073"/>
                    </a:moveTo>
                    <a:lnTo>
                      <a:pt x="0" y="2042"/>
                    </a:lnTo>
                    <a:lnTo>
                      <a:pt x="0" y="2042"/>
                    </a:lnTo>
                    <a:lnTo>
                      <a:pt x="0" y="2042"/>
                    </a:lnTo>
                    <a:lnTo>
                      <a:pt x="0" y="2042"/>
                    </a:lnTo>
                    <a:lnTo>
                      <a:pt x="1178" y="1"/>
                    </a:lnTo>
                    <a:lnTo>
                      <a:pt x="1240" y="3073"/>
                    </a:lnTo>
                    <a:moveTo>
                      <a:pt x="1178" y="0"/>
                    </a:moveTo>
                    <a:lnTo>
                      <a:pt x="1178" y="0"/>
                    </a:lnTo>
                    <a:lnTo>
                      <a:pt x="1178" y="0"/>
                    </a:lnTo>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38" name="Rectangle 358"/>
              <p:cNvSpPr>
                <a:spLocks noChangeArrowheads="1"/>
              </p:cNvSpPr>
              <p:nvPr/>
            </p:nvSpPr>
            <p:spPr bwMode="gray">
              <a:xfrm>
                <a:off x="-10853738" y="5792787"/>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39" name="Freeform 359"/>
              <p:cNvSpPr>
                <a:spLocks/>
              </p:cNvSpPr>
              <p:nvPr/>
            </p:nvSpPr>
            <p:spPr bwMode="gray">
              <a:xfrm>
                <a:off x="-10853738" y="2682875"/>
                <a:ext cx="1365250" cy="1554163"/>
              </a:xfrm>
              <a:custGeom>
                <a:avLst/>
                <a:gdLst>
                  <a:gd name="T0" fmla="*/ 565 w 860"/>
                  <a:gd name="T1" fmla="*/ 979 h 979"/>
                  <a:gd name="T2" fmla="*/ 565 w 860"/>
                  <a:gd name="T3" fmla="*/ 979 h 979"/>
                  <a:gd name="T4" fmla="*/ 0 w 860"/>
                  <a:gd name="T5" fmla="*/ 0 h 979"/>
                  <a:gd name="T6" fmla="*/ 0 w 860"/>
                  <a:gd name="T7" fmla="*/ 0 h 979"/>
                  <a:gd name="T8" fmla="*/ 860 w 860"/>
                  <a:gd name="T9" fmla="*/ 333 h 979"/>
                  <a:gd name="T10" fmla="*/ 565 w 860"/>
                  <a:gd name="T11" fmla="*/ 979 h 979"/>
                </a:gdLst>
                <a:ahLst/>
                <a:cxnLst>
                  <a:cxn ang="0">
                    <a:pos x="T0" y="T1"/>
                  </a:cxn>
                  <a:cxn ang="0">
                    <a:pos x="T2" y="T3"/>
                  </a:cxn>
                  <a:cxn ang="0">
                    <a:pos x="T4" y="T5"/>
                  </a:cxn>
                  <a:cxn ang="0">
                    <a:pos x="T6" y="T7"/>
                  </a:cxn>
                  <a:cxn ang="0">
                    <a:pos x="T8" y="T9"/>
                  </a:cxn>
                  <a:cxn ang="0">
                    <a:pos x="T10" y="T11"/>
                  </a:cxn>
                </a:cxnLst>
                <a:rect l="0" t="0" r="r" b="b"/>
                <a:pathLst>
                  <a:path w="860" h="979">
                    <a:moveTo>
                      <a:pt x="565" y="979"/>
                    </a:moveTo>
                    <a:lnTo>
                      <a:pt x="565" y="979"/>
                    </a:lnTo>
                    <a:lnTo>
                      <a:pt x="0" y="0"/>
                    </a:lnTo>
                    <a:lnTo>
                      <a:pt x="0" y="0"/>
                    </a:lnTo>
                    <a:lnTo>
                      <a:pt x="860" y="333"/>
                    </a:lnTo>
                    <a:lnTo>
                      <a:pt x="565"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40" name="Freeform 360"/>
              <p:cNvSpPr>
                <a:spLocks/>
              </p:cNvSpPr>
              <p:nvPr/>
            </p:nvSpPr>
            <p:spPr bwMode="gray">
              <a:xfrm>
                <a:off x="-9956800" y="4237037"/>
                <a:ext cx="1797050" cy="2341563"/>
              </a:xfrm>
              <a:custGeom>
                <a:avLst/>
                <a:gdLst>
                  <a:gd name="T0" fmla="*/ 30 w 1132"/>
                  <a:gd name="T1" fmla="*/ 1475 h 1475"/>
                  <a:gd name="T2" fmla="*/ 0 w 1132"/>
                  <a:gd name="T3" fmla="*/ 1 h 1475"/>
                  <a:gd name="T4" fmla="*/ 0 w 1132"/>
                  <a:gd name="T5" fmla="*/ 0 h 1475"/>
                  <a:gd name="T6" fmla="*/ 0 w 1132"/>
                  <a:gd name="T7" fmla="*/ 0 h 1475"/>
                  <a:gd name="T8" fmla="*/ 0 w 1132"/>
                  <a:gd name="T9" fmla="*/ 0 h 1475"/>
                  <a:gd name="T10" fmla="*/ 1132 w 1132"/>
                  <a:gd name="T11" fmla="*/ 0 h 1475"/>
                  <a:gd name="T12" fmla="*/ 1132 w 1132"/>
                  <a:gd name="T13" fmla="*/ 1 h 1475"/>
                  <a:gd name="T14" fmla="*/ 30 w 1132"/>
                  <a:gd name="T15" fmla="*/ 1475 h 14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1475">
                    <a:moveTo>
                      <a:pt x="30" y="1475"/>
                    </a:moveTo>
                    <a:lnTo>
                      <a:pt x="0" y="1"/>
                    </a:lnTo>
                    <a:lnTo>
                      <a:pt x="0" y="0"/>
                    </a:lnTo>
                    <a:lnTo>
                      <a:pt x="0" y="0"/>
                    </a:lnTo>
                    <a:lnTo>
                      <a:pt x="0" y="0"/>
                    </a:lnTo>
                    <a:lnTo>
                      <a:pt x="1132" y="0"/>
                    </a:lnTo>
                    <a:lnTo>
                      <a:pt x="1132" y="1"/>
                    </a:lnTo>
                    <a:lnTo>
                      <a:pt x="30" y="147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41" name="Freeform 361"/>
              <p:cNvSpPr>
                <a:spLocks noEditPoints="1"/>
              </p:cNvSpPr>
              <p:nvPr/>
            </p:nvSpPr>
            <p:spPr bwMode="gray">
              <a:xfrm>
                <a:off x="-12179300" y="2682875"/>
                <a:ext cx="2222500" cy="1914525"/>
              </a:xfrm>
              <a:custGeom>
                <a:avLst/>
                <a:gdLst>
                  <a:gd name="T0" fmla="*/ 0 w 2916"/>
                  <a:gd name="T1" fmla="*/ 2514 h 2514"/>
                  <a:gd name="T2" fmla="*/ 956 w 2916"/>
                  <a:gd name="T3" fmla="*/ 1131 h 2514"/>
                  <a:gd name="T4" fmla="*/ 1738 w 2916"/>
                  <a:gd name="T5" fmla="*/ 0 h 2514"/>
                  <a:gd name="T6" fmla="*/ 2916 w 2916"/>
                  <a:gd name="T7" fmla="*/ 2041 h 2514"/>
                  <a:gd name="T8" fmla="*/ 0 w 2916"/>
                  <a:gd name="T9" fmla="*/ 2514 h 2514"/>
                  <a:gd name="T10" fmla="*/ 1738 w 2916"/>
                  <a:gd name="T11" fmla="*/ 0 h 2514"/>
                  <a:gd name="T12" fmla="*/ 1738 w 2916"/>
                  <a:gd name="T13" fmla="*/ 0 h 2514"/>
                </a:gdLst>
                <a:ahLst/>
                <a:cxnLst>
                  <a:cxn ang="0">
                    <a:pos x="T0" y="T1"/>
                  </a:cxn>
                  <a:cxn ang="0">
                    <a:pos x="T2" y="T3"/>
                  </a:cxn>
                  <a:cxn ang="0">
                    <a:pos x="T4" y="T5"/>
                  </a:cxn>
                  <a:cxn ang="0">
                    <a:pos x="T6" y="T7"/>
                  </a:cxn>
                  <a:cxn ang="0">
                    <a:pos x="T8" y="T9"/>
                  </a:cxn>
                  <a:cxn ang="0">
                    <a:pos x="T10" y="T11"/>
                  </a:cxn>
                  <a:cxn ang="0">
                    <a:pos x="T12" y="T13"/>
                  </a:cxn>
                </a:cxnLst>
                <a:rect l="0" t="0" r="r" b="b"/>
                <a:pathLst>
                  <a:path w="2916" h="2514">
                    <a:moveTo>
                      <a:pt x="0" y="2514"/>
                    </a:moveTo>
                    <a:lnTo>
                      <a:pt x="956" y="1131"/>
                    </a:lnTo>
                    <a:lnTo>
                      <a:pt x="1738" y="0"/>
                    </a:lnTo>
                    <a:lnTo>
                      <a:pt x="2916" y="2041"/>
                    </a:lnTo>
                    <a:lnTo>
                      <a:pt x="0" y="2514"/>
                    </a:lnTo>
                    <a:moveTo>
                      <a:pt x="1738" y="0"/>
                    </a:moveTo>
                    <a:lnTo>
                      <a:pt x="1738"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42" name="Freeform 362"/>
              <p:cNvSpPr>
                <a:spLocks/>
              </p:cNvSpPr>
              <p:nvPr/>
            </p:nvSpPr>
            <p:spPr bwMode="gray">
              <a:xfrm>
                <a:off x="-9956800" y="3211512"/>
                <a:ext cx="1797050" cy="1025525"/>
              </a:xfrm>
              <a:custGeom>
                <a:avLst/>
                <a:gdLst>
                  <a:gd name="T0" fmla="*/ 2358 w 2358"/>
                  <a:gd name="T1" fmla="*/ 1346 h 1346"/>
                  <a:gd name="T2" fmla="*/ 0 w 2358"/>
                  <a:gd name="T3" fmla="*/ 1346 h 1346"/>
                  <a:gd name="T4" fmla="*/ 614 w 2358"/>
                  <a:gd name="T5" fmla="*/ 0 h 1346"/>
                  <a:gd name="T6" fmla="*/ 2358 w 2358"/>
                  <a:gd name="T7" fmla="*/ 1346 h 1346"/>
                  <a:gd name="T8" fmla="*/ 2357 w 2358"/>
                  <a:gd name="T9" fmla="*/ 1346 h 1346"/>
                  <a:gd name="T10" fmla="*/ 2358 w 2358"/>
                  <a:gd name="T11" fmla="*/ 1346 h 1346"/>
                  <a:gd name="T12" fmla="*/ 2358 w 2358"/>
                  <a:gd name="T13" fmla="*/ 1346 h 1346"/>
                  <a:gd name="T14" fmla="*/ 2357 w 2358"/>
                  <a:gd name="T15" fmla="*/ 1346 h 13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8" h="1346">
                    <a:moveTo>
                      <a:pt x="2358" y="1346"/>
                    </a:moveTo>
                    <a:lnTo>
                      <a:pt x="0" y="1346"/>
                    </a:lnTo>
                    <a:lnTo>
                      <a:pt x="614" y="0"/>
                    </a:lnTo>
                    <a:lnTo>
                      <a:pt x="2358" y="1346"/>
                    </a:lnTo>
                    <a:lnTo>
                      <a:pt x="2357" y="1346"/>
                    </a:lnTo>
                    <a:lnTo>
                      <a:pt x="2358" y="1346"/>
                    </a:lnTo>
                    <a:lnTo>
                      <a:pt x="2358" y="1346"/>
                    </a:lnTo>
                    <a:lnTo>
                      <a:pt x="2357" y="1346"/>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43" name="Freeform 363"/>
              <p:cNvSpPr>
                <a:spLocks noEditPoints="1"/>
              </p:cNvSpPr>
              <p:nvPr/>
            </p:nvSpPr>
            <p:spPr bwMode="gray">
              <a:xfrm>
                <a:off x="-12179300" y="4237037"/>
                <a:ext cx="2222500" cy="1555750"/>
              </a:xfrm>
              <a:custGeom>
                <a:avLst/>
                <a:gdLst>
                  <a:gd name="T0" fmla="*/ 1738 w 2916"/>
                  <a:gd name="T1" fmla="*/ 2042 h 2042"/>
                  <a:gd name="T2" fmla="*/ 0 w 2916"/>
                  <a:gd name="T3" fmla="*/ 473 h 2042"/>
                  <a:gd name="T4" fmla="*/ 2916 w 2916"/>
                  <a:gd name="T5" fmla="*/ 0 h 2042"/>
                  <a:gd name="T6" fmla="*/ 1738 w 2916"/>
                  <a:gd name="T7" fmla="*/ 2042 h 2042"/>
                  <a:gd name="T8" fmla="*/ 2916 w 2916"/>
                  <a:gd name="T9" fmla="*/ 1 h 2042"/>
                  <a:gd name="T10" fmla="*/ 2916 w 2916"/>
                  <a:gd name="T11" fmla="*/ 0 h 2042"/>
                  <a:gd name="T12" fmla="*/ 2916 w 2916"/>
                  <a:gd name="T13" fmla="*/ 1 h 2042"/>
                </a:gdLst>
                <a:ahLst/>
                <a:cxnLst>
                  <a:cxn ang="0">
                    <a:pos x="T0" y="T1"/>
                  </a:cxn>
                  <a:cxn ang="0">
                    <a:pos x="T2" y="T3"/>
                  </a:cxn>
                  <a:cxn ang="0">
                    <a:pos x="T4" y="T5"/>
                  </a:cxn>
                  <a:cxn ang="0">
                    <a:pos x="T6" y="T7"/>
                  </a:cxn>
                  <a:cxn ang="0">
                    <a:pos x="T8" y="T9"/>
                  </a:cxn>
                  <a:cxn ang="0">
                    <a:pos x="T10" y="T11"/>
                  </a:cxn>
                  <a:cxn ang="0">
                    <a:pos x="T12" y="T13"/>
                  </a:cxn>
                </a:cxnLst>
                <a:rect l="0" t="0" r="r" b="b"/>
                <a:pathLst>
                  <a:path w="2916" h="2042">
                    <a:moveTo>
                      <a:pt x="1738" y="2042"/>
                    </a:moveTo>
                    <a:lnTo>
                      <a:pt x="0" y="473"/>
                    </a:lnTo>
                    <a:lnTo>
                      <a:pt x="2916" y="0"/>
                    </a:lnTo>
                    <a:lnTo>
                      <a:pt x="1738" y="2042"/>
                    </a:lnTo>
                    <a:moveTo>
                      <a:pt x="2916" y="1"/>
                    </a:moveTo>
                    <a:lnTo>
                      <a:pt x="2916" y="0"/>
                    </a:lnTo>
                    <a:lnTo>
                      <a:pt x="2916" y="1"/>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44" name="Freeform 364"/>
              <p:cNvSpPr>
                <a:spLocks/>
              </p:cNvSpPr>
              <p:nvPr/>
            </p:nvSpPr>
            <p:spPr bwMode="gray">
              <a:xfrm>
                <a:off x="-10853738" y="4237037"/>
                <a:ext cx="896938" cy="1555750"/>
              </a:xfrm>
              <a:custGeom>
                <a:avLst/>
                <a:gdLst>
                  <a:gd name="T0" fmla="*/ 0 w 565"/>
                  <a:gd name="T1" fmla="*/ 980 h 980"/>
                  <a:gd name="T2" fmla="*/ 0 w 565"/>
                  <a:gd name="T3" fmla="*/ 980 h 980"/>
                  <a:gd name="T4" fmla="*/ 565 w 565"/>
                  <a:gd name="T5" fmla="*/ 0 h 980"/>
                  <a:gd name="T6" fmla="*/ 565 w 565"/>
                  <a:gd name="T7" fmla="*/ 1 h 980"/>
                  <a:gd name="T8" fmla="*/ 0 w 565"/>
                  <a:gd name="T9" fmla="*/ 980 h 980"/>
                </a:gdLst>
                <a:ahLst/>
                <a:cxnLst>
                  <a:cxn ang="0">
                    <a:pos x="T0" y="T1"/>
                  </a:cxn>
                  <a:cxn ang="0">
                    <a:pos x="T2" y="T3"/>
                  </a:cxn>
                  <a:cxn ang="0">
                    <a:pos x="T4" y="T5"/>
                  </a:cxn>
                  <a:cxn ang="0">
                    <a:pos x="T6" y="T7"/>
                  </a:cxn>
                  <a:cxn ang="0">
                    <a:pos x="T8" y="T9"/>
                  </a:cxn>
                </a:cxnLst>
                <a:rect l="0" t="0" r="r" b="b"/>
                <a:pathLst>
                  <a:path w="565" h="980">
                    <a:moveTo>
                      <a:pt x="0" y="980"/>
                    </a:moveTo>
                    <a:lnTo>
                      <a:pt x="0" y="980"/>
                    </a:lnTo>
                    <a:lnTo>
                      <a:pt x="565" y="0"/>
                    </a:lnTo>
                    <a:lnTo>
                      <a:pt x="565" y="1"/>
                    </a:lnTo>
                    <a:lnTo>
                      <a:pt x="0" y="980"/>
                    </a:lnTo>
                    <a:close/>
                  </a:path>
                </a:pathLst>
              </a:custGeom>
              <a:solidFill>
                <a:srgbClr val="599FB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45" name="Rectangle 365"/>
              <p:cNvSpPr>
                <a:spLocks noChangeArrowheads="1"/>
              </p:cNvSpPr>
              <p:nvPr/>
            </p:nvSpPr>
            <p:spPr bwMode="gray">
              <a:xfrm>
                <a:off x="-9956800" y="4237037"/>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46" name="Freeform 366"/>
              <p:cNvSpPr>
                <a:spLocks/>
              </p:cNvSpPr>
              <p:nvPr/>
            </p:nvSpPr>
            <p:spPr bwMode="gray">
              <a:xfrm>
                <a:off x="-12625388" y="7327900"/>
                <a:ext cx="366713" cy="331788"/>
              </a:xfrm>
              <a:custGeom>
                <a:avLst/>
                <a:gdLst>
                  <a:gd name="T0" fmla="*/ 231 w 231"/>
                  <a:gd name="T1" fmla="*/ 209 h 209"/>
                  <a:gd name="T2" fmla="*/ 0 w 231"/>
                  <a:gd name="T3" fmla="*/ 209 h 209"/>
                  <a:gd name="T4" fmla="*/ 0 w 231"/>
                  <a:gd name="T5" fmla="*/ 48 h 209"/>
                  <a:gd name="T6" fmla="*/ 178 w 231"/>
                  <a:gd name="T7" fmla="*/ 0 h 209"/>
                  <a:gd name="T8" fmla="*/ 231 w 231"/>
                  <a:gd name="T9" fmla="*/ 209 h 209"/>
                </a:gdLst>
                <a:ahLst/>
                <a:cxnLst>
                  <a:cxn ang="0">
                    <a:pos x="T0" y="T1"/>
                  </a:cxn>
                  <a:cxn ang="0">
                    <a:pos x="T2" y="T3"/>
                  </a:cxn>
                  <a:cxn ang="0">
                    <a:pos x="T4" y="T5"/>
                  </a:cxn>
                  <a:cxn ang="0">
                    <a:pos x="T6" y="T7"/>
                  </a:cxn>
                  <a:cxn ang="0">
                    <a:pos x="T8" y="T9"/>
                  </a:cxn>
                </a:cxnLst>
                <a:rect l="0" t="0" r="r" b="b"/>
                <a:pathLst>
                  <a:path w="231" h="209">
                    <a:moveTo>
                      <a:pt x="231" y="209"/>
                    </a:moveTo>
                    <a:lnTo>
                      <a:pt x="0" y="209"/>
                    </a:lnTo>
                    <a:lnTo>
                      <a:pt x="0" y="48"/>
                    </a:lnTo>
                    <a:lnTo>
                      <a:pt x="178" y="0"/>
                    </a:lnTo>
                    <a:lnTo>
                      <a:pt x="231" y="20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47" name="Freeform 367"/>
              <p:cNvSpPr>
                <a:spLocks/>
              </p:cNvSpPr>
              <p:nvPr/>
            </p:nvSpPr>
            <p:spPr bwMode="gray">
              <a:xfrm>
                <a:off x="-12341225" y="7327900"/>
                <a:ext cx="534988" cy="331788"/>
              </a:xfrm>
              <a:custGeom>
                <a:avLst/>
                <a:gdLst>
                  <a:gd name="T0" fmla="*/ 337 w 337"/>
                  <a:gd name="T1" fmla="*/ 209 h 209"/>
                  <a:gd name="T2" fmla="*/ 52 w 337"/>
                  <a:gd name="T3" fmla="*/ 209 h 209"/>
                  <a:gd name="T4" fmla="*/ 0 w 337"/>
                  <a:gd name="T5" fmla="*/ 0 h 209"/>
                  <a:gd name="T6" fmla="*/ 205 w 337"/>
                  <a:gd name="T7" fmla="*/ 127 h 209"/>
                  <a:gd name="T8" fmla="*/ 337 w 337"/>
                  <a:gd name="T9" fmla="*/ 209 h 209"/>
                </a:gdLst>
                <a:ahLst/>
                <a:cxnLst>
                  <a:cxn ang="0">
                    <a:pos x="T0" y="T1"/>
                  </a:cxn>
                  <a:cxn ang="0">
                    <a:pos x="T2" y="T3"/>
                  </a:cxn>
                  <a:cxn ang="0">
                    <a:pos x="T4" y="T5"/>
                  </a:cxn>
                  <a:cxn ang="0">
                    <a:pos x="T6" y="T7"/>
                  </a:cxn>
                  <a:cxn ang="0">
                    <a:pos x="T8" y="T9"/>
                  </a:cxn>
                </a:cxnLst>
                <a:rect l="0" t="0" r="r" b="b"/>
                <a:pathLst>
                  <a:path w="337" h="209">
                    <a:moveTo>
                      <a:pt x="337" y="209"/>
                    </a:moveTo>
                    <a:lnTo>
                      <a:pt x="52" y="209"/>
                    </a:lnTo>
                    <a:lnTo>
                      <a:pt x="0" y="0"/>
                    </a:lnTo>
                    <a:lnTo>
                      <a:pt x="205" y="127"/>
                    </a:lnTo>
                    <a:lnTo>
                      <a:pt x="337" y="20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48" name="Freeform 368"/>
              <p:cNvSpPr>
                <a:spLocks/>
              </p:cNvSpPr>
              <p:nvPr/>
            </p:nvSpPr>
            <p:spPr bwMode="gray">
              <a:xfrm>
                <a:off x="-10125075" y="7350125"/>
                <a:ext cx="347663" cy="309563"/>
              </a:xfrm>
              <a:custGeom>
                <a:avLst/>
                <a:gdLst>
                  <a:gd name="T0" fmla="*/ 219 w 219"/>
                  <a:gd name="T1" fmla="*/ 195 h 195"/>
                  <a:gd name="T2" fmla="*/ 0 w 219"/>
                  <a:gd name="T3" fmla="*/ 195 h 195"/>
                  <a:gd name="T4" fmla="*/ 106 w 219"/>
                  <a:gd name="T5" fmla="*/ 0 h 195"/>
                  <a:gd name="T6" fmla="*/ 219 w 219"/>
                  <a:gd name="T7" fmla="*/ 195 h 195"/>
                </a:gdLst>
                <a:ahLst/>
                <a:cxnLst>
                  <a:cxn ang="0">
                    <a:pos x="T0" y="T1"/>
                  </a:cxn>
                  <a:cxn ang="0">
                    <a:pos x="T2" y="T3"/>
                  </a:cxn>
                  <a:cxn ang="0">
                    <a:pos x="T4" y="T5"/>
                  </a:cxn>
                  <a:cxn ang="0">
                    <a:pos x="T6" y="T7"/>
                  </a:cxn>
                </a:cxnLst>
                <a:rect l="0" t="0" r="r" b="b"/>
                <a:pathLst>
                  <a:path w="219" h="195">
                    <a:moveTo>
                      <a:pt x="219" y="195"/>
                    </a:moveTo>
                    <a:lnTo>
                      <a:pt x="0" y="195"/>
                    </a:lnTo>
                    <a:lnTo>
                      <a:pt x="106" y="0"/>
                    </a:lnTo>
                    <a:lnTo>
                      <a:pt x="219"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49" name="Freeform 369"/>
              <p:cNvSpPr>
                <a:spLocks/>
              </p:cNvSpPr>
              <p:nvPr/>
            </p:nvSpPr>
            <p:spPr bwMode="gray">
              <a:xfrm>
                <a:off x="-10853738" y="5792787"/>
                <a:ext cx="944563" cy="1557338"/>
              </a:xfrm>
              <a:custGeom>
                <a:avLst/>
                <a:gdLst>
                  <a:gd name="T0" fmla="*/ 565 w 595"/>
                  <a:gd name="T1" fmla="*/ 981 h 981"/>
                  <a:gd name="T2" fmla="*/ 565 w 595"/>
                  <a:gd name="T3" fmla="*/ 981 h 981"/>
                  <a:gd name="T4" fmla="*/ 0 w 595"/>
                  <a:gd name="T5" fmla="*/ 0 h 981"/>
                  <a:gd name="T6" fmla="*/ 0 w 595"/>
                  <a:gd name="T7" fmla="*/ 0 h 981"/>
                  <a:gd name="T8" fmla="*/ 595 w 595"/>
                  <a:gd name="T9" fmla="*/ 495 h 981"/>
                  <a:gd name="T10" fmla="*/ 565 w 595"/>
                  <a:gd name="T11" fmla="*/ 981 h 981"/>
                </a:gdLst>
                <a:ahLst/>
                <a:cxnLst>
                  <a:cxn ang="0">
                    <a:pos x="T0" y="T1"/>
                  </a:cxn>
                  <a:cxn ang="0">
                    <a:pos x="T2" y="T3"/>
                  </a:cxn>
                  <a:cxn ang="0">
                    <a:pos x="T4" y="T5"/>
                  </a:cxn>
                  <a:cxn ang="0">
                    <a:pos x="T6" y="T7"/>
                  </a:cxn>
                  <a:cxn ang="0">
                    <a:pos x="T8" y="T9"/>
                  </a:cxn>
                  <a:cxn ang="0">
                    <a:pos x="T10" y="T11"/>
                  </a:cxn>
                </a:cxnLst>
                <a:rect l="0" t="0" r="r" b="b"/>
                <a:pathLst>
                  <a:path w="595" h="981">
                    <a:moveTo>
                      <a:pt x="565" y="981"/>
                    </a:moveTo>
                    <a:lnTo>
                      <a:pt x="565" y="981"/>
                    </a:lnTo>
                    <a:lnTo>
                      <a:pt x="0" y="0"/>
                    </a:lnTo>
                    <a:lnTo>
                      <a:pt x="0" y="0"/>
                    </a:lnTo>
                    <a:lnTo>
                      <a:pt x="595" y="495"/>
                    </a:lnTo>
                    <a:lnTo>
                      <a:pt x="565"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50" name="Freeform 370"/>
              <p:cNvSpPr>
                <a:spLocks/>
              </p:cNvSpPr>
              <p:nvPr/>
            </p:nvSpPr>
            <p:spPr bwMode="gray">
              <a:xfrm>
                <a:off x="-9956800" y="7350125"/>
                <a:ext cx="608013" cy="309563"/>
              </a:xfrm>
              <a:custGeom>
                <a:avLst/>
                <a:gdLst>
                  <a:gd name="T0" fmla="*/ 383 w 383"/>
                  <a:gd name="T1" fmla="*/ 195 h 195"/>
                  <a:gd name="T2" fmla="*/ 113 w 383"/>
                  <a:gd name="T3" fmla="*/ 195 h 195"/>
                  <a:gd name="T4" fmla="*/ 0 w 383"/>
                  <a:gd name="T5" fmla="*/ 0 h 195"/>
                  <a:gd name="T6" fmla="*/ 0 w 383"/>
                  <a:gd name="T7" fmla="*/ 0 h 195"/>
                  <a:gd name="T8" fmla="*/ 383 w 383"/>
                  <a:gd name="T9" fmla="*/ 195 h 195"/>
                </a:gdLst>
                <a:ahLst/>
                <a:cxnLst>
                  <a:cxn ang="0">
                    <a:pos x="T0" y="T1"/>
                  </a:cxn>
                  <a:cxn ang="0">
                    <a:pos x="T2" y="T3"/>
                  </a:cxn>
                  <a:cxn ang="0">
                    <a:pos x="T4" y="T5"/>
                  </a:cxn>
                  <a:cxn ang="0">
                    <a:pos x="T6" y="T7"/>
                  </a:cxn>
                  <a:cxn ang="0">
                    <a:pos x="T8" y="T9"/>
                  </a:cxn>
                </a:cxnLst>
                <a:rect l="0" t="0" r="r" b="b"/>
                <a:pathLst>
                  <a:path w="383" h="195">
                    <a:moveTo>
                      <a:pt x="383" y="195"/>
                    </a:moveTo>
                    <a:lnTo>
                      <a:pt x="113" y="195"/>
                    </a:lnTo>
                    <a:lnTo>
                      <a:pt x="0" y="0"/>
                    </a:lnTo>
                    <a:lnTo>
                      <a:pt x="0" y="0"/>
                    </a:lnTo>
                    <a:lnTo>
                      <a:pt x="383"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51" name="Freeform 371"/>
              <p:cNvSpPr>
                <a:spLocks/>
              </p:cNvSpPr>
              <p:nvPr/>
            </p:nvSpPr>
            <p:spPr bwMode="gray">
              <a:xfrm>
                <a:off x="-12341225" y="5792787"/>
                <a:ext cx="2384425" cy="1557338"/>
              </a:xfrm>
              <a:custGeom>
                <a:avLst/>
                <a:gdLst>
                  <a:gd name="T0" fmla="*/ 1502 w 1502"/>
                  <a:gd name="T1" fmla="*/ 981 h 981"/>
                  <a:gd name="T2" fmla="*/ 0 w 1502"/>
                  <a:gd name="T3" fmla="*/ 967 h 981"/>
                  <a:gd name="T4" fmla="*/ 0 w 1502"/>
                  <a:gd name="T5" fmla="*/ 967 h 981"/>
                  <a:gd name="T6" fmla="*/ 0 w 1502"/>
                  <a:gd name="T7" fmla="*/ 967 h 981"/>
                  <a:gd name="T8" fmla="*/ 374 w 1502"/>
                  <a:gd name="T9" fmla="*/ 580 h 981"/>
                  <a:gd name="T10" fmla="*/ 937 w 1502"/>
                  <a:gd name="T11" fmla="*/ 0 h 981"/>
                  <a:gd name="T12" fmla="*/ 1502 w 1502"/>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502" h="981">
                    <a:moveTo>
                      <a:pt x="1502" y="981"/>
                    </a:moveTo>
                    <a:lnTo>
                      <a:pt x="0" y="967"/>
                    </a:lnTo>
                    <a:lnTo>
                      <a:pt x="0" y="967"/>
                    </a:lnTo>
                    <a:lnTo>
                      <a:pt x="0" y="967"/>
                    </a:lnTo>
                    <a:lnTo>
                      <a:pt x="374" y="580"/>
                    </a:lnTo>
                    <a:lnTo>
                      <a:pt x="937" y="0"/>
                    </a:lnTo>
                    <a:lnTo>
                      <a:pt x="1502" y="981"/>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52" name="Freeform 372"/>
              <p:cNvSpPr>
                <a:spLocks/>
              </p:cNvSpPr>
              <p:nvPr/>
            </p:nvSpPr>
            <p:spPr bwMode="gray">
              <a:xfrm>
                <a:off x="-9956800" y="6578600"/>
                <a:ext cx="1098550" cy="1081088"/>
              </a:xfrm>
              <a:custGeom>
                <a:avLst/>
                <a:gdLst>
                  <a:gd name="T0" fmla="*/ 692 w 692"/>
                  <a:gd name="T1" fmla="*/ 681 h 681"/>
                  <a:gd name="T2" fmla="*/ 383 w 692"/>
                  <a:gd name="T3" fmla="*/ 681 h 681"/>
                  <a:gd name="T4" fmla="*/ 0 w 692"/>
                  <a:gd name="T5" fmla="*/ 486 h 681"/>
                  <a:gd name="T6" fmla="*/ 30 w 692"/>
                  <a:gd name="T7" fmla="*/ 0 h 681"/>
                  <a:gd name="T8" fmla="*/ 692 w 692"/>
                  <a:gd name="T9" fmla="*/ 681 h 681"/>
                </a:gdLst>
                <a:ahLst/>
                <a:cxnLst>
                  <a:cxn ang="0">
                    <a:pos x="T0" y="T1"/>
                  </a:cxn>
                  <a:cxn ang="0">
                    <a:pos x="T2" y="T3"/>
                  </a:cxn>
                  <a:cxn ang="0">
                    <a:pos x="T4" y="T5"/>
                  </a:cxn>
                  <a:cxn ang="0">
                    <a:pos x="T6" y="T7"/>
                  </a:cxn>
                  <a:cxn ang="0">
                    <a:pos x="T8" y="T9"/>
                  </a:cxn>
                </a:cxnLst>
                <a:rect l="0" t="0" r="r" b="b"/>
                <a:pathLst>
                  <a:path w="692" h="681">
                    <a:moveTo>
                      <a:pt x="692" y="681"/>
                    </a:moveTo>
                    <a:lnTo>
                      <a:pt x="383" y="681"/>
                    </a:lnTo>
                    <a:lnTo>
                      <a:pt x="0" y="486"/>
                    </a:lnTo>
                    <a:lnTo>
                      <a:pt x="30" y="0"/>
                    </a:lnTo>
                    <a:lnTo>
                      <a:pt x="692" y="68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53" name="Freeform 373"/>
              <p:cNvSpPr>
                <a:spLocks noEditPoints="1"/>
              </p:cNvSpPr>
              <p:nvPr/>
            </p:nvSpPr>
            <p:spPr bwMode="gray">
              <a:xfrm>
                <a:off x="-12341225" y="7327900"/>
                <a:ext cx="2384425" cy="331788"/>
              </a:xfrm>
              <a:custGeom>
                <a:avLst/>
                <a:gdLst>
                  <a:gd name="T0" fmla="*/ 2910 w 3130"/>
                  <a:gd name="T1" fmla="*/ 436 h 436"/>
                  <a:gd name="T2" fmla="*/ 702 w 3130"/>
                  <a:gd name="T3" fmla="*/ 436 h 436"/>
                  <a:gd name="T4" fmla="*/ 428 w 3130"/>
                  <a:gd name="T5" fmla="*/ 265 h 436"/>
                  <a:gd name="T6" fmla="*/ 0 w 3130"/>
                  <a:gd name="T7" fmla="*/ 0 h 436"/>
                  <a:gd name="T8" fmla="*/ 3130 w 3130"/>
                  <a:gd name="T9" fmla="*/ 29 h 436"/>
                  <a:gd name="T10" fmla="*/ 2910 w 3130"/>
                  <a:gd name="T11" fmla="*/ 436 h 436"/>
                  <a:gd name="T12" fmla="*/ 3130 w 3130"/>
                  <a:gd name="T13" fmla="*/ 29 h 436"/>
                  <a:gd name="T14" fmla="*/ 3130 w 3130"/>
                  <a:gd name="T15" fmla="*/ 29 h 436"/>
                  <a:gd name="T16" fmla="*/ 3130 w 3130"/>
                  <a:gd name="T17" fmla="*/ 29 h 436"/>
                  <a:gd name="T18" fmla="*/ 3130 w 3130"/>
                  <a:gd name="T19" fmla="*/ 29 h 436"/>
                  <a:gd name="T20" fmla="*/ 3130 w 3130"/>
                  <a:gd name="T21" fmla="*/ 29 h 436"/>
                  <a:gd name="T22" fmla="*/ 3130 w 3130"/>
                  <a:gd name="T23" fmla="*/ 29 h 436"/>
                  <a:gd name="T24" fmla="*/ 0 w 3130"/>
                  <a:gd name="T25" fmla="*/ 0 h 436"/>
                  <a:gd name="T26" fmla="*/ 0 w 3130"/>
                  <a:gd name="T27" fmla="*/ 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30" h="436">
                    <a:moveTo>
                      <a:pt x="2910" y="436"/>
                    </a:moveTo>
                    <a:lnTo>
                      <a:pt x="702" y="436"/>
                    </a:lnTo>
                    <a:lnTo>
                      <a:pt x="428" y="265"/>
                    </a:lnTo>
                    <a:lnTo>
                      <a:pt x="0" y="0"/>
                    </a:lnTo>
                    <a:lnTo>
                      <a:pt x="3130" y="29"/>
                    </a:lnTo>
                    <a:lnTo>
                      <a:pt x="2910" y="436"/>
                    </a:lnTo>
                    <a:moveTo>
                      <a:pt x="3130" y="29"/>
                    </a:moveTo>
                    <a:lnTo>
                      <a:pt x="3130" y="29"/>
                    </a:lnTo>
                    <a:lnTo>
                      <a:pt x="3130" y="29"/>
                    </a:lnTo>
                    <a:lnTo>
                      <a:pt x="3130" y="29"/>
                    </a:lnTo>
                    <a:lnTo>
                      <a:pt x="3130" y="29"/>
                    </a:lnTo>
                    <a:lnTo>
                      <a:pt x="3130" y="29"/>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54" name="Freeform 374"/>
              <p:cNvSpPr>
                <a:spLocks/>
              </p:cNvSpPr>
              <p:nvPr/>
            </p:nvSpPr>
            <p:spPr bwMode="gray">
              <a:xfrm>
                <a:off x="-10125075" y="7350125"/>
                <a:ext cx="168275" cy="309563"/>
              </a:xfrm>
              <a:custGeom>
                <a:avLst/>
                <a:gdLst>
                  <a:gd name="T0" fmla="*/ 0 w 106"/>
                  <a:gd name="T1" fmla="*/ 195 h 195"/>
                  <a:gd name="T2" fmla="*/ 0 w 106"/>
                  <a:gd name="T3" fmla="*/ 195 h 195"/>
                  <a:gd name="T4" fmla="*/ 106 w 106"/>
                  <a:gd name="T5" fmla="*/ 0 h 195"/>
                  <a:gd name="T6" fmla="*/ 106 w 106"/>
                  <a:gd name="T7" fmla="*/ 0 h 195"/>
                  <a:gd name="T8" fmla="*/ 0 w 106"/>
                  <a:gd name="T9" fmla="*/ 195 h 195"/>
                </a:gdLst>
                <a:ahLst/>
                <a:cxnLst>
                  <a:cxn ang="0">
                    <a:pos x="T0" y="T1"/>
                  </a:cxn>
                  <a:cxn ang="0">
                    <a:pos x="T2" y="T3"/>
                  </a:cxn>
                  <a:cxn ang="0">
                    <a:pos x="T4" y="T5"/>
                  </a:cxn>
                  <a:cxn ang="0">
                    <a:pos x="T6" y="T7"/>
                  </a:cxn>
                  <a:cxn ang="0">
                    <a:pos x="T8" y="T9"/>
                  </a:cxn>
                </a:cxnLst>
                <a:rect l="0" t="0" r="r" b="b"/>
                <a:pathLst>
                  <a:path w="106" h="195">
                    <a:moveTo>
                      <a:pt x="0" y="195"/>
                    </a:moveTo>
                    <a:lnTo>
                      <a:pt x="0" y="195"/>
                    </a:lnTo>
                    <a:lnTo>
                      <a:pt x="106" y="0"/>
                    </a:lnTo>
                    <a:lnTo>
                      <a:pt x="106" y="0"/>
                    </a:lnTo>
                    <a:lnTo>
                      <a:pt x="0"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55" name="Rectangle 375"/>
              <p:cNvSpPr>
                <a:spLocks noChangeArrowheads="1"/>
              </p:cNvSpPr>
              <p:nvPr/>
            </p:nvSpPr>
            <p:spPr bwMode="gray">
              <a:xfrm>
                <a:off x="-9956800" y="7350125"/>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56" name="Freeform 376"/>
              <p:cNvSpPr>
                <a:spLocks noEditPoints="1"/>
              </p:cNvSpPr>
              <p:nvPr/>
            </p:nvSpPr>
            <p:spPr bwMode="gray">
              <a:xfrm>
                <a:off x="-12341225" y="7327900"/>
                <a:ext cx="2384425" cy="22225"/>
              </a:xfrm>
              <a:custGeom>
                <a:avLst/>
                <a:gdLst>
                  <a:gd name="T0" fmla="*/ 3130 w 3130"/>
                  <a:gd name="T1" fmla="*/ 29 h 29"/>
                  <a:gd name="T2" fmla="*/ 0 w 3130"/>
                  <a:gd name="T3" fmla="*/ 0 h 29"/>
                  <a:gd name="T4" fmla="*/ 0 w 3130"/>
                  <a:gd name="T5" fmla="*/ 0 h 29"/>
                  <a:gd name="T6" fmla="*/ 3130 w 3130"/>
                  <a:gd name="T7" fmla="*/ 29 h 29"/>
                  <a:gd name="T8" fmla="*/ 3130 w 3130"/>
                  <a:gd name="T9" fmla="*/ 29 h 29"/>
                  <a:gd name="T10" fmla="*/ 0 w 3130"/>
                  <a:gd name="T11" fmla="*/ 0 h 29"/>
                  <a:gd name="T12" fmla="*/ 0 w 3130"/>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130" h="29">
                    <a:moveTo>
                      <a:pt x="3130" y="29"/>
                    </a:moveTo>
                    <a:lnTo>
                      <a:pt x="0" y="0"/>
                    </a:lnTo>
                    <a:lnTo>
                      <a:pt x="0" y="0"/>
                    </a:lnTo>
                    <a:lnTo>
                      <a:pt x="3130" y="29"/>
                    </a:lnTo>
                    <a:lnTo>
                      <a:pt x="3130" y="29"/>
                    </a:lnTo>
                    <a:moveTo>
                      <a:pt x="0" y="0"/>
                    </a:moveTo>
                    <a:lnTo>
                      <a:pt x="0" y="0"/>
                    </a:lnTo>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57" name="Freeform 377"/>
              <p:cNvSpPr>
                <a:spLocks/>
              </p:cNvSpPr>
              <p:nvPr/>
            </p:nvSpPr>
            <p:spPr bwMode="gray">
              <a:xfrm>
                <a:off x="-8159750" y="-2909888"/>
                <a:ext cx="2633663" cy="1504950"/>
              </a:xfrm>
              <a:custGeom>
                <a:avLst/>
                <a:gdLst>
                  <a:gd name="T0" fmla="*/ 1659 w 1659"/>
                  <a:gd name="T1" fmla="*/ 948 h 948"/>
                  <a:gd name="T2" fmla="*/ 0 w 1659"/>
                  <a:gd name="T3" fmla="*/ 583 h 948"/>
                  <a:gd name="T4" fmla="*/ 0 w 1659"/>
                  <a:gd name="T5" fmla="*/ 583 h 948"/>
                  <a:gd name="T6" fmla="*/ 0 w 1659"/>
                  <a:gd name="T7" fmla="*/ 583 h 948"/>
                  <a:gd name="T8" fmla="*/ 0 w 1659"/>
                  <a:gd name="T9" fmla="*/ 583 h 948"/>
                  <a:gd name="T10" fmla="*/ 772 w 1659"/>
                  <a:gd name="T11" fmla="*/ 0 h 948"/>
                  <a:gd name="T12" fmla="*/ 772 w 1659"/>
                  <a:gd name="T13" fmla="*/ 0 h 948"/>
                  <a:gd name="T14" fmla="*/ 772 w 1659"/>
                  <a:gd name="T15" fmla="*/ 0 h 948"/>
                  <a:gd name="T16" fmla="*/ 772 w 1659"/>
                  <a:gd name="T17" fmla="*/ 0 h 948"/>
                  <a:gd name="T18" fmla="*/ 772 w 1659"/>
                  <a:gd name="T19" fmla="*/ 0 h 948"/>
                  <a:gd name="T20" fmla="*/ 1224 w 1659"/>
                  <a:gd name="T21" fmla="*/ 483 h 948"/>
                  <a:gd name="T22" fmla="*/ 1659 w 1659"/>
                  <a:gd name="T23" fmla="*/ 948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9" h="948">
                    <a:moveTo>
                      <a:pt x="1659" y="948"/>
                    </a:moveTo>
                    <a:lnTo>
                      <a:pt x="0" y="583"/>
                    </a:lnTo>
                    <a:lnTo>
                      <a:pt x="0" y="583"/>
                    </a:lnTo>
                    <a:lnTo>
                      <a:pt x="0" y="583"/>
                    </a:lnTo>
                    <a:lnTo>
                      <a:pt x="0" y="583"/>
                    </a:lnTo>
                    <a:lnTo>
                      <a:pt x="772" y="0"/>
                    </a:lnTo>
                    <a:lnTo>
                      <a:pt x="772" y="0"/>
                    </a:lnTo>
                    <a:lnTo>
                      <a:pt x="772" y="0"/>
                    </a:lnTo>
                    <a:lnTo>
                      <a:pt x="772" y="0"/>
                    </a:lnTo>
                    <a:lnTo>
                      <a:pt x="772" y="0"/>
                    </a:lnTo>
                    <a:lnTo>
                      <a:pt x="1224" y="483"/>
                    </a:lnTo>
                    <a:lnTo>
                      <a:pt x="1659" y="948"/>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58" name="Freeform 378"/>
              <p:cNvSpPr>
                <a:spLocks/>
              </p:cNvSpPr>
              <p:nvPr/>
            </p:nvSpPr>
            <p:spPr bwMode="gray">
              <a:xfrm>
                <a:off x="-7967663" y="-4110038"/>
                <a:ext cx="1346200" cy="1200150"/>
              </a:xfrm>
              <a:custGeom>
                <a:avLst/>
                <a:gdLst>
                  <a:gd name="T0" fmla="*/ 651 w 848"/>
                  <a:gd name="T1" fmla="*/ 756 h 756"/>
                  <a:gd name="T2" fmla="*/ 0 w 848"/>
                  <a:gd name="T3" fmla="*/ 0 h 756"/>
                  <a:gd name="T4" fmla="*/ 848 w 848"/>
                  <a:gd name="T5" fmla="*/ 0 h 756"/>
                  <a:gd name="T6" fmla="*/ 651 w 848"/>
                  <a:gd name="T7" fmla="*/ 756 h 756"/>
                </a:gdLst>
                <a:ahLst/>
                <a:cxnLst>
                  <a:cxn ang="0">
                    <a:pos x="T0" y="T1"/>
                  </a:cxn>
                  <a:cxn ang="0">
                    <a:pos x="T2" y="T3"/>
                  </a:cxn>
                  <a:cxn ang="0">
                    <a:pos x="T4" y="T5"/>
                  </a:cxn>
                  <a:cxn ang="0">
                    <a:pos x="T6" y="T7"/>
                  </a:cxn>
                </a:cxnLst>
                <a:rect l="0" t="0" r="r" b="b"/>
                <a:pathLst>
                  <a:path w="848" h="756">
                    <a:moveTo>
                      <a:pt x="651" y="756"/>
                    </a:moveTo>
                    <a:lnTo>
                      <a:pt x="0" y="0"/>
                    </a:lnTo>
                    <a:lnTo>
                      <a:pt x="848" y="0"/>
                    </a:lnTo>
                    <a:lnTo>
                      <a:pt x="651" y="756"/>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59" name="Freeform 379"/>
              <p:cNvSpPr>
                <a:spLocks/>
              </p:cNvSpPr>
              <p:nvPr/>
            </p:nvSpPr>
            <p:spPr bwMode="gray">
              <a:xfrm>
                <a:off x="-6934200" y="-3540126"/>
                <a:ext cx="1468438" cy="2135188"/>
              </a:xfrm>
              <a:custGeom>
                <a:avLst/>
                <a:gdLst>
                  <a:gd name="T0" fmla="*/ 887 w 925"/>
                  <a:gd name="T1" fmla="*/ 1345 h 1345"/>
                  <a:gd name="T2" fmla="*/ 452 w 925"/>
                  <a:gd name="T3" fmla="*/ 880 h 1345"/>
                  <a:gd name="T4" fmla="*/ 0 w 925"/>
                  <a:gd name="T5" fmla="*/ 397 h 1345"/>
                  <a:gd name="T6" fmla="*/ 925 w 925"/>
                  <a:gd name="T7" fmla="*/ 0 h 1345"/>
                  <a:gd name="T8" fmla="*/ 925 w 925"/>
                  <a:gd name="T9" fmla="*/ 0 h 1345"/>
                  <a:gd name="T10" fmla="*/ 888 w 925"/>
                  <a:gd name="T11" fmla="*/ 1294 h 1345"/>
                  <a:gd name="T12" fmla="*/ 887 w 925"/>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925" h="1345">
                    <a:moveTo>
                      <a:pt x="887" y="1345"/>
                    </a:moveTo>
                    <a:lnTo>
                      <a:pt x="452" y="880"/>
                    </a:lnTo>
                    <a:lnTo>
                      <a:pt x="0" y="397"/>
                    </a:lnTo>
                    <a:lnTo>
                      <a:pt x="925" y="0"/>
                    </a:lnTo>
                    <a:lnTo>
                      <a:pt x="925" y="0"/>
                    </a:lnTo>
                    <a:lnTo>
                      <a:pt x="888" y="1294"/>
                    </a:lnTo>
                    <a:lnTo>
                      <a:pt x="887" y="1345"/>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60" name="Freeform 380"/>
              <p:cNvSpPr>
                <a:spLocks/>
              </p:cNvSpPr>
              <p:nvPr/>
            </p:nvSpPr>
            <p:spPr bwMode="gray">
              <a:xfrm>
                <a:off x="-9058275" y="-4110038"/>
                <a:ext cx="2124075" cy="1200150"/>
              </a:xfrm>
              <a:custGeom>
                <a:avLst/>
                <a:gdLst>
                  <a:gd name="T0" fmla="*/ 1338 w 1338"/>
                  <a:gd name="T1" fmla="*/ 756 h 756"/>
                  <a:gd name="T2" fmla="*/ 1338 w 1338"/>
                  <a:gd name="T3" fmla="*/ 756 h 756"/>
                  <a:gd name="T4" fmla="*/ 0 w 1338"/>
                  <a:gd name="T5" fmla="*/ 359 h 756"/>
                  <a:gd name="T6" fmla="*/ 338 w 1338"/>
                  <a:gd name="T7" fmla="*/ 0 h 756"/>
                  <a:gd name="T8" fmla="*/ 687 w 1338"/>
                  <a:gd name="T9" fmla="*/ 0 h 756"/>
                  <a:gd name="T10" fmla="*/ 1338 w 1338"/>
                  <a:gd name="T11" fmla="*/ 756 h 756"/>
                </a:gdLst>
                <a:ahLst/>
                <a:cxnLst>
                  <a:cxn ang="0">
                    <a:pos x="T0" y="T1"/>
                  </a:cxn>
                  <a:cxn ang="0">
                    <a:pos x="T2" y="T3"/>
                  </a:cxn>
                  <a:cxn ang="0">
                    <a:pos x="T4" y="T5"/>
                  </a:cxn>
                  <a:cxn ang="0">
                    <a:pos x="T6" y="T7"/>
                  </a:cxn>
                  <a:cxn ang="0">
                    <a:pos x="T8" y="T9"/>
                  </a:cxn>
                  <a:cxn ang="0">
                    <a:pos x="T10" y="T11"/>
                  </a:cxn>
                </a:cxnLst>
                <a:rect l="0" t="0" r="r" b="b"/>
                <a:pathLst>
                  <a:path w="1338" h="756">
                    <a:moveTo>
                      <a:pt x="1338" y="756"/>
                    </a:moveTo>
                    <a:lnTo>
                      <a:pt x="1338" y="756"/>
                    </a:lnTo>
                    <a:lnTo>
                      <a:pt x="0" y="359"/>
                    </a:lnTo>
                    <a:lnTo>
                      <a:pt x="338" y="0"/>
                    </a:lnTo>
                    <a:lnTo>
                      <a:pt x="687" y="0"/>
                    </a:lnTo>
                    <a:lnTo>
                      <a:pt x="1338"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61" name="Freeform 381"/>
              <p:cNvSpPr>
                <a:spLocks/>
              </p:cNvSpPr>
              <p:nvPr/>
            </p:nvSpPr>
            <p:spPr bwMode="gray">
              <a:xfrm>
                <a:off x="-6934200" y="-4110038"/>
                <a:ext cx="1468438" cy="1200150"/>
              </a:xfrm>
              <a:custGeom>
                <a:avLst/>
                <a:gdLst>
                  <a:gd name="T0" fmla="*/ 0 w 925"/>
                  <a:gd name="T1" fmla="*/ 756 h 756"/>
                  <a:gd name="T2" fmla="*/ 0 w 925"/>
                  <a:gd name="T3" fmla="*/ 756 h 756"/>
                  <a:gd name="T4" fmla="*/ 197 w 925"/>
                  <a:gd name="T5" fmla="*/ 0 h 756"/>
                  <a:gd name="T6" fmla="*/ 718 w 925"/>
                  <a:gd name="T7" fmla="*/ 0 h 756"/>
                  <a:gd name="T8" fmla="*/ 925 w 925"/>
                  <a:gd name="T9" fmla="*/ 359 h 756"/>
                  <a:gd name="T10" fmla="*/ 925 w 925"/>
                  <a:gd name="T11" fmla="*/ 359 h 756"/>
                  <a:gd name="T12" fmla="*/ 925 w 925"/>
                  <a:gd name="T13" fmla="*/ 359 h 756"/>
                  <a:gd name="T14" fmla="*/ 925 w 925"/>
                  <a:gd name="T15" fmla="*/ 359 h 756"/>
                  <a:gd name="T16" fmla="*/ 925 w 925"/>
                  <a:gd name="T17" fmla="*/ 359 h 756"/>
                  <a:gd name="T18" fmla="*/ 925 w 925"/>
                  <a:gd name="T19" fmla="*/ 359 h 756"/>
                  <a:gd name="T20" fmla="*/ 0 w 925"/>
                  <a:gd name="T21" fmla="*/ 756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5" h="756">
                    <a:moveTo>
                      <a:pt x="0" y="756"/>
                    </a:moveTo>
                    <a:lnTo>
                      <a:pt x="0" y="756"/>
                    </a:lnTo>
                    <a:lnTo>
                      <a:pt x="197" y="0"/>
                    </a:lnTo>
                    <a:lnTo>
                      <a:pt x="718" y="0"/>
                    </a:lnTo>
                    <a:lnTo>
                      <a:pt x="925" y="359"/>
                    </a:lnTo>
                    <a:lnTo>
                      <a:pt x="925" y="359"/>
                    </a:lnTo>
                    <a:lnTo>
                      <a:pt x="925" y="359"/>
                    </a:lnTo>
                    <a:lnTo>
                      <a:pt x="925" y="359"/>
                    </a:lnTo>
                    <a:lnTo>
                      <a:pt x="925" y="359"/>
                    </a:lnTo>
                    <a:lnTo>
                      <a:pt x="925" y="359"/>
                    </a:lnTo>
                    <a:lnTo>
                      <a:pt x="0"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62" name="Freeform 382"/>
              <p:cNvSpPr>
                <a:spLocks/>
              </p:cNvSpPr>
              <p:nvPr/>
            </p:nvSpPr>
            <p:spPr bwMode="gray">
              <a:xfrm>
                <a:off x="-9058275" y="-3540126"/>
                <a:ext cx="2124075" cy="1555750"/>
              </a:xfrm>
              <a:custGeom>
                <a:avLst/>
                <a:gdLst>
                  <a:gd name="T0" fmla="*/ 566 w 1338"/>
                  <a:gd name="T1" fmla="*/ 980 h 980"/>
                  <a:gd name="T2" fmla="*/ 0 w 1338"/>
                  <a:gd name="T3" fmla="*/ 0 h 980"/>
                  <a:gd name="T4" fmla="*/ 1338 w 1338"/>
                  <a:gd name="T5" fmla="*/ 397 h 980"/>
                  <a:gd name="T6" fmla="*/ 566 w 1338"/>
                  <a:gd name="T7" fmla="*/ 980 h 980"/>
                </a:gdLst>
                <a:ahLst/>
                <a:cxnLst>
                  <a:cxn ang="0">
                    <a:pos x="T0" y="T1"/>
                  </a:cxn>
                  <a:cxn ang="0">
                    <a:pos x="T2" y="T3"/>
                  </a:cxn>
                  <a:cxn ang="0">
                    <a:pos x="T4" y="T5"/>
                  </a:cxn>
                  <a:cxn ang="0">
                    <a:pos x="T6" y="T7"/>
                  </a:cxn>
                </a:cxnLst>
                <a:rect l="0" t="0" r="r" b="b"/>
                <a:pathLst>
                  <a:path w="1338" h="980">
                    <a:moveTo>
                      <a:pt x="566" y="980"/>
                    </a:moveTo>
                    <a:lnTo>
                      <a:pt x="0" y="0"/>
                    </a:lnTo>
                    <a:lnTo>
                      <a:pt x="1338" y="397"/>
                    </a:lnTo>
                    <a:lnTo>
                      <a:pt x="566"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63" name="Freeform 383"/>
              <p:cNvSpPr>
                <a:spLocks/>
              </p:cNvSpPr>
              <p:nvPr/>
            </p:nvSpPr>
            <p:spPr bwMode="gray">
              <a:xfrm>
                <a:off x="-8159750" y="-2909888"/>
                <a:ext cx="1225550" cy="925513"/>
              </a:xfrm>
              <a:custGeom>
                <a:avLst/>
                <a:gdLst>
                  <a:gd name="T0" fmla="*/ 0 w 772"/>
                  <a:gd name="T1" fmla="*/ 583 h 583"/>
                  <a:gd name="T2" fmla="*/ 0 w 772"/>
                  <a:gd name="T3" fmla="*/ 583 h 583"/>
                  <a:gd name="T4" fmla="*/ 772 w 772"/>
                  <a:gd name="T5" fmla="*/ 0 h 583"/>
                  <a:gd name="T6" fmla="*/ 772 w 772"/>
                  <a:gd name="T7" fmla="*/ 0 h 583"/>
                  <a:gd name="T8" fmla="*/ 0 w 772"/>
                  <a:gd name="T9" fmla="*/ 583 h 583"/>
                </a:gdLst>
                <a:ahLst/>
                <a:cxnLst>
                  <a:cxn ang="0">
                    <a:pos x="T0" y="T1"/>
                  </a:cxn>
                  <a:cxn ang="0">
                    <a:pos x="T2" y="T3"/>
                  </a:cxn>
                  <a:cxn ang="0">
                    <a:pos x="T4" y="T5"/>
                  </a:cxn>
                  <a:cxn ang="0">
                    <a:pos x="T6" y="T7"/>
                  </a:cxn>
                  <a:cxn ang="0">
                    <a:pos x="T8" y="T9"/>
                  </a:cxn>
                </a:cxnLst>
                <a:rect l="0" t="0" r="r" b="b"/>
                <a:pathLst>
                  <a:path w="772" h="583">
                    <a:moveTo>
                      <a:pt x="0" y="583"/>
                    </a:moveTo>
                    <a:lnTo>
                      <a:pt x="0" y="583"/>
                    </a:lnTo>
                    <a:lnTo>
                      <a:pt x="772" y="0"/>
                    </a:lnTo>
                    <a:lnTo>
                      <a:pt x="772" y="0"/>
                    </a:lnTo>
                    <a:lnTo>
                      <a:pt x="0" y="58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64" name="Freeform 384"/>
              <p:cNvSpPr>
                <a:spLocks noEditPoints="1"/>
              </p:cNvSpPr>
              <p:nvPr/>
            </p:nvSpPr>
            <p:spPr bwMode="gray">
              <a:xfrm>
                <a:off x="-5465763" y="-4110038"/>
                <a:ext cx="1797050" cy="569913"/>
              </a:xfrm>
              <a:custGeom>
                <a:avLst/>
                <a:gdLst>
                  <a:gd name="T0" fmla="*/ 2358 w 2358"/>
                  <a:gd name="T1" fmla="*/ 748 h 748"/>
                  <a:gd name="T2" fmla="*/ 1 w 2358"/>
                  <a:gd name="T3" fmla="*/ 748 h 748"/>
                  <a:gd name="T4" fmla="*/ 247 w 2358"/>
                  <a:gd name="T5" fmla="*/ 0 h 748"/>
                  <a:gd name="T6" fmla="*/ 1489 w 2358"/>
                  <a:gd name="T7" fmla="*/ 0 h 748"/>
                  <a:gd name="T8" fmla="*/ 2358 w 2358"/>
                  <a:gd name="T9" fmla="*/ 748 h 748"/>
                  <a:gd name="T10" fmla="*/ 1 w 2358"/>
                  <a:gd name="T11" fmla="*/ 748 h 748"/>
                  <a:gd name="T12" fmla="*/ 0 w 2358"/>
                  <a:gd name="T13" fmla="*/ 748 h 748"/>
                  <a:gd name="T14" fmla="*/ 0 w 2358"/>
                  <a:gd name="T15" fmla="*/ 747 h 748"/>
                  <a:gd name="T16" fmla="*/ 0 w 2358"/>
                  <a:gd name="T17" fmla="*/ 747 h 748"/>
                  <a:gd name="T18" fmla="*/ 1 w 2358"/>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8" h="748">
                    <a:moveTo>
                      <a:pt x="2358" y="748"/>
                    </a:moveTo>
                    <a:lnTo>
                      <a:pt x="1" y="748"/>
                    </a:lnTo>
                    <a:lnTo>
                      <a:pt x="247" y="0"/>
                    </a:lnTo>
                    <a:lnTo>
                      <a:pt x="1489" y="0"/>
                    </a:lnTo>
                    <a:lnTo>
                      <a:pt x="2358" y="748"/>
                    </a:lnTo>
                    <a:moveTo>
                      <a:pt x="1" y="748"/>
                    </a:moveTo>
                    <a:lnTo>
                      <a:pt x="0" y="748"/>
                    </a:lnTo>
                    <a:lnTo>
                      <a:pt x="0" y="747"/>
                    </a:lnTo>
                    <a:lnTo>
                      <a:pt x="0" y="747"/>
                    </a:lnTo>
                    <a:lnTo>
                      <a:pt x="1"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65" name="Freeform 385"/>
              <p:cNvSpPr>
                <a:spLocks/>
              </p:cNvSpPr>
              <p:nvPr/>
            </p:nvSpPr>
            <p:spPr bwMode="gray">
              <a:xfrm>
                <a:off x="-4330700" y="-4110038"/>
                <a:ext cx="1114425" cy="569913"/>
              </a:xfrm>
              <a:custGeom>
                <a:avLst/>
                <a:gdLst>
                  <a:gd name="T0" fmla="*/ 417 w 702"/>
                  <a:gd name="T1" fmla="*/ 359 h 359"/>
                  <a:gd name="T2" fmla="*/ 417 w 702"/>
                  <a:gd name="T3" fmla="*/ 359 h 359"/>
                  <a:gd name="T4" fmla="*/ 417 w 702"/>
                  <a:gd name="T5" fmla="*/ 359 h 359"/>
                  <a:gd name="T6" fmla="*/ 0 w 702"/>
                  <a:gd name="T7" fmla="*/ 0 h 359"/>
                  <a:gd name="T8" fmla="*/ 702 w 702"/>
                  <a:gd name="T9" fmla="*/ 0 h 359"/>
                  <a:gd name="T10" fmla="*/ 417 w 702"/>
                  <a:gd name="T11" fmla="*/ 359 h 359"/>
                  <a:gd name="T12" fmla="*/ 417 w 702"/>
                  <a:gd name="T13" fmla="*/ 359 h 359"/>
                  <a:gd name="T14" fmla="*/ 417 w 702"/>
                  <a:gd name="T15" fmla="*/ 359 h 359"/>
                  <a:gd name="T16" fmla="*/ 417 w 702"/>
                  <a:gd name="T17"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2" h="359">
                    <a:moveTo>
                      <a:pt x="417" y="359"/>
                    </a:moveTo>
                    <a:lnTo>
                      <a:pt x="417" y="359"/>
                    </a:lnTo>
                    <a:lnTo>
                      <a:pt x="417" y="359"/>
                    </a:lnTo>
                    <a:lnTo>
                      <a:pt x="0" y="0"/>
                    </a:lnTo>
                    <a:lnTo>
                      <a:pt x="702" y="0"/>
                    </a:lnTo>
                    <a:lnTo>
                      <a:pt x="417" y="359"/>
                    </a:lnTo>
                    <a:lnTo>
                      <a:pt x="417" y="359"/>
                    </a:lnTo>
                    <a:lnTo>
                      <a:pt x="417" y="359"/>
                    </a:lnTo>
                    <a:lnTo>
                      <a:pt x="417"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66" name="Freeform 386"/>
              <p:cNvSpPr>
                <a:spLocks/>
              </p:cNvSpPr>
              <p:nvPr/>
            </p:nvSpPr>
            <p:spPr bwMode="gray">
              <a:xfrm>
                <a:off x="-4330700" y="-4110038"/>
                <a:ext cx="661988" cy="569913"/>
              </a:xfrm>
              <a:custGeom>
                <a:avLst/>
                <a:gdLst>
                  <a:gd name="T0" fmla="*/ 417 w 417"/>
                  <a:gd name="T1" fmla="*/ 359 h 359"/>
                  <a:gd name="T2" fmla="*/ 417 w 417"/>
                  <a:gd name="T3" fmla="*/ 359 h 359"/>
                  <a:gd name="T4" fmla="*/ 0 w 417"/>
                  <a:gd name="T5" fmla="*/ 0 h 359"/>
                  <a:gd name="T6" fmla="*/ 0 w 417"/>
                  <a:gd name="T7" fmla="*/ 0 h 359"/>
                  <a:gd name="T8" fmla="*/ 417 w 417"/>
                  <a:gd name="T9" fmla="*/ 359 h 359"/>
                </a:gdLst>
                <a:ahLst/>
                <a:cxnLst>
                  <a:cxn ang="0">
                    <a:pos x="T0" y="T1"/>
                  </a:cxn>
                  <a:cxn ang="0">
                    <a:pos x="T2" y="T3"/>
                  </a:cxn>
                  <a:cxn ang="0">
                    <a:pos x="T4" y="T5"/>
                  </a:cxn>
                  <a:cxn ang="0">
                    <a:pos x="T6" y="T7"/>
                  </a:cxn>
                  <a:cxn ang="0">
                    <a:pos x="T8" y="T9"/>
                  </a:cxn>
                </a:cxnLst>
                <a:rect l="0" t="0" r="r" b="b"/>
                <a:pathLst>
                  <a:path w="417" h="359">
                    <a:moveTo>
                      <a:pt x="417" y="359"/>
                    </a:moveTo>
                    <a:lnTo>
                      <a:pt x="417" y="359"/>
                    </a:lnTo>
                    <a:lnTo>
                      <a:pt x="0" y="0"/>
                    </a:lnTo>
                    <a:lnTo>
                      <a:pt x="0" y="0"/>
                    </a:lnTo>
                    <a:lnTo>
                      <a:pt x="417"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67" name="Freeform 387"/>
              <p:cNvSpPr>
                <a:spLocks/>
              </p:cNvSpPr>
              <p:nvPr/>
            </p:nvSpPr>
            <p:spPr bwMode="gray">
              <a:xfrm>
                <a:off x="-5794375" y="-4110038"/>
                <a:ext cx="517525" cy="569913"/>
              </a:xfrm>
              <a:custGeom>
                <a:avLst/>
                <a:gdLst>
                  <a:gd name="T0" fmla="*/ 207 w 326"/>
                  <a:gd name="T1" fmla="*/ 359 h 359"/>
                  <a:gd name="T2" fmla="*/ 0 w 326"/>
                  <a:gd name="T3" fmla="*/ 0 h 359"/>
                  <a:gd name="T4" fmla="*/ 326 w 326"/>
                  <a:gd name="T5" fmla="*/ 0 h 359"/>
                  <a:gd name="T6" fmla="*/ 207 w 326"/>
                  <a:gd name="T7" fmla="*/ 359 h 359"/>
                </a:gdLst>
                <a:ahLst/>
                <a:cxnLst>
                  <a:cxn ang="0">
                    <a:pos x="T0" y="T1"/>
                  </a:cxn>
                  <a:cxn ang="0">
                    <a:pos x="T2" y="T3"/>
                  </a:cxn>
                  <a:cxn ang="0">
                    <a:pos x="T4" y="T5"/>
                  </a:cxn>
                  <a:cxn ang="0">
                    <a:pos x="T6" y="T7"/>
                  </a:cxn>
                </a:cxnLst>
                <a:rect l="0" t="0" r="r" b="b"/>
                <a:pathLst>
                  <a:path w="326" h="359">
                    <a:moveTo>
                      <a:pt x="207" y="359"/>
                    </a:moveTo>
                    <a:lnTo>
                      <a:pt x="0" y="0"/>
                    </a:lnTo>
                    <a:lnTo>
                      <a:pt x="326" y="0"/>
                    </a:lnTo>
                    <a:lnTo>
                      <a:pt x="207" y="35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68" name="Freeform 388"/>
              <p:cNvSpPr>
                <a:spLocks/>
              </p:cNvSpPr>
              <p:nvPr/>
            </p:nvSpPr>
            <p:spPr bwMode="gray">
              <a:xfrm>
                <a:off x="-5465763" y="-4110038"/>
                <a:ext cx="188913" cy="569913"/>
              </a:xfrm>
              <a:custGeom>
                <a:avLst/>
                <a:gdLst>
                  <a:gd name="T0" fmla="*/ 0 w 119"/>
                  <a:gd name="T1" fmla="*/ 359 h 359"/>
                  <a:gd name="T2" fmla="*/ 0 w 119"/>
                  <a:gd name="T3" fmla="*/ 359 h 359"/>
                  <a:gd name="T4" fmla="*/ 0 w 119"/>
                  <a:gd name="T5" fmla="*/ 359 h 359"/>
                  <a:gd name="T6" fmla="*/ 119 w 119"/>
                  <a:gd name="T7" fmla="*/ 0 h 359"/>
                  <a:gd name="T8" fmla="*/ 119 w 119"/>
                  <a:gd name="T9" fmla="*/ 0 h 359"/>
                  <a:gd name="T10" fmla="*/ 0 w 119"/>
                  <a:gd name="T11" fmla="*/ 359 h 359"/>
                </a:gdLst>
                <a:ahLst/>
                <a:cxnLst>
                  <a:cxn ang="0">
                    <a:pos x="T0" y="T1"/>
                  </a:cxn>
                  <a:cxn ang="0">
                    <a:pos x="T2" y="T3"/>
                  </a:cxn>
                  <a:cxn ang="0">
                    <a:pos x="T4" y="T5"/>
                  </a:cxn>
                  <a:cxn ang="0">
                    <a:pos x="T6" y="T7"/>
                  </a:cxn>
                  <a:cxn ang="0">
                    <a:pos x="T8" y="T9"/>
                  </a:cxn>
                  <a:cxn ang="0">
                    <a:pos x="T10" y="T11"/>
                  </a:cxn>
                </a:cxnLst>
                <a:rect l="0" t="0" r="r" b="b"/>
                <a:pathLst>
                  <a:path w="119" h="359">
                    <a:moveTo>
                      <a:pt x="0" y="359"/>
                    </a:moveTo>
                    <a:lnTo>
                      <a:pt x="0" y="359"/>
                    </a:lnTo>
                    <a:lnTo>
                      <a:pt x="0" y="359"/>
                    </a:lnTo>
                    <a:lnTo>
                      <a:pt x="119" y="0"/>
                    </a:lnTo>
                    <a:lnTo>
                      <a:pt x="119"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69" name="Freeform 389"/>
              <p:cNvSpPr>
                <a:spLocks noEditPoints="1"/>
              </p:cNvSpPr>
              <p:nvPr/>
            </p:nvSpPr>
            <p:spPr bwMode="gray">
              <a:xfrm>
                <a:off x="-8159750" y="-428626"/>
                <a:ext cx="1795463" cy="1554163"/>
              </a:xfrm>
              <a:custGeom>
                <a:avLst/>
                <a:gdLst>
                  <a:gd name="T0" fmla="*/ 2358 w 2358"/>
                  <a:gd name="T1" fmla="*/ 2041 h 2041"/>
                  <a:gd name="T2" fmla="*/ 1 w 2358"/>
                  <a:gd name="T3" fmla="*/ 2041 h 2041"/>
                  <a:gd name="T4" fmla="*/ 1179 w 2358"/>
                  <a:gd name="T5" fmla="*/ 0 h 2041"/>
                  <a:gd name="T6" fmla="*/ 1179 w 2358"/>
                  <a:gd name="T7" fmla="*/ 0 h 2041"/>
                  <a:gd name="T8" fmla="*/ 1179 w 2358"/>
                  <a:gd name="T9" fmla="*/ 0 h 2041"/>
                  <a:gd name="T10" fmla="*/ 1507 w 2358"/>
                  <a:gd name="T11" fmla="*/ 567 h 2041"/>
                  <a:gd name="T12" fmla="*/ 2358 w 2358"/>
                  <a:gd name="T13" fmla="*/ 2041 h 2041"/>
                  <a:gd name="T14" fmla="*/ 1 w 2358"/>
                  <a:gd name="T15" fmla="*/ 2041 h 2041"/>
                  <a:gd name="T16" fmla="*/ 0 w 2358"/>
                  <a:gd name="T17" fmla="*/ 2041 h 2041"/>
                  <a:gd name="T18" fmla="*/ 1 w 2358"/>
                  <a:gd name="T19" fmla="*/ 2041 h 2041"/>
                  <a:gd name="T20" fmla="*/ 1 w 2358"/>
                  <a:gd name="T21" fmla="*/ 2041 h 2041"/>
                  <a:gd name="T22" fmla="*/ 1179 w 2358"/>
                  <a:gd name="T23" fmla="*/ 0 h 2041"/>
                  <a:gd name="T24" fmla="*/ 1179 w 2358"/>
                  <a:gd name="T25" fmla="*/ 0 h 2041"/>
                  <a:gd name="T26" fmla="*/ 1179 w 2358"/>
                  <a:gd name="T27" fmla="*/ 0 h 2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8" h="2041">
                    <a:moveTo>
                      <a:pt x="2358" y="2041"/>
                    </a:moveTo>
                    <a:lnTo>
                      <a:pt x="1" y="2041"/>
                    </a:lnTo>
                    <a:lnTo>
                      <a:pt x="1179" y="0"/>
                    </a:lnTo>
                    <a:lnTo>
                      <a:pt x="1179" y="0"/>
                    </a:lnTo>
                    <a:lnTo>
                      <a:pt x="1179" y="0"/>
                    </a:lnTo>
                    <a:lnTo>
                      <a:pt x="1507" y="567"/>
                    </a:lnTo>
                    <a:lnTo>
                      <a:pt x="2358" y="2041"/>
                    </a:lnTo>
                    <a:moveTo>
                      <a:pt x="1" y="2041"/>
                    </a:moveTo>
                    <a:lnTo>
                      <a:pt x="0" y="2041"/>
                    </a:lnTo>
                    <a:lnTo>
                      <a:pt x="1" y="2041"/>
                    </a:lnTo>
                    <a:lnTo>
                      <a:pt x="1" y="2041"/>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70" name="Freeform 390"/>
              <p:cNvSpPr>
                <a:spLocks/>
              </p:cNvSpPr>
              <p:nvPr/>
            </p:nvSpPr>
            <p:spPr bwMode="gray">
              <a:xfrm>
                <a:off x="-8159750" y="-1984376"/>
                <a:ext cx="2633663" cy="1555750"/>
              </a:xfrm>
              <a:custGeom>
                <a:avLst/>
                <a:gdLst>
                  <a:gd name="T0" fmla="*/ 566 w 1659"/>
                  <a:gd name="T1" fmla="*/ 980 h 980"/>
                  <a:gd name="T2" fmla="*/ 566 w 1659"/>
                  <a:gd name="T3" fmla="*/ 980 h 980"/>
                  <a:gd name="T4" fmla="*/ 307 w 1659"/>
                  <a:gd name="T5" fmla="*/ 532 h 980"/>
                  <a:gd name="T6" fmla="*/ 0 w 1659"/>
                  <a:gd name="T7" fmla="*/ 0 h 980"/>
                  <a:gd name="T8" fmla="*/ 0 w 1659"/>
                  <a:gd name="T9" fmla="*/ 0 h 980"/>
                  <a:gd name="T10" fmla="*/ 1659 w 1659"/>
                  <a:gd name="T11" fmla="*/ 365 h 980"/>
                  <a:gd name="T12" fmla="*/ 566 w 1659"/>
                  <a:gd name="T13" fmla="*/ 980 h 980"/>
                </a:gdLst>
                <a:ahLst/>
                <a:cxnLst>
                  <a:cxn ang="0">
                    <a:pos x="T0" y="T1"/>
                  </a:cxn>
                  <a:cxn ang="0">
                    <a:pos x="T2" y="T3"/>
                  </a:cxn>
                  <a:cxn ang="0">
                    <a:pos x="T4" y="T5"/>
                  </a:cxn>
                  <a:cxn ang="0">
                    <a:pos x="T6" y="T7"/>
                  </a:cxn>
                  <a:cxn ang="0">
                    <a:pos x="T8" y="T9"/>
                  </a:cxn>
                  <a:cxn ang="0">
                    <a:pos x="T10" y="T11"/>
                  </a:cxn>
                  <a:cxn ang="0">
                    <a:pos x="T12" y="T13"/>
                  </a:cxn>
                </a:cxnLst>
                <a:rect l="0" t="0" r="r" b="b"/>
                <a:pathLst>
                  <a:path w="1659" h="980">
                    <a:moveTo>
                      <a:pt x="566" y="980"/>
                    </a:moveTo>
                    <a:lnTo>
                      <a:pt x="566" y="980"/>
                    </a:lnTo>
                    <a:lnTo>
                      <a:pt x="307" y="532"/>
                    </a:lnTo>
                    <a:lnTo>
                      <a:pt x="0" y="0"/>
                    </a:lnTo>
                    <a:lnTo>
                      <a:pt x="0" y="0"/>
                    </a:lnTo>
                    <a:lnTo>
                      <a:pt x="1659" y="36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71" name="Freeform 391"/>
              <p:cNvSpPr>
                <a:spLocks/>
              </p:cNvSpPr>
              <p:nvPr/>
            </p:nvSpPr>
            <p:spPr bwMode="gray">
              <a:xfrm>
                <a:off x="-7261225" y="-428626"/>
                <a:ext cx="1735138" cy="1554163"/>
              </a:xfrm>
              <a:custGeom>
                <a:avLst/>
                <a:gdLst>
                  <a:gd name="T0" fmla="*/ 565 w 1093"/>
                  <a:gd name="T1" fmla="*/ 979 h 979"/>
                  <a:gd name="T2" fmla="*/ 157 w 1093"/>
                  <a:gd name="T3" fmla="*/ 272 h 979"/>
                  <a:gd name="T4" fmla="*/ 0 w 1093"/>
                  <a:gd name="T5" fmla="*/ 0 h 979"/>
                  <a:gd name="T6" fmla="*/ 1093 w 1093"/>
                  <a:gd name="T7" fmla="*/ 684 h 979"/>
                  <a:gd name="T8" fmla="*/ 1093 w 1093"/>
                  <a:gd name="T9" fmla="*/ 684 h 979"/>
                  <a:gd name="T10" fmla="*/ 1093 w 1093"/>
                  <a:gd name="T11" fmla="*/ 684 h 979"/>
                  <a:gd name="T12" fmla="*/ 1093 w 1093"/>
                  <a:gd name="T13" fmla="*/ 684 h 979"/>
                  <a:gd name="T14" fmla="*/ 1093 w 1093"/>
                  <a:gd name="T15" fmla="*/ 684 h 979"/>
                  <a:gd name="T16" fmla="*/ 965 w 1093"/>
                  <a:gd name="T17" fmla="*/ 756 h 979"/>
                  <a:gd name="T18" fmla="*/ 565 w 1093"/>
                  <a:gd name="T19" fmla="*/ 979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3" h="979">
                    <a:moveTo>
                      <a:pt x="565" y="979"/>
                    </a:moveTo>
                    <a:lnTo>
                      <a:pt x="157" y="272"/>
                    </a:lnTo>
                    <a:lnTo>
                      <a:pt x="0" y="0"/>
                    </a:lnTo>
                    <a:lnTo>
                      <a:pt x="1093" y="684"/>
                    </a:lnTo>
                    <a:lnTo>
                      <a:pt x="1093" y="684"/>
                    </a:lnTo>
                    <a:lnTo>
                      <a:pt x="1093" y="684"/>
                    </a:lnTo>
                    <a:lnTo>
                      <a:pt x="1093" y="684"/>
                    </a:lnTo>
                    <a:lnTo>
                      <a:pt x="1093" y="684"/>
                    </a:lnTo>
                    <a:lnTo>
                      <a:pt x="965" y="756"/>
                    </a:lnTo>
                    <a:lnTo>
                      <a:pt x="565" y="97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72" name="Freeform 392"/>
              <p:cNvSpPr>
                <a:spLocks noEditPoints="1"/>
              </p:cNvSpPr>
              <p:nvPr/>
            </p:nvSpPr>
            <p:spPr bwMode="gray">
              <a:xfrm>
                <a:off x="-9456738" y="-1984376"/>
                <a:ext cx="2195513" cy="1555750"/>
              </a:xfrm>
              <a:custGeom>
                <a:avLst/>
                <a:gdLst>
                  <a:gd name="T0" fmla="*/ 2879 w 2879"/>
                  <a:gd name="T1" fmla="*/ 2042 h 2042"/>
                  <a:gd name="T2" fmla="*/ 0 w 2879"/>
                  <a:gd name="T3" fmla="*/ 1320 h 2042"/>
                  <a:gd name="T4" fmla="*/ 444 w 2879"/>
                  <a:gd name="T5" fmla="*/ 976 h 2042"/>
                  <a:gd name="T6" fmla="*/ 1701 w 2879"/>
                  <a:gd name="T7" fmla="*/ 1 h 2042"/>
                  <a:gd name="T8" fmla="*/ 2340 w 2879"/>
                  <a:gd name="T9" fmla="*/ 1109 h 2042"/>
                  <a:gd name="T10" fmla="*/ 2879 w 2879"/>
                  <a:gd name="T11" fmla="*/ 2042 h 2042"/>
                  <a:gd name="T12" fmla="*/ 2879 w 2879"/>
                  <a:gd name="T13" fmla="*/ 2042 h 2042"/>
                  <a:gd name="T14" fmla="*/ 1701 w 2879"/>
                  <a:gd name="T15" fmla="*/ 1 h 2042"/>
                  <a:gd name="T16" fmla="*/ 1700 w 2879"/>
                  <a:gd name="T17" fmla="*/ 1 h 2042"/>
                  <a:gd name="T18" fmla="*/ 1701 w 2879"/>
                  <a:gd name="T19" fmla="*/ 0 h 2042"/>
                  <a:gd name="T20" fmla="*/ 1701 w 2879"/>
                  <a:gd name="T21" fmla="*/ 1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9" h="2042">
                    <a:moveTo>
                      <a:pt x="2879" y="2042"/>
                    </a:moveTo>
                    <a:lnTo>
                      <a:pt x="0" y="1320"/>
                    </a:lnTo>
                    <a:lnTo>
                      <a:pt x="444" y="976"/>
                    </a:lnTo>
                    <a:lnTo>
                      <a:pt x="1701" y="1"/>
                    </a:lnTo>
                    <a:lnTo>
                      <a:pt x="2340" y="1109"/>
                    </a:lnTo>
                    <a:lnTo>
                      <a:pt x="2879" y="2042"/>
                    </a:lnTo>
                    <a:lnTo>
                      <a:pt x="2879" y="2042"/>
                    </a:lnTo>
                    <a:moveTo>
                      <a:pt x="1701" y="1"/>
                    </a:moveTo>
                    <a:lnTo>
                      <a:pt x="1700" y="1"/>
                    </a:lnTo>
                    <a:lnTo>
                      <a:pt x="1701" y="0"/>
                    </a:lnTo>
                    <a:lnTo>
                      <a:pt x="170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73" name="Freeform 393"/>
              <p:cNvSpPr>
                <a:spLocks/>
              </p:cNvSpPr>
              <p:nvPr/>
            </p:nvSpPr>
            <p:spPr bwMode="gray">
              <a:xfrm>
                <a:off x="-9117013" y="-1984376"/>
                <a:ext cx="957263" cy="742950"/>
              </a:xfrm>
              <a:custGeom>
                <a:avLst/>
                <a:gdLst>
                  <a:gd name="T0" fmla="*/ 0 w 603"/>
                  <a:gd name="T1" fmla="*/ 468 h 468"/>
                  <a:gd name="T2" fmla="*/ 603 w 603"/>
                  <a:gd name="T3" fmla="*/ 0 h 468"/>
                  <a:gd name="T4" fmla="*/ 603 w 603"/>
                  <a:gd name="T5" fmla="*/ 0 h 468"/>
                  <a:gd name="T6" fmla="*/ 603 w 603"/>
                  <a:gd name="T7" fmla="*/ 0 h 468"/>
                  <a:gd name="T8" fmla="*/ 0 w 603"/>
                  <a:gd name="T9" fmla="*/ 468 h 468"/>
                </a:gdLst>
                <a:ahLst/>
                <a:cxnLst>
                  <a:cxn ang="0">
                    <a:pos x="T0" y="T1"/>
                  </a:cxn>
                  <a:cxn ang="0">
                    <a:pos x="T2" y="T3"/>
                  </a:cxn>
                  <a:cxn ang="0">
                    <a:pos x="T4" y="T5"/>
                  </a:cxn>
                  <a:cxn ang="0">
                    <a:pos x="T6" y="T7"/>
                  </a:cxn>
                  <a:cxn ang="0">
                    <a:pos x="T8" y="T9"/>
                  </a:cxn>
                </a:cxnLst>
                <a:rect l="0" t="0" r="r" b="b"/>
                <a:pathLst>
                  <a:path w="603" h="468">
                    <a:moveTo>
                      <a:pt x="0" y="468"/>
                    </a:moveTo>
                    <a:lnTo>
                      <a:pt x="603" y="0"/>
                    </a:lnTo>
                    <a:lnTo>
                      <a:pt x="603" y="0"/>
                    </a:lnTo>
                    <a:lnTo>
                      <a:pt x="603" y="0"/>
                    </a:lnTo>
                    <a:lnTo>
                      <a:pt x="0" y="468"/>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74" name="Freeform 394"/>
              <p:cNvSpPr>
                <a:spLocks/>
              </p:cNvSpPr>
              <p:nvPr/>
            </p:nvSpPr>
            <p:spPr bwMode="gray">
              <a:xfrm>
                <a:off x="-8159750" y="-1984376"/>
                <a:ext cx="487363" cy="844550"/>
              </a:xfrm>
              <a:custGeom>
                <a:avLst/>
                <a:gdLst>
                  <a:gd name="T0" fmla="*/ 307 w 307"/>
                  <a:gd name="T1" fmla="*/ 532 h 532"/>
                  <a:gd name="T2" fmla="*/ 0 w 307"/>
                  <a:gd name="T3" fmla="*/ 0 h 532"/>
                  <a:gd name="T4" fmla="*/ 0 w 307"/>
                  <a:gd name="T5" fmla="*/ 0 h 532"/>
                  <a:gd name="T6" fmla="*/ 0 w 307"/>
                  <a:gd name="T7" fmla="*/ 0 h 532"/>
                  <a:gd name="T8" fmla="*/ 0 w 307"/>
                  <a:gd name="T9" fmla="*/ 0 h 532"/>
                  <a:gd name="T10" fmla="*/ 307 w 307"/>
                  <a:gd name="T11" fmla="*/ 532 h 532"/>
                </a:gdLst>
                <a:ahLst/>
                <a:cxnLst>
                  <a:cxn ang="0">
                    <a:pos x="T0" y="T1"/>
                  </a:cxn>
                  <a:cxn ang="0">
                    <a:pos x="T2" y="T3"/>
                  </a:cxn>
                  <a:cxn ang="0">
                    <a:pos x="T4" y="T5"/>
                  </a:cxn>
                  <a:cxn ang="0">
                    <a:pos x="T6" y="T7"/>
                  </a:cxn>
                  <a:cxn ang="0">
                    <a:pos x="T8" y="T9"/>
                  </a:cxn>
                  <a:cxn ang="0">
                    <a:pos x="T10" y="T11"/>
                  </a:cxn>
                </a:cxnLst>
                <a:rect l="0" t="0" r="r" b="b"/>
                <a:pathLst>
                  <a:path w="307" h="532">
                    <a:moveTo>
                      <a:pt x="307" y="532"/>
                    </a:moveTo>
                    <a:lnTo>
                      <a:pt x="0" y="0"/>
                    </a:lnTo>
                    <a:lnTo>
                      <a:pt x="0" y="0"/>
                    </a:lnTo>
                    <a:lnTo>
                      <a:pt x="0" y="0"/>
                    </a:lnTo>
                    <a:lnTo>
                      <a:pt x="0" y="0"/>
                    </a:lnTo>
                    <a:lnTo>
                      <a:pt x="307" y="5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75" name="Freeform 395"/>
              <p:cNvSpPr>
                <a:spLocks noEditPoints="1"/>
              </p:cNvSpPr>
              <p:nvPr/>
            </p:nvSpPr>
            <p:spPr bwMode="gray">
              <a:xfrm>
                <a:off x="-7261225" y="-1404938"/>
                <a:ext cx="1735138" cy="2062163"/>
              </a:xfrm>
              <a:custGeom>
                <a:avLst/>
                <a:gdLst>
                  <a:gd name="T0" fmla="*/ 2278 w 2278"/>
                  <a:gd name="T1" fmla="*/ 2707 h 2707"/>
                  <a:gd name="T2" fmla="*/ 2278 w 2278"/>
                  <a:gd name="T3" fmla="*/ 2707 h 2707"/>
                  <a:gd name="T4" fmla="*/ 2278 w 2278"/>
                  <a:gd name="T5" fmla="*/ 2707 h 2707"/>
                  <a:gd name="T6" fmla="*/ 2278 w 2278"/>
                  <a:gd name="T7" fmla="*/ 2707 h 2707"/>
                  <a:gd name="T8" fmla="*/ 2278 w 2278"/>
                  <a:gd name="T9" fmla="*/ 2707 h 2707"/>
                  <a:gd name="T10" fmla="*/ 0 w 2278"/>
                  <a:gd name="T11" fmla="*/ 1281 h 2707"/>
                  <a:gd name="T12" fmla="*/ 0 w 2278"/>
                  <a:gd name="T13" fmla="*/ 1281 h 2707"/>
                  <a:gd name="T14" fmla="*/ 2278 w 2278"/>
                  <a:gd name="T15" fmla="*/ 0 h 2707"/>
                  <a:gd name="T16" fmla="*/ 2278 w 2278"/>
                  <a:gd name="T17" fmla="*/ 2707 h 2707"/>
                  <a:gd name="T18" fmla="*/ 2278 w 2278"/>
                  <a:gd name="T19" fmla="*/ 2707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8" h="2707">
                    <a:moveTo>
                      <a:pt x="2278" y="2707"/>
                    </a:moveTo>
                    <a:lnTo>
                      <a:pt x="2278" y="2707"/>
                    </a:lnTo>
                    <a:lnTo>
                      <a:pt x="2278" y="2707"/>
                    </a:lnTo>
                    <a:lnTo>
                      <a:pt x="2278" y="2707"/>
                    </a:lnTo>
                    <a:moveTo>
                      <a:pt x="2278" y="2707"/>
                    </a:moveTo>
                    <a:lnTo>
                      <a:pt x="0" y="1281"/>
                    </a:lnTo>
                    <a:lnTo>
                      <a:pt x="0" y="1281"/>
                    </a:lnTo>
                    <a:lnTo>
                      <a:pt x="2278" y="0"/>
                    </a:lnTo>
                    <a:lnTo>
                      <a:pt x="2278" y="2707"/>
                    </a:lnTo>
                    <a:lnTo>
                      <a:pt x="2278" y="2707"/>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76" name="Freeform 396"/>
              <p:cNvSpPr>
                <a:spLocks/>
              </p:cNvSpPr>
              <p:nvPr/>
            </p:nvSpPr>
            <p:spPr bwMode="gray">
              <a:xfrm>
                <a:off x="-9456738" y="-979488"/>
                <a:ext cx="2195513" cy="2105025"/>
              </a:xfrm>
              <a:custGeom>
                <a:avLst/>
                <a:gdLst>
                  <a:gd name="T0" fmla="*/ 817 w 1383"/>
                  <a:gd name="T1" fmla="*/ 1326 h 1326"/>
                  <a:gd name="T2" fmla="*/ 0 w 1383"/>
                  <a:gd name="T3" fmla="*/ 0 h 1326"/>
                  <a:gd name="T4" fmla="*/ 1383 w 1383"/>
                  <a:gd name="T5" fmla="*/ 347 h 1326"/>
                  <a:gd name="T6" fmla="*/ 817 w 1383"/>
                  <a:gd name="T7" fmla="*/ 1326 h 1326"/>
                </a:gdLst>
                <a:ahLst/>
                <a:cxnLst>
                  <a:cxn ang="0">
                    <a:pos x="T0" y="T1"/>
                  </a:cxn>
                  <a:cxn ang="0">
                    <a:pos x="T2" y="T3"/>
                  </a:cxn>
                  <a:cxn ang="0">
                    <a:pos x="T4" y="T5"/>
                  </a:cxn>
                  <a:cxn ang="0">
                    <a:pos x="T6" y="T7"/>
                  </a:cxn>
                </a:cxnLst>
                <a:rect l="0" t="0" r="r" b="b"/>
                <a:pathLst>
                  <a:path w="1383" h="1326">
                    <a:moveTo>
                      <a:pt x="817" y="1326"/>
                    </a:moveTo>
                    <a:lnTo>
                      <a:pt x="0" y="0"/>
                    </a:lnTo>
                    <a:lnTo>
                      <a:pt x="1383" y="347"/>
                    </a:lnTo>
                    <a:lnTo>
                      <a:pt x="817" y="132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77" name="Freeform 397"/>
              <p:cNvSpPr>
                <a:spLocks/>
              </p:cNvSpPr>
              <p:nvPr/>
            </p:nvSpPr>
            <p:spPr bwMode="gray">
              <a:xfrm>
                <a:off x="-8159750" y="-428626"/>
                <a:ext cx="898525" cy="1554163"/>
              </a:xfrm>
              <a:custGeom>
                <a:avLst/>
                <a:gdLst>
                  <a:gd name="T0" fmla="*/ 0 w 566"/>
                  <a:gd name="T1" fmla="*/ 979 h 979"/>
                  <a:gd name="T2" fmla="*/ 0 w 566"/>
                  <a:gd name="T3" fmla="*/ 979 h 979"/>
                  <a:gd name="T4" fmla="*/ 0 w 566"/>
                  <a:gd name="T5" fmla="*/ 979 h 979"/>
                  <a:gd name="T6" fmla="*/ 566 w 566"/>
                  <a:gd name="T7" fmla="*/ 0 h 979"/>
                  <a:gd name="T8" fmla="*/ 566 w 566"/>
                  <a:gd name="T9" fmla="*/ 0 h 979"/>
                  <a:gd name="T10" fmla="*/ 0 w 566"/>
                  <a:gd name="T11" fmla="*/ 979 h 979"/>
                </a:gdLst>
                <a:ahLst/>
                <a:cxnLst>
                  <a:cxn ang="0">
                    <a:pos x="T0" y="T1"/>
                  </a:cxn>
                  <a:cxn ang="0">
                    <a:pos x="T2" y="T3"/>
                  </a:cxn>
                  <a:cxn ang="0">
                    <a:pos x="T4" y="T5"/>
                  </a:cxn>
                  <a:cxn ang="0">
                    <a:pos x="T6" y="T7"/>
                  </a:cxn>
                  <a:cxn ang="0">
                    <a:pos x="T8" y="T9"/>
                  </a:cxn>
                  <a:cxn ang="0">
                    <a:pos x="T10" y="T11"/>
                  </a:cxn>
                </a:cxnLst>
                <a:rect l="0" t="0" r="r" b="b"/>
                <a:pathLst>
                  <a:path w="566" h="979">
                    <a:moveTo>
                      <a:pt x="0" y="979"/>
                    </a:moveTo>
                    <a:lnTo>
                      <a:pt x="0" y="979"/>
                    </a:ln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78" name="Freeform 398"/>
              <p:cNvSpPr>
                <a:spLocks noEditPoints="1"/>
              </p:cNvSpPr>
              <p:nvPr/>
            </p:nvSpPr>
            <p:spPr bwMode="gray">
              <a:xfrm>
                <a:off x="-5526088" y="-1984376"/>
                <a:ext cx="2544763" cy="2641600"/>
              </a:xfrm>
              <a:custGeom>
                <a:avLst/>
                <a:gdLst>
                  <a:gd name="T0" fmla="*/ 0 w 3339"/>
                  <a:gd name="T1" fmla="*/ 3468 h 3468"/>
                  <a:gd name="T2" fmla="*/ 0 w 3339"/>
                  <a:gd name="T3" fmla="*/ 3468 h 3468"/>
                  <a:gd name="T4" fmla="*/ 0 w 3339"/>
                  <a:gd name="T5" fmla="*/ 3468 h 3468"/>
                  <a:gd name="T6" fmla="*/ 0 w 3339"/>
                  <a:gd name="T7" fmla="*/ 3468 h 3468"/>
                  <a:gd name="T8" fmla="*/ 0 w 3339"/>
                  <a:gd name="T9" fmla="*/ 3468 h 3468"/>
                  <a:gd name="T10" fmla="*/ 0 w 3339"/>
                  <a:gd name="T11" fmla="*/ 3468 h 3468"/>
                  <a:gd name="T12" fmla="*/ 0 w 3339"/>
                  <a:gd name="T13" fmla="*/ 3468 h 3468"/>
                  <a:gd name="T14" fmla="*/ 0 w 3339"/>
                  <a:gd name="T15" fmla="*/ 3468 h 3468"/>
                  <a:gd name="T16" fmla="*/ 1258 w 3339"/>
                  <a:gd name="T17" fmla="*/ 0 h 3468"/>
                  <a:gd name="T18" fmla="*/ 3339 w 3339"/>
                  <a:gd name="T19" fmla="*/ 2815 h 3468"/>
                  <a:gd name="T20" fmla="*/ 0 w 3339"/>
                  <a:gd name="T21" fmla="*/ 3468 h 3468"/>
                  <a:gd name="T22" fmla="*/ 3339 w 3339"/>
                  <a:gd name="T23" fmla="*/ 2815 h 3468"/>
                  <a:gd name="T24" fmla="*/ 3339 w 3339"/>
                  <a:gd name="T25" fmla="*/ 2815 h 3468"/>
                  <a:gd name="T26" fmla="*/ 3339 w 3339"/>
                  <a:gd name="T27" fmla="*/ 2815 h 3468"/>
                  <a:gd name="T28" fmla="*/ 1258 w 3339"/>
                  <a:gd name="T29" fmla="*/ 0 h 3468"/>
                  <a:gd name="T30" fmla="*/ 1258 w 3339"/>
                  <a:gd name="T31" fmla="*/ 0 h 3468"/>
                  <a:gd name="T32" fmla="*/ 1258 w 3339"/>
                  <a:gd name="T33" fmla="*/ 1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39" h="3468">
                    <a:moveTo>
                      <a:pt x="0" y="3468"/>
                    </a:moveTo>
                    <a:lnTo>
                      <a:pt x="0" y="3468"/>
                    </a:lnTo>
                    <a:lnTo>
                      <a:pt x="0" y="3468"/>
                    </a:lnTo>
                    <a:lnTo>
                      <a:pt x="0" y="3468"/>
                    </a:lnTo>
                    <a:lnTo>
                      <a:pt x="0" y="3468"/>
                    </a:lnTo>
                    <a:lnTo>
                      <a:pt x="0" y="3468"/>
                    </a:lnTo>
                    <a:lnTo>
                      <a:pt x="0" y="3468"/>
                    </a:lnTo>
                    <a:moveTo>
                      <a:pt x="0" y="3468"/>
                    </a:moveTo>
                    <a:lnTo>
                      <a:pt x="1258" y="0"/>
                    </a:lnTo>
                    <a:lnTo>
                      <a:pt x="3339" y="2815"/>
                    </a:lnTo>
                    <a:lnTo>
                      <a:pt x="0" y="3468"/>
                    </a:lnTo>
                    <a:moveTo>
                      <a:pt x="3339" y="2815"/>
                    </a:moveTo>
                    <a:lnTo>
                      <a:pt x="3339" y="2815"/>
                    </a:lnTo>
                    <a:lnTo>
                      <a:pt x="3339" y="2815"/>
                    </a:lnTo>
                    <a:moveTo>
                      <a:pt x="1258" y="0"/>
                    </a:moveTo>
                    <a:lnTo>
                      <a:pt x="1258" y="0"/>
                    </a:lnTo>
                    <a:lnTo>
                      <a:pt x="1258" y="1"/>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79" name="Freeform 399"/>
              <p:cNvSpPr>
                <a:spLocks/>
              </p:cNvSpPr>
              <p:nvPr/>
            </p:nvSpPr>
            <p:spPr bwMode="gray">
              <a:xfrm>
                <a:off x="-5465763" y="-3540126"/>
                <a:ext cx="1797050" cy="1555750"/>
              </a:xfrm>
              <a:custGeom>
                <a:avLst/>
                <a:gdLst>
                  <a:gd name="T0" fmla="*/ 566 w 1132"/>
                  <a:gd name="T1" fmla="*/ 980 h 980"/>
                  <a:gd name="T2" fmla="*/ 566 w 1132"/>
                  <a:gd name="T3" fmla="*/ 980 h 980"/>
                  <a:gd name="T4" fmla="*/ 0 w 1132"/>
                  <a:gd name="T5" fmla="*/ 0 h 980"/>
                  <a:gd name="T6" fmla="*/ 0 w 1132"/>
                  <a:gd name="T7" fmla="*/ 0 h 980"/>
                  <a:gd name="T8" fmla="*/ 1132 w 1132"/>
                  <a:gd name="T9" fmla="*/ 0 h 980"/>
                  <a:gd name="T10" fmla="*/ 566 w 1132"/>
                  <a:gd name="T11" fmla="*/ 980 h 980"/>
                </a:gdLst>
                <a:ahLst/>
                <a:cxnLst>
                  <a:cxn ang="0">
                    <a:pos x="T0" y="T1"/>
                  </a:cxn>
                  <a:cxn ang="0">
                    <a:pos x="T2" y="T3"/>
                  </a:cxn>
                  <a:cxn ang="0">
                    <a:pos x="T4" y="T5"/>
                  </a:cxn>
                  <a:cxn ang="0">
                    <a:pos x="T6" y="T7"/>
                  </a:cxn>
                  <a:cxn ang="0">
                    <a:pos x="T8" y="T9"/>
                  </a:cxn>
                  <a:cxn ang="0">
                    <a:pos x="T10" y="T11"/>
                  </a:cxn>
                </a:cxnLst>
                <a:rect l="0" t="0" r="r" b="b"/>
                <a:pathLst>
                  <a:path w="1132" h="980">
                    <a:moveTo>
                      <a:pt x="566" y="980"/>
                    </a:moveTo>
                    <a:lnTo>
                      <a:pt x="566" y="980"/>
                    </a:lnTo>
                    <a:lnTo>
                      <a:pt x="0" y="0"/>
                    </a:lnTo>
                    <a:lnTo>
                      <a:pt x="0" y="0"/>
                    </a:lnTo>
                    <a:lnTo>
                      <a:pt x="1132" y="0"/>
                    </a:lnTo>
                    <a:lnTo>
                      <a:pt x="566"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80" name="Freeform 400"/>
              <p:cNvSpPr>
                <a:spLocks/>
              </p:cNvSpPr>
              <p:nvPr/>
            </p:nvSpPr>
            <p:spPr bwMode="gray">
              <a:xfrm>
                <a:off x="-5465763" y="-354012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99D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81" name="Rectangle 401"/>
              <p:cNvSpPr>
                <a:spLocks noChangeArrowheads="1"/>
              </p:cNvSpPr>
              <p:nvPr/>
            </p:nvSpPr>
            <p:spPr bwMode="gray">
              <a:xfrm>
                <a:off x="-5465763" y="-3540126"/>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82" name="Freeform 402"/>
              <p:cNvSpPr>
                <a:spLocks noEditPoints="1"/>
              </p:cNvSpPr>
              <p:nvPr/>
            </p:nvSpPr>
            <p:spPr bwMode="gray">
              <a:xfrm>
                <a:off x="-4567238" y="-1984376"/>
                <a:ext cx="1585913" cy="2144713"/>
              </a:xfrm>
              <a:custGeom>
                <a:avLst/>
                <a:gdLst>
                  <a:gd name="T0" fmla="*/ 2081 w 2081"/>
                  <a:gd name="T1" fmla="*/ 2815 h 2815"/>
                  <a:gd name="T2" fmla="*/ 2081 w 2081"/>
                  <a:gd name="T3" fmla="*/ 2815 h 2815"/>
                  <a:gd name="T4" fmla="*/ 2081 w 2081"/>
                  <a:gd name="T5" fmla="*/ 2815 h 2815"/>
                  <a:gd name="T6" fmla="*/ 2081 w 2081"/>
                  <a:gd name="T7" fmla="*/ 2815 h 2815"/>
                  <a:gd name="T8" fmla="*/ 0 w 2081"/>
                  <a:gd name="T9" fmla="*/ 0 h 2815"/>
                  <a:gd name="T10" fmla="*/ 0 w 2081"/>
                  <a:gd name="T11" fmla="*/ 0 h 2815"/>
                  <a:gd name="T12" fmla="*/ 1627 w 2081"/>
                  <a:gd name="T13" fmla="*/ 645 h 2815"/>
                  <a:gd name="T14" fmla="*/ 2081 w 2081"/>
                  <a:gd name="T15" fmla="*/ 2815 h 28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1" h="2815">
                    <a:moveTo>
                      <a:pt x="2081" y="2815"/>
                    </a:moveTo>
                    <a:lnTo>
                      <a:pt x="2081" y="2815"/>
                    </a:lnTo>
                    <a:lnTo>
                      <a:pt x="2081" y="2815"/>
                    </a:lnTo>
                    <a:moveTo>
                      <a:pt x="2081" y="2815"/>
                    </a:moveTo>
                    <a:lnTo>
                      <a:pt x="0" y="0"/>
                    </a:lnTo>
                    <a:lnTo>
                      <a:pt x="0" y="0"/>
                    </a:lnTo>
                    <a:lnTo>
                      <a:pt x="1627" y="645"/>
                    </a:lnTo>
                    <a:lnTo>
                      <a:pt x="2081" y="2815"/>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83" name="Freeform 403"/>
              <p:cNvSpPr>
                <a:spLocks/>
              </p:cNvSpPr>
              <p:nvPr/>
            </p:nvSpPr>
            <p:spPr bwMode="gray">
              <a:xfrm>
                <a:off x="-4567238" y="-1984376"/>
                <a:ext cx="1585913" cy="2144713"/>
              </a:xfrm>
              <a:custGeom>
                <a:avLst/>
                <a:gdLst>
                  <a:gd name="T0" fmla="*/ 999 w 999"/>
                  <a:gd name="T1" fmla="*/ 1351 h 1351"/>
                  <a:gd name="T2" fmla="*/ 0 w 999"/>
                  <a:gd name="T3" fmla="*/ 0 h 1351"/>
                  <a:gd name="T4" fmla="*/ 0 w 999"/>
                  <a:gd name="T5" fmla="*/ 0 h 1351"/>
                  <a:gd name="T6" fmla="*/ 999 w 999"/>
                  <a:gd name="T7" fmla="*/ 1351 h 1351"/>
                  <a:gd name="T8" fmla="*/ 999 w 999"/>
                  <a:gd name="T9" fmla="*/ 1351 h 1351"/>
                  <a:gd name="T10" fmla="*/ 999 w 999"/>
                  <a:gd name="T11" fmla="*/ 1351 h 1351"/>
                </a:gdLst>
                <a:ahLst/>
                <a:cxnLst>
                  <a:cxn ang="0">
                    <a:pos x="T0" y="T1"/>
                  </a:cxn>
                  <a:cxn ang="0">
                    <a:pos x="T2" y="T3"/>
                  </a:cxn>
                  <a:cxn ang="0">
                    <a:pos x="T4" y="T5"/>
                  </a:cxn>
                  <a:cxn ang="0">
                    <a:pos x="T6" y="T7"/>
                  </a:cxn>
                  <a:cxn ang="0">
                    <a:pos x="T8" y="T9"/>
                  </a:cxn>
                  <a:cxn ang="0">
                    <a:pos x="T10" y="T11"/>
                  </a:cxn>
                </a:cxnLst>
                <a:rect l="0" t="0" r="r" b="b"/>
                <a:pathLst>
                  <a:path w="999" h="1351">
                    <a:moveTo>
                      <a:pt x="999" y="1351"/>
                    </a:moveTo>
                    <a:lnTo>
                      <a:pt x="0" y="0"/>
                    </a:lnTo>
                    <a:lnTo>
                      <a:pt x="0" y="0"/>
                    </a:lnTo>
                    <a:lnTo>
                      <a:pt x="999" y="1351"/>
                    </a:lnTo>
                    <a:lnTo>
                      <a:pt x="999" y="1351"/>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84" name="Rectangle 404"/>
              <p:cNvSpPr>
                <a:spLocks noChangeArrowheads="1"/>
              </p:cNvSpPr>
              <p:nvPr/>
            </p:nvSpPr>
            <p:spPr bwMode="gray">
              <a:xfrm>
                <a:off x="-4567238" y="-1984376"/>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85" name="Freeform 405"/>
              <p:cNvSpPr>
                <a:spLocks/>
              </p:cNvSpPr>
              <p:nvPr/>
            </p:nvSpPr>
            <p:spPr bwMode="gray">
              <a:xfrm>
                <a:off x="-5526088" y="-3540126"/>
                <a:ext cx="958850" cy="2135188"/>
              </a:xfrm>
              <a:custGeom>
                <a:avLst/>
                <a:gdLst>
                  <a:gd name="T0" fmla="*/ 0 w 604"/>
                  <a:gd name="T1" fmla="*/ 1345 h 1345"/>
                  <a:gd name="T2" fmla="*/ 1 w 604"/>
                  <a:gd name="T3" fmla="*/ 1294 h 1345"/>
                  <a:gd name="T4" fmla="*/ 38 w 604"/>
                  <a:gd name="T5" fmla="*/ 0 h 1345"/>
                  <a:gd name="T6" fmla="*/ 38 w 604"/>
                  <a:gd name="T7" fmla="*/ 0 h 1345"/>
                  <a:gd name="T8" fmla="*/ 38 w 604"/>
                  <a:gd name="T9" fmla="*/ 0 h 1345"/>
                  <a:gd name="T10" fmla="*/ 604 w 604"/>
                  <a:gd name="T11" fmla="*/ 980 h 1345"/>
                  <a:gd name="T12" fmla="*/ 0 w 604"/>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604" h="1345">
                    <a:moveTo>
                      <a:pt x="0" y="1345"/>
                    </a:moveTo>
                    <a:lnTo>
                      <a:pt x="1" y="1294"/>
                    </a:lnTo>
                    <a:lnTo>
                      <a:pt x="38" y="0"/>
                    </a:lnTo>
                    <a:lnTo>
                      <a:pt x="38" y="0"/>
                    </a:lnTo>
                    <a:lnTo>
                      <a:pt x="38" y="0"/>
                    </a:lnTo>
                    <a:lnTo>
                      <a:pt x="604" y="980"/>
                    </a:lnTo>
                    <a:lnTo>
                      <a:pt x="0" y="134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86" name="Freeform 406"/>
              <p:cNvSpPr>
                <a:spLocks/>
              </p:cNvSpPr>
              <p:nvPr/>
            </p:nvSpPr>
            <p:spPr bwMode="gray">
              <a:xfrm>
                <a:off x="-4567238" y="-3540126"/>
                <a:ext cx="1239838" cy="2046288"/>
              </a:xfrm>
              <a:custGeom>
                <a:avLst/>
                <a:gdLst>
                  <a:gd name="T0" fmla="*/ 781 w 781"/>
                  <a:gd name="T1" fmla="*/ 1289 h 1289"/>
                  <a:gd name="T2" fmla="*/ 0 w 781"/>
                  <a:gd name="T3" fmla="*/ 980 h 1289"/>
                  <a:gd name="T4" fmla="*/ 566 w 781"/>
                  <a:gd name="T5" fmla="*/ 0 h 1289"/>
                  <a:gd name="T6" fmla="*/ 716 w 781"/>
                  <a:gd name="T7" fmla="*/ 902 h 1289"/>
                  <a:gd name="T8" fmla="*/ 781 w 781"/>
                  <a:gd name="T9" fmla="*/ 1289 h 1289"/>
                </a:gdLst>
                <a:ahLst/>
                <a:cxnLst>
                  <a:cxn ang="0">
                    <a:pos x="T0" y="T1"/>
                  </a:cxn>
                  <a:cxn ang="0">
                    <a:pos x="T2" y="T3"/>
                  </a:cxn>
                  <a:cxn ang="0">
                    <a:pos x="T4" y="T5"/>
                  </a:cxn>
                  <a:cxn ang="0">
                    <a:pos x="T6" y="T7"/>
                  </a:cxn>
                  <a:cxn ang="0">
                    <a:pos x="T8" y="T9"/>
                  </a:cxn>
                </a:cxnLst>
                <a:rect l="0" t="0" r="r" b="b"/>
                <a:pathLst>
                  <a:path w="781" h="1289">
                    <a:moveTo>
                      <a:pt x="781" y="1289"/>
                    </a:moveTo>
                    <a:lnTo>
                      <a:pt x="0" y="980"/>
                    </a:lnTo>
                    <a:lnTo>
                      <a:pt x="566" y="0"/>
                    </a:lnTo>
                    <a:lnTo>
                      <a:pt x="716" y="902"/>
                    </a:lnTo>
                    <a:lnTo>
                      <a:pt x="781" y="128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87" name="Freeform 407"/>
              <p:cNvSpPr>
                <a:spLocks noEditPoints="1"/>
              </p:cNvSpPr>
              <p:nvPr/>
            </p:nvSpPr>
            <p:spPr bwMode="gray">
              <a:xfrm>
                <a:off x="-5526088" y="-1984376"/>
                <a:ext cx="958850" cy="2641600"/>
              </a:xfrm>
              <a:custGeom>
                <a:avLst/>
                <a:gdLst>
                  <a:gd name="T0" fmla="*/ 0 w 1258"/>
                  <a:gd name="T1" fmla="*/ 3467 h 3467"/>
                  <a:gd name="T2" fmla="*/ 0 w 1258"/>
                  <a:gd name="T3" fmla="*/ 3467 h 3467"/>
                  <a:gd name="T4" fmla="*/ 0 w 1258"/>
                  <a:gd name="T5" fmla="*/ 3467 h 3467"/>
                  <a:gd name="T6" fmla="*/ 0 w 1258"/>
                  <a:gd name="T7" fmla="*/ 3467 h 3467"/>
                  <a:gd name="T8" fmla="*/ 0 w 1258"/>
                  <a:gd name="T9" fmla="*/ 3467 h 3467"/>
                  <a:gd name="T10" fmla="*/ 0 w 1258"/>
                  <a:gd name="T11" fmla="*/ 760 h 3467"/>
                  <a:gd name="T12" fmla="*/ 1258 w 1258"/>
                  <a:gd name="T13" fmla="*/ 0 h 3467"/>
                  <a:gd name="T14" fmla="*/ 0 w 1258"/>
                  <a:gd name="T15" fmla="*/ 3467 h 3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8" h="3467">
                    <a:moveTo>
                      <a:pt x="0" y="3467"/>
                    </a:moveTo>
                    <a:lnTo>
                      <a:pt x="0" y="3467"/>
                    </a:lnTo>
                    <a:lnTo>
                      <a:pt x="0" y="3467"/>
                    </a:lnTo>
                    <a:lnTo>
                      <a:pt x="0" y="3467"/>
                    </a:lnTo>
                    <a:moveTo>
                      <a:pt x="0" y="3467"/>
                    </a:moveTo>
                    <a:lnTo>
                      <a:pt x="0" y="760"/>
                    </a:lnTo>
                    <a:lnTo>
                      <a:pt x="1258" y="0"/>
                    </a:lnTo>
                    <a:lnTo>
                      <a:pt x="0" y="3467"/>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88" name="Freeform 408"/>
              <p:cNvSpPr>
                <a:spLocks/>
              </p:cNvSpPr>
              <p:nvPr/>
            </p:nvSpPr>
            <p:spPr bwMode="gray">
              <a:xfrm>
                <a:off x="-5526088" y="-1984376"/>
                <a:ext cx="958850" cy="2641600"/>
              </a:xfrm>
              <a:custGeom>
                <a:avLst/>
                <a:gdLst>
                  <a:gd name="T0" fmla="*/ 0 w 604"/>
                  <a:gd name="T1" fmla="*/ 1664 h 1664"/>
                  <a:gd name="T2" fmla="*/ 0 w 604"/>
                  <a:gd name="T3" fmla="*/ 1664 h 1664"/>
                  <a:gd name="T4" fmla="*/ 604 w 604"/>
                  <a:gd name="T5" fmla="*/ 0 h 1664"/>
                  <a:gd name="T6" fmla="*/ 604 w 604"/>
                  <a:gd name="T7" fmla="*/ 0 h 1664"/>
                  <a:gd name="T8" fmla="*/ 604 w 604"/>
                  <a:gd name="T9" fmla="*/ 0 h 1664"/>
                  <a:gd name="T10" fmla="*/ 0 w 604"/>
                  <a:gd name="T11" fmla="*/ 1664 h 1664"/>
                  <a:gd name="T12" fmla="*/ 0 w 604"/>
                  <a:gd name="T13" fmla="*/ 1664 h 1664"/>
                </a:gdLst>
                <a:ahLst/>
                <a:cxnLst>
                  <a:cxn ang="0">
                    <a:pos x="T0" y="T1"/>
                  </a:cxn>
                  <a:cxn ang="0">
                    <a:pos x="T2" y="T3"/>
                  </a:cxn>
                  <a:cxn ang="0">
                    <a:pos x="T4" y="T5"/>
                  </a:cxn>
                  <a:cxn ang="0">
                    <a:pos x="T6" y="T7"/>
                  </a:cxn>
                  <a:cxn ang="0">
                    <a:pos x="T8" y="T9"/>
                  </a:cxn>
                  <a:cxn ang="0">
                    <a:pos x="T10" y="T11"/>
                  </a:cxn>
                  <a:cxn ang="0">
                    <a:pos x="T12" y="T13"/>
                  </a:cxn>
                </a:cxnLst>
                <a:rect l="0" t="0" r="r" b="b"/>
                <a:pathLst>
                  <a:path w="604" h="1664">
                    <a:moveTo>
                      <a:pt x="0" y="1664"/>
                    </a:moveTo>
                    <a:lnTo>
                      <a:pt x="0" y="1664"/>
                    </a:lnTo>
                    <a:lnTo>
                      <a:pt x="604" y="0"/>
                    </a:lnTo>
                    <a:lnTo>
                      <a:pt x="604" y="0"/>
                    </a:lnTo>
                    <a:lnTo>
                      <a:pt x="604" y="0"/>
                    </a:lnTo>
                    <a:lnTo>
                      <a:pt x="0" y="1664"/>
                    </a:lnTo>
                    <a:lnTo>
                      <a:pt x="0" y="166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89" name="Freeform 409"/>
              <p:cNvSpPr>
                <a:spLocks/>
              </p:cNvSpPr>
              <p:nvPr/>
            </p:nvSpPr>
            <p:spPr bwMode="gray">
              <a:xfrm>
                <a:off x="-4567238" y="-19843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90" name="Freeform 410"/>
              <p:cNvSpPr>
                <a:spLocks noEditPoints="1"/>
              </p:cNvSpPr>
              <p:nvPr/>
            </p:nvSpPr>
            <p:spPr bwMode="gray">
              <a:xfrm>
                <a:off x="-8159750" y="2682875"/>
                <a:ext cx="1141413" cy="1914525"/>
              </a:xfrm>
              <a:custGeom>
                <a:avLst/>
                <a:gdLst>
                  <a:gd name="T0" fmla="*/ 1498 w 1498"/>
                  <a:gd name="T1" fmla="*/ 2514 h 2514"/>
                  <a:gd name="T2" fmla="*/ 1 w 1498"/>
                  <a:gd name="T3" fmla="*/ 2041 h 2514"/>
                  <a:gd name="T4" fmla="*/ 0 w 1498"/>
                  <a:gd name="T5" fmla="*/ 2041 h 2514"/>
                  <a:gd name="T6" fmla="*/ 1 w 1498"/>
                  <a:gd name="T7" fmla="*/ 2041 h 2514"/>
                  <a:gd name="T8" fmla="*/ 1179 w 1498"/>
                  <a:gd name="T9" fmla="*/ 0 h 2514"/>
                  <a:gd name="T10" fmla="*/ 1179 w 1498"/>
                  <a:gd name="T11" fmla="*/ 0 h 2514"/>
                  <a:gd name="T12" fmla="*/ 1179 w 1498"/>
                  <a:gd name="T13" fmla="*/ 0 h 2514"/>
                  <a:gd name="T14" fmla="*/ 1179 w 1498"/>
                  <a:gd name="T15" fmla="*/ 0 h 2514"/>
                  <a:gd name="T16" fmla="*/ 1179 w 1498"/>
                  <a:gd name="T17" fmla="*/ 0 h 2514"/>
                  <a:gd name="T18" fmla="*/ 1234 w 1498"/>
                  <a:gd name="T19" fmla="*/ 432 h 2514"/>
                  <a:gd name="T20" fmla="*/ 1498 w 1498"/>
                  <a:gd name="T21" fmla="*/ 2514 h 2514"/>
                  <a:gd name="T22" fmla="*/ 1179 w 1498"/>
                  <a:gd name="T23" fmla="*/ 0 h 2514"/>
                  <a:gd name="T24" fmla="*/ 1179 w 1498"/>
                  <a:gd name="T25" fmla="*/ 0 h 2514"/>
                  <a:gd name="T26" fmla="*/ 1179 w 1498"/>
                  <a:gd name="T27"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8" h="2514">
                    <a:moveTo>
                      <a:pt x="1498" y="2514"/>
                    </a:moveTo>
                    <a:lnTo>
                      <a:pt x="1" y="2041"/>
                    </a:lnTo>
                    <a:lnTo>
                      <a:pt x="0" y="2041"/>
                    </a:lnTo>
                    <a:lnTo>
                      <a:pt x="1" y="2041"/>
                    </a:lnTo>
                    <a:lnTo>
                      <a:pt x="1179" y="0"/>
                    </a:lnTo>
                    <a:lnTo>
                      <a:pt x="1179" y="0"/>
                    </a:lnTo>
                    <a:lnTo>
                      <a:pt x="1179" y="0"/>
                    </a:lnTo>
                    <a:lnTo>
                      <a:pt x="1179" y="0"/>
                    </a:lnTo>
                    <a:lnTo>
                      <a:pt x="1179" y="0"/>
                    </a:lnTo>
                    <a:lnTo>
                      <a:pt x="1234" y="432"/>
                    </a:lnTo>
                    <a:lnTo>
                      <a:pt x="1498" y="2514"/>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91" name="Freeform 411"/>
              <p:cNvSpPr>
                <a:spLocks/>
              </p:cNvSpPr>
              <p:nvPr/>
            </p:nvSpPr>
            <p:spPr bwMode="gray">
              <a:xfrm>
                <a:off x="-8159750" y="1125537"/>
                <a:ext cx="1795463" cy="1557338"/>
              </a:xfrm>
              <a:custGeom>
                <a:avLst/>
                <a:gdLst>
                  <a:gd name="T0" fmla="*/ 566 w 1131"/>
                  <a:gd name="T1" fmla="*/ 981 h 981"/>
                  <a:gd name="T2" fmla="*/ 4 w 1131"/>
                  <a:gd name="T3" fmla="*/ 7 h 981"/>
                  <a:gd name="T4" fmla="*/ 0 w 1131"/>
                  <a:gd name="T5" fmla="*/ 0 h 981"/>
                  <a:gd name="T6" fmla="*/ 0 w 1131"/>
                  <a:gd name="T7" fmla="*/ 0 h 981"/>
                  <a:gd name="T8" fmla="*/ 0 w 1131"/>
                  <a:gd name="T9" fmla="*/ 0 h 981"/>
                  <a:gd name="T10" fmla="*/ 0 w 1131"/>
                  <a:gd name="T11" fmla="*/ 0 h 981"/>
                  <a:gd name="T12" fmla="*/ 1131 w 1131"/>
                  <a:gd name="T13" fmla="*/ 0 h 981"/>
                  <a:gd name="T14" fmla="*/ 566 w 1131"/>
                  <a:gd name="T15" fmla="*/ 981 h 9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981">
                    <a:moveTo>
                      <a:pt x="566" y="981"/>
                    </a:moveTo>
                    <a:lnTo>
                      <a:pt x="4" y="7"/>
                    </a:lnTo>
                    <a:lnTo>
                      <a:pt x="0" y="0"/>
                    </a:lnTo>
                    <a:lnTo>
                      <a:pt x="0" y="0"/>
                    </a:lnTo>
                    <a:lnTo>
                      <a:pt x="0" y="0"/>
                    </a:lnTo>
                    <a:lnTo>
                      <a:pt x="0" y="0"/>
                    </a:lnTo>
                    <a:lnTo>
                      <a:pt x="1131" y="0"/>
                    </a:lnTo>
                    <a:lnTo>
                      <a:pt x="566" y="98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92" name="Freeform 412"/>
              <p:cNvSpPr>
                <a:spLocks noEditPoints="1"/>
              </p:cNvSpPr>
              <p:nvPr/>
            </p:nvSpPr>
            <p:spPr bwMode="gray">
              <a:xfrm>
                <a:off x="-7261225" y="2655887"/>
                <a:ext cx="1047750" cy="1941513"/>
              </a:xfrm>
              <a:custGeom>
                <a:avLst/>
                <a:gdLst>
                  <a:gd name="T0" fmla="*/ 319 w 1375"/>
                  <a:gd name="T1" fmla="*/ 2549 h 2549"/>
                  <a:gd name="T2" fmla="*/ 55 w 1375"/>
                  <a:gd name="T3" fmla="*/ 467 h 2549"/>
                  <a:gd name="T4" fmla="*/ 0 w 1375"/>
                  <a:gd name="T5" fmla="*/ 35 h 2549"/>
                  <a:gd name="T6" fmla="*/ 1375 w 1375"/>
                  <a:gd name="T7" fmla="*/ 0 h 2549"/>
                  <a:gd name="T8" fmla="*/ 1375 w 1375"/>
                  <a:gd name="T9" fmla="*/ 0 h 2549"/>
                  <a:gd name="T10" fmla="*/ 319 w 1375"/>
                  <a:gd name="T11" fmla="*/ 2549 h 2549"/>
                  <a:gd name="T12" fmla="*/ 1375 w 1375"/>
                  <a:gd name="T13" fmla="*/ 0 h 2549"/>
                  <a:gd name="T14" fmla="*/ 1375 w 1375"/>
                  <a:gd name="T15" fmla="*/ 0 h 2549"/>
                  <a:gd name="T16" fmla="*/ 1375 w 1375"/>
                  <a:gd name="T17" fmla="*/ 0 h 2549"/>
                  <a:gd name="T18" fmla="*/ 1375 w 1375"/>
                  <a:gd name="T19" fmla="*/ 0 h 2549"/>
                  <a:gd name="T20" fmla="*/ 1375 w 1375"/>
                  <a:gd name="T21" fmla="*/ 0 h 2549"/>
                  <a:gd name="T22" fmla="*/ 1375 w 1375"/>
                  <a:gd name="T23" fmla="*/ 0 h 2549"/>
                  <a:gd name="T24" fmla="*/ 1375 w 1375"/>
                  <a:gd name="T25" fmla="*/ 0 h 2549"/>
                  <a:gd name="T26" fmla="*/ 1375 w 1375"/>
                  <a:gd name="T27" fmla="*/ 0 h 2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5" h="2549">
                    <a:moveTo>
                      <a:pt x="319" y="2549"/>
                    </a:moveTo>
                    <a:lnTo>
                      <a:pt x="55" y="467"/>
                    </a:lnTo>
                    <a:lnTo>
                      <a:pt x="0" y="35"/>
                    </a:lnTo>
                    <a:lnTo>
                      <a:pt x="1375" y="0"/>
                    </a:lnTo>
                    <a:lnTo>
                      <a:pt x="1375" y="0"/>
                    </a:lnTo>
                    <a:lnTo>
                      <a:pt x="319" y="2549"/>
                    </a:lnTo>
                    <a:moveTo>
                      <a:pt x="1375" y="0"/>
                    </a:moveTo>
                    <a:lnTo>
                      <a:pt x="1375" y="0"/>
                    </a:lnTo>
                    <a:lnTo>
                      <a:pt x="1375" y="0"/>
                    </a:lnTo>
                    <a:lnTo>
                      <a:pt x="1375" y="0"/>
                    </a:lnTo>
                    <a:moveTo>
                      <a:pt x="1375" y="0"/>
                    </a:moveTo>
                    <a:lnTo>
                      <a:pt x="1375" y="0"/>
                    </a:lnTo>
                    <a:lnTo>
                      <a:pt x="1375" y="0"/>
                    </a:lnTo>
                    <a:lnTo>
                      <a:pt x="1375"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93" name="Freeform 413"/>
              <p:cNvSpPr>
                <a:spLocks noEditPoints="1"/>
              </p:cNvSpPr>
              <p:nvPr/>
            </p:nvSpPr>
            <p:spPr bwMode="gray">
              <a:xfrm>
                <a:off x="-9488488" y="1125537"/>
                <a:ext cx="2227263" cy="2085975"/>
              </a:xfrm>
              <a:custGeom>
                <a:avLst/>
                <a:gdLst>
                  <a:gd name="T0" fmla="*/ 0 w 2922"/>
                  <a:gd name="T1" fmla="*/ 2737 h 2737"/>
                  <a:gd name="T2" fmla="*/ 0 w 2922"/>
                  <a:gd name="T3" fmla="*/ 2737 h 2737"/>
                  <a:gd name="T4" fmla="*/ 0 w 2922"/>
                  <a:gd name="T5" fmla="*/ 2737 h 2737"/>
                  <a:gd name="T6" fmla="*/ 0 w 2922"/>
                  <a:gd name="T7" fmla="*/ 2737 h 2737"/>
                  <a:gd name="T8" fmla="*/ 1744 w 2922"/>
                  <a:gd name="T9" fmla="*/ 0 h 2737"/>
                  <a:gd name="T10" fmla="*/ 1752 w 2922"/>
                  <a:gd name="T11" fmla="*/ 14 h 2737"/>
                  <a:gd name="T12" fmla="*/ 2922 w 2922"/>
                  <a:gd name="T13" fmla="*/ 2042 h 2737"/>
                  <a:gd name="T14" fmla="*/ 2922 w 2922"/>
                  <a:gd name="T15" fmla="*/ 2042 h 2737"/>
                  <a:gd name="T16" fmla="*/ 0 w 2922"/>
                  <a:gd name="T17" fmla="*/ 2737 h 2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22" h="2737">
                    <a:moveTo>
                      <a:pt x="0" y="2737"/>
                    </a:moveTo>
                    <a:lnTo>
                      <a:pt x="0" y="2737"/>
                    </a:lnTo>
                    <a:lnTo>
                      <a:pt x="0" y="2737"/>
                    </a:lnTo>
                    <a:moveTo>
                      <a:pt x="0" y="2737"/>
                    </a:moveTo>
                    <a:lnTo>
                      <a:pt x="1744" y="0"/>
                    </a:lnTo>
                    <a:lnTo>
                      <a:pt x="1752" y="14"/>
                    </a:lnTo>
                    <a:lnTo>
                      <a:pt x="2922" y="2042"/>
                    </a:lnTo>
                    <a:lnTo>
                      <a:pt x="2922" y="2042"/>
                    </a:lnTo>
                    <a:lnTo>
                      <a:pt x="0" y="2737"/>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94" name="Freeform 414"/>
              <p:cNvSpPr>
                <a:spLocks/>
              </p:cNvSpPr>
              <p:nvPr/>
            </p:nvSpPr>
            <p:spPr bwMode="gray">
              <a:xfrm>
                <a:off x="-7261225" y="1125537"/>
                <a:ext cx="1047750" cy="1557338"/>
              </a:xfrm>
              <a:custGeom>
                <a:avLst/>
                <a:gdLst>
                  <a:gd name="T0" fmla="*/ 0 w 660"/>
                  <a:gd name="T1" fmla="*/ 981 h 981"/>
                  <a:gd name="T2" fmla="*/ 0 w 660"/>
                  <a:gd name="T3" fmla="*/ 981 h 981"/>
                  <a:gd name="T4" fmla="*/ 565 w 660"/>
                  <a:gd name="T5" fmla="*/ 0 h 981"/>
                  <a:gd name="T6" fmla="*/ 565 w 660"/>
                  <a:gd name="T7" fmla="*/ 0 h 981"/>
                  <a:gd name="T8" fmla="*/ 565 w 660"/>
                  <a:gd name="T9" fmla="*/ 0 h 981"/>
                  <a:gd name="T10" fmla="*/ 660 w 660"/>
                  <a:gd name="T11" fmla="*/ 963 h 981"/>
                  <a:gd name="T12" fmla="*/ 660 w 660"/>
                  <a:gd name="T13" fmla="*/ 963 h 981"/>
                  <a:gd name="T14" fmla="*/ 660 w 660"/>
                  <a:gd name="T15" fmla="*/ 964 h 981"/>
                  <a:gd name="T16" fmla="*/ 660 w 660"/>
                  <a:gd name="T17" fmla="*/ 964 h 981"/>
                  <a:gd name="T18" fmla="*/ 0 w 660"/>
                  <a:gd name="T19" fmla="*/ 981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0" h="981">
                    <a:moveTo>
                      <a:pt x="0" y="981"/>
                    </a:moveTo>
                    <a:lnTo>
                      <a:pt x="0" y="981"/>
                    </a:lnTo>
                    <a:lnTo>
                      <a:pt x="565" y="0"/>
                    </a:lnTo>
                    <a:lnTo>
                      <a:pt x="565" y="0"/>
                    </a:lnTo>
                    <a:lnTo>
                      <a:pt x="565" y="0"/>
                    </a:lnTo>
                    <a:lnTo>
                      <a:pt x="660" y="963"/>
                    </a:lnTo>
                    <a:lnTo>
                      <a:pt x="660" y="963"/>
                    </a:lnTo>
                    <a:lnTo>
                      <a:pt x="660" y="964"/>
                    </a:lnTo>
                    <a:lnTo>
                      <a:pt x="660" y="964"/>
                    </a:lnTo>
                    <a:lnTo>
                      <a:pt x="0"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95" name="Freeform 415"/>
              <p:cNvSpPr>
                <a:spLocks/>
              </p:cNvSpPr>
              <p:nvPr/>
            </p:nvSpPr>
            <p:spPr bwMode="gray">
              <a:xfrm>
                <a:off x="-9488488" y="2682875"/>
                <a:ext cx="2227263" cy="1554163"/>
              </a:xfrm>
              <a:custGeom>
                <a:avLst/>
                <a:gdLst>
                  <a:gd name="T0" fmla="*/ 1744 w 2922"/>
                  <a:gd name="T1" fmla="*/ 2041 h 2041"/>
                  <a:gd name="T2" fmla="*/ 0 w 2922"/>
                  <a:gd name="T3" fmla="*/ 695 h 2041"/>
                  <a:gd name="T4" fmla="*/ 2922 w 2922"/>
                  <a:gd name="T5" fmla="*/ 0 h 2041"/>
                  <a:gd name="T6" fmla="*/ 1743 w 2922"/>
                  <a:gd name="T7" fmla="*/ 2041 h 2041"/>
                </a:gdLst>
                <a:ahLst/>
                <a:cxnLst>
                  <a:cxn ang="0">
                    <a:pos x="T0" y="T1"/>
                  </a:cxn>
                  <a:cxn ang="0">
                    <a:pos x="T2" y="T3"/>
                  </a:cxn>
                  <a:cxn ang="0">
                    <a:pos x="T4" y="T5"/>
                  </a:cxn>
                  <a:cxn ang="0">
                    <a:pos x="T6" y="T7"/>
                  </a:cxn>
                </a:cxnLst>
                <a:rect l="0" t="0" r="r" b="b"/>
                <a:pathLst>
                  <a:path w="2922" h="2041">
                    <a:moveTo>
                      <a:pt x="1744" y="2041"/>
                    </a:moveTo>
                    <a:lnTo>
                      <a:pt x="0" y="695"/>
                    </a:lnTo>
                    <a:lnTo>
                      <a:pt x="2922" y="0"/>
                    </a:lnTo>
                    <a:lnTo>
                      <a:pt x="1743" y="204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96" name="Freeform 416"/>
              <p:cNvSpPr>
                <a:spLocks/>
              </p:cNvSpPr>
              <p:nvPr/>
            </p:nvSpPr>
            <p:spPr bwMode="gray">
              <a:xfrm>
                <a:off x="-8159750" y="2682875"/>
                <a:ext cx="898525" cy="1554163"/>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97" name="Freeform 417"/>
              <p:cNvSpPr>
                <a:spLocks/>
              </p:cNvSpPr>
              <p:nvPr/>
            </p:nvSpPr>
            <p:spPr bwMode="gray">
              <a:xfrm>
                <a:off x="-9488488" y="2682875"/>
                <a:ext cx="2227263" cy="528638"/>
              </a:xfrm>
              <a:custGeom>
                <a:avLst/>
                <a:gdLst>
                  <a:gd name="T0" fmla="*/ 0 w 1403"/>
                  <a:gd name="T1" fmla="*/ 333 h 333"/>
                  <a:gd name="T2" fmla="*/ 0 w 1403"/>
                  <a:gd name="T3" fmla="*/ 333 h 333"/>
                  <a:gd name="T4" fmla="*/ 1403 w 1403"/>
                  <a:gd name="T5" fmla="*/ 0 h 333"/>
                  <a:gd name="T6" fmla="*/ 1403 w 1403"/>
                  <a:gd name="T7" fmla="*/ 0 h 333"/>
                  <a:gd name="T8" fmla="*/ 0 w 1403"/>
                  <a:gd name="T9" fmla="*/ 333 h 333"/>
                </a:gdLst>
                <a:ahLst/>
                <a:cxnLst>
                  <a:cxn ang="0">
                    <a:pos x="T0" y="T1"/>
                  </a:cxn>
                  <a:cxn ang="0">
                    <a:pos x="T2" y="T3"/>
                  </a:cxn>
                  <a:cxn ang="0">
                    <a:pos x="T4" y="T5"/>
                  </a:cxn>
                  <a:cxn ang="0">
                    <a:pos x="T6" y="T7"/>
                  </a:cxn>
                  <a:cxn ang="0">
                    <a:pos x="T8" y="T9"/>
                  </a:cxn>
                </a:cxnLst>
                <a:rect l="0" t="0" r="r" b="b"/>
                <a:pathLst>
                  <a:path w="1403" h="333">
                    <a:moveTo>
                      <a:pt x="0" y="333"/>
                    </a:moveTo>
                    <a:lnTo>
                      <a:pt x="0" y="333"/>
                    </a:lnTo>
                    <a:lnTo>
                      <a:pt x="1403" y="0"/>
                    </a:lnTo>
                    <a:lnTo>
                      <a:pt x="1403" y="0"/>
                    </a:lnTo>
                    <a:lnTo>
                      <a:pt x="0" y="3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98" name="Freeform 418"/>
              <p:cNvSpPr>
                <a:spLocks noEditPoints="1"/>
              </p:cNvSpPr>
              <p:nvPr/>
            </p:nvSpPr>
            <p:spPr bwMode="gray">
              <a:xfrm>
                <a:off x="-6213475" y="1125537"/>
                <a:ext cx="1800225" cy="1987550"/>
              </a:xfrm>
              <a:custGeom>
                <a:avLst/>
                <a:gdLst>
                  <a:gd name="T0" fmla="*/ 2364 w 2364"/>
                  <a:gd name="T1" fmla="*/ 2608 h 2608"/>
                  <a:gd name="T2" fmla="*/ 0 w 2364"/>
                  <a:gd name="T3" fmla="*/ 2007 h 2608"/>
                  <a:gd name="T4" fmla="*/ 0 w 2364"/>
                  <a:gd name="T5" fmla="*/ 2006 h 2608"/>
                  <a:gd name="T6" fmla="*/ 0 w 2364"/>
                  <a:gd name="T7" fmla="*/ 2006 h 2608"/>
                  <a:gd name="T8" fmla="*/ 0 w 2364"/>
                  <a:gd name="T9" fmla="*/ 2006 h 2608"/>
                  <a:gd name="T10" fmla="*/ 2161 w 2364"/>
                  <a:gd name="T11" fmla="*/ 0 h 2608"/>
                  <a:gd name="T12" fmla="*/ 2364 w 2364"/>
                  <a:gd name="T13" fmla="*/ 2608 h 2608"/>
                  <a:gd name="T14" fmla="*/ 2161 w 2364"/>
                  <a:gd name="T15" fmla="*/ 0 h 2608"/>
                  <a:gd name="T16" fmla="*/ 2161 w 2364"/>
                  <a:gd name="T17" fmla="*/ 0 h 2608"/>
                  <a:gd name="T18" fmla="*/ 2161 w 2364"/>
                  <a:gd name="T19" fmla="*/ 0 h 2608"/>
                  <a:gd name="T20" fmla="*/ 2161 w 2364"/>
                  <a:gd name="T21" fmla="*/ 0 h 2608"/>
                  <a:gd name="T22" fmla="*/ 2161 w 2364"/>
                  <a:gd name="T23" fmla="*/ 0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64" h="2608">
                    <a:moveTo>
                      <a:pt x="2364" y="2608"/>
                    </a:moveTo>
                    <a:lnTo>
                      <a:pt x="0" y="2007"/>
                    </a:lnTo>
                    <a:lnTo>
                      <a:pt x="0" y="2006"/>
                    </a:lnTo>
                    <a:lnTo>
                      <a:pt x="0" y="2006"/>
                    </a:lnTo>
                    <a:lnTo>
                      <a:pt x="0" y="2006"/>
                    </a:lnTo>
                    <a:lnTo>
                      <a:pt x="2161" y="0"/>
                    </a:lnTo>
                    <a:lnTo>
                      <a:pt x="2364" y="2608"/>
                    </a:lnTo>
                    <a:moveTo>
                      <a:pt x="2161" y="0"/>
                    </a:moveTo>
                    <a:lnTo>
                      <a:pt x="2161" y="0"/>
                    </a:lnTo>
                    <a:lnTo>
                      <a:pt x="2161" y="0"/>
                    </a:lnTo>
                    <a:lnTo>
                      <a:pt x="2161" y="0"/>
                    </a:lnTo>
                    <a:lnTo>
                      <a:pt x="2161" y="0"/>
                    </a:lnTo>
                  </a:path>
                </a:pathLst>
              </a:custGeom>
              <a:solidFill>
                <a:srgbClr val="59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399" name="Rectangle 419"/>
              <p:cNvSpPr>
                <a:spLocks noChangeArrowheads="1"/>
              </p:cNvSpPr>
              <p:nvPr/>
            </p:nvSpPr>
            <p:spPr bwMode="gray">
              <a:xfrm>
                <a:off x="-6213475" y="2654300"/>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00" name="Freeform 420"/>
              <p:cNvSpPr>
                <a:spLocks/>
              </p:cNvSpPr>
              <p:nvPr/>
            </p:nvSpPr>
            <p:spPr bwMode="gray">
              <a:xfrm>
                <a:off x="-5526088" y="160337"/>
                <a:ext cx="2544763" cy="965200"/>
              </a:xfrm>
              <a:custGeom>
                <a:avLst/>
                <a:gdLst>
                  <a:gd name="T0" fmla="*/ 604 w 1603"/>
                  <a:gd name="T1" fmla="*/ 608 h 608"/>
                  <a:gd name="T2" fmla="*/ 62 w 1603"/>
                  <a:gd name="T3" fmla="*/ 344 h 608"/>
                  <a:gd name="T4" fmla="*/ 0 w 1603"/>
                  <a:gd name="T5" fmla="*/ 313 h 608"/>
                  <a:gd name="T6" fmla="*/ 0 w 1603"/>
                  <a:gd name="T7" fmla="*/ 313 h 608"/>
                  <a:gd name="T8" fmla="*/ 1603 w 1603"/>
                  <a:gd name="T9" fmla="*/ 0 h 608"/>
                  <a:gd name="T10" fmla="*/ 1508 w 1603"/>
                  <a:gd name="T11" fmla="*/ 57 h 608"/>
                  <a:gd name="T12" fmla="*/ 604 w 1603"/>
                  <a:gd name="T13" fmla="*/ 608 h 608"/>
                </a:gdLst>
                <a:ahLst/>
                <a:cxnLst>
                  <a:cxn ang="0">
                    <a:pos x="T0" y="T1"/>
                  </a:cxn>
                  <a:cxn ang="0">
                    <a:pos x="T2" y="T3"/>
                  </a:cxn>
                  <a:cxn ang="0">
                    <a:pos x="T4" y="T5"/>
                  </a:cxn>
                  <a:cxn ang="0">
                    <a:pos x="T6" y="T7"/>
                  </a:cxn>
                  <a:cxn ang="0">
                    <a:pos x="T8" y="T9"/>
                  </a:cxn>
                  <a:cxn ang="0">
                    <a:pos x="T10" y="T11"/>
                  </a:cxn>
                  <a:cxn ang="0">
                    <a:pos x="T12" y="T13"/>
                  </a:cxn>
                </a:cxnLst>
                <a:rect l="0" t="0" r="r" b="b"/>
                <a:pathLst>
                  <a:path w="1603" h="608">
                    <a:moveTo>
                      <a:pt x="604" y="608"/>
                    </a:moveTo>
                    <a:lnTo>
                      <a:pt x="62" y="344"/>
                    </a:lnTo>
                    <a:lnTo>
                      <a:pt x="0" y="313"/>
                    </a:lnTo>
                    <a:lnTo>
                      <a:pt x="0" y="313"/>
                    </a:lnTo>
                    <a:lnTo>
                      <a:pt x="1603" y="0"/>
                    </a:lnTo>
                    <a:lnTo>
                      <a:pt x="1508" y="57"/>
                    </a:lnTo>
                    <a:lnTo>
                      <a:pt x="604" y="608"/>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01" name="Freeform 421"/>
              <p:cNvSpPr>
                <a:spLocks/>
              </p:cNvSpPr>
              <p:nvPr/>
            </p:nvSpPr>
            <p:spPr bwMode="gray">
              <a:xfrm>
                <a:off x="-5526088" y="65722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89C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02" name="Freeform 422"/>
              <p:cNvSpPr>
                <a:spLocks/>
              </p:cNvSpPr>
              <p:nvPr/>
            </p:nvSpPr>
            <p:spPr bwMode="gray">
              <a:xfrm>
                <a:off x="-4567238" y="1125537"/>
                <a:ext cx="1795463" cy="1987550"/>
              </a:xfrm>
              <a:custGeom>
                <a:avLst/>
                <a:gdLst>
                  <a:gd name="T0" fmla="*/ 97 w 1131"/>
                  <a:gd name="T1" fmla="*/ 1252 h 1252"/>
                  <a:gd name="T2" fmla="*/ 97 w 1131"/>
                  <a:gd name="T3" fmla="*/ 1252 h 1252"/>
                  <a:gd name="T4" fmla="*/ 0 w 1131"/>
                  <a:gd name="T5" fmla="*/ 0 h 1252"/>
                  <a:gd name="T6" fmla="*/ 0 w 1131"/>
                  <a:gd name="T7" fmla="*/ 0 h 1252"/>
                  <a:gd name="T8" fmla="*/ 1131 w 1131"/>
                  <a:gd name="T9" fmla="*/ 0 h 1252"/>
                  <a:gd name="T10" fmla="*/ 97 w 1131"/>
                  <a:gd name="T11" fmla="*/ 1252 h 1252"/>
                  <a:gd name="T12" fmla="*/ 97 w 1131"/>
                  <a:gd name="T13" fmla="*/ 1252 h 1252"/>
                  <a:gd name="T14" fmla="*/ 97 w 1131"/>
                  <a:gd name="T15" fmla="*/ 1252 h 1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1252">
                    <a:moveTo>
                      <a:pt x="97" y="1252"/>
                    </a:moveTo>
                    <a:lnTo>
                      <a:pt x="97" y="1252"/>
                    </a:lnTo>
                    <a:lnTo>
                      <a:pt x="0" y="0"/>
                    </a:lnTo>
                    <a:lnTo>
                      <a:pt x="0" y="0"/>
                    </a:lnTo>
                    <a:lnTo>
                      <a:pt x="1131" y="0"/>
                    </a:lnTo>
                    <a:lnTo>
                      <a:pt x="97" y="1252"/>
                    </a:lnTo>
                    <a:lnTo>
                      <a:pt x="97" y="1252"/>
                    </a:lnTo>
                    <a:lnTo>
                      <a:pt x="97" y="1252"/>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03" name="Freeform 423"/>
              <p:cNvSpPr>
                <a:spLocks/>
              </p:cNvSpPr>
              <p:nvPr/>
            </p:nvSpPr>
            <p:spPr bwMode="gray">
              <a:xfrm>
                <a:off x="-4567238" y="1125537"/>
                <a:ext cx="153988" cy="1987550"/>
              </a:xfrm>
              <a:custGeom>
                <a:avLst/>
                <a:gdLst>
                  <a:gd name="T0" fmla="*/ 97 w 97"/>
                  <a:gd name="T1" fmla="*/ 1252 h 1252"/>
                  <a:gd name="T2" fmla="*/ 97 w 97"/>
                  <a:gd name="T3" fmla="*/ 1252 h 1252"/>
                  <a:gd name="T4" fmla="*/ 0 w 97"/>
                  <a:gd name="T5" fmla="*/ 0 h 1252"/>
                  <a:gd name="T6" fmla="*/ 0 w 97"/>
                  <a:gd name="T7" fmla="*/ 0 h 1252"/>
                  <a:gd name="T8" fmla="*/ 97 w 97"/>
                  <a:gd name="T9" fmla="*/ 1252 h 1252"/>
                </a:gdLst>
                <a:ahLst/>
                <a:cxnLst>
                  <a:cxn ang="0">
                    <a:pos x="T0" y="T1"/>
                  </a:cxn>
                  <a:cxn ang="0">
                    <a:pos x="T2" y="T3"/>
                  </a:cxn>
                  <a:cxn ang="0">
                    <a:pos x="T4" y="T5"/>
                  </a:cxn>
                  <a:cxn ang="0">
                    <a:pos x="T6" y="T7"/>
                  </a:cxn>
                  <a:cxn ang="0">
                    <a:pos x="T8" y="T9"/>
                  </a:cxn>
                </a:cxnLst>
                <a:rect l="0" t="0" r="r" b="b"/>
                <a:pathLst>
                  <a:path w="97" h="1252">
                    <a:moveTo>
                      <a:pt x="97" y="1252"/>
                    </a:moveTo>
                    <a:lnTo>
                      <a:pt x="97" y="1252"/>
                    </a:lnTo>
                    <a:lnTo>
                      <a:pt x="0" y="0"/>
                    </a:lnTo>
                    <a:lnTo>
                      <a:pt x="0" y="0"/>
                    </a:lnTo>
                    <a:lnTo>
                      <a:pt x="97" y="1252"/>
                    </a:lnTo>
                    <a:close/>
                  </a:path>
                </a:pathLst>
              </a:custGeom>
              <a:solidFill>
                <a:srgbClr val="5BA2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04" name="Freeform 424"/>
              <p:cNvSpPr>
                <a:spLocks noEditPoints="1"/>
              </p:cNvSpPr>
              <p:nvPr/>
            </p:nvSpPr>
            <p:spPr bwMode="gray">
              <a:xfrm>
                <a:off x="-6364288" y="657225"/>
                <a:ext cx="1797050" cy="468313"/>
              </a:xfrm>
              <a:custGeom>
                <a:avLst/>
                <a:gdLst>
                  <a:gd name="T0" fmla="*/ 0 w 2357"/>
                  <a:gd name="T1" fmla="*/ 615 h 615"/>
                  <a:gd name="T2" fmla="*/ 0 w 2357"/>
                  <a:gd name="T3" fmla="*/ 615 h 615"/>
                  <a:gd name="T4" fmla="*/ 0 w 2357"/>
                  <a:gd name="T5" fmla="*/ 615 h 615"/>
                  <a:gd name="T6" fmla="*/ 0 w 2357"/>
                  <a:gd name="T7" fmla="*/ 615 h 615"/>
                  <a:gd name="T8" fmla="*/ 0 w 2357"/>
                  <a:gd name="T9" fmla="*/ 615 h 615"/>
                  <a:gd name="T10" fmla="*/ 2357 w 2357"/>
                  <a:gd name="T11" fmla="*/ 615 h 615"/>
                  <a:gd name="T12" fmla="*/ 0 w 2357"/>
                  <a:gd name="T13" fmla="*/ 615 h 615"/>
                  <a:gd name="T14" fmla="*/ 833 w 2357"/>
                  <a:gd name="T15" fmla="*/ 149 h 615"/>
                  <a:gd name="T16" fmla="*/ 1099 w 2357"/>
                  <a:gd name="T17" fmla="*/ 0 h 615"/>
                  <a:gd name="T18" fmla="*/ 1228 w 2357"/>
                  <a:gd name="T19" fmla="*/ 64 h 615"/>
                  <a:gd name="T20" fmla="*/ 2357 w 2357"/>
                  <a:gd name="T21" fmla="*/ 615 h 615"/>
                  <a:gd name="T22" fmla="*/ 2357 w 2357"/>
                  <a:gd name="T23"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7" h="615">
                    <a:moveTo>
                      <a:pt x="0" y="615"/>
                    </a:moveTo>
                    <a:lnTo>
                      <a:pt x="0" y="615"/>
                    </a:lnTo>
                    <a:lnTo>
                      <a:pt x="0" y="615"/>
                    </a:lnTo>
                    <a:lnTo>
                      <a:pt x="0" y="615"/>
                    </a:lnTo>
                    <a:lnTo>
                      <a:pt x="0" y="615"/>
                    </a:lnTo>
                    <a:moveTo>
                      <a:pt x="2357" y="615"/>
                    </a:moveTo>
                    <a:lnTo>
                      <a:pt x="0" y="615"/>
                    </a:lnTo>
                    <a:lnTo>
                      <a:pt x="833" y="149"/>
                    </a:lnTo>
                    <a:lnTo>
                      <a:pt x="1099" y="0"/>
                    </a:lnTo>
                    <a:lnTo>
                      <a:pt x="1228" y="64"/>
                    </a:lnTo>
                    <a:lnTo>
                      <a:pt x="2357" y="615"/>
                    </a:lnTo>
                    <a:lnTo>
                      <a:pt x="2357" y="615"/>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05" name="Freeform 425"/>
              <p:cNvSpPr>
                <a:spLocks/>
              </p:cNvSpPr>
              <p:nvPr/>
            </p:nvSpPr>
            <p:spPr bwMode="gray">
              <a:xfrm>
                <a:off x="-5729288" y="657225"/>
                <a:ext cx="203200" cy="114300"/>
              </a:xfrm>
              <a:custGeom>
                <a:avLst/>
                <a:gdLst>
                  <a:gd name="T0" fmla="*/ 0 w 128"/>
                  <a:gd name="T1" fmla="*/ 72 h 72"/>
                  <a:gd name="T2" fmla="*/ 128 w 128"/>
                  <a:gd name="T3" fmla="*/ 0 h 72"/>
                  <a:gd name="T4" fmla="*/ 128 w 128"/>
                  <a:gd name="T5" fmla="*/ 0 h 72"/>
                  <a:gd name="T6" fmla="*/ 0 w 128"/>
                  <a:gd name="T7" fmla="*/ 72 h 72"/>
                </a:gdLst>
                <a:ahLst/>
                <a:cxnLst>
                  <a:cxn ang="0">
                    <a:pos x="T0" y="T1"/>
                  </a:cxn>
                  <a:cxn ang="0">
                    <a:pos x="T2" y="T3"/>
                  </a:cxn>
                  <a:cxn ang="0">
                    <a:pos x="T4" y="T5"/>
                  </a:cxn>
                  <a:cxn ang="0">
                    <a:pos x="T6" y="T7"/>
                  </a:cxn>
                </a:cxnLst>
                <a:rect l="0" t="0" r="r" b="b"/>
                <a:pathLst>
                  <a:path w="128" h="72">
                    <a:moveTo>
                      <a:pt x="0" y="72"/>
                    </a:moveTo>
                    <a:lnTo>
                      <a:pt x="128" y="0"/>
                    </a:lnTo>
                    <a:lnTo>
                      <a:pt x="128" y="0"/>
                    </a:lnTo>
                    <a:lnTo>
                      <a:pt x="0" y="72"/>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06" name="Freeform 426"/>
              <p:cNvSpPr>
                <a:spLocks/>
              </p:cNvSpPr>
              <p:nvPr/>
            </p:nvSpPr>
            <p:spPr bwMode="gray">
              <a:xfrm>
                <a:off x="-5526088" y="657225"/>
                <a:ext cx="98425" cy="49213"/>
              </a:xfrm>
              <a:custGeom>
                <a:avLst/>
                <a:gdLst>
                  <a:gd name="T0" fmla="*/ 62 w 62"/>
                  <a:gd name="T1" fmla="*/ 31 h 31"/>
                  <a:gd name="T2" fmla="*/ 0 w 62"/>
                  <a:gd name="T3" fmla="*/ 0 h 31"/>
                  <a:gd name="T4" fmla="*/ 0 w 62"/>
                  <a:gd name="T5" fmla="*/ 0 h 31"/>
                  <a:gd name="T6" fmla="*/ 62 w 62"/>
                  <a:gd name="T7" fmla="*/ 31 h 31"/>
                </a:gdLst>
                <a:ahLst/>
                <a:cxnLst>
                  <a:cxn ang="0">
                    <a:pos x="T0" y="T1"/>
                  </a:cxn>
                  <a:cxn ang="0">
                    <a:pos x="T2" y="T3"/>
                  </a:cxn>
                  <a:cxn ang="0">
                    <a:pos x="T4" y="T5"/>
                  </a:cxn>
                  <a:cxn ang="0">
                    <a:pos x="T6" y="T7"/>
                  </a:cxn>
                </a:cxnLst>
                <a:rect l="0" t="0" r="r" b="b"/>
                <a:pathLst>
                  <a:path w="62" h="31">
                    <a:moveTo>
                      <a:pt x="62" y="31"/>
                    </a:moveTo>
                    <a:lnTo>
                      <a:pt x="0" y="0"/>
                    </a:lnTo>
                    <a:lnTo>
                      <a:pt x="0" y="0"/>
                    </a:lnTo>
                    <a:lnTo>
                      <a:pt x="62" y="31"/>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07" name="Rectangle 427"/>
              <p:cNvSpPr>
                <a:spLocks noChangeArrowheads="1"/>
              </p:cNvSpPr>
              <p:nvPr/>
            </p:nvSpPr>
            <p:spPr bwMode="gray">
              <a:xfrm>
                <a:off x="-5526088" y="657225"/>
                <a:ext cx="1588" cy="1588"/>
              </a:xfrm>
              <a:prstGeom prst="rect">
                <a:avLst/>
              </a:prstGeom>
              <a:solidFill>
                <a:srgbClr val="589CBB"/>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08" name="Freeform 428"/>
              <p:cNvSpPr>
                <a:spLocks/>
              </p:cNvSpPr>
              <p:nvPr/>
            </p:nvSpPr>
            <p:spPr bwMode="gray">
              <a:xfrm>
                <a:off x="-4567238" y="160337"/>
                <a:ext cx="1795463" cy="965200"/>
              </a:xfrm>
              <a:custGeom>
                <a:avLst/>
                <a:gdLst>
                  <a:gd name="T0" fmla="*/ 0 w 1131"/>
                  <a:gd name="T1" fmla="*/ 608 h 608"/>
                  <a:gd name="T2" fmla="*/ 0 w 1131"/>
                  <a:gd name="T3" fmla="*/ 608 h 608"/>
                  <a:gd name="T4" fmla="*/ 904 w 1131"/>
                  <a:gd name="T5" fmla="*/ 57 h 608"/>
                  <a:gd name="T6" fmla="*/ 999 w 1131"/>
                  <a:gd name="T7" fmla="*/ 0 h 608"/>
                  <a:gd name="T8" fmla="*/ 999 w 1131"/>
                  <a:gd name="T9" fmla="*/ 0 h 608"/>
                  <a:gd name="T10" fmla="*/ 1077 w 1131"/>
                  <a:gd name="T11" fmla="*/ 359 h 608"/>
                  <a:gd name="T12" fmla="*/ 1131 w 1131"/>
                  <a:gd name="T13" fmla="*/ 608 h 608"/>
                  <a:gd name="T14" fmla="*/ 0 w 1131"/>
                  <a:gd name="T15" fmla="*/ 608 h 6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608">
                    <a:moveTo>
                      <a:pt x="0" y="608"/>
                    </a:moveTo>
                    <a:lnTo>
                      <a:pt x="0" y="608"/>
                    </a:lnTo>
                    <a:lnTo>
                      <a:pt x="904" y="57"/>
                    </a:lnTo>
                    <a:lnTo>
                      <a:pt x="999" y="0"/>
                    </a:lnTo>
                    <a:lnTo>
                      <a:pt x="999" y="0"/>
                    </a:lnTo>
                    <a:lnTo>
                      <a:pt x="1077" y="359"/>
                    </a:lnTo>
                    <a:lnTo>
                      <a:pt x="1131" y="608"/>
                    </a:lnTo>
                    <a:lnTo>
                      <a:pt x="0" y="608"/>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09" name="Freeform 429"/>
              <p:cNvSpPr>
                <a:spLocks/>
              </p:cNvSpPr>
              <p:nvPr/>
            </p:nvSpPr>
            <p:spPr bwMode="gray">
              <a:xfrm>
                <a:off x="-3132138" y="160337"/>
                <a:ext cx="150813" cy="90488"/>
              </a:xfrm>
              <a:custGeom>
                <a:avLst/>
                <a:gdLst>
                  <a:gd name="T0" fmla="*/ 0 w 95"/>
                  <a:gd name="T1" fmla="*/ 57 h 57"/>
                  <a:gd name="T2" fmla="*/ 95 w 95"/>
                  <a:gd name="T3" fmla="*/ 0 h 57"/>
                  <a:gd name="T4" fmla="*/ 95 w 95"/>
                  <a:gd name="T5" fmla="*/ 0 h 57"/>
                  <a:gd name="T6" fmla="*/ 0 w 95"/>
                  <a:gd name="T7" fmla="*/ 57 h 57"/>
                </a:gdLst>
                <a:ahLst/>
                <a:cxnLst>
                  <a:cxn ang="0">
                    <a:pos x="T0" y="T1"/>
                  </a:cxn>
                  <a:cxn ang="0">
                    <a:pos x="T2" y="T3"/>
                  </a:cxn>
                  <a:cxn ang="0">
                    <a:pos x="T4" y="T5"/>
                  </a:cxn>
                  <a:cxn ang="0">
                    <a:pos x="T6" y="T7"/>
                  </a:cxn>
                </a:cxnLst>
                <a:rect l="0" t="0" r="r" b="b"/>
                <a:pathLst>
                  <a:path w="95" h="57">
                    <a:moveTo>
                      <a:pt x="0" y="57"/>
                    </a:moveTo>
                    <a:lnTo>
                      <a:pt x="95" y="0"/>
                    </a:lnTo>
                    <a:lnTo>
                      <a:pt x="95" y="0"/>
                    </a:lnTo>
                    <a:lnTo>
                      <a:pt x="0" y="5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10" name="Freeform 430"/>
              <p:cNvSpPr>
                <a:spLocks noEditPoints="1"/>
              </p:cNvSpPr>
              <p:nvPr/>
            </p:nvSpPr>
            <p:spPr bwMode="gray">
              <a:xfrm>
                <a:off x="-6364288" y="1125537"/>
                <a:ext cx="1797050" cy="1528763"/>
              </a:xfrm>
              <a:custGeom>
                <a:avLst/>
                <a:gdLst>
                  <a:gd name="T0" fmla="*/ 196 w 2357"/>
                  <a:gd name="T1" fmla="*/ 2006 h 2006"/>
                  <a:gd name="T2" fmla="*/ 0 w 2357"/>
                  <a:gd name="T3" fmla="*/ 0 h 2006"/>
                  <a:gd name="T4" fmla="*/ 2357 w 2357"/>
                  <a:gd name="T5" fmla="*/ 0 h 2006"/>
                  <a:gd name="T6" fmla="*/ 196 w 2357"/>
                  <a:gd name="T7" fmla="*/ 2006 h 2006"/>
                  <a:gd name="T8" fmla="*/ 2357 w 2357"/>
                  <a:gd name="T9" fmla="*/ 0 h 2006"/>
                  <a:gd name="T10" fmla="*/ 2357 w 2357"/>
                  <a:gd name="T11" fmla="*/ 0 h 2006"/>
                  <a:gd name="T12" fmla="*/ 2357 w 2357"/>
                  <a:gd name="T13" fmla="*/ 0 h 2006"/>
                  <a:gd name="T14" fmla="*/ 0 w 2357"/>
                  <a:gd name="T15" fmla="*/ 0 h 2006"/>
                  <a:gd name="T16" fmla="*/ 0 w 2357"/>
                  <a:gd name="T17" fmla="*/ 0 h 2006"/>
                  <a:gd name="T18" fmla="*/ 0 w 2357"/>
                  <a:gd name="T19" fmla="*/ 0 h 2006"/>
                  <a:gd name="T20" fmla="*/ 0 w 2357"/>
                  <a:gd name="T21" fmla="*/ 0 h 2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7" h="2006">
                    <a:moveTo>
                      <a:pt x="196" y="2006"/>
                    </a:moveTo>
                    <a:lnTo>
                      <a:pt x="0" y="0"/>
                    </a:lnTo>
                    <a:lnTo>
                      <a:pt x="2357" y="0"/>
                    </a:lnTo>
                    <a:lnTo>
                      <a:pt x="196" y="2006"/>
                    </a:lnTo>
                    <a:moveTo>
                      <a:pt x="2357" y="0"/>
                    </a:moveTo>
                    <a:lnTo>
                      <a:pt x="2357" y="0"/>
                    </a:lnTo>
                    <a:lnTo>
                      <a:pt x="2357" y="0"/>
                    </a:lnTo>
                    <a:moveTo>
                      <a:pt x="0" y="0"/>
                    </a:moveTo>
                    <a:lnTo>
                      <a:pt x="0" y="0"/>
                    </a:lnTo>
                    <a:lnTo>
                      <a:pt x="0" y="0"/>
                    </a:ln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11" name="Freeform 431"/>
              <p:cNvSpPr>
                <a:spLocks/>
              </p:cNvSpPr>
              <p:nvPr/>
            </p:nvSpPr>
            <p:spPr bwMode="gray">
              <a:xfrm>
                <a:off x="-6213475" y="1125537"/>
                <a:ext cx="1646238" cy="1528763"/>
              </a:xfrm>
              <a:custGeom>
                <a:avLst/>
                <a:gdLst>
                  <a:gd name="T0" fmla="*/ 0 w 1037"/>
                  <a:gd name="T1" fmla="*/ 963 h 963"/>
                  <a:gd name="T2" fmla="*/ 0 w 1037"/>
                  <a:gd name="T3" fmla="*/ 963 h 963"/>
                  <a:gd name="T4" fmla="*/ 1037 w 1037"/>
                  <a:gd name="T5" fmla="*/ 0 h 963"/>
                  <a:gd name="T6" fmla="*/ 1037 w 1037"/>
                  <a:gd name="T7" fmla="*/ 0 h 963"/>
                  <a:gd name="T8" fmla="*/ 1037 w 1037"/>
                  <a:gd name="T9" fmla="*/ 0 h 963"/>
                  <a:gd name="T10" fmla="*/ 1037 w 1037"/>
                  <a:gd name="T11" fmla="*/ 0 h 963"/>
                  <a:gd name="T12" fmla="*/ 0 w 1037"/>
                  <a:gd name="T13" fmla="*/ 963 h 963"/>
                </a:gdLst>
                <a:ahLst/>
                <a:cxnLst>
                  <a:cxn ang="0">
                    <a:pos x="T0" y="T1"/>
                  </a:cxn>
                  <a:cxn ang="0">
                    <a:pos x="T2" y="T3"/>
                  </a:cxn>
                  <a:cxn ang="0">
                    <a:pos x="T4" y="T5"/>
                  </a:cxn>
                  <a:cxn ang="0">
                    <a:pos x="T6" y="T7"/>
                  </a:cxn>
                  <a:cxn ang="0">
                    <a:pos x="T8" y="T9"/>
                  </a:cxn>
                  <a:cxn ang="0">
                    <a:pos x="T10" y="T11"/>
                  </a:cxn>
                  <a:cxn ang="0">
                    <a:pos x="T12" y="T13"/>
                  </a:cxn>
                </a:cxnLst>
                <a:rect l="0" t="0" r="r" b="b"/>
                <a:pathLst>
                  <a:path w="1037" h="963">
                    <a:moveTo>
                      <a:pt x="0" y="963"/>
                    </a:moveTo>
                    <a:lnTo>
                      <a:pt x="0" y="963"/>
                    </a:lnTo>
                    <a:lnTo>
                      <a:pt x="1037" y="0"/>
                    </a:lnTo>
                    <a:lnTo>
                      <a:pt x="1037" y="0"/>
                    </a:lnTo>
                    <a:lnTo>
                      <a:pt x="1037" y="0"/>
                    </a:lnTo>
                    <a:lnTo>
                      <a:pt x="1037" y="0"/>
                    </a:lnTo>
                    <a:lnTo>
                      <a:pt x="0" y="963"/>
                    </a:lnTo>
                    <a:close/>
                  </a:path>
                </a:pathLst>
              </a:custGeom>
              <a:solidFill>
                <a:srgbClr val="5AA1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12" name="Freeform 432"/>
              <p:cNvSpPr>
                <a:spLocks noEditPoints="1"/>
              </p:cNvSpPr>
              <p:nvPr/>
            </p:nvSpPr>
            <p:spPr bwMode="gray">
              <a:xfrm>
                <a:off x="-8323263" y="5514975"/>
                <a:ext cx="1782763" cy="2144713"/>
              </a:xfrm>
              <a:custGeom>
                <a:avLst/>
                <a:gdLst>
                  <a:gd name="T0" fmla="*/ 893 w 2339"/>
                  <a:gd name="T1" fmla="*/ 2815 h 2815"/>
                  <a:gd name="T2" fmla="*/ 0 w 2339"/>
                  <a:gd name="T3" fmla="*/ 2815 h 2815"/>
                  <a:gd name="T4" fmla="*/ 290 w 2339"/>
                  <a:gd name="T5" fmla="*/ 1 h 2815"/>
                  <a:gd name="T6" fmla="*/ 290 w 2339"/>
                  <a:gd name="T7" fmla="*/ 0 h 2815"/>
                  <a:gd name="T8" fmla="*/ 291 w 2339"/>
                  <a:gd name="T9" fmla="*/ 1 h 2815"/>
                  <a:gd name="T10" fmla="*/ 290 w 2339"/>
                  <a:gd name="T11" fmla="*/ 1 h 2815"/>
                  <a:gd name="T12" fmla="*/ 1731 w 2339"/>
                  <a:gd name="T13" fmla="*/ 1291 h 2815"/>
                  <a:gd name="T14" fmla="*/ 2339 w 2339"/>
                  <a:gd name="T15" fmla="*/ 1834 h 2815"/>
                  <a:gd name="T16" fmla="*/ 893 w 2339"/>
                  <a:gd name="T17" fmla="*/ 2815 h 2815"/>
                  <a:gd name="T18" fmla="*/ 291 w 2339"/>
                  <a:gd name="T19" fmla="*/ 1 h 2815"/>
                  <a:gd name="T20" fmla="*/ 290 w 2339"/>
                  <a:gd name="T21" fmla="*/ 1 h 2815"/>
                  <a:gd name="T22" fmla="*/ 291 w 2339"/>
                  <a:gd name="T23" fmla="*/ 1 h 2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39" h="2815">
                    <a:moveTo>
                      <a:pt x="893" y="2815"/>
                    </a:moveTo>
                    <a:lnTo>
                      <a:pt x="0" y="2815"/>
                    </a:lnTo>
                    <a:lnTo>
                      <a:pt x="290" y="1"/>
                    </a:lnTo>
                    <a:lnTo>
                      <a:pt x="290" y="0"/>
                    </a:lnTo>
                    <a:lnTo>
                      <a:pt x="291" y="1"/>
                    </a:lnTo>
                    <a:lnTo>
                      <a:pt x="290" y="1"/>
                    </a:lnTo>
                    <a:lnTo>
                      <a:pt x="1731" y="1291"/>
                    </a:lnTo>
                    <a:lnTo>
                      <a:pt x="2339" y="1834"/>
                    </a:lnTo>
                    <a:lnTo>
                      <a:pt x="893" y="2815"/>
                    </a:lnTo>
                    <a:moveTo>
                      <a:pt x="291" y="1"/>
                    </a:moveTo>
                    <a:lnTo>
                      <a:pt x="290" y="1"/>
                    </a:lnTo>
                    <a:lnTo>
                      <a:pt x="29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13" name="Freeform 433"/>
              <p:cNvSpPr>
                <a:spLocks/>
              </p:cNvSpPr>
              <p:nvPr/>
            </p:nvSpPr>
            <p:spPr bwMode="gray">
              <a:xfrm>
                <a:off x="-8159750" y="4237037"/>
                <a:ext cx="1141413" cy="1277938"/>
              </a:xfrm>
              <a:custGeom>
                <a:avLst/>
                <a:gdLst>
                  <a:gd name="T0" fmla="*/ 36 w 719"/>
                  <a:gd name="T1" fmla="*/ 805 h 805"/>
                  <a:gd name="T2" fmla="*/ 36 w 719"/>
                  <a:gd name="T3" fmla="*/ 805 h 805"/>
                  <a:gd name="T4" fmla="*/ 32 w 719"/>
                  <a:gd name="T5" fmla="*/ 713 h 805"/>
                  <a:gd name="T6" fmla="*/ 0 w 719"/>
                  <a:gd name="T7" fmla="*/ 1 h 805"/>
                  <a:gd name="T8" fmla="*/ 0 w 719"/>
                  <a:gd name="T9" fmla="*/ 1 h 805"/>
                  <a:gd name="T10" fmla="*/ 0 w 719"/>
                  <a:gd name="T11" fmla="*/ 0 h 805"/>
                  <a:gd name="T12" fmla="*/ 0 w 719"/>
                  <a:gd name="T13" fmla="*/ 0 h 805"/>
                  <a:gd name="T14" fmla="*/ 719 w 719"/>
                  <a:gd name="T15" fmla="*/ 227 h 805"/>
                  <a:gd name="T16" fmla="*/ 36 w 719"/>
                  <a:gd name="T17" fmla="*/ 805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9" h="805">
                    <a:moveTo>
                      <a:pt x="36" y="805"/>
                    </a:moveTo>
                    <a:lnTo>
                      <a:pt x="36" y="805"/>
                    </a:lnTo>
                    <a:lnTo>
                      <a:pt x="32" y="713"/>
                    </a:lnTo>
                    <a:lnTo>
                      <a:pt x="0" y="1"/>
                    </a:lnTo>
                    <a:lnTo>
                      <a:pt x="0" y="1"/>
                    </a:lnTo>
                    <a:lnTo>
                      <a:pt x="0" y="0"/>
                    </a:lnTo>
                    <a:lnTo>
                      <a:pt x="0" y="0"/>
                    </a:lnTo>
                    <a:lnTo>
                      <a:pt x="719" y="227"/>
                    </a:lnTo>
                    <a:lnTo>
                      <a:pt x="36" y="80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14" name="Freeform 434"/>
              <p:cNvSpPr>
                <a:spLocks/>
              </p:cNvSpPr>
              <p:nvPr/>
            </p:nvSpPr>
            <p:spPr bwMode="gray">
              <a:xfrm>
                <a:off x="-8101013" y="5514975"/>
                <a:ext cx="2635250" cy="1397000"/>
              </a:xfrm>
              <a:custGeom>
                <a:avLst/>
                <a:gdLst>
                  <a:gd name="T0" fmla="*/ 983 w 1660"/>
                  <a:gd name="T1" fmla="*/ 880 h 880"/>
                  <a:gd name="T2" fmla="*/ 691 w 1660"/>
                  <a:gd name="T3" fmla="*/ 619 h 880"/>
                  <a:gd name="T4" fmla="*/ 0 w 1660"/>
                  <a:gd name="T5" fmla="*/ 0 h 880"/>
                  <a:gd name="T6" fmla="*/ 1660 w 1660"/>
                  <a:gd name="T7" fmla="*/ 175 h 880"/>
                  <a:gd name="T8" fmla="*/ 1660 w 1660"/>
                  <a:gd name="T9" fmla="*/ 175 h 880"/>
                  <a:gd name="T10" fmla="*/ 1660 w 1660"/>
                  <a:gd name="T11" fmla="*/ 175 h 880"/>
                  <a:gd name="T12" fmla="*/ 1660 w 1660"/>
                  <a:gd name="T13" fmla="*/ 175 h 880"/>
                  <a:gd name="T14" fmla="*/ 983 w 1660"/>
                  <a:gd name="T15" fmla="*/ 880 h 8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0" h="880">
                    <a:moveTo>
                      <a:pt x="983" y="880"/>
                    </a:moveTo>
                    <a:lnTo>
                      <a:pt x="691" y="619"/>
                    </a:lnTo>
                    <a:lnTo>
                      <a:pt x="0" y="0"/>
                    </a:lnTo>
                    <a:lnTo>
                      <a:pt x="1660" y="175"/>
                    </a:lnTo>
                    <a:lnTo>
                      <a:pt x="1660" y="175"/>
                    </a:lnTo>
                    <a:lnTo>
                      <a:pt x="1660" y="175"/>
                    </a:lnTo>
                    <a:lnTo>
                      <a:pt x="1660" y="175"/>
                    </a:lnTo>
                    <a:lnTo>
                      <a:pt x="983" y="8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15" name="Freeform 435"/>
              <p:cNvSpPr>
                <a:spLocks/>
              </p:cNvSpPr>
              <p:nvPr/>
            </p:nvSpPr>
            <p:spPr bwMode="gray">
              <a:xfrm>
                <a:off x="-8102600" y="5514975"/>
                <a:ext cx="1098550" cy="982663"/>
              </a:xfrm>
              <a:custGeom>
                <a:avLst/>
                <a:gdLst>
                  <a:gd name="T0" fmla="*/ 692 w 692"/>
                  <a:gd name="T1" fmla="*/ 619 h 619"/>
                  <a:gd name="T2" fmla="*/ 0 w 692"/>
                  <a:gd name="T3" fmla="*/ 0 h 619"/>
                  <a:gd name="T4" fmla="*/ 1 w 692"/>
                  <a:gd name="T5" fmla="*/ 0 h 619"/>
                  <a:gd name="T6" fmla="*/ 692 w 692"/>
                  <a:gd name="T7" fmla="*/ 619 h 619"/>
                </a:gdLst>
                <a:ahLst/>
                <a:cxnLst>
                  <a:cxn ang="0">
                    <a:pos x="T0" y="T1"/>
                  </a:cxn>
                  <a:cxn ang="0">
                    <a:pos x="T2" y="T3"/>
                  </a:cxn>
                  <a:cxn ang="0">
                    <a:pos x="T4" y="T5"/>
                  </a:cxn>
                  <a:cxn ang="0">
                    <a:pos x="T6" y="T7"/>
                  </a:cxn>
                </a:cxnLst>
                <a:rect l="0" t="0" r="r" b="b"/>
                <a:pathLst>
                  <a:path w="692" h="619">
                    <a:moveTo>
                      <a:pt x="692" y="619"/>
                    </a:moveTo>
                    <a:lnTo>
                      <a:pt x="0" y="0"/>
                    </a:lnTo>
                    <a:lnTo>
                      <a:pt x="1" y="0"/>
                    </a:lnTo>
                    <a:lnTo>
                      <a:pt x="692" y="61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16" name="Freeform 436"/>
              <p:cNvSpPr>
                <a:spLocks noEditPoints="1"/>
              </p:cNvSpPr>
              <p:nvPr/>
            </p:nvSpPr>
            <p:spPr bwMode="gray">
              <a:xfrm>
                <a:off x="-9909175" y="4238625"/>
                <a:ext cx="1806575" cy="2339975"/>
              </a:xfrm>
              <a:custGeom>
                <a:avLst/>
                <a:gdLst>
                  <a:gd name="T0" fmla="*/ 0 w 2371"/>
                  <a:gd name="T1" fmla="*/ 3072 h 3072"/>
                  <a:gd name="T2" fmla="*/ 0 w 2371"/>
                  <a:gd name="T3" fmla="*/ 3072 h 3072"/>
                  <a:gd name="T4" fmla="*/ 0 w 2371"/>
                  <a:gd name="T5" fmla="*/ 3072 h 3072"/>
                  <a:gd name="T6" fmla="*/ 0 w 2371"/>
                  <a:gd name="T7" fmla="*/ 3072 h 3072"/>
                  <a:gd name="T8" fmla="*/ 2296 w 2371"/>
                  <a:gd name="T9" fmla="*/ 0 h 3072"/>
                  <a:gd name="T10" fmla="*/ 2363 w 2371"/>
                  <a:gd name="T11" fmla="*/ 1484 h 3072"/>
                  <a:gd name="T12" fmla="*/ 2371 w 2371"/>
                  <a:gd name="T13" fmla="*/ 1676 h 3072"/>
                  <a:gd name="T14" fmla="*/ 2371 w 2371"/>
                  <a:gd name="T15" fmla="*/ 1676 h 3072"/>
                  <a:gd name="T16" fmla="*/ 0 w 2371"/>
                  <a:gd name="T17" fmla="*/ 3072 h 3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1" h="3072">
                    <a:moveTo>
                      <a:pt x="0" y="3072"/>
                    </a:moveTo>
                    <a:lnTo>
                      <a:pt x="0" y="3072"/>
                    </a:lnTo>
                    <a:lnTo>
                      <a:pt x="0" y="3072"/>
                    </a:lnTo>
                    <a:moveTo>
                      <a:pt x="0" y="3072"/>
                    </a:moveTo>
                    <a:lnTo>
                      <a:pt x="2296" y="0"/>
                    </a:lnTo>
                    <a:lnTo>
                      <a:pt x="2363" y="1484"/>
                    </a:lnTo>
                    <a:lnTo>
                      <a:pt x="2371" y="1676"/>
                    </a:lnTo>
                    <a:lnTo>
                      <a:pt x="2371" y="1676"/>
                    </a:lnTo>
                    <a:lnTo>
                      <a:pt x="0" y="3072"/>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17" name="Freeform 437"/>
              <p:cNvSpPr>
                <a:spLocks/>
              </p:cNvSpPr>
              <p:nvPr/>
            </p:nvSpPr>
            <p:spPr bwMode="gray">
              <a:xfrm>
                <a:off x="-8102600" y="551497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18" name="Freeform 438"/>
              <p:cNvSpPr>
                <a:spLocks/>
              </p:cNvSpPr>
              <p:nvPr/>
            </p:nvSpPr>
            <p:spPr bwMode="gray">
              <a:xfrm>
                <a:off x="-8159750" y="4238625"/>
                <a:ext cx="50800" cy="1130300"/>
              </a:xfrm>
              <a:custGeom>
                <a:avLst/>
                <a:gdLst>
                  <a:gd name="T0" fmla="*/ 32 w 32"/>
                  <a:gd name="T1" fmla="*/ 712 h 712"/>
                  <a:gd name="T2" fmla="*/ 0 w 32"/>
                  <a:gd name="T3" fmla="*/ 0 h 712"/>
                  <a:gd name="T4" fmla="*/ 0 w 32"/>
                  <a:gd name="T5" fmla="*/ 0 h 712"/>
                  <a:gd name="T6" fmla="*/ 32 w 32"/>
                  <a:gd name="T7" fmla="*/ 712 h 712"/>
                </a:gdLst>
                <a:ahLst/>
                <a:cxnLst>
                  <a:cxn ang="0">
                    <a:pos x="T0" y="T1"/>
                  </a:cxn>
                  <a:cxn ang="0">
                    <a:pos x="T2" y="T3"/>
                  </a:cxn>
                  <a:cxn ang="0">
                    <a:pos x="T4" y="T5"/>
                  </a:cxn>
                  <a:cxn ang="0">
                    <a:pos x="T6" y="T7"/>
                  </a:cxn>
                </a:cxnLst>
                <a:rect l="0" t="0" r="r" b="b"/>
                <a:pathLst>
                  <a:path w="32" h="712">
                    <a:moveTo>
                      <a:pt x="32" y="712"/>
                    </a:moveTo>
                    <a:lnTo>
                      <a:pt x="0" y="0"/>
                    </a:lnTo>
                    <a:lnTo>
                      <a:pt x="0" y="0"/>
                    </a:lnTo>
                    <a:lnTo>
                      <a:pt x="32" y="71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19" name="Freeform 439"/>
              <p:cNvSpPr>
                <a:spLocks/>
              </p:cNvSpPr>
              <p:nvPr/>
            </p:nvSpPr>
            <p:spPr bwMode="gray">
              <a:xfrm>
                <a:off x="-8101013" y="4597400"/>
                <a:ext cx="2635250" cy="1195388"/>
              </a:xfrm>
              <a:custGeom>
                <a:avLst/>
                <a:gdLst>
                  <a:gd name="T0" fmla="*/ 1660 w 1660"/>
                  <a:gd name="T1" fmla="*/ 753 h 753"/>
                  <a:gd name="T2" fmla="*/ 0 w 1660"/>
                  <a:gd name="T3" fmla="*/ 578 h 753"/>
                  <a:gd name="T4" fmla="*/ 0 w 1660"/>
                  <a:gd name="T5" fmla="*/ 578 h 753"/>
                  <a:gd name="T6" fmla="*/ 682 w 1660"/>
                  <a:gd name="T7" fmla="*/ 0 h 753"/>
                  <a:gd name="T8" fmla="*/ 1660 w 1660"/>
                  <a:gd name="T9" fmla="*/ 753 h 753"/>
                  <a:gd name="T10" fmla="*/ 1660 w 1660"/>
                  <a:gd name="T11" fmla="*/ 753 h 753"/>
                </a:gdLst>
                <a:ahLst/>
                <a:cxnLst>
                  <a:cxn ang="0">
                    <a:pos x="T0" y="T1"/>
                  </a:cxn>
                  <a:cxn ang="0">
                    <a:pos x="T2" y="T3"/>
                  </a:cxn>
                  <a:cxn ang="0">
                    <a:pos x="T4" y="T5"/>
                  </a:cxn>
                  <a:cxn ang="0">
                    <a:pos x="T6" y="T7"/>
                  </a:cxn>
                  <a:cxn ang="0">
                    <a:pos x="T8" y="T9"/>
                  </a:cxn>
                  <a:cxn ang="0">
                    <a:pos x="T10" y="T11"/>
                  </a:cxn>
                </a:cxnLst>
                <a:rect l="0" t="0" r="r" b="b"/>
                <a:pathLst>
                  <a:path w="1660" h="753">
                    <a:moveTo>
                      <a:pt x="1660" y="753"/>
                    </a:moveTo>
                    <a:lnTo>
                      <a:pt x="0" y="578"/>
                    </a:lnTo>
                    <a:lnTo>
                      <a:pt x="0" y="578"/>
                    </a:lnTo>
                    <a:lnTo>
                      <a:pt x="682" y="0"/>
                    </a:lnTo>
                    <a:lnTo>
                      <a:pt x="1660" y="753"/>
                    </a:lnTo>
                    <a:lnTo>
                      <a:pt x="1660" y="753"/>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20" name="Freeform 440"/>
              <p:cNvSpPr>
                <a:spLocks/>
              </p:cNvSpPr>
              <p:nvPr/>
            </p:nvSpPr>
            <p:spPr bwMode="gray">
              <a:xfrm>
                <a:off x="-8102600" y="5514975"/>
                <a:ext cx="1588"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21" name="Freeform 441"/>
              <p:cNvSpPr>
                <a:spLocks/>
              </p:cNvSpPr>
              <p:nvPr/>
            </p:nvSpPr>
            <p:spPr bwMode="gray">
              <a:xfrm>
                <a:off x="-9909175" y="5514975"/>
                <a:ext cx="1806575" cy="2144713"/>
              </a:xfrm>
              <a:custGeom>
                <a:avLst/>
                <a:gdLst>
                  <a:gd name="T0" fmla="*/ 999 w 1138"/>
                  <a:gd name="T1" fmla="*/ 1351 h 1351"/>
                  <a:gd name="T2" fmla="*/ 662 w 1138"/>
                  <a:gd name="T3" fmla="*/ 1351 h 1351"/>
                  <a:gd name="T4" fmla="*/ 0 w 1138"/>
                  <a:gd name="T5" fmla="*/ 670 h 1351"/>
                  <a:gd name="T6" fmla="*/ 0 w 1138"/>
                  <a:gd name="T7" fmla="*/ 670 h 1351"/>
                  <a:gd name="T8" fmla="*/ 1138 w 1138"/>
                  <a:gd name="T9" fmla="*/ 0 h 1351"/>
                  <a:gd name="T10" fmla="*/ 999 w 1138"/>
                  <a:gd name="T11" fmla="*/ 1351 h 1351"/>
                </a:gdLst>
                <a:ahLst/>
                <a:cxnLst>
                  <a:cxn ang="0">
                    <a:pos x="T0" y="T1"/>
                  </a:cxn>
                  <a:cxn ang="0">
                    <a:pos x="T2" y="T3"/>
                  </a:cxn>
                  <a:cxn ang="0">
                    <a:pos x="T4" y="T5"/>
                  </a:cxn>
                  <a:cxn ang="0">
                    <a:pos x="T6" y="T7"/>
                  </a:cxn>
                  <a:cxn ang="0">
                    <a:pos x="T8" y="T9"/>
                  </a:cxn>
                  <a:cxn ang="0">
                    <a:pos x="T10" y="T11"/>
                  </a:cxn>
                </a:cxnLst>
                <a:rect l="0" t="0" r="r" b="b"/>
                <a:pathLst>
                  <a:path w="1138" h="1351">
                    <a:moveTo>
                      <a:pt x="999" y="1351"/>
                    </a:moveTo>
                    <a:lnTo>
                      <a:pt x="662" y="1351"/>
                    </a:lnTo>
                    <a:lnTo>
                      <a:pt x="0" y="670"/>
                    </a:lnTo>
                    <a:lnTo>
                      <a:pt x="0" y="670"/>
                    </a:lnTo>
                    <a:lnTo>
                      <a:pt x="1138" y="0"/>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22" name="Freeform 442"/>
              <p:cNvSpPr>
                <a:spLocks/>
              </p:cNvSpPr>
              <p:nvPr/>
            </p:nvSpPr>
            <p:spPr bwMode="gray">
              <a:xfrm>
                <a:off x="-5465763" y="4816475"/>
                <a:ext cx="1250950" cy="1479550"/>
              </a:xfrm>
              <a:custGeom>
                <a:avLst/>
                <a:gdLst>
                  <a:gd name="T0" fmla="*/ 788 w 788"/>
                  <a:gd name="T1" fmla="*/ 932 h 932"/>
                  <a:gd name="T2" fmla="*/ 0 w 788"/>
                  <a:gd name="T3" fmla="*/ 615 h 932"/>
                  <a:gd name="T4" fmla="*/ 0 w 788"/>
                  <a:gd name="T5" fmla="*/ 615 h 932"/>
                  <a:gd name="T6" fmla="*/ 0 w 788"/>
                  <a:gd name="T7" fmla="*/ 615 h 932"/>
                  <a:gd name="T8" fmla="*/ 498 w 788"/>
                  <a:gd name="T9" fmla="*/ 0 h 932"/>
                  <a:gd name="T10" fmla="*/ 788 w 788"/>
                  <a:gd name="T11" fmla="*/ 932 h 932"/>
                </a:gdLst>
                <a:ahLst/>
                <a:cxnLst>
                  <a:cxn ang="0">
                    <a:pos x="T0" y="T1"/>
                  </a:cxn>
                  <a:cxn ang="0">
                    <a:pos x="T2" y="T3"/>
                  </a:cxn>
                  <a:cxn ang="0">
                    <a:pos x="T4" y="T5"/>
                  </a:cxn>
                  <a:cxn ang="0">
                    <a:pos x="T6" y="T7"/>
                  </a:cxn>
                  <a:cxn ang="0">
                    <a:pos x="T8" y="T9"/>
                  </a:cxn>
                  <a:cxn ang="0">
                    <a:pos x="T10" y="T11"/>
                  </a:cxn>
                </a:cxnLst>
                <a:rect l="0" t="0" r="r" b="b"/>
                <a:pathLst>
                  <a:path w="788" h="932">
                    <a:moveTo>
                      <a:pt x="788" y="932"/>
                    </a:moveTo>
                    <a:lnTo>
                      <a:pt x="0" y="615"/>
                    </a:lnTo>
                    <a:lnTo>
                      <a:pt x="0" y="615"/>
                    </a:lnTo>
                    <a:lnTo>
                      <a:pt x="0" y="615"/>
                    </a:lnTo>
                    <a:lnTo>
                      <a:pt x="498" y="0"/>
                    </a:lnTo>
                    <a:lnTo>
                      <a:pt x="788"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23" name="Freeform 443"/>
              <p:cNvSpPr>
                <a:spLocks/>
              </p:cNvSpPr>
              <p:nvPr/>
            </p:nvSpPr>
            <p:spPr bwMode="gray">
              <a:xfrm>
                <a:off x="-6213475" y="2655887"/>
                <a:ext cx="1800225" cy="2160588"/>
              </a:xfrm>
              <a:custGeom>
                <a:avLst/>
                <a:gdLst>
                  <a:gd name="T0" fmla="*/ 969 w 1134"/>
                  <a:gd name="T1" fmla="*/ 1361 h 1361"/>
                  <a:gd name="T2" fmla="*/ 969 w 1134"/>
                  <a:gd name="T3" fmla="*/ 1361 h 1361"/>
                  <a:gd name="T4" fmla="*/ 0 w 1134"/>
                  <a:gd name="T5" fmla="*/ 0 h 1361"/>
                  <a:gd name="T6" fmla="*/ 0 w 1134"/>
                  <a:gd name="T7" fmla="*/ 0 h 1361"/>
                  <a:gd name="T8" fmla="*/ 1134 w 1134"/>
                  <a:gd name="T9" fmla="*/ 288 h 1361"/>
                  <a:gd name="T10" fmla="*/ 969 w 1134"/>
                  <a:gd name="T11" fmla="*/ 1361 h 1361"/>
                </a:gdLst>
                <a:ahLst/>
                <a:cxnLst>
                  <a:cxn ang="0">
                    <a:pos x="T0" y="T1"/>
                  </a:cxn>
                  <a:cxn ang="0">
                    <a:pos x="T2" y="T3"/>
                  </a:cxn>
                  <a:cxn ang="0">
                    <a:pos x="T4" y="T5"/>
                  </a:cxn>
                  <a:cxn ang="0">
                    <a:pos x="T6" y="T7"/>
                  </a:cxn>
                  <a:cxn ang="0">
                    <a:pos x="T8" y="T9"/>
                  </a:cxn>
                  <a:cxn ang="0">
                    <a:pos x="T10" y="T11"/>
                  </a:cxn>
                </a:cxnLst>
                <a:rect l="0" t="0" r="r" b="b"/>
                <a:pathLst>
                  <a:path w="1134" h="1361">
                    <a:moveTo>
                      <a:pt x="969" y="1361"/>
                    </a:moveTo>
                    <a:lnTo>
                      <a:pt x="969" y="1361"/>
                    </a:lnTo>
                    <a:lnTo>
                      <a:pt x="0" y="0"/>
                    </a:lnTo>
                    <a:lnTo>
                      <a:pt x="0" y="0"/>
                    </a:lnTo>
                    <a:lnTo>
                      <a:pt x="1134" y="288"/>
                    </a:lnTo>
                    <a:lnTo>
                      <a:pt x="969" y="1361"/>
                    </a:lnTo>
                    <a:close/>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24" name="Rectangle 444"/>
              <p:cNvSpPr>
                <a:spLocks noChangeArrowheads="1"/>
              </p:cNvSpPr>
              <p:nvPr/>
            </p:nvSpPr>
            <p:spPr bwMode="gray">
              <a:xfrm>
                <a:off x="-6213475" y="2655887"/>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25" name="Rectangle 445"/>
              <p:cNvSpPr>
                <a:spLocks noChangeArrowheads="1"/>
              </p:cNvSpPr>
              <p:nvPr/>
            </p:nvSpPr>
            <p:spPr bwMode="gray">
              <a:xfrm>
                <a:off x="-6213475" y="2655887"/>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26" name="Freeform 446"/>
              <p:cNvSpPr>
                <a:spLocks/>
              </p:cNvSpPr>
              <p:nvPr/>
            </p:nvSpPr>
            <p:spPr bwMode="gray">
              <a:xfrm>
                <a:off x="-4675188" y="4237037"/>
                <a:ext cx="1903413" cy="2058988"/>
              </a:xfrm>
              <a:custGeom>
                <a:avLst/>
                <a:gdLst>
                  <a:gd name="T0" fmla="*/ 290 w 1199"/>
                  <a:gd name="T1" fmla="*/ 1297 h 1297"/>
                  <a:gd name="T2" fmla="*/ 290 w 1199"/>
                  <a:gd name="T3" fmla="*/ 1297 h 1297"/>
                  <a:gd name="T4" fmla="*/ 0 w 1199"/>
                  <a:gd name="T5" fmla="*/ 365 h 1297"/>
                  <a:gd name="T6" fmla="*/ 0 w 1199"/>
                  <a:gd name="T7" fmla="*/ 365 h 1297"/>
                  <a:gd name="T8" fmla="*/ 0 w 1199"/>
                  <a:gd name="T9" fmla="*/ 365 h 1297"/>
                  <a:gd name="T10" fmla="*/ 0 w 1199"/>
                  <a:gd name="T11" fmla="*/ 365 h 1297"/>
                  <a:gd name="T12" fmla="*/ 1199 w 1199"/>
                  <a:gd name="T13" fmla="*/ 0 h 1297"/>
                  <a:gd name="T14" fmla="*/ 290 w 1199"/>
                  <a:gd name="T15" fmla="*/ 1297 h 1297"/>
                  <a:gd name="T16" fmla="*/ 290 w 1199"/>
                  <a:gd name="T17" fmla="*/ 1297 h 1297"/>
                  <a:gd name="T18" fmla="*/ 290 w 1199"/>
                  <a:gd name="T19" fmla="*/ 129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9" h="1297">
                    <a:moveTo>
                      <a:pt x="290" y="1297"/>
                    </a:moveTo>
                    <a:lnTo>
                      <a:pt x="290" y="1297"/>
                    </a:lnTo>
                    <a:lnTo>
                      <a:pt x="0" y="365"/>
                    </a:lnTo>
                    <a:lnTo>
                      <a:pt x="0" y="365"/>
                    </a:lnTo>
                    <a:lnTo>
                      <a:pt x="0" y="365"/>
                    </a:lnTo>
                    <a:lnTo>
                      <a:pt x="0" y="365"/>
                    </a:lnTo>
                    <a:lnTo>
                      <a:pt x="1199" y="0"/>
                    </a:lnTo>
                    <a:lnTo>
                      <a:pt x="290" y="1297"/>
                    </a:lnTo>
                    <a:lnTo>
                      <a:pt x="290" y="1297"/>
                    </a:lnTo>
                    <a:lnTo>
                      <a:pt x="290" y="1297"/>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27" name="Freeform 447"/>
              <p:cNvSpPr>
                <a:spLocks/>
              </p:cNvSpPr>
              <p:nvPr/>
            </p:nvSpPr>
            <p:spPr bwMode="gray">
              <a:xfrm>
                <a:off x="-4675188" y="4816475"/>
                <a:ext cx="460375" cy="1479550"/>
              </a:xfrm>
              <a:custGeom>
                <a:avLst/>
                <a:gdLst>
                  <a:gd name="T0" fmla="*/ 290 w 290"/>
                  <a:gd name="T1" fmla="*/ 932 h 932"/>
                  <a:gd name="T2" fmla="*/ 290 w 290"/>
                  <a:gd name="T3" fmla="*/ 932 h 932"/>
                  <a:gd name="T4" fmla="*/ 0 w 290"/>
                  <a:gd name="T5" fmla="*/ 0 h 932"/>
                  <a:gd name="T6" fmla="*/ 0 w 290"/>
                  <a:gd name="T7" fmla="*/ 0 h 932"/>
                  <a:gd name="T8" fmla="*/ 290 w 290"/>
                  <a:gd name="T9" fmla="*/ 932 h 932"/>
                </a:gdLst>
                <a:ahLst/>
                <a:cxnLst>
                  <a:cxn ang="0">
                    <a:pos x="T0" y="T1"/>
                  </a:cxn>
                  <a:cxn ang="0">
                    <a:pos x="T2" y="T3"/>
                  </a:cxn>
                  <a:cxn ang="0">
                    <a:pos x="T4" y="T5"/>
                  </a:cxn>
                  <a:cxn ang="0">
                    <a:pos x="T6" y="T7"/>
                  </a:cxn>
                  <a:cxn ang="0">
                    <a:pos x="T8" y="T9"/>
                  </a:cxn>
                </a:cxnLst>
                <a:rect l="0" t="0" r="r" b="b"/>
                <a:pathLst>
                  <a:path w="290" h="932">
                    <a:moveTo>
                      <a:pt x="290" y="932"/>
                    </a:moveTo>
                    <a:lnTo>
                      <a:pt x="290" y="932"/>
                    </a:lnTo>
                    <a:lnTo>
                      <a:pt x="0" y="0"/>
                    </a:lnTo>
                    <a:lnTo>
                      <a:pt x="0" y="0"/>
                    </a:lnTo>
                    <a:lnTo>
                      <a:pt x="290"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28" name="Freeform 448"/>
              <p:cNvSpPr>
                <a:spLocks/>
              </p:cNvSpPr>
              <p:nvPr/>
            </p:nvSpPr>
            <p:spPr bwMode="gray">
              <a:xfrm>
                <a:off x="-7018338" y="2655887"/>
                <a:ext cx="2343150" cy="2160588"/>
              </a:xfrm>
              <a:custGeom>
                <a:avLst/>
                <a:gdLst>
                  <a:gd name="T0" fmla="*/ 1476 w 1476"/>
                  <a:gd name="T1" fmla="*/ 1361 h 1361"/>
                  <a:gd name="T2" fmla="*/ 0 w 1476"/>
                  <a:gd name="T3" fmla="*/ 1223 h 1361"/>
                  <a:gd name="T4" fmla="*/ 507 w 1476"/>
                  <a:gd name="T5" fmla="*/ 0 h 1361"/>
                  <a:gd name="T6" fmla="*/ 1476 w 1476"/>
                  <a:gd name="T7" fmla="*/ 1361 h 1361"/>
                </a:gdLst>
                <a:ahLst/>
                <a:cxnLst>
                  <a:cxn ang="0">
                    <a:pos x="T0" y="T1"/>
                  </a:cxn>
                  <a:cxn ang="0">
                    <a:pos x="T2" y="T3"/>
                  </a:cxn>
                  <a:cxn ang="0">
                    <a:pos x="T4" y="T5"/>
                  </a:cxn>
                  <a:cxn ang="0">
                    <a:pos x="T6" y="T7"/>
                  </a:cxn>
                </a:cxnLst>
                <a:rect l="0" t="0" r="r" b="b"/>
                <a:pathLst>
                  <a:path w="1476" h="1361">
                    <a:moveTo>
                      <a:pt x="1476" y="1361"/>
                    </a:moveTo>
                    <a:lnTo>
                      <a:pt x="0" y="1223"/>
                    </a:lnTo>
                    <a:lnTo>
                      <a:pt x="507" y="0"/>
                    </a:lnTo>
                    <a:lnTo>
                      <a:pt x="1476" y="136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29" name="Freeform 449"/>
              <p:cNvSpPr>
                <a:spLocks/>
              </p:cNvSpPr>
              <p:nvPr/>
            </p:nvSpPr>
            <p:spPr bwMode="gray">
              <a:xfrm>
                <a:off x="-7018338" y="2655887"/>
                <a:ext cx="804863" cy="1941513"/>
              </a:xfrm>
              <a:custGeom>
                <a:avLst/>
                <a:gdLst>
                  <a:gd name="T0" fmla="*/ 0 w 507"/>
                  <a:gd name="T1" fmla="*/ 1223 h 1223"/>
                  <a:gd name="T2" fmla="*/ 507 w 507"/>
                  <a:gd name="T3" fmla="*/ 0 h 1223"/>
                  <a:gd name="T4" fmla="*/ 507 w 507"/>
                  <a:gd name="T5" fmla="*/ 0 h 1223"/>
                  <a:gd name="T6" fmla="*/ 0 w 507"/>
                  <a:gd name="T7" fmla="*/ 1223 h 1223"/>
                </a:gdLst>
                <a:ahLst/>
                <a:cxnLst>
                  <a:cxn ang="0">
                    <a:pos x="T0" y="T1"/>
                  </a:cxn>
                  <a:cxn ang="0">
                    <a:pos x="T2" y="T3"/>
                  </a:cxn>
                  <a:cxn ang="0">
                    <a:pos x="T4" y="T5"/>
                  </a:cxn>
                  <a:cxn ang="0">
                    <a:pos x="T6" y="T7"/>
                  </a:cxn>
                </a:cxnLst>
                <a:rect l="0" t="0" r="r" b="b"/>
                <a:pathLst>
                  <a:path w="507" h="1223">
                    <a:moveTo>
                      <a:pt x="0" y="1223"/>
                    </a:moveTo>
                    <a:lnTo>
                      <a:pt x="507" y="0"/>
                    </a:lnTo>
                    <a:lnTo>
                      <a:pt x="507" y="0"/>
                    </a:lnTo>
                    <a:lnTo>
                      <a:pt x="0" y="122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30" name="Rectangle 450"/>
              <p:cNvSpPr>
                <a:spLocks noChangeArrowheads="1"/>
              </p:cNvSpPr>
              <p:nvPr/>
            </p:nvSpPr>
            <p:spPr bwMode="gray">
              <a:xfrm>
                <a:off x="-6213475" y="2655887"/>
                <a:ext cx="1588" cy="1588"/>
              </a:xfrm>
              <a:prstGeom prst="rect">
                <a:avLst/>
              </a:prstGeom>
              <a:solidFill>
                <a:srgbClr val="5698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31" name="Freeform 451"/>
              <p:cNvSpPr>
                <a:spLocks/>
              </p:cNvSpPr>
              <p:nvPr/>
            </p:nvSpPr>
            <p:spPr bwMode="gray">
              <a:xfrm>
                <a:off x="-6213475" y="2655887"/>
                <a:ext cx="1538288" cy="2160588"/>
              </a:xfrm>
              <a:custGeom>
                <a:avLst/>
                <a:gdLst>
                  <a:gd name="T0" fmla="*/ 969 w 969"/>
                  <a:gd name="T1" fmla="*/ 1361 h 1361"/>
                  <a:gd name="T2" fmla="*/ 969 w 969"/>
                  <a:gd name="T3" fmla="*/ 1361 h 1361"/>
                  <a:gd name="T4" fmla="*/ 0 w 969"/>
                  <a:gd name="T5" fmla="*/ 0 h 1361"/>
                  <a:gd name="T6" fmla="*/ 0 w 969"/>
                  <a:gd name="T7" fmla="*/ 0 h 1361"/>
                  <a:gd name="T8" fmla="*/ 969 w 969"/>
                  <a:gd name="T9" fmla="*/ 1361 h 1361"/>
                </a:gdLst>
                <a:ahLst/>
                <a:cxnLst>
                  <a:cxn ang="0">
                    <a:pos x="T0" y="T1"/>
                  </a:cxn>
                  <a:cxn ang="0">
                    <a:pos x="T2" y="T3"/>
                  </a:cxn>
                  <a:cxn ang="0">
                    <a:pos x="T4" y="T5"/>
                  </a:cxn>
                  <a:cxn ang="0">
                    <a:pos x="T6" y="T7"/>
                  </a:cxn>
                  <a:cxn ang="0">
                    <a:pos x="T8" y="T9"/>
                  </a:cxn>
                </a:cxnLst>
                <a:rect l="0" t="0" r="r" b="b"/>
                <a:pathLst>
                  <a:path w="969" h="1361">
                    <a:moveTo>
                      <a:pt x="969" y="1361"/>
                    </a:moveTo>
                    <a:lnTo>
                      <a:pt x="969" y="1361"/>
                    </a:lnTo>
                    <a:lnTo>
                      <a:pt x="0" y="0"/>
                    </a:lnTo>
                    <a:lnTo>
                      <a:pt x="0" y="0"/>
                    </a:lnTo>
                    <a:lnTo>
                      <a:pt x="969" y="1361"/>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32" name="Freeform 452"/>
              <p:cNvSpPr>
                <a:spLocks/>
              </p:cNvSpPr>
              <p:nvPr/>
            </p:nvSpPr>
            <p:spPr bwMode="gray">
              <a:xfrm>
                <a:off x="-6213475" y="2655887"/>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33" name="Freeform 453"/>
              <p:cNvSpPr>
                <a:spLocks/>
              </p:cNvSpPr>
              <p:nvPr/>
            </p:nvSpPr>
            <p:spPr bwMode="gray">
              <a:xfrm>
                <a:off x="-4675188" y="3113087"/>
                <a:ext cx="1903413" cy="1703388"/>
              </a:xfrm>
              <a:custGeom>
                <a:avLst/>
                <a:gdLst>
                  <a:gd name="T0" fmla="*/ 0 w 1199"/>
                  <a:gd name="T1" fmla="*/ 1073 h 1073"/>
                  <a:gd name="T2" fmla="*/ 165 w 1199"/>
                  <a:gd name="T3" fmla="*/ 0 h 1073"/>
                  <a:gd name="T4" fmla="*/ 1199 w 1199"/>
                  <a:gd name="T5" fmla="*/ 708 h 1073"/>
                  <a:gd name="T6" fmla="*/ 0 w 1199"/>
                  <a:gd name="T7" fmla="*/ 1073 h 1073"/>
                </a:gdLst>
                <a:ahLst/>
                <a:cxnLst>
                  <a:cxn ang="0">
                    <a:pos x="T0" y="T1"/>
                  </a:cxn>
                  <a:cxn ang="0">
                    <a:pos x="T2" y="T3"/>
                  </a:cxn>
                  <a:cxn ang="0">
                    <a:pos x="T4" y="T5"/>
                  </a:cxn>
                  <a:cxn ang="0">
                    <a:pos x="T6" y="T7"/>
                  </a:cxn>
                </a:cxnLst>
                <a:rect l="0" t="0" r="r" b="b"/>
                <a:pathLst>
                  <a:path w="1199" h="1073">
                    <a:moveTo>
                      <a:pt x="0" y="1073"/>
                    </a:moveTo>
                    <a:lnTo>
                      <a:pt x="165" y="0"/>
                    </a:lnTo>
                    <a:lnTo>
                      <a:pt x="1199" y="708"/>
                    </a:lnTo>
                    <a:lnTo>
                      <a:pt x="0" y="1073"/>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34" name="Freeform 454"/>
              <p:cNvSpPr>
                <a:spLocks/>
              </p:cNvSpPr>
              <p:nvPr/>
            </p:nvSpPr>
            <p:spPr bwMode="gray">
              <a:xfrm>
                <a:off x="-7018338" y="4597400"/>
                <a:ext cx="2343150" cy="1195388"/>
              </a:xfrm>
              <a:custGeom>
                <a:avLst/>
                <a:gdLst>
                  <a:gd name="T0" fmla="*/ 978 w 1476"/>
                  <a:gd name="T1" fmla="*/ 753 h 753"/>
                  <a:gd name="T2" fmla="*/ 978 w 1476"/>
                  <a:gd name="T3" fmla="*/ 753 h 753"/>
                  <a:gd name="T4" fmla="*/ 0 w 1476"/>
                  <a:gd name="T5" fmla="*/ 0 h 753"/>
                  <a:gd name="T6" fmla="*/ 1476 w 1476"/>
                  <a:gd name="T7" fmla="*/ 138 h 753"/>
                  <a:gd name="T8" fmla="*/ 978 w 1476"/>
                  <a:gd name="T9" fmla="*/ 753 h 753"/>
                </a:gdLst>
                <a:ahLst/>
                <a:cxnLst>
                  <a:cxn ang="0">
                    <a:pos x="T0" y="T1"/>
                  </a:cxn>
                  <a:cxn ang="0">
                    <a:pos x="T2" y="T3"/>
                  </a:cxn>
                  <a:cxn ang="0">
                    <a:pos x="T4" y="T5"/>
                  </a:cxn>
                  <a:cxn ang="0">
                    <a:pos x="T6" y="T7"/>
                  </a:cxn>
                  <a:cxn ang="0">
                    <a:pos x="T8" y="T9"/>
                  </a:cxn>
                </a:cxnLst>
                <a:rect l="0" t="0" r="r" b="b"/>
                <a:pathLst>
                  <a:path w="1476" h="753">
                    <a:moveTo>
                      <a:pt x="978" y="753"/>
                    </a:moveTo>
                    <a:lnTo>
                      <a:pt x="978" y="753"/>
                    </a:lnTo>
                    <a:lnTo>
                      <a:pt x="0" y="0"/>
                    </a:lnTo>
                    <a:lnTo>
                      <a:pt x="1476" y="138"/>
                    </a:lnTo>
                    <a:lnTo>
                      <a:pt x="978" y="7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35" name="Line 455"/>
              <p:cNvSpPr>
                <a:spLocks noChangeShapeType="1"/>
              </p:cNvSpPr>
              <p:nvPr/>
            </p:nvSpPr>
            <p:spPr bwMode="gray">
              <a:xfrm>
                <a:off x="-7643813" y="76596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36" name="Freeform 456"/>
              <p:cNvSpPr>
                <a:spLocks/>
              </p:cNvSpPr>
              <p:nvPr/>
            </p:nvSpPr>
            <p:spPr bwMode="gray">
              <a:xfrm>
                <a:off x="-7643813" y="6911975"/>
                <a:ext cx="1103313" cy="747713"/>
              </a:xfrm>
              <a:custGeom>
                <a:avLst/>
                <a:gdLst>
                  <a:gd name="T0" fmla="*/ 0 w 695"/>
                  <a:gd name="T1" fmla="*/ 471 h 471"/>
                  <a:gd name="T2" fmla="*/ 0 w 695"/>
                  <a:gd name="T3" fmla="*/ 471 h 471"/>
                  <a:gd name="T4" fmla="*/ 695 w 695"/>
                  <a:gd name="T5" fmla="*/ 0 h 471"/>
                  <a:gd name="T6" fmla="*/ 0 w 695"/>
                  <a:gd name="T7" fmla="*/ 471 h 471"/>
                </a:gdLst>
                <a:ahLst/>
                <a:cxnLst>
                  <a:cxn ang="0">
                    <a:pos x="T0" y="T1"/>
                  </a:cxn>
                  <a:cxn ang="0">
                    <a:pos x="T2" y="T3"/>
                  </a:cxn>
                  <a:cxn ang="0">
                    <a:pos x="T4" y="T5"/>
                  </a:cxn>
                  <a:cxn ang="0">
                    <a:pos x="T6" y="T7"/>
                  </a:cxn>
                </a:cxnLst>
                <a:rect l="0" t="0" r="r" b="b"/>
                <a:pathLst>
                  <a:path w="695" h="471">
                    <a:moveTo>
                      <a:pt x="0" y="471"/>
                    </a:moveTo>
                    <a:lnTo>
                      <a:pt x="0" y="471"/>
                    </a:lnTo>
                    <a:lnTo>
                      <a:pt x="695" y="0"/>
                    </a:lnTo>
                    <a:lnTo>
                      <a:pt x="0" y="47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37" name="Freeform 457"/>
              <p:cNvSpPr>
                <a:spLocks/>
              </p:cNvSpPr>
              <p:nvPr/>
            </p:nvSpPr>
            <p:spPr bwMode="gray">
              <a:xfrm>
                <a:off x="-5465763" y="5792787"/>
                <a:ext cx="1524000" cy="1866900"/>
              </a:xfrm>
              <a:custGeom>
                <a:avLst/>
                <a:gdLst>
                  <a:gd name="T0" fmla="*/ 960 w 960"/>
                  <a:gd name="T1" fmla="*/ 1176 h 1176"/>
                  <a:gd name="T2" fmla="*/ 823 w 960"/>
                  <a:gd name="T3" fmla="*/ 1176 h 1176"/>
                  <a:gd name="T4" fmla="*/ 0 w 960"/>
                  <a:gd name="T5" fmla="*/ 0 h 1176"/>
                  <a:gd name="T6" fmla="*/ 788 w 960"/>
                  <a:gd name="T7" fmla="*/ 317 h 1176"/>
                  <a:gd name="T8" fmla="*/ 960 w 960"/>
                  <a:gd name="T9" fmla="*/ 1176 h 1176"/>
                </a:gdLst>
                <a:ahLst/>
                <a:cxnLst>
                  <a:cxn ang="0">
                    <a:pos x="T0" y="T1"/>
                  </a:cxn>
                  <a:cxn ang="0">
                    <a:pos x="T2" y="T3"/>
                  </a:cxn>
                  <a:cxn ang="0">
                    <a:pos x="T4" y="T5"/>
                  </a:cxn>
                  <a:cxn ang="0">
                    <a:pos x="T6" y="T7"/>
                  </a:cxn>
                  <a:cxn ang="0">
                    <a:pos x="T8" y="T9"/>
                  </a:cxn>
                </a:cxnLst>
                <a:rect l="0" t="0" r="r" b="b"/>
                <a:pathLst>
                  <a:path w="960" h="1176">
                    <a:moveTo>
                      <a:pt x="960" y="1176"/>
                    </a:moveTo>
                    <a:lnTo>
                      <a:pt x="823" y="1176"/>
                    </a:lnTo>
                    <a:lnTo>
                      <a:pt x="0" y="0"/>
                    </a:lnTo>
                    <a:lnTo>
                      <a:pt x="788" y="317"/>
                    </a:lnTo>
                    <a:lnTo>
                      <a:pt x="960" y="117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38" name="Rectangle 458"/>
              <p:cNvSpPr>
                <a:spLocks noChangeArrowheads="1"/>
              </p:cNvSpPr>
              <p:nvPr/>
            </p:nvSpPr>
            <p:spPr bwMode="gray">
              <a:xfrm>
                <a:off x="-5465763" y="5792787"/>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39" name="Freeform 459"/>
              <p:cNvSpPr>
                <a:spLocks/>
              </p:cNvSpPr>
              <p:nvPr/>
            </p:nvSpPr>
            <p:spPr bwMode="gray">
              <a:xfrm>
                <a:off x="-6540500" y="5792787"/>
                <a:ext cx="2381250" cy="1866900"/>
              </a:xfrm>
              <a:custGeom>
                <a:avLst/>
                <a:gdLst>
                  <a:gd name="T0" fmla="*/ 1500 w 1500"/>
                  <a:gd name="T1" fmla="*/ 1176 h 1176"/>
                  <a:gd name="T2" fmla="*/ 1072 w 1500"/>
                  <a:gd name="T3" fmla="*/ 1176 h 1176"/>
                  <a:gd name="T4" fmla="*/ 0 w 1500"/>
                  <a:gd name="T5" fmla="*/ 705 h 1176"/>
                  <a:gd name="T6" fmla="*/ 677 w 1500"/>
                  <a:gd name="T7" fmla="*/ 0 h 1176"/>
                  <a:gd name="T8" fmla="*/ 677 w 1500"/>
                  <a:gd name="T9" fmla="*/ 0 h 1176"/>
                  <a:gd name="T10" fmla="*/ 1500 w 1500"/>
                  <a:gd name="T11" fmla="*/ 1176 h 1176"/>
                </a:gdLst>
                <a:ahLst/>
                <a:cxnLst>
                  <a:cxn ang="0">
                    <a:pos x="T0" y="T1"/>
                  </a:cxn>
                  <a:cxn ang="0">
                    <a:pos x="T2" y="T3"/>
                  </a:cxn>
                  <a:cxn ang="0">
                    <a:pos x="T4" y="T5"/>
                  </a:cxn>
                  <a:cxn ang="0">
                    <a:pos x="T6" y="T7"/>
                  </a:cxn>
                  <a:cxn ang="0">
                    <a:pos x="T8" y="T9"/>
                  </a:cxn>
                  <a:cxn ang="0">
                    <a:pos x="T10" y="T11"/>
                  </a:cxn>
                </a:cxnLst>
                <a:rect l="0" t="0" r="r" b="b"/>
                <a:pathLst>
                  <a:path w="1500" h="1176">
                    <a:moveTo>
                      <a:pt x="1500" y="1176"/>
                    </a:moveTo>
                    <a:lnTo>
                      <a:pt x="1072" y="1176"/>
                    </a:lnTo>
                    <a:lnTo>
                      <a:pt x="0" y="705"/>
                    </a:lnTo>
                    <a:lnTo>
                      <a:pt x="677" y="0"/>
                    </a:lnTo>
                    <a:lnTo>
                      <a:pt x="677" y="0"/>
                    </a:lnTo>
                    <a:lnTo>
                      <a:pt x="150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40" name="Freeform 460"/>
              <p:cNvSpPr>
                <a:spLocks/>
              </p:cNvSpPr>
              <p:nvPr/>
            </p:nvSpPr>
            <p:spPr bwMode="gray">
              <a:xfrm>
                <a:off x="-4214813" y="6296025"/>
                <a:ext cx="1620838" cy="1363663"/>
              </a:xfrm>
              <a:custGeom>
                <a:avLst/>
                <a:gdLst>
                  <a:gd name="T0" fmla="*/ 1021 w 1021"/>
                  <a:gd name="T1" fmla="*/ 859 h 859"/>
                  <a:gd name="T2" fmla="*/ 172 w 1021"/>
                  <a:gd name="T3" fmla="*/ 859 h 859"/>
                  <a:gd name="T4" fmla="*/ 0 w 1021"/>
                  <a:gd name="T5" fmla="*/ 0 h 859"/>
                  <a:gd name="T6" fmla="*/ 1021 w 1021"/>
                  <a:gd name="T7" fmla="*/ 859 h 859"/>
                </a:gdLst>
                <a:ahLst/>
                <a:cxnLst>
                  <a:cxn ang="0">
                    <a:pos x="T0" y="T1"/>
                  </a:cxn>
                  <a:cxn ang="0">
                    <a:pos x="T2" y="T3"/>
                  </a:cxn>
                  <a:cxn ang="0">
                    <a:pos x="T4" y="T5"/>
                  </a:cxn>
                  <a:cxn ang="0">
                    <a:pos x="T6" y="T7"/>
                  </a:cxn>
                </a:cxnLst>
                <a:rect l="0" t="0" r="r" b="b"/>
                <a:pathLst>
                  <a:path w="1021" h="859">
                    <a:moveTo>
                      <a:pt x="1021" y="859"/>
                    </a:moveTo>
                    <a:lnTo>
                      <a:pt x="172" y="859"/>
                    </a:lnTo>
                    <a:lnTo>
                      <a:pt x="0" y="0"/>
                    </a:lnTo>
                    <a:lnTo>
                      <a:pt x="1021" y="8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41" name="Freeform 461"/>
              <p:cNvSpPr>
                <a:spLocks/>
              </p:cNvSpPr>
              <p:nvPr/>
            </p:nvSpPr>
            <p:spPr bwMode="gray">
              <a:xfrm>
                <a:off x="-6540500" y="6911975"/>
                <a:ext cx="1701800" cy="747713"/>
              </a:xfrm>
              <a:custGeom>
                <a:avLst/>
                <a:gdLst>
                  <a:gd name="T0" fmla="*/ 1072 w 1072"/>
                  <a:gd name="T1" fmla="*/ 471 h 471"/>
                  <a:gd name="T2" fmla="*/ 254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254" y="471"/>
                    </a:lnTo>
                    <a:lnTo>
                      <a:pt x="0" y="0"/>
                    </a:lnTo>
                    <a:lnTo>
                      <a:pt x="1072" y="471"/>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42" name="Line 462"/>
              <p:cNvSpPr>
                <a:spLocks noChangeShapeType="1"/>
              </p:cNvSpPr>
              <p:nvPr/>
            </p:nvSpPr>
            <p:spPr bwMode="gray">
              <a:xfrm>
                <a:off x="-6137275" y="76596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43" name="Freeform 463"/>
              <p:cNvSpPr>
                <a:spLocks/>
              </p:cNvSpPr>
              <p:nvPr/>
            </p:nvSpPr>
            <p:spPr bwMode="gray">
              <a:xfrm>
                <a:off x="-6540500" y="6911975"/>
                <a:ext cx="403225" cy="747713"/>
              </a:xfrm>
              <a:custGeom>
                <a:avLst/>
                <a:gdLst>
                  <a:gd name="T0" fmla="*/ 254 w 254"/>
                  <a:gd name="T1" fmla="*/ 471 h 471"/>
                  <a:gd name="T2" fmla="*/ 254 w 254"/>
                  <a:gd name="T3" fmla="*/ 471 h 471"/>
                  <a:gd name="T4" fmla="*/ 0 w 254"/>
                  <a:gd name="T5" fmla="*/ 0 h 471"/>
                  <a:gd name="T6" fmla="*/ 254 w 254"/>
                  <a:gd name="T7" fmla="*/ 471 h 471"/>
                </a:gdLst>
                <a:ahLst/>
                <a:cxnLst>
                  <a:cxn ang="0">
                    <a:pos x="T0" y="T1"/>
                  </a:cxn>
                  <a:cxn ang="0">
                    <a:pos x="T2" y="T3"/>
                  </a:cxn>
                  <a:cxn ang="0">
                    <a:pos x="T4" y="T5"/>
                  </a:cxn>
                  <a:cxn ang="0">
                    <a:pos x="T6" y="T7"/>
                  </a:cxn>
                </a:cxnLst>
                <a:rect l="0" t="0" r="r" b="b"/>
                <a:pathLst>
                  <a:path w="254" h="471">
                    <a:moveTo>
                      <a:pt x="254" y="471"/>
                    </a:moveTo>
                    <a:lnTo>
                      <a:pt x="254" y="471"/>
                    </a:lnTo>
                    <a:lnTo>
                      <a:pt x="0" y="0"/>
                    </a:lnTo>
                    <a:lnTo>
                      <a:pt x="254" y="471"/>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44" name="Freeform 464"/>
              <p:cNvSpPr>
                <a:spLocks/>
              </p:cNvSpPr>
              <p:nvPr/>
            </p:nvSpPr>
            <p:spPr bwMode="gray">
              <a:xfrm>
                <a:off x="-6540500" y="6911975"/>
                <a:ext cx="1701800" cy="747713"/>
              </a:xfrm>
              <a:custGeom>
                <a:avLst/>
                <a:gdLst>
                  <a:gd name="T0" fmla="*/ 1072 w 1072"/>
                  <a:gd name="T1" fmla="*/ 471 h 471"/>
                  <a:gd name="T2" fmla="*/ 1072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1072" y="471"/>
                    </a:lnTo>
                    <a:lnTo>
                      <a:pt x="0" y="0"/>
                    </a:lnTo>
                    <a:lnTo>
                      <a:pt x="1072" y="47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45" name="Freeform 465"/>
              <p:cNvSpPr>
                <a:spLocks/>
              </p:cNvSpPr>
              <p:nvPr/>
            </p:nvSpPr>
            <p:spPr bwMode="gray">
              <a:xfrm>
                <a:off x="-3327400" y="-3540126"/>
                <a:ext cx="2473325" cy="2046288"/>
              </a:xfrm>
              <a:custGeom>
                <a:avLst/>
                <a:gdLst>
                  <a:gd name="T0" fmla="*/ 0 w 1558"/>
                  <a:gd name="T1" fmla="*/ 1289 h 1289"/>
                  <a:gd name="T2" fmla="*/ 916 w 1558"/>
                  <a:gd name="T3" fmla="*/ 0 h 1289"/>
                  <a:gd name="T4" fmla="*/ 1558 w 1558"/>
                  <a:gd name="T5" fmla="*/ 541 h 1289"/>
                  <a:gd name="T6" fmla="*/ 1558 w 1558"/>
                  <a:gd name="T7" fmla="*/ 890 h 1289"/>
                  <a:gd name="T8" fmla="*/ 0 w 1558"/>
                  <a:gd name="T9" fmla="*/ 1289 h 1289"/>
                </a:gdLst>
                <a:ahLst/>
                <a:cxnLst>
                  <a:cxn ang="0">
                    <a:pos x="T0" y="T1"/>
                  </a:cxn>
                  <a:cxn ang="0">
                    <a:pos x="T2" y="T3"/>
                  </a:cxn>
                  <a:cxn ang="0">
                    <a:pos x="T4" y="T5"/>
                  </a:cxn>
                  <a:cxn ang="0">
                    <a:pos x="T6" y="T7"/>
                  </a:cxn>
                  <a:cxn ang="0">
                    <a:pos x="T8" y="T9"/>
                  </a:cxn>
                </a:cxnLst>
                <a:rect l="0" t="0" r="r" b="b"/>
                <a:pathLst>
                  <a:path w="1558" h="1289">
                    <a:moveTo>
                      <a:pt x="0" y="1289"/>
                    </a:moveTo>
                    <a:lnTo>
                      <a:pt x="916" y="0"/>
                    </a:lnTo>
                    <a:lnTo>
                      <a:pt x="1558" y="541"/>
                    </a:lnTo>
                    <a:lnTo>
                      <a:pt x="1558" y="890"/>
                    </a:lnTo>
                    <a:lnTo>
                      <a:pt x="0" y="128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46" name="Freeform 466"/>
              <p:cNvSpPr>
                <a:spLocks/>
              </p:cNvSpPr>
              <p:nvPr/>
            </p:nvSpPr>
            <p:spPr bwMode="gray">
              <a:xfrm>
                <a:off x="-2697163" y="-4110038"/>
                <a:ext cx="1154113" cy="569913"/>
              </a:xfrm>
              <a:custGeom>
                <a:avLst/>
                <a:gdLst>
                  <a:gd name="T0" fmla="*/ 519 w 727"/>
                  <a:gd name="T1" fmla="*/ 359 h 359"/>
                  <a:gd name="T2" fmla="*/ 519 w 727"/>
                  <a:gd name="T3" fmla="*/ 359 h 359"/>
                  <a:gd name="T4" fmla="*/ 0 w 727"/>
                  <a:gd name="T5" fmla="*/ 0 h 359"/>
                  <a:gd name="T6" fmla="*/ 727 w 727"/>
                  <a:gd name="T7" fmla="*/ 0 h 359"/>
                  <a:gd name="T8" fmla="*/ 519 w 727"/>
                  <a:gd name="T9" fmla="*/ 359 h 359"/>
                </a:gdLst>
                <a:ahLst/>
                <a:cxnLst>
                  <a:cxn ang="0">
                    <a:pos x="T0" y="T1"/>
                  </a:cxn>
                  <a:cxn ang="0">
                    <a:pos x="T2" y="T3"/>
                  </a:cxn>
                  <a:cxn ang="0">
                    <a:pos x="T4" y="T5"/>
                  </a:cxn>
                  <a:cxn ang="0">
                    <a:pos x="T6" y="T7"/>
                  </a:cxn>
                  <a:cxn ang="0">
                    <a:pos x="T8" y="T9"/>
                  </a:cxn>
                </a:cxnLst>
                <a:rect l="0" t="0" r="r" b="b"/>
                <a:pathLst>
                  <a:path w="727" h="359">
                    <a:moveTo>
                      <a:pt x="519" y="359"/>
                    </a:moveTo>
                    <a:lnTo>
                      <a:pt x="519" y="359"/>
                    </a:lnTo>
                    <a:lnTo>
                      <a:pt x="0" y="0"/>
                    </a:lnTo>
                    <a:lnTo>
                      <a:pt x="727" y="0"/>
                    </a:lnTo>
                    <a:lnTo>
                      <a:pt x="519"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47" name="Freeform 467"/>
              <p:cNvSpPr>
                <a:spLocks/>
              </p:cNvSpPr>
              <p:nvPr/>
            </p:nvSpPr>
            <p:spPr bwMode="gray">
              <a:xfrm>
                <a:off x="-1873250" y="-3540126"/>
                <a:ext cx="1019175" cy="858838"/>
              </a:xfrm>
              <a:custGeom>
                <a:avLst/>
                <a:gdLst>
                  <a:gd name="T0" fmla="*/ 642 w 642"/>
                  <a:gd name="T1" fmla="*/ 541 h 541"/>
                  <a:gd name="T2" fmla="*/ 0 w 642"/>
                  <a:gd name="T3" fmla="*/ 0 h 541"/>
                  <a:gd name="T4" fmla="*/ 642 w 642"/>
                  <a:gd name="T5" fmla="*/ 0 h 541"/>
                  <a:gd name="T6" fmla="*/ 642 w 642"/>
                  <a:gd name="T7" fmla="*/ 541 h 541"/>
                </a:gdLst>
                <a:ahLst/>
                <a:cxnLst>
                  <a:cxn ang="0">
                    <a:pos x="T0" y="T1"/>
                  </a:cxn>
                  <a:cxn ang="0">
                    <a:pos x="T2" y="T3"/>
                  </a:cxn>
                  <a:cxn ang="0">
                    <a:pos x="T4" y="T5"/>
                  </a:cxn>
                  <a:cxn ang="0">
                    <a:pos x="T6" y="T7"/>
                  </a:cxn>
                </a:cxnLst>
                <a:rect l="0" t="0" r="r" b="b"/>
                <a:pathLst>
                  <a:path w="642" h="541">
                    <a:moveTo>
                      <a:pt x="642" y="541"/>
                    </a:moveTo>
                    <a:lnTo>
                      <a:pt x="0" y="0"/>
                    </a:lnTo>
                    <a:lnTo>
                      <a:pt x="642" y="0"/>
                    </a:lnTo>
                    <a:lnTo>
                      <a:pt x="642" y="541"/>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48" name="Freeform 468"/>
              <p:cNvSpPr>
                <a:spLocks/>
              </p:cNvSpPr>
              <p:nvPr/>
            </p:nvSpPr>
            <p:spPr bwMode="gray">
              <a:xfrm>
                <a:off x="-3668713" y="-4110038"/>
                <a:ext cx="1795463" cy="569913"/>
              </a:xfrm>
              <a:custGeom>
                <a:avLst/>
                <a:gdLst>
                  <a:gd name="T0" fmla="*/ 1131 w 1131"/>
                  <a:gd name="T1" fmla="*/ 359 h 359"/>
                  <a:gd name="T2" fmla="*/ 0 w 1131"/>
                  <a:gd name="T3" fmla="*/ 359 h 359"/>
                  <a:gd name="T4" fmla="*/ 285 w 1131"/>
                  <a:gd name="T5" fmla="*/ 0 h 359"/>
                  <a:gd name="T6" fmla="*/ 612 w 1131"/>
                  <a:gd name="T7" fmla="*/ 0 h 359"/>
                  <a:gd name="T8" fmla="*/ 1131 w 1131"/>
                  <a:gd name="T9" fmla="*/ 359 h 359"/>
                </a:gdLst>
                <a:ahLst/>
                <a:cxnLst>
                  <a:cxn ang="0">
                    <a:pos x="T0" y="T1"/>
                  </a:cxn>
                  <a:cxn ang="0">
                    <a:pos x="T2" y="T3"/>
                  </a:cxn>
                  <a:cxn ang="0">
                    <a:pos x="T4" y="T5"/>
                  </a:cxn>
                  <a:cxn ang="0">
                    <a:pos x="T6" y="T7"/>
                  </a:cxn>
                  <a:cxn ang="0">
                    <a:pos x="T8" y="T9"/>
                  </a:cxn>
                </a:cxnLst>
                <a:rect l="0" t="0" r="r" b="b"/>
                <a:pathLst>
                  <a:path w="1131" h="359">
                    <a:moveTo>
                      <a:pt x="1131" y="359"/>
                    </a:moveTo>
                    <a:lnTo>
                      <a:pt x="0" y="359"/>
                    </a:lnTo>
                    <a:lnTo>
                      <a:pt x="285" y="0"/>
                    </a:lnTo>
                    <a:lnTo>
                      <a:pt x="612" y="0"/>
                    </a:lnTo>
                    <a:lnTo>
                      <a:pt x="1131"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49" name="Freeform 469"/>
              <p:cNvSpPr>
                <a:spLocks/>
              </p:cNvSpPr>
              <p:nvPr/>
            </p:nvSpPr>
            <p:spPr bwMode="gray">
              <a:xfrm>
                <a:off x="-1873250" y="-4110038"/>
                <a:ext cx="1019175" cy="569913"/>
              </a:xfrm>
              <a:custGeom>
                <a:avLst/>
                <a:gdLst>
                  <a:gd name="T0" fmla="*/ 642 w 642"/>
                  <a:gd name="T1" fmla="*/ 359 h 359"/>
                  <a:gd name="T2" fmla="*/ 0 w 642"/>
                  <a:gd name="T3" fmla="*/ 359 h 359"/>
                  <a:gd name="T4" fmla="*/ 208 w 642"/>
                  <a:gd name="T5" fmla="*/ 0 h 359"/>
                  <a:gd name="T6" fmla="*/ 642 w 642"/>
                  <a:gd name="T7" fmla="*/ 0 h 359"/>
                  <a:gd name="T8" fmla="*/ 642 w 642"/>
                  <a:gd name="T9" fmla="*/ 359 h 359"/>
                </a:gdLst>
                <a:ahLst/>
                <a:cxnLst>
                  <a:cxn ang="0">
                    <a:pos x="T0" y="T1"/>
                  </a:cxn>
                  <a:cxn ang="0">
                    <a:pos x="T2" y="T3"/>
                  </a:cxn>
                  <a:cxn ang="0">
                    <a:pos x="T4" y="T5"/>
                  </a:cxn>
                  <a:cxn ang="0">
                    <a:pos x="T6" y="T7"/>
                  </a:cxn>
                  <a:cxn ang="0">
                    <a:pos x="T8" y="T9"/>
                  </a:cxn>
                </a:cxnLst>
                <a:rect l="0" t="0" r="r" b="b"/>
                <a:pathLst>
                  <a:path w="642" h="359">
                    <a:moveTo>
                      <a:pt x="642" y="359"/>
                    </a:moveTo>
                    <a:lnTo>
                      <a:pt x="0" y="359"/>
                    </a:lnTo>
                    <a:lnTo>
                      <a:pt x="208" y="0"/>
                    </a:lnTo>
                    <a:lnTo>
                      <a:pt x="642" y="0"/>
                    </a:lnTo>
                    <a:lnTo>
                      <a:pt x="642"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50" name="Freeform 470"/>
              <p:cNvSpPr>
                <a:spLocks/>
              </p:cNvSpPr>
              <p:nvPr/>
            </p:nvSpPr>
            <p:spPr bwMode="gray">
              <a:xfrm>
                <a:off x="-3668713" y="-3540126"/>
                <a:ext cx="1795463" cy="2046288"/>
              </a:xfrm>
              <a:custGeom>
                <a:avLst/>
                <a:gdLst>
                  <a:gd name="T0" fmla="*/ 215 w 1131"/>
                  <a:gd name="T1" fmla="*/ 1289 h 1289"/>
                  <a:gd name="T2" fmla="*/ 150 w 1131"/>
                  <a:gd name="T3" fmla="*/ 902 h 1289"/>
                  <a:gd name="T4" fmla="*/ 0 w 1131"/>
                  <a:gd name="T5" fmla="*/ 0 h 1289"/>
                  <a:gd name="T6" fmla="*/ 0 w 1131"/>
                  <a:gd name="T7" fmla="*/ 0 h 1289"/>
                  <a:gd name="T8" fmla="*/ 0 w 1131"/>
                  <a:gd name="T9" fmla="*/ 0 h 1289"/>
                  <a:gd name="T10" fmla="*/ 1131 w 1131"/>
                  <a:gd name="T11" fmla="*/ 0 h 1289"/>
                  <a:gd name="T12" fmla="*/ 215 w 1131"/>
                  <a:gd name="T13" fmla="*/ 1289 h 1289"/>
                </a:gdLst>
                <a:ahLst/>
                <a:cxnLst>
                  <a:cxn ang="0">
                    <a:pos x="T0" y="T1"/>
                  </a:cxn>
                  <a:cxn ang="0">
                    <a:pos x="T2" y="T3"/>
                  </a:cxn>
                  <a:cxn ang="0">
                    <a:pos x="T4" y="T5"/>
                  </a:cxn>
                  <a:cxn ang="0">
                    <a:pos x="T6" y="T7"/>
                  </a:cxn>
                  <a:cxn ang="0">
                    <a:pos x="T8" y="T9"/>
                  </a:cxn>
                  <a:cxn ang="0">
                    <a:pos x="T10" y="T11"/>
                  </a:cxn>
                  <a:cxn ang="0">
                    <a:pos x="T12" y="T13"/>
                  </a:cxn>
                </a:cxnLst>
                <a:rect l="0" t="0" r="r" b="b"/>
                <a:pathLst>
                  <a:path w="1131" h="1289">
                    <a:moveTo>
                      <a:pt x="215" y="1289"/>
                    </a:moveTo>
                    <a:lnTo>
                      <a:pt x="150" y="902"/>
                    </a:lnTo>
                    <a:lnTo>
                      <a:pt x="0" y="0"/>
                    </a:lnTo>
                    <a:lnTo>
                      <a:pt x="0" y="0"/>
                    </a:lnTo>
                    <a:lnTo>
                      <a:pt x="0" y="0"/>
                    </a:lnTo>
                    <a:lnTo>
                      <a:pt x="1131" y="0"/>
                    </a:lnTo>
                    <a:lnTo>
                      <a:pt x="215" y="128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51" name="Freeform 471"/>
              <p:cNvSpPr>
                <a:spLocks/>
              </p:cNvSpPr>
              <p:nvPr/>
            </p:nvSpPr>
            <p:spPr bwMode="gray">
              <a:xfrm>
                <a:off x="-3668713" y="-35401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52" name="Freeform 472"/>
              <p:cNvSpPr>
                <a:spLocks/>
              </p:cNvSpPr>
              <p:nvPr/>
            </p:nvSpPr>
            <p:spPr bwMode="gray">
              <a:xfrm>
                <a:off x="-3668713" y="-3540126"/>
                <a:ext cx="238125" cy="1431925"/>
              </a:xfrm>
              <a:custGeom>
                <a:avLst/>
                <a:gdLst>
                  <a:gd name="T0" fmla="*/ 150 w 150"/>
                  <a:gd name="T1" fmla="*/ 902 h 902"/>
                  <a:gd name="T2" fmla="*/ 0 w 150"/>
                  <a:gd name="T3" fmla="*/ 0 h 902"/>
                  <a:gd name="T4" fmla="*/ 0 w 150"/>
                  <a:gd name="T5" fmla="*/ 0 h 902"/>
                  <a:gd name="T6" fmla="*/ 150 w 150"/>
                  <a:gd name="T7" fmla="*/ 902 h 902"/>
                </a:gdLst>
                <a:ahLst/>
                <a:cxnLst>
                  <a:cxn ang="0">
                    <a:pos x="T0" y="T1"/>
                  </a:cxn>
                  <a:cxn ang="0">
                    <a:pos x="T2" y="T3"/>
                  </a:cxn>
                  <a:cxn ang="0">
                    <a:pos x="T4" y="T5"/>
                  </a:cxn>
                  <a:cxn ang="0">
                    <a:pos x="T6" y="T7"/>
                  </a:cxn>
                </a:cxnLst>
                <a:rect l="0" t="0" r="r" b="b"/>
                <a:pathLst>
                  <a:path w="150" h="902">
                    <a:moveTo>
                      <a:pt x="150" y="902"/>
                    </a:moveTo>
                    <a:lnTo>
                      <a:pt x="0" y="0"/>
                    </a:lnTo>
                    <a:lnTo>
                      <a:pt x="0" y="0"/>
                    </a:lnTo>
                    <a:lnTo>
                      <a:pt x="150" y="902"/>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53" name="Freeform 473"/>
              <p:cNvSpPr>
                <a:spLocks/>
              </p:cNvSpPr>
              <p:nvPr/>
            </p:nvSpPr>
            <p:spPr bwMode="gray">
              <a:xfrm>
                <a:off x="-2771775" y="-428626"/>
                <a:ext cx="1917700" cy="2205038"/>
              </a:xfrm>
              <a:custGeom>
                <a:avLst/>
                <a:gdLst>
                  <a:gd name="T0" fmla="*/ 1208 w 1208"/>
                  <a:gd name="T1" fmla="*/ 1389 h 1389"/>
                  <a:gd name="T2" fmla="*/ 0 w 1208"/>
                  <a:gd name="T3" fmla="*/ 979 h 1389"/>
                  <a:gd name="T4" fmla="*/ 566 w 1208"/>
                  <a:gd name="T5" fmla="*/ 0 h 1389"/>
                  <a:gd name="T6" fmla="*/ 566 w 1208"/>
                  <a:gd name="T7" fmla="*/ 0 h 1389"/>
                  <a:gd name="T8" fmla="*/ 566 w 1208"/>
                  <a:gd name="T9" fmla="*/ 0 h 1389"/>
                  <a:gd name="T10" fmla="*/ 566 w 1208"/>
                  <a:gd name="T11" fmla="*/ 0 h 1389"/>
                  <a:gd name="T12" fmla="*/ 566 w 1208"/>
                  <a:gd name="T13" fmla="*/ 0 h 1389"/>
                  <a:gd name="T14" fmla="*/ 1104 w 1208"/>
                  <a:gd name="T15" fmla="*/ 901 h 1389"/>
                  <a:gd name="T16" fmla="*/ 1208 w 1208"/>
                  <a:gd name="T17" fmla="*/ 1075 h 1389"/>
                  <a:gd name="T18" fmla="*/ 1208 w 1208"/>
                  <a:gd name="T19" fmla="*/ 1389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8" h="1389">
                    <a:moveTo>
                      <a:pt x="1208" y="1389"/>
                    </a:moveTo>
                    <a:lnTo>
                      <a:pt x="0" y="979"/>
                    </a:lnTo>
                    <a:lnTo>
                      <a:pt x="566" y="0"/>
                    </a:lnTo>
                    <a:lnTo>
                      <a:pt x="566" y="0"/>
                    </a:lnTo>
                    <a:lnTo>
                      <a:pt x="566" y="0"/>
                    </a:lnTo>
                    <a:lnTo>
                      <a:pt x="566" y="0"/>
                    </a:lnTo>
                    <a:lnTo>
                      <a:pt x="566" y="0"/>
                    </a:lnTo>
                    <a:lnTo>
                      <a:pt x="1104" y="901"/>
                    </a:lnTo>
                    <a:lnTo>
                      <a:pt x="1208" y="1075"/>
                    </a:lnTo>
                    <a:lnTo>
                      <a:pt x="1208" y="138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54" name="Freeform 474"/>
              <p:cNvSpPr>
                <a:spLocks/>
              </p:cNvSpPr>
              <p:nvPr/>
            </p:nvSpPr>
            <p:spPr bwMode="gray">
              <a:xfrm>
                <a:off x="-3327400" y="-2127251"/>
                <a:ext cx="2473325" cy="1698625"/>
              </a:xfrm>
              <a:custGeom>
                <a:avLst/>
                <a:gdLst>
                  <a:gd name="T0" fmla="*/ 916 w 1558"/>
                  <a:gd name="T1" fmla="*/ 1070 h 1070"/>
                  <a:gd name="T2" fmla="*/ 916 w 1558"/>
                  <a:gd name="T3" fmla="*/ 1070 h 1070"/>
                  <a:gd name="T4" fmla="*/ 0 w 1558"/>
                  <a:gd name="T5" fmla="*/ 399 h 1070"/>
                  <a:gd name="T6" fmla="*/ 1558 w 1558"/>
                  <a:gd name="T7" fmla="*/ 0 h 1070"/>
                  <a:gd name="T8" fmla="*/ 1558 w 1558"/>
                  <a:gd name="T9" fmla="*/ 299 h 1070"/>
                  <a:gd name="T10" fmla="*/ 1515 w 1558"/>
                  <a:gd name="T11" fmla="*/ 350 h 1070"/>
                  <a:gd name="T12" fmla="*/ 916 w 1558"/>
                  <a:gd name="T13" fmla="*/ 1070 h 1070"/>
                </a:gdLst>
                <a:ahLst/>
                <a:cxnLst>
                  <a:cxn ang="0">
                    <a:pos x="T0" y="T1"/>
                  </a:cxn>
                  <a:cxn ang="0">
                    <a:pos x="T2" y="T3"/>
                  </a:cxn>
                  <a:cxn ang="0">
                    <a:pos x="T4" y="T5"/>
                  </a:cxn>
                  <a:cxn ang="0">
                    <a:pos x="T6" y="T7"/>
                  </a:cxn>
                  <a:cxn ang="0">
                    <a:pos x="T8" y="T9"/>
                  </a:cxn>
                  <a:cxn ang="0">
                    <a:pos x="T10" y="T11"/>
                  </a:cxn>
                  <a:cxn ang="0">
                    <a:pos x="T12" y="T13"/>
                  </a:cxn>
                </a:cxnLst>
                <a:rect l="0" t="0" r="r" b="b"/>
                <a:pathLst>
                  <a:path w="1558" h="1070">
                    <a:moveTo>
                      <a:pt x="916" y="1070"/>
                    </a:moveTo>
                    <a:lnTo>
                      <a:pt x="916" y="1070"/>
                    </a:lnTo>
                    <a:lnTo>
                      <a:pt x="0" y="399"/>
                    </a:lnTo>
                    <a:lnTo>
                      <a:pt x="1558" y="0"/>
                    </a:lnTo>
                    <a:lnTo>
                      <a:pt x="1558" y="299"/>
                    </a:lnTo>
                    <a:lnTo>
                      <a:pt x="1515" y="350"/>
                    </a:lnTo>
                    <a:lnTo>
                      <a:pt x="916" y="107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55" name="Freeform 475"/>
              <p:cNvSpPr>
                <a:spLocks/>
              </p:cNvSpPr>
              <p:nvPr/>
            </p:nvSpPr>
            <p:spPr bwMode="gray">
              <a:xfrm>
                <a:off x="-1873250" y="-428626"/>
                <a:ext cx="1019175" cy="1706563"/>
              </a:xfrm>
              <a:custGeom>
                <a:avLst/>
                <a:gdLst>
                  <a:gd name="T0" fmla="*/ 642 w 642"/>
                  <a:gd name="T1" fmla="*/ 1075 h 1075"/>
                  <a:gd name="T2" fmla="*/ 538 w 642"/>
                  <a:gd name="T3" fmla="*/ 901 h 1075"/>
                  <a:gd name="T4" fmla="*/ 0 w 642"/>
                  <a:gd name="T5" fmla="*/ 0 h 1075"/>
                  <a:gd name="T6" fmla="*/ 642 w 642"/>
                  <a:gd name="T7" fmla="*/ 193 h 1075"/>
                  <a:gd name="T8" fmla="*/ 642 w 642"/>
                  <a:gd name="T9" fmla="*/ 1075 h 1075"/>
                </a:gdLst>
                <a:ahLst/>
                <a:cxnLst>
                  <a:cxn ang="0">
                    <a:pos x="T0" y="T1"/>
                  </a:cxn>
                  <a:cxn ang="0">
                    <a:pos x="T2" y="T3"/>
                  </a:cxn>
                  <a:cxn ang="0">
                    <a:pos x="T4" y="T5"/>
                  </a:cxn>
                  <a:cxn ang="0">
                    <a:pos x="T6" y="T7"/>
                  </a:cxn>
                  <a:cxn ang="0">
                    <a:pos x="T8" y="T9"/>
                  </a:cxn>
                </a:cxnLst>
                <a:rect l="0" t="0" r="r" b="b"/>
                <a:pathLst>
                  <a:path w="642" h="1075">
                    <a:moveTo>
                      <a:pt x="642" y="1075"/>
                    </a:moveTo>
                    <a:lnTo>
                      <a:pt x="538" y="901"/>
                    </a:lnTo>
                    <a:lnTo>
                      <a:pt x="0" y="0"/>
                    </a:lnTo>
                    <a:lnTo>
                      <a:pt x="642" y="193"/>
                    </a:lnTo>
                    <a:lnTo>
                      <a:pt x="642" y="107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56" name="Freeform 476"/>
              <p:cNvSpPr>
                <a:spLocks/>
              </p:cNvSpPr>
              <p:nvPr/>
            </p:nvSpPr>
            <p:spPr bwMode="gray">
              <a:xfrm>
                <a:off x="-3327400" y="-1493838"/>
                <a:ext cx="1454150" cy="1654175"/>
              </a:xfrm>
              <a:custGeom>
                <a:avLst/>
                <a:gdLst>
                  <a:gd name="T0" fmla="*/ 218 w 916"/>
                  <a:gd name="T1" fmla="*/ 1042 h 1042"/>
                  <a:gd name="T2" fmla="*/ 218 w 916"/>
                  <a:gd name="T3" fmla="*/ 1042 h 1042"/>
                  <a:gd name="T4" fmla="*/ 0 w 916"/>
                  <a:gd name="T5" fmla="*/ 0 h 1042"/>
                  <a:gd name="T6" fmla="*/ 916 w 916"/>
                  <a:gd name="T7" fmla="*/ 671 h 1042"/>
                  <a:gd name="T8" fmla="*/ 916 w 916"/>
                  <a:gd name="T9" fmla="*/ 671 h 1042"/>
                  <a:gd name="T10" fmla="*/ 218 w 916"/>
                  <a:gd name="T11" fmla="*/ 1042 h 1042"/>
                </a:gdLst>
                <a:ahLst/>
                <a:cxnLst>
                  <a:cxn ang="0">
                    <a:pos x="T0" y="T1"/>
                  </a:cxn>
                  <a:cxn ang="0">
                    <a:pos x="T2" y="T3"/>
                  </a:cxn>
                  <a:cxn ang="0">
                    <a:pos x="T4" y="T5"/>
                  </a:cxn>
                  <a:cxn ang="0">
                    <a:pos x="T6" y="T7"/>
                  </a:cxn>
                  <a:cxn ang="0">
                    <a:pos x="T8" y="T9"/>
                  </a:cxn>
                  <a:cxn ang="0">
                    <a:pos x="T10" y="T11"/>
                  </a:cxn>
                </a:cxnLst>
                <a:rect l="0" t="0" r="r" b="b"/>
                <a:pathLst>
                  <a:path w="916" h="1042">
                    <a:moveTo>
                      <a:pt x="218" y="1042"/>
                    </a:moveTo>
                    <a:lnTo>
                      <a:pt x="218" y="1042"/>
                    </a:lnTo>
                    <a:lnTo>
                      <a:pt x="0" y="0"/>
                    </a:lnTo>
                    <a:lnTo>
                      <a:pt x="916" y="671"/>
                    </a:lnTo>
                    <a:lnTo>
                      <a:pt x="916" y="671"/>
                    </a:lnTo>
                    <a:lnTo>
                      <a:pt x="218" y="10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57" name="Freeform 477"/>
              <p:cNvSpPr>
                <a:spLocks/>
              </p:cNvSpPr>
              <p:nvPr/>
            </p:nvSpPr>
            <p:spPr bwMode="gray">
              <a:xfrm>
                <a:off x="-1873250" y="-1652588"/>
                <a:ext cx="1019175" cy="1530350"/>
              </a:xfrm>
              <a:custGeom>
                <a:avLst/>
                <a:gdLst>
                  <a:gd name="T0" fmla="*/ 642 w 642"/>
                  <a:gd name="T1" fmla="*/ 964 h 964"/>
                  <a:gd name="T2" fmla="*/ 0 w 642"/>
                  <a:gd name="T3" fmla="*/ 771 h 964"/>
                  <a:gd name="T4" fmla="*/ 0 w 642"/>
                  <a:gd name="T5" fmla="*/ 771 h 964"/>
                  <a:gd name="T6" fmla="*/ 599 w 642"/>
                  <a:gd name="T7" fmla="*/ 51 h 964"/>
                  <a:gd name="T8" fmla="*/ 642 w 642"/>
                  <a:gd name="T9" fmla="*/ 0 h 964"/>
                  <a:gd name="T10" fmla="*/ 642 w 642"/>
                  <a:gd name="T11" fmla="*/ 964 h 964"/>
                </a:gdLst>
                <a:ahLst/>
                <a:cxnLst>
                  <a:cxn ang="0">
                    <a:pos x="T0" y="T1"/>
                  </a:cxn>
                  <a:cxn ang="0">
                    <a:pos x="T2" y="T3"/>
                  </a:cxn>
                  <a:cxn ang="0">
                    <a:pos x="T4" y="T5"/>
                  </a:cxn>
                  <a:cxn ang="0">
                    <a:pos x="T6" y="T7"/>
                  </a:cxn>
                  <a:cxn ang="0">
                    <a:pos x="T8" y="T9"/>
                  </a:cxn>
                  <a:cxn ang="0">
                    <a:pos x="T10" y="T11"/>
                  </a:cxn>
                </a:cxnLst>
                <a:rect l="0" t="0" r="r" b="b"/>
                <a:pathLst>
                  <a:path w="642" h="964">
                    <a:moveTo>
                      <a:pt x="642" y="964"/>
                    </a:moveTo>
                    <a:lnTo>
                      <a:pt x="0" y="771"/>
                    </a:lnTo>
                    <a:lnTo>
                      <a:pt x="0" y="771"/>
                    </a:lnTo>
                    <a:lnTo>
                      <a:pt x="599" y="51"/>
                    </a:lnTo>
                    <a:lnTo>
                      <a:pt x="642" y="0"/>
                    </a:lnTo>
                    <a:lnTo>
                      <a:pt x="642" y="964"/>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58" name="Freeform 478"/>
              <p:cNvSpPr>
                <a:spLocks/>
              </p:cNvSpPr>
              <p:nvPr/>
            </p:nvSpPr>
            <p:spPr bwMode="gray">
              <a:xfrm>
                <a:off x="-922338" y="-1652588"/>
                <a:ext cx="68263" cy="80963"/>
              </a:xfrm>
              <a:custGeom>
                <a:avLst/>
                <a:gdLst>
                  <a:gd name="T0" fmla="*/ 0 w 43"/>
                  <a:gd name="T1" fmla="*/ 51 h 51"/>
                  <a:gd name="T2" fmla="*/ 43 w 43"/>
                  <a:gd name="T3" fmla="*/ 0 h 51"/>
                  <a:gd name="T4" fmla="*/ 43 w 43"/>
                  <a:gd name="T5" fmla="*/ 0 h 51"/>
                  <a:gd name="T6" fmla="*/ 0 w 43"/>
                  <a:gd name="T7" fmla="*/ 51 h 51"/>
                </a:gdLst>
                <a:ahLst/>
                <a:cxnLst>
                  <a:cxn ang="0">
                    <a:pos x="T0" y="T1"/>
                  </a:cxn>
                  <a:cxn ang="0">
                    <a:pos x="T2" y="T3"/>
                  </a:cxn>
                  <a:cxn ang="0">
                    <a:pos x="T4" y="T5"/>
                  </a:cxn>
                  <a:cxn ang="0">
                    <a:pos x="T6" y="T7"/>
                  </a:cxn>
                </a:cxnLst>
                <a:rect l="0" t="0" r="r" b="b"/>
                <a:pathLst>
                  <a:path w="43" h="51">
                    <a:moveTo>
                      <a:pt x="0" y="51"/>
                    </a:moveTo>
                    <a:lnTo>
                      <a:pt x="43" y="0"/>
                    </a:lnTo>
                    <a:lnTo>
                      <a:pt x="43" y="0"/>
                    </a:lnTo>
                    <a:lnTo>
                      <a:pt x="0" y="51"/>
                    </a:lnTo>
                    <a:close/>
                  </a:path>
                </a:pathLst>
              </a:custGeom>
              <a:solidFill>
                <a:srgbClr val="5A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59" name="Freeform 479"/>
              <p:cNvSpPr>
                <a:spLocks/>
              </p:cNvSpPr>
              <p:nvPr/>
            </p:nvSpPr>
            <p:spPr bwMode="gray">
              <a:xfrm>
                <a:off x="-2981325" y="-428626"/>
                <a:ext cx="1108075" cy="1554163"/>
              </a:xfrm>
              <a:custGeom>
                <a:avLst/>
                <a:gdLst>
                  <a:gd name="T0" fmla="*/ 132 w 698"/>
                  <a:gd name="T1" fmla="*/ 979 h 979"/>
                  <a:gd name="T2" fmla="*/ 78 w 698"/>
                  <a:gd name="T3" fmla="*/ 730 h 979"/>
                  <a:gd name="T4" fmla="*/ 0 w 698"/>
                  <a:gd name="T5" fmla="*/ 371 h 979"/>
                  <a:gd name="T6" fmla="*/ 0 w 698"/>
                  <a:gd name="T7" fmla="*/ 371 h 979"/>
                  <a:gd name="T8" fmla="*/ 698 w 698"/>
                  <a:gd name="T9" fmla="*/ 0 h 979"/>
                  <a:gd name="T10" fmla="*/ 132 w 698"/>
                  <a:gd name="T11" fmla="*/ 979 h 979"/>
                </a:gdLst>
                <a:ahLst/>
                <a:cxnLst>
                  <a:cxn ang="0">
                    <a:pos x="T0" y="T1"/>
                  </a:cxn>
                  <a:cxn ang="0">
                    <a:pos x="T2" y="T3"/>
                  </a:cxn>
                  <a:cxn ang="0">
                    <a:pos x="T4" y="T5"/>
                  </a:cxn>
                  <a:cxn ang="0">
                    <a:pos x="T6" y="T7"/>
                  </a:cxn>
                  <a:cxn ang="0">
                    <a:pos x="T8" y="T9"/>
                  </a:cxn>
                  <a:cxn ang="0">
                    <a:pos x="T10" y="T11"/>
                  </a:cxn>
                </a:cxnLst>
                <a:rect l="0" t="0" r="r" b="b"/>
                <a:pathLst>
                  <a:path w="698" h="979">
                    <a:moveTo>
                      <a:pt x="132" y="979"/>
                    </a:moveTo>
                    <a:lnTo>
                      <a:pt x="78" y="730"/>
                    </a:lnTo>
                    <a:lnTo>
                      <a:pt x="0" y="371"/>
                    </a:lnTo>
                    <a:lnTo>
                      <a:pt x="0" y="371"/>
                    </a:lnTo>
                    <a:lnTo>
                      <a:pt x="698" y="0"/>
                    </a:lnTo>
                    <a:lnTo>
                      <a:pt x="132" y="97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60" name="Freeform 480"/>
              <p:cNvSpPr>
                <a:spLocks/>
              </p:cNvSpPr>
              <p:nvPr/>
            </p:nvSpPr>
            <p:spPr bwMode="gray">
              <a:xfrm>
                <a:off x="-2981325" y="160337"/>
                <a:ext cx="123825" cy="569913"/>
              </a:xfrm>
              <a:custGeom>
                <a:avLst/>
                <a:gdLst>
                  <a:gd name="T0" fmla="*/ 78 w 78"/>
                  <a:gd name="T1" fmla="*/ 359 h 359"/>
                  <a:gd name="T2" fmla="*/ 0 w 78"/>
                  <a:gd name="T3" fmla="*/ 0 h 359"/>
                  <a:gd name="T4" fmla="*/ 0 w 78"/>
                  <a:gd name="T5" fmla="*/ 0 h 359"/>
                  <a:gd name="T6" fmla="*/ 78 w 78"/>
                  <a:gd name="T7" fmla="*/ 359 h 359"/>
                </a:gdLst>
                <a:ahLst/>
                <a:cxnLst>
                  <a:cxn ang="0">
                    <a:pos x="T0" y="T1"/>
                  </a:cxn>
                  <a:cxn ang="0">
                    <a:pos x="T2" y="T3"/>
                  </a:cxn>
                  <a:cxn ang="0">
                    <a:pos x="T4" y="T5"/>
                  </a:cxn>
                  <a:cxn ang="0">
                    <a:pos x="T6" y="T7"/>
                  </a:cxn>
                </a:cxnLst>
                <a:rect l="0" t="0" r="r" b="b"/>
                <a:pathLst>
                  <a:path w="78" h="359">
                    <a:moveTo>
                      <a:pt x="78" y="359"/>
                    </a:moveTo>
                    <a:lnTo>
                      <a:pt x="0" y="0"/>
                    </a:lnTo>
                    <a:lnTo>
                      <a:pt x="0" y="0"/>
                    </a:lnTo>
                    <a:lnTo>
                      <a:pt x="78" y="359"/>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61" name="Freeform 481"/>
              <p:cNvSpPr>
                <a:spLocks/>
              </p:cNvSpPr>
              <p:nvPr/>
            </p:nvSpPr>
            <p:spPr bwMode="gray">
              <a:xfrm>
                <a:off x="-2771775" y="-428626"/>
                <a:ext cx="898525" cy="1554163"/>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62" name="Freeform 482"/>
              <p:cNvSpPr>
                <a:spLocks noEditPoints="1"/>
              </p:cNvSpPr>
              <p:nvPr/>
            </p:nvSpPr>
            <p:spPr bwMode="gray">
              <a:xfrm>
                <a:off x="-2771775" y="2682875"/>
                <a:ext cx="898525" cy="2232025"/>
              </a:xfrm>
              <a:custGeom>
                <a:avLst/>
                <a:gdLst>
                  <a:gd name="T0" fmla="*/ 940 w 1179"/>
                  <a:gd name="T1" fmla="*/ 2930 h 2930"/>
                  <a:gd name="T2" fmla="*/ 0 w 1179"/>
                  <a:gd name="T3" fmla="*/ 2041 h 2930"/>
                  <a:gd name="T4" fmla="*/ 1179 w 1179"/>
                  <a:gd name="T5" fmla="*/ 0 h 2930"/>
                  <a:gd name="T6" fmla="*/ 940 w 1179"/>
                  <a:gd name="T7" fmla="*/ 2930 h 2930"/>
                  <a:gd name="T8" fmla="*/ 1179 w 1179"/>
                  <a:gd name="T9" fmla="*/ 0 h 2930"/>
                  <a:gd name="T10" fmla="*/ 1179 w 1179"/>
                  <a:gd name="T11" fmla="*/ 0 h 2930"/>
                </a:gdLst>
                <a:ahLst/>
                <a:cxnLst>
                  <a:cxn ang="0">
                    <a:pos x="T0" y="T1"/>
                  </a:cxn>
                  <a:cxn ang="0">
                    <a:pos x="T2" y="T3"/>
                  </a:cxn>
                  <a:cxn ang="0">
                    <a:pos x="T4" y="T5"/>
                  </a:cxn>
                  <a:cxn ang="0">
                    <a:pos x="T6" y="T7"/>
                  </a:cxn>
                  <a:cxn ang="0">
                    <a:pos x="T8" y="T9"/>
                  </a:cxn>
                  <a:cxn ang="0">
                    <a:pos x="T10" y="T11"/>
                  </a:cxn>
                </a:cxnLst>
                <a:rect l="0" t="0" r="r" b="b"/>
                <a:pathLst>
                  <a:path w="1179" h="2930">
                    <a:moveTo>
                      <a:pt x="940" y="2930"/>
                    </a:moveTo>
                    <a:lnTo>
                      <a:pt x="0" y="2041"/>
                    </a:lnTo>
                    <a:lnTo>
                      <a:pt x="1179" y="0"/>
                    </a:lnTo>
                    <a:lnTo>
                      <a:pt x="940" y="2930"/>
                    </a:lnTo>
                    <a:moveTo>
                      <a:pt x="1179" y="0"/>
                    </a:moveTo>
                    <a:lnTo>
                      <a:pt x="1179"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63" name="Freeform 483"/>
              <p:cNvSpPr>
                <a:spLocks/>
              </p:cNvSpPr>
              <p:nvPr/>
            </p:nvSpPr>
            <p:spPr bwMode="gray">
              <a:xfrm>
                <a:off x="-2771775" y="1125537"/>
                <a:ext cx="1917700" cy="1557338"/>
              </a:xfrm>
              <a:custGeom>
                <a:avLst/>
                <a:gdLst>
                  <a:gd name="T0" fmla="*/ 566 w 1208"/>
                  <a:gd name="T1" fmla="*/ 981 h 981"/>
                  <a:gd name="T2" fmla="*/ 566 w 1208"/>
                  <a:gd name="T3" fmla="*/ 981 h 981"/>
                  <a:gd name="T4" fmla="*/ 0 w 1208"/>
                  <a:gd name="T5" fmla="*/ 0 h 981"/>
                  <a:gd name="T6" fmla="*/ 1208 w 1208"/>
                  <a:gd name="T7" fmla="*/ 410 h 981"/>
                  <a:gd name="T8" fmla="*/ 1208 w 1208"/>
                  <a:gd name="T9" fmla="*/ 621 h 981"/>
                  <a:gd name="T10" fmla="*/ 933 w 1208"/>
                  <a:gd name="T11" fmla="*/ 775 h 981"/>
                  <a:gd name="T12" fmla="*/ 566 w 1208"/>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208" h="981">
                    <a:moveTo>
                      <a:pt x="566" y="981"/>
                    </a:moveTo>
                    <a:lnTo>
                      <a:pt x="566" y="981"/>
                    </a:lnTo>
                    <a:lnTo>
                      <a:pt x="0" y="0"/>
                    </a:lnTo>
                    <a:lnTo>
                      <a:pt x="1208" y="410"/>
                    </a:lnTo>
                    <a:lnTo>
                      <a:pt x="1208" y="621"/>
                    </a:lnTo>
                    <a:lnTo>
                      <a:pt x="933" y="775"/>
                    </a:lnTo>
                    <a:lnTo>
                      <a:pt x="566"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64" name="Freeform 484"/>
              <p:cNvSpPr>
                <a:spLocks/>
              </p:cNvSpPr>
              <p:nvPr/>
            </p:nvSpPr>
            <p:spPr bwMode="gray">
              <a:xfrm>
                <a:off x="-2054225" y="2682875"/>
                <a:ext cx="1200150" cy="2232025"/>
              </a:xfrm>
              <a:custGeom>
                <a:avLst/>
                <a:gdLst>
                  <a:gd name="T0" fmla="*/ 0 w 756"/>
                  <a:gd name="T1" fmla="*/ 1406 h 1406"/>
                  <a:gd name="T2" fmla="*/ 114 w 756"/>
                  <a:gd name="T3" fmla="*/ 0 h 1406"/>
                  <a:gd name="T4" fmla="*/ 756 w 756"/>
                  <a:gd name="T5" fmla="*/ 0 h 1406"/>
                  <a:gd name="T6" fmla="*/ 756 w 756"/>
                  <a:gd name="T7" fmla="*/ 553 h 1406"/>
                  <a:gd name="T8" fmla="*/ 0 w 756"/>
                  <a:gd name="T9" fmla="*/ 1406 h 1406"/>
                </a:gdLst>
                <a:ahLst/>
                <a:cxnLst>
                  <a:cxn ang="0">
                    <a:pos x="T0" y="T1"/>
                  </a:cxn>
                  <a:cxn ang="0">
                    <a:pos x="T2" y="T3"/>
                  </a:cxn>
                  <a:cxn ang="0">
                    <a:pos x="T4" y="T5"/>
                  </a:cxn>
                  <a:cxn ang="0">
                    <a:pos x="T6" y="T7"/>
                  </a:cxn>
                  <a:cxn ang="0">
                    <a:pos x="T8" y="T9"/>
                  </a:cxn>
                </a:cxnLst>
                <a:rect l="0" t="0" r="r" b="b"/>
                <a:pathLst>
                  <a:path w="756" h="1406">
                    <a:moveTo>
                      <a:pt x="0" y="1406"/>
                    </a:moveTo>
                    <a:lnTo>
                      <a:pt x="114" y="0"/>
                    </a:lnTo>
                    <a:lnTo>
                      <a:pt x="756" y="0"/>
                    </a:lnTo>
                    <a:lnTo>
                      <a:pt x="756" y="553"/>
                    </a:lnTo>
                    <a:lnTo>
                      <a:pt x="0" y="140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65" name="Freeform 485"/>
              <p:cNvSpPr>
                <a:spLocks noEditPoints="1"/>
              </p:cNvSpPr>
              <p:nvPr/>
            </p:nvSpPr>
            <p:spPr bwMode="gray">
              <a:xfrm>
                <a:off x="-4413250" y="1125537"/>
                <a:ext cx="2540000" cy="1987550"/>
              </a:xfrm>
              <a:custGeom>
                <a:avLst/>
                <a:gdLst>
                  <a:gd name="T0" fmla="*/ 0 w 3333"/>
                  <a:gd name="T1" fmla="*/ 2608 h 2608"/>
                  <a:gd name="T2" fmla="*/ 0 w 3333"/>
                  <a:gd name="T3" fmla="*/ 2608 h 2608"/>
                  <a:gd name="T4" fmla="*/ 0 w 3333"/>
                  <a:gd name="T5" fmla="*/ 2608 h 2608"/>
                  <a:gd name="T6" fmla="*/ 0 w 3333"/>
                  <a:gd name="T7" fmla="*/ 2608 h 2608"/>
                  <a:gd name="T8" fmla="*/ 0 w 3333"/>
                  <a:gd name="T9" fmla="*/ 2608 h 2608"/>
                  <a:gd name="T10" fmla="*/ 2154 w 3333"/>
                  <a:gd name="T11" fmla="*/ 0 h 2608"/>
                  <a:gd name="T12" fmla="*/ 3333 w 3333"/>
                  <a:gd name="T13" fmla="*/ 2042 h 2608"/>
                  <a:gd name="T14" fmla="*/ 3333 w 3333"/>
                  <a:gd name="T15" fmla="*/ 2042 h 2608"/>
                  <a:gd name="T16" fmla="*/ 0 w 3333"/>
                  <a:gd name="T17" fmla="*/ 2608 h 2608"/>
                  <a:gd name="T18" fmla="*/ 3333 w 3333"/>
                  <a:gd name="T19" fmla="*/ 2042 h 2608"/>
                  <a:gd name="T20" fmla="*/ 3333 w 3333"/>
                  <a:gd name="T21" fmla="*/ 2042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33" h="2608">
                    <a:moveTo>
                      <a:pt x="0" y="2608"/>
                    </a:moveTo>
                    <a:lnTo>
                      <a:pt x="0" y="2608"/>
                    </a:lnTo>
                    <a:lnTo>
                      <a:pt x="0" y="2608"/>
                    </a:lnTo>
                    <a:lnTo>
                      <a:pt x="0" y="2608"/>
                    </a:lnTo>
                    <a:moveTo>
                      <a:pt x="0" y="2608"/>
                    </a:moveTo>
                    <a:lnTo>
                      <a:pt x="2154" y="0"/>
                    </a:lnTo>
                    <a:lnTo>
                      <a:pt x="3333" y="2042"/>
                    </a:lnTo>
                    <a:lnTo>
                      <a:pt x="3333" y="2042"/>
                    </a:lnTo>
                    <a:lnTo>
                      <a:pt x="0" y="2608"/>
                    </a:lnTo>
                    <a:moveTo>
                      <a:pt x="3333" y="2042"/>
                    </a:moveTo>
                    <a:lnTo>
                      <a:pt x="3333" y="2042"/>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66" name="Freeform 486"/>
              <p:cNvSpPr>
                <a:spLocks/>
              </p:cNvSpPr>
              <p:nvPr/>
            </p:nvSpPr>
            <p:spPr bwMode="gray">
              <a:xfrm>
                <a:off x="-1873250" y="2111375"/>
                <a:ext cx="1019175" cy="571500"/>
              </a:xfrm>
              <a:custGeom>
                <a:avLst/>
                <a:gdLst>
                  <a:gd name="T0" fmla="*/ 0 w 642"/>
                  <a:gd name="T1" fmla="*/ 360 h 360"/>
                  <a:gd name="T2" fmla="*/ 0 w 642"/>
                  <a:gd name="T3" fmla="*/ 360 h 360"/>
                  <a:gd name="T4" fmla="*/ 367 w 642"/>
                  <a:gd name="T5" fmla="*/ 154 h 360"/>
                  <a:gd name="T6" fmla="*/ 642 w 642"/>
                  <a:gd name="T7" fmla="*/ 0 h 360"/>
                  <a:gd name="T8" fmla="*/ 642 w 642"/>
                  <a:gd name="T9" fmla="*/ 360 h 360"/>
                  <a:gd name="T10" fmla="*/ 0 w 642"/>
                  <a:gd name="T11" fmla="*/ 360 h 360"/>
                </a:gdLst>
                <a:ahLst/>
                <a:cxnLst>
                  <a:cxn ang="0">
                    <a:pos x="T0" y="T1"/>
                  </a:cxn>
                  <a:cxn ang="0">
                    <a:pos x="T2" y="T3"/>
                  </a:cxn>
                  <a:cxn ang="0">
                    <a:pos x="T4" y="T5"/>
                  </a:cxn>
                  <a:cxn ang="0">
                    <a:pos x="T6" y="T7"/>
                  </a:cxn>
                  <a:cxn ang="0">
                    <a:pos x="T8" y="T9"/>
                  </a:cxn>
                  <a:cxn ang="0">
                    <a:pos x="T10" y="T11"/>
                  </a:cxn>
                </a:cxnLst>
                <a:rect l="0" t="0" r="r" b="b"/>
                <a:pathLst>
                  <a:path w="642" h="360">
                    <a:moveTo>
                      <a:pt x="0" y="360"/>
                    </a:moveTo>
                    <a:lnTo>
                      <a:pt x="0" y="360"/>
                    </a:lnTo>
                    <a:lnTo>
                      <a:pt x="367" y="154"/>
                    </a:lnTo>
                    <a:lnTo>
                      <a:pt x="642" y="0"/>
                    </a:lnTo>
                    <a:lnTo>
                      <a:pt x="642" y="360"/>
                    </a:lnTo>
                    <a:lnTo>
                      <a:pt x="0" y="36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67" name="Freeform 487"/>
              <p:cNvSpPr>
                <a:spLocks/>
              </p:cNvSpPr>
              <p:nvPr/>
            </p:nvSpPr>
            <p:spPr bwMode="gray">
              <a:xfrm>
                <a:off x="-1290638" y="2111375"/>
                <a:ext cx="436563" cy="244475"/>
              </a:xfrm>
              <a:custGeom>
                <a:avLst/>
                <a:gdLst>
                  <a:gd name="T0" fmla="*/ 0 w 275"/>
                  <a:gd name="T1" fmla="*/ 154 h 154"/>
                  <a:gd name="T2" fmla="*/ 275 w 275"/>
                  <a:gd name="T3" fmla="*/ 0 h 154"/>
                  <a:gd name="T4" fmla="*/ 275 w 275"/>
                  <a:gd name="T5" fmla="*/ 0 h 154"/>
                  <a:gd name="T6" fmla="*/ 0 w 275"/>
                  <a:gd name="T7" fmla="*/ 154 h 154"/>
                </a:gdLst>
                <a:ahLst/>
                <a:cxnLst>
                  <a:cxn ang="0">
                    <a:pos x="T0" y="T1"/>
                  </a:cxn>
                  <a:cxn ang="0">
                    <a:pos x="T2" y="T3"/>
                  </a:cxn>
                  <a:cxn ang="0">
                    <a:pos x="T4" y="T5"/>
                  </a:cxn>
                  <a:cxn ang="0">
                    <a:pos x="T6" y="T7"/>
                  </a:cxn>
                </a:cxnLst>
                <a:rect l="0" t="0" r="r" b="b"/>
                <a:pathLst>
                  <a:path w="275" h="154">
                    <a:moveTo>
                      <a:pt x="0" y="154"/>
                    </a:moveTo>
                    <a:lnTo>
                      <a:pt x="275" y="0"/>
                    </a:lnTo>
                    <a:lnTo>
                      <a:pt x="275" y="0"/>
                    </a:lnTo>
                    <a:lnTo>
                      <a:pt x="0" y="15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68" name="Freeform 488"/>
              <p:cNvSpPr>
                <a:spLocks/>
              </p:cNvSpPr>
              <p:nvPr/>
            </p:nvSpPr>
            <p:spPr bwMode="gray">
              <a:xfrm>
                <a:off x="-4413250" y="2682875"/>
                <a:ext cx="2540000" cy="1554163"/>
              </a:xfrm>
              <a:custGeom>
                <a:avLst/>
                <a:gdLst>
                  <a:gd name="T0" fmla="*/ 1034 w 1600"/>
                  <a:gd name="T1" fmla="*/ 979 h 979"/>
                  <a:gd name="T2" fmla="*/ 0 w 1600"/>
                  <a:gd name="T3" fmla="*/ 271 h 979"/>
                  <a:gd name="T4" fmla="*/ 0 w 1600"/>
                  <a:gd name="T5" fmla="*/ 271 h 979"/>
                  <a:gd name="T6" fmla="*/ 1600 w 1600"/>
                  <a:gd name="T7" fmla="*/ 0 h 979"/>
                  <a:gd name="T8" fmla="*/ 1034 w 1600"/>
                  <a:gd name="T9" fmla="*/ 979 h 979"/>
                </a:gdLst>
                <a:ahLst/>
                <a:cxnLst>
                  <a:cxn ang="0">
                    <a:pos x="T0" y="T1"/>
                  </a:cxn>
                  <a:cxn ang="0">
                    <a:pos x="T2" y="T3"/>
                  </a:cxn>
                  <a:cxn ang="0">
                    <a:pos x="T4" y="T5"/>
                  </a:cxn>
                  <a:cxn ang="0">
                    <a:pos x="T6" y="T7"/>
                  </a:cxn>
                  <a:cxn ang="0">
                    <a:pos x="T8" y="T9"/>
                  </a:cxn>
                </a:cxnLst>
                <a:rect l="0" t="0" r="r" b="b"/>
                <a:pathLst>
                  <a:path w="1600" h="979">
                    <a:moveTo>
                      <a:pt x="1034" y="979"/>
                    </a:moveTo>
                    <a:lnTo>
                      <a:pt x="0" y="271"/>
                    </a:lnTo>
                    <a:lnTo>
                      <a:pt x="0" y="271"/>
                    </a:lnTo>
                    <a:lnTo>
                      <a:pt x="1600" y="0"/>
                    </a:lnTo>
                    <a:lnTo>
                      <a:pt x="1034"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69" name="Freeform 489"/>
              <p:cNvSpPr>
                <a:spLocks noEditPoints="1"/>
              </p:cNvSpPr>
              <p:nvPr/>
            </p:nvSpPr>
            <p:spPr bwMode="gray">
              <a:xfrm>
                <a:off x="-2438400" y="5792787"/>
                <a:ext cx="1517650" cy="1866900"/>
              </a:xfrm>
              <a:custGeom>
                <a:avLst/>
                <a:gdLst>
                  <a:gd name="T0" fmla="*/ 184 w 1992"/>
                  <a:gd name="T1" fmla="*/ 2449 h 2449"/>
                  <a:gd name="T2" fmla="*/ 0 w 1992"/>
                  <a:gd name="T3" fmla="*/ 2449 h 2449"/>
                  <a:gd name="T4" fmla="*/ 742 w 1992"/>
                  <a:gd name="T5" fmla="*/ 0 h 2449"/>
                  <a:gd name="T6" fmla="*/ 1342 w 1992"/>
                  <a:gd name="T7" fmla="*/ 650 h 2449"/>
                  <a:gd name="T8" fmla="*/ 1992 w 1992"/>
                  <a:gd name="T9" fmla="*/ 1354 h 2449"/>
                  <a:gd name="T10" fmla="*/ 184 w 1992"/>
                  <a:gd name="T11" fmla="*/ 2449 h 2449"/>
                  <a:gd name="T12" fmla="*/ 742 w 1992"/>
                  <a:gd name="T13" fmla="*/ 0 h 2449"/>
                  <a:gd name="T14" fmla="*/ 742 w 1992"/>
                  <a:gd name="T15" fmla="*/ 0 h 2449"/>
                  <a:gd name="T16" fmla="*/ 742 w 1992"/>
                  <a:gd name="T17" fmla="*/ 0 h 2449"/>
                  <a:gd name="T18" fmla="*/ 742 w 1992"/>
                  <a:gd name="T19" fmla="*/ 0 h 2449"/>
                  <a:gd name="T20" fmla="*/ 742 w 1992"/>
                  <a:gd name="T21" fmla="*/ 0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2" h="2449">
                    <a:moveTo>
                      <a:pt x="184" y="2449"/>
                    </a:moveTo>
                    <a:lnTo>
                      <a:pt x="0" y="2449"/>
                    </a:lnTo>
                    <a:lnTo>
                      <a:pt x="742" y="0"/>
                    </a:lnTo>
                    <a:lnTo>
                      <a:pt x="1342" y="650"/>
                    </a:lnTo>
                    <a:lnTo>
                      <a:pt x="1992" y="1354"/>
                    </a:lnTo>
                    <a:lnTo>
                      <a:pt x="184" y="2449"/>
                    </a:lnTo>
                    <a:moveTo>
                      <a:pt x="742" y="0"/>
                    </a:moveTo>
                    <a:lnTo>
                      <a:pt x="742" y="0"/>
                    </a:lnTo>
                    <a:moveTo>
                      <a:pt x="742" y="0"/>
                    </a:moveTo>
                    <a:lnTo>
                      <a:pt x="742" y="0"/>
                    </a:lnTo>
                    <a:lnTo>
                      <a:pt x="742"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70" name="Freeform 490"/>
              <p:cNvSpPr>
                <a:spLocks/>
              </p:cNvSpPr>
              <p:nvPr/>
            </p:nvSpPr>
            <p:spPr bwMode="gray">
              <a:xfrm>
                <a:off x="-2771775" y="4237037"/>
                <a:ext cx="898525" cy="1555750"/>
              </a:xfrm>
              <a:custGeom>
                <a:avLst/>
                <a:gdLst>
                  <a:gd name="T0" fmla="*/ 566 w 566"/>
                  <a:gd name="T1" fmla="*/ 980 h 980"/>
                  <a:gd name="T2" fmla="*/ 0 w 566"/>
                  <a:gd name="T3" fmla="*/ 0 h 980"/>
                  <a:gd name="T4" fmla="*/ 452 w 566"/>
                  <a:gd name="T5" fmla="*/ 427 h 980"/>
                  <a:gd name="T6" fmla="*/ 547 w 566"/>
                  <a:gd name="T7" fmla="*/ 885 h 980"/>
                  <a:gd name="T8" fmla="*/ 566 w 566"/>
                  <a:gd name="T9" fmla="*/ 980 h 980"/>
                </a:gdLst>
                <a:ahLst/>
                <a:cxnLst>
                  <a:cxn ang="0">
                    <a:pos x="T0" y="T1"/>
                  </a:cxn>
                  <a:cxn ang="0">
                    <a:pos x="T2" y="T3"/>
                  </a:cxn>
                  <a:cxn ang="0">
                    <a:pos x="T4" y="T5"/>
                  </a:cxn>
                  <a:cxn ang="0">
                    <a:pos x="T6" y="T7"/>
                  </a:cxn>
                  <a:cxn ang="0">
                    <a:pos x="T8" y="T9"/>
                  </a:cxn>
                </a:cxnLst>
                <a:rect l="0" t="0" r="r" b="b"/>
                <a:pathLst>
                  <a:path w="566" h="980">
                    <a:moveTo>
                      <a:pt x="566" y="980"/>
                    </a:moveTo>
                    <a:lnTo>
                      <a:pt x="0" y="0"/>
                    </a:lnTo>
                    <a:lnTo>
                      <a:pt x="452" y="427"/>
                    </a:lnTo>
                    <a:lnTo>
                      <a:pt x="547" y="88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71" name="Freeform 491"/>
              <p:cNvSpPr>
                <a:spLocks/>
              </p:cNvSpPr>
              <p:nvPr/>
            </p:nvSpPr>
            <p:spPr bwMode="gray">
              <a:xfrm>
                <a:off x="-1873250" y="5792787"/>
                <a:ext cx="1019175" cy="1031875"/>
              </a:xfrm>
              <a:custGeom>
                <a:avLst/>
                <a:gdLst>
                  <a:gd name="T0" fmla="*/ 600 w 642"/>
                  <a:gd name="T1" fmla="*/ 650 h 650"/>
                  <a:gd name="T2" fmla="*/ 288 w 642"/>
                  <a:gd name="T3" fmla="*/ 312 h 650"/>
                  <a:gd name="T4" fmla="*/ 0 w 642"/>
                  <a:gd name="T5" fmla="*/ 0 h 650"/>
                  <a:gd name="T6" fmla="*/ 642 w 642"/>
                  <a:gd name="T7" fmla="*/ 0 h 650"/>
                  <a:gd name="T8" fmla="*/ 642 w 642"/>
                  <a:gd name="T9" fmla="*/ 600 h 650"/>
                  <a:gd name="T10" fmla="*/ 600 w 642"/>
                  <a:gd name="T11" fmla="*/ 650 h 650"/>
                </a:gdLst>
                <a:ahLst/>
                <a:cxnLst>
                  <a:cxn ang="0">
                    <a:pos x="T0" y="T1"/>
                  </a:cxn>
                  <a:cxn ang="0">
                    <a:pos x="T2" y="T3"/>
                  </a:cxn>
                  <a:cxn ang="0">
                    <a:pos x="T4" y="T5"/>
                  </a:cxn>
                  <a:cxn ang="0">
                    <a:pos x="T6" y="T7"/>
                  </a:cxn>
                  <a:cxn ang="0">
                    <a:pos x="T8" y="T9"/>
                  </a:cxn>
                  <a:cxn ang="0">
                    <a:pos x="T10" y="T11"/>
                  </a:cxn>
                </a:cxnLst>
                <a:rect l="0" t="0" r="r" b="b"/>
                <a:pathLst>
                  <a:path w="642" h="650">
                    <a:moveTo>
                      <a:pt x="600" y="650"/>
                    </a:moveTo>
                    <a:lnTo>
                      <a:pt x="288" y="312"/>
                    </a:lnTo>
                    <a:lnTo>
                      <a:pt x="0" y="0"/>
                    </a:lnTo>
                    <a:lnTo>
                      <a:pt x="642" y="0"/>
                    </a:lnTo>
                    <a:lnTo>
                      <a:pt x="642" y="600"/>
                    </a:lnTo>
                    <a:lnTo>
                      <a:pt x="600" y="650"/>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72" name="Freeform 492"/>
              <p:cNvSpPr>
                <a:spLocks noEditPoints="1"/>
              </p:cNvSpPr>
              <p:nvPr/>
            </p:nvSpPr>
            <p:spPr bwMode="gray">
              <a:xfrm>
                <a:off x="-4214813" y="4237037"/>
                <a:ext cx="2341563" cy="2058988"/>
              </a:xfrm>
              <a:custGeom>
                <a:avLst/>
                <a:gdLst>
                  <a:gd name="T0" fmla="*/ 0 w 3073"/>
                  <a:gd name="T1" fmla="*/ 2701 h 2701"/>
                  <a:gd name="T2" fmla="*/ 0 w 3073"/>
                  <a:gd name="T3" fmla="*/ 2701 h 2701"/>
                  <a:gd name="T4" fmla="*/ 0 w 3073"/>
                  <a:gd name="T5" fmla="*/ 2701 h 2701"/>
                  <a:gd name="T6" fmla="*/ 0 w 3073"/>
                  <a:gd name="T7" fmla="*/ 2701 h 2701"/>
                  <a:gd name="T8" fmla="*/ 0 w 3073"/>
                  <a:gd name="T9" fmla="*/ 2701 h 2701"/>
                  <a:gd name="T10" fmla="*/ 1894 w 3073"/>
                  <a:gd name="T11" fmla="*/ 0 h 2701"/>
                  <a:gd name="T12" fmla="*/ 3073 w 3073"/>
                  <a:gd name="T13" fmla="*/ 2042 h 2701"/>
                  <a:gd name="T14" fmla="*/ 3073 w 3073"/>
                  <a:gd name="T15" fmla="*/ 2042 h 2701"/>
                  <a:gd name="T16" fmla="*/ 0 w 3073"/>
                  <a:gd name="T17" fmla="*/ 2701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701">
                    <a:moveTo>
                      <a:pt x="0" y="2701"/>
                    </a:moveTo>
                    <a:lnTo>
                      <a:pt x="0" y="2701"/>
                    </a:lnTo>
                    <a:lnTo>
                      <a:pt x="0" y="2701"/>
                    </a:lnTo>
                    <a:lnTo>
                      <a:pt x="0" y="2701"/>
                    </a:lnTo>
                    <a:moveTo>
                      <a:pt x="0" y="2701"/>
                    </a:moveTo>
                    <a:lnTo>
                      <a:pt x="1894" y="0"/>
                    </a:lnTo>
                    <a:lnTo>
                      <a:pt x="3073" y="2042"/>
                    </a:lnTo>
                    <a:lnTo>
                      <a:pt x="3073" y="2042"/>
                    </a:lnTo>
                    <a:lnTo>
                      <a:pt x="0" y="270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73" name="Freeform 493"/>
              <p:cNvSpPr>
                <a:spLocks/>
              </p:cNvSpPr>
              <p:nvPr/>
            </p:nvSpPr>
            <p:spPr bwMode="gray">
              <a:xfrm>
                <a:off x="-2054225" y="4914900"/>
                <a:ext cx="1200150" cy="877888"/>
              </a:xfrm>
              <a:custGeom>
                <a:avLst/>
                <a:gdLst>
                  <a:gd name="T0" fmla="*/ 114 w 756"/>
                  <a:gd name="T1" fmla="*/ 553 h 553"/>
                  <a:gd name="T2" fmla="*/ 114 w 756"/>
                  <a:gd name="T3" fmla="*/ 553 h 553"/>
                  <a:gd name="T4" fmla="*/ 114 w 756"/>
                  <a:gd name="T5" fmla="*/ 553 h 553"/>
                  <a:gd name="T6" fmla="*/ 95 w 756"/>
                  <a:gd name="T7" fmla="*/ 458 h 553"/>
                  <a:gd name="T8" fmla="*/ 0 w 756"/>
                  <a:gd name="T9" fmla="*/ 0 h 553"/>
                  <a:gd name="T10" fmla="*/ 756 w 756"/>
                  <a:gd name="T11" fmla="*/ 336 h 553"/>
                  <a:gd name="T12" fmla="*/ 756 w 756"/>
                  <a:gd name="T13" fmla="*/ 553 h 553"/>
                  <a:gd name="T14" fmla="*/ 114 w 756"/>
                  <a:gd name="T15" fmla="*/ 553 h 5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6" h="553">
                    <a:moveTo>
                      <a:pt x="114" y="553"/>
                    </a:moveTo>
                    <a:lnTo>
                      <a:pt x="114" y="553"/>
                    </a:lnTo>
                    <a:lnTo>
                      <a:pt x="114" y="553"/>
                    </a:lnTo>
                    <a:lnTo>
                      <a:pt x="95" y="458"/>
                    </a:lnTo>
                    <a:lnTo>
                      <a:pt x="0" y="0"/>
                    </a:lnTo>
                    <a:lnTo>
                      <a:pt x="756" y="336"/>
                    </a:lnTo>
                    <a:lnTo>
                      <a:pt x="756" y="553"/>
                    </a:lnTo>
                    <a:lnTo>
                      <a:pt x="114" y="5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74" name="Freeform 494"/>
              <p:cNvSpPr>
                <a:spLocks noEditPoints="1"/>
              </p:cNvSpPr>
              <p:nvPr/>
            </p:nvSpPr>
            <p:spPr bwMode="gray">
              <a:xfrm>
                <a:off x="-4214813" y="5792787"/>
                <a:ext cx="2341563" cy="1866900"/>
              </a:xfrm>
              <a:custGeom>
                <a:avLst/>
                <a:gdLst>
                  <a:gd name="T0" fmla="*/ 2331 w 3073"/>
                  <a:gd name="T1" fmla="*/ 2449 h 2449"/>
                  <a:gd name="T2" fmla="*/ 2127 w 3073"/>
                  <a:gd name="T3" fmla="*/ 2449 h 2449"/>
                  <a:gd name="T4" fmla="*/ 0 w 3073"/>
                  <a:gd name="T5" fmla="*/ 659 h 2449"/>
                  <a:gd name="T6" fmla="*/ 3073 w 3073"/>
                  <a:gd name="T7" fmla="*/ 0 h 2449"/>
                  <a:gd name="T8" fmla="*/ 2331 w 3073"/>
                  <a:gd name="T9" fmla="*/ 2449 h 2449"/>
                  <a:gd name="T10" fmla="*/ 0 w 3073"/>
                  <a:gd name="T11" fmla="*/ 659 h 2449"/>
                  <a:gd name="T12" fmla="*/ 0 w 3073"/>
                  <a:gd name="T13" fmla="*/ 659 h 2449"/>
                  <a:gd name="T14" fmla="*/ 0 w 3073"/>
                  <a:gd name="T15" fmla="*/ 659 h 2449"/>
                  <a:gd name="T16" fmla="*/ 0 w 3073"/>
                  <a:gd name="T17" fmla="*/ 659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449">
                    <a:moveTo>
                      <a:pt x="2331" y="2449"/>
                    </a:moveTo>
                    <a:lnTo>
                      <a:pt x="2127" y="2449"/>
                    </a:lnTo>
                    <a:lnTo>
                      <a:pt x="0" y="659"/>
                    </a:lnTo>
                    <a:lnTo>
                      <a:pt x="3073" y="0"/>
                    </a:lnTo>
                    <a:lnTo>
                      <a:pt x="2331" y="2449"/>
                    </a:lnTo>
                    <a:moveTo>
                      <a:pt x="0" y="659"/>
                    </a:moveTo>
                    <a:lnTo>
                      <a:pt x="0" y="659"/>
                    </a:lnTo>
                    <a:lnTo>
                      <a:pt x="0" y="659"/>
                    </a:lnTo>
                    <a:lnTo>
                      <a:pt x="0" y="659"/>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75" name="Rectangle 495"/>
              <p:cNvSpPr>
                <a:spLocks noChangeArrowheads="1"/>
              </p:cNvSpPr>
              <p:nvPr/>
            </p:nvSpPr>
            <p:spPr bwMode="gray">
              <a:xfrm>
                <a:off x="-4214813" y="6296025"/>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76" name="Freeform 496"/>
              <p:cNvSpPr>
                <a:spLocks/>
              </p:cNvSpPr>
              <p:nvPr/>
            </p:nvSpPr>
            <p:spPr bwMode="gray">
              <a:xfrm>
                <a:off x="-2438400" y="5792787"/>
                <a:ext cx="565150" cy="1866900"/>
              </a:xfrm>
              <a:custGeom>
                <a:avLst/>
                <a:gdLst>
                  <a:gd name="T0" fmla="*/ 0 w 356"/>
                  <a:gd name="T1" fmla="*/ 1176 h 1176"/>
                  <a:gd name="T2" fmla="*/ 0 w 356"/>
                  <a:gd name="T3" fmla="*/ 1176 h 1176"/>
                  <a:gd name="T4" fmla="*/ 356 w 356"/>
                  <a:gd name="T5" fmla="*/ 0 h 1176"/>
                  <a:gd name="T6" fmla="*/ 356 w 356"/>
                  <a:gd name="T7" fmla="*/ 0 h 1176"/>
                  <a:gd name="T8" fmla="*/ 0 w 356"/>
                  <a:gd name="T9" fmla="*/ 1176 h 1176"/>
                </a:gdLst>
                <a:ahLst/>
                <a:cxnLst>
                  <a:cxn ang="0">
                    <a:pos x="T0" y="T1"/>
                  </a:cxn>
                  <a:cxn ang="0">
                    <a:pos x="T2" y="T3"/>
                  </a:cxn>
                  <a:cxn ang="0">
                    <a:pos x="T4" y="T5"/>
                  </a:cxn>
                  <a:cxn ang="0">
                    <a:pos x="T6" y="T7"/>
                  </a:cxn>
                  <a:cxn ang="0">
                    <a:pos x="T8" y="T9"/>
                  </a:cxn>
                </a:cxnLst>
                <a:rect l="0" t="0" r="r" b="b"/>
                <a:pathLst>
                  <a:path w="356" h="1176">
                    <a:moveTo>
                      <a:pt x="0" y="1176"/>
                    </a:moveTo>
                    <a:lnTo>
                      <a:pt x="0" y="1176"/>
                    </a:lnTo>
                    <a:lnTo>
                      <a:pt x="356" y="0"/>
                    </a:lnTo>
                    <a:lnTo>
                      <a:pt x="356" y="0"/>
                    </a:lnTo>
                    <a:lnTo>
                      <a:pt x="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77" name="Freeform 497"/>
              <p:cNvSpPr>
                <a:spLocks/>
              </p:cNvSpPr>
              <p:nvPr/>
            </p:nvSpPr>
            <p:spPr bwMode="gray">
              <a:xfrm>
                <a:off x="-4214813" y="5792787"/>
                <a:ext cx="2341563" cy="503238"/>
              </a:xfrm>
              <a:custGeom>
                <a:avLst/>
                <a:gdLst>
                  <a:gd name="T0" fmla="*/ 0 w 1475"/>
                  <a:gd name="T1" fmla="*/ 317 h 317"/>
                  <a:gd name="T2" fmla="*/ 0 w 1475"/>
                  <a:gd name="T3" fmla="*/ 317 h 317"/>
                  <a:gd name="T4" fmla="*/ 0 w 1475"/>
                  <a:gd name="T5" fmla="*/ 317 h 317"/>
                  <a:gd name="T6" fmla="*/ 1475 w 1475"/>
                  <a:gd name="T7" fmla="*/ 0 h 317"/>
                  <a:gd name="T8" fmla="*/ 1475 w 1475"/>
                  <a:gd name="T9" fmla="*/ 0 h 317"/>
                  <a:gd name="T10" fmla="*/ 0 w 1475"/>
                  <a:gd name="T11" fmla="*/ 317 h 317"/>
                </a:gdLst>
                <a:ahLst/>
                <a:cxnLst>
                  <a:cxn ang="0">
                    <a:pos x="T0" y="T1"/>
                  </a:cxn>
                  <a:cxn ang="0">
                    <a:pos x="T2" y="T3"/>
                  </a:cxn>
                  <a:cxn ang="0">
                    <a:pos x="T4" y="T5"/>
                  </a:cxn>
                  <a:cxn ang="0">
                    <a:pos x="T6" y="T7"/>
                  </a:cxn>
                  <a:cxn ang="0">
                    <a:pos x="T8" y="T9"/>
                  </a:cxn>
                  <a:cxn ang="0">
                    <a:pos x="T10" y="T11"/>
                  </a:cxn>
                </a:cxnLst>
                <a:rect l="0" t="0" r="r" b="b"/>
                <a:pathLst>
                  <a:path w="1475" h="317">
                    <a:moveTo>
                      <a:pt x="0" y="317"/>
                    </a:moveTo>
                    <a:lnTo>
                      <a:pt x="0" y="317"/>
                    </a:lnTo>
                    <a:lnTo>
                      <a:pt x="0" y="317"/>
                    </a:lnTo>
                    <a:lnTo>
                      <a:pt x="1475" y="0"/>
                    </a:lnTo>
                    <a:lnTo>
                      <a:pt x="1475" y="0"/>
                    </a:lnTo>
                    <a:lnTo>
                      <a:pt x="0" y="317"/>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78" name="Freeform 498"/>
              <p:cNvSpPr>
                <a:spLocks/>
              </p:cNvSpPr>
              <p:nvPr/>
            </p:nvSpPr>
            <p:spPr bwMode="gray">
              <a:xfrm>
                <a:off x="-2054225" y="3560762"/>
                <a:ext cx="1200150" cy="1354138"/>
              </a:xfrm>
              <a:custGeom>
                <a:avLst/>
                <a:gdLst>
                  <a:gd name="T0" fmla="*/ 0 w 756"/>
                  <a:gd name="T1" fmla="*/ 853 h 853"/>
                  <a:gd name="T2" fmla="*/ 0 w 756"/>
                  <a:gd name="T3" fmla="*/ 853 h 853"/>
                  <a:gd name="T4" fmla="*/ 756 w 756"/>
                  <a:gd name="T5" fmla="*/ 0 h 853"/>
                  <a:gd name="T6" fmla="*/ 756 w 756"/>
                  <a:gd name="T7" fmla="*/ 675 h 853"/>
                  <a:gd name="T8" fmla="*/ 0 w 756"/>
                  <a:gd name="T9" fmla="*/ 853 h 853"/>
                </a:gdLst>
                <a:ahLst/>
                <a:cxnLst>
                  <a:cxn ang="0">
                    <a:pos x="T0" y="T1"/>
                  </a:cxn>
                  <a:cxn ang="0">
                    <a:pos x="T2" y="T3"/>
                  </a:cxn>
                  <a:cxn ang="0">
                    <a:pos x="T4" y="T5"/>
                  </a:cxn>
                  <a:cxn ang="0">
                    <a:pos x="T6" y="T7"/>
                  </a:cxn>
                  <a:cxn ang="0">
                    <a:pos x="T8" y="T9"/>
                  </a:cxn>
                </a:cxnLst>
                <a:rect l="0" t="0" r="r" b="b"/>
                <a:pathLst>
                  <a:path w="756" h="853">
                    <a:moveTo>
                      <a:pt x="0" y="853"/>
                    </a:moveTo>
                    <a:lnTo>
                      <a:pt x="0" y="853"/>
                    </a:lnTo>
                    <a:lnTo>
                      <a:pt x="756" y="0"/>
                    </a:lnTo>
                    <a:lnTo>
                      <a:pt x="756" y="675"/>
                    </a:lnTo>
                    <a:lnTo>
                      <a:pt x="0" y="853"/>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79" name="Freeform 499"/>
              <p:cNvSpPr>
                <a:spLocks/>
              </p:cNvSpPr>
              <p:nvPr/>
            </p:nvSpPr>
            <p:spPr bwMode="gray">
              <a:xfrm>
                <a:off x="-2054225" y="3560762"/>
                <a:ext cx="1200150" cy="1354138"/>
              </a:xfrm>
              <a:custGeom>
                <a:avLst/>
                <a:gdLst>
                  <a:gd name="T0" fmla="*/ 0 w 756"/>
                  <a:gd name="T1" fmla="*/ 853 h 853"/>
                  <a:gd name="T2" fmla="*/ 756 w 756"/>
                  <a:gd name="T3" fmla="*/ 0 h 853"/>
                  <a:gd name="T4" fmla="*/ 756 w 756"/>
                  <a:gd name="T5" fmla="*/ 0 h 853"/>
                  <a:gd name="T6" fmla="*/ 0 w 756"/>
                  <a:gd name="T7" fmla="*/ 853 h 853"/>
                </a:gdLst>
                <a:ahLst/>
                <a:cxnLst>
                  <a:cxn ang="0">
                    <a:pos x="T0" y="T1"/>
                  </a:cxn>
                  <a:cxn ang="0">
                    <a:pos x="T2" y="T3"/>
                  </a:cxn>
                  <a:cxn ang="0">
                    <a:pos x="T4" y="T5"/>
                  </a:cxn>
                  <a:cxn ang="0">
                    <a:pos x="T6" y="T7"/>
                  </a:cxn>
                </a:cxnLst>
                <a:rect l="0" t="0" r="r" b="b"/>
                <a:pathLst>
                  <a:path w="756" h="853">
                    <a:moveTo>
                      <a:pt x="0" y="853"/>
                    </a:moveTo>
                    <a:lnTo>
                      <a:pt x="756" y="0"/>
                    </a:lnTo>
                    <a:lnTo>
                      <a:pt x="756" y="0"/>
                    </a:lnTo>
                    <a:lnTo>
                      <a:pt x="0" y="853"/>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80" name="Freeform 500"/>
              <p:cNvSpPr>
                <a:spLocks/>
              </p:cNvSpPr>
              <p:nvPr/>
            </p:nvSpPr>
            <p:spPr bwMode="gray">
              <a:xfrm>
                <a:off x="-2054225" y="4632325"/>
                <a:ext cx="1200150" cy="815975"/>
              </a:xfrm>
              <a:custGeom>
                <a:avLst/>
                <a:gdLst>
                  <a:gd name="T0" fmla="*/ 756 w 756"/>
                  <a:gd name="T1" fmla="*/ 514 h 514"/>
                  <a:gd name="T2" fmla="*/ 0 w 756"/>
                  <a:gd name="T3" fmla="*/ 178 h 514"/>
                  <a:gd name="T4" fmla="*/ 756 w 756"/>
                  <a:gd name="T5" fmla="*/ 0 h 514"/>
                  <a:gd name="T6" fmla="*/ 756 w 756"/>
                  <a:gd name="T7" fmla="*/ 514 h 514"/>
                </a:gdLst>
                <a:ahLst/>
                <a:cxnLst>
                  <a:cxn ang="0">
                    <a:pos x="T0" y="T1"/>
                  </a:cxn>
                  <a:cxn ang="0">
                    <a:pos x="T2" y="T3"/>
                  </a:cxn>
                  <a:cxn ang="0">
                    <a:pos x="T4" y="T5"/>
                  </a:cxn>
                  <a:cxn ang="0">
                    <a:pos x="T6" y="T7"/>
                  </a:cxn>
                </a:cxnLst>
                <a:rect l="0" t="0" r="r" b="b"/>
                <a:pathLst>
                  <a:path w="756" h="514">
                    <a:moveTo>
                      <a:pt x="756" y="514"/>
                    </a:moveTo>
                    <a:lnTo>
                      <a:pt x="0" y="178"/>
                    </a:lnTo>
                    <a:lnTo>
                      <a:pt x="756" y="0"/>
                    </a:lnTo>
                    <a:lnTo>
                      <a:pt x="756" y="514"/>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81" name="Freeform 501"/>
              <p:cNvSpPr>
                <a:spLocks/>
              </p:cNvSpPr>
              <p:nvPr/>
            </p:nvSpPr>
            <p:spPr bwMode="gray">
              <a:xfrm>
                <a:off x="-2298700" y="6824662"/>
                <a:ext cx="1377950" cy="835025"/>
              </a:xfrm>
              <a:custGeom>
                <a:avLst/>
                <a:gdLst>
                  <a:gd name="T0" fmla="*/ 661 w 868"/>
                  <a:gd name="T1" fmla="*/ 526 h 526"/>
                  <a:gd name="T2" fmla="*/ 0 w 868"/>
                  <a:gd name="T3" fmla="*/ 526 h 526"/>
                  <a:gd name="T4" fmla="*/ 868 w 868"/>
                  <a:gd name="T5" fmla="*/ 0 h 526"/>
                  <a:gd name="T6" fmla="*/ 661 w 868"/>
                  <a:gd name="T7" fmla="*/ 526 h 526"/>
                </a:gdLst>
                <a:ahLst/>
                <a:cxnLst>
                  <a:cxn ang="0">
                    <a:pos x="T0" y="T1"/>
                  </a:cxn>
                  <a:cxn ang="0">
                    <a:pos x="T2" y="T3"/>
                  </a:cxn>
                  <a:cxn ang="0">
                    <a:pos x="T4" y="T5"/>
                  </a:cxn>
                  <a:cxn ang="0">
                    <a:pos x="T6" y="T7"/>
                  </a:cxn>
                </a:cxnLst>
                <a:rect l="0" t="0" r="r" b="b"/>
                <a:pathLst>
                  <a:path w="868" h="526">
                    <a:moveTo>
                      <a:pt x="661" y="526"/>
                    </a:moveTo>
                    <a:lnTo>
                      <a:pt x="0" y="526"/>
                    </a:lnTo>
                    <a:lnTo>
                      <a:pt x="868" y="0"/>
                    </a:lnTo>
                    <a:lnTo>
                      <a:pt x="661" y="526"/>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82" name="Freeform 502"/>
              <p:cNvSpPr>
                <a:spLocks/>
              </p:cNvSpPr>
              <p:nvPr/>
            </p:nvSpPr>
            <p:spPr bwMode="gray">
              <a:xfrm>
                <a:off x="-1249363" y="6824662"/>
                <a:ext cx="395288" cy="835025"/>
              </a:xfrm>
              <a:custGeom>
                <a:avLst/>
                <a:gdLst>
                  <a:gd name="T0" fmla="*/ 249 w 249"/>
                  <a:gd name="T1" fmla="*/ 526 h 526"/>
                  <a:gd name="T2" fmla="*/ 0 w 249"/>
                  <a:gd name="T3" fmla="*/ 526 h 526"/>
                  <a:gd name="T4" fmla="*/ 207 w 249"/>
                  <a:gd name="T5" fmla="*/ 0 h 526"/>
                  <a:gd name="T6" fmla="*/ 249 w 249"/>
                  <a:gd name="T7" fmla="*/ 166 h 526"/>
                  <a:gd name="T8" fmla="*/ 249 w 249"/>
                  <a:gd name="T9" fmla="*/ 526 h 526"/>
                </a:gdLst>
                <a:ahLst/>
                <a:cxnLst>
                  <a:cxn ang="0">
                    <a:pos x="T0" y="T1"/>
                  </a:cxn>
                  <a:cxn ang="0">
                    <a:pos x="T2" y="T3"/>
                  </a:cxn>
                  <a:cxn ang="0">
                    <a:pos x="T4" y="T5"/>
                  </a:cxn>
                  <a:cxn ang="0">
                    <a:pos x="T6" y="T7"/>
                  </a:cxn>
                  <a:cxn ang="0">
                    <a:pos x="T8" y="T9"/>
                  </a:cxn>
                </a:cxnLst>
                <a:rect l="0" t="0" r="r" b="b"/>
                <a:pathLst>
                  <a:path w="249" h="526">
                    <a:moveTo>
                      <a:pt x="249" y="526"/>
                    </a:moveTo>
                    <a:lnTo>
                      <a:pt x="0" y="526"/>
                    </a:lnTo>
                    <a:lnTo>
                      <a:pt x="207" y="0"/>
                    </a:lnTo>
                    <a:lnTo>
                      <a:pt x="249" y="166"/>
                    </a:lnTo>
                    <a:lnTo>
                      <a:pt x="249" y="52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83" name="Freeform 503"/>
              <p:cNvSpPr>
                <a:spLocks/>
              </p:cNvSpPr>
              <p:nvPr/>
            </p:nvSpPr>
            <p:spPr bwMode="gray">
              <a:xfrm>
                <a:off x="-920750" y="6745287"/>
                <a:ext cx="66675" cy="79375"/>
              </a:xfrm>
              <a:custGeom>
                <a:avLst/>
                <a:gdLst>
                  <a:gd name="T0" fmla="*/ 0 w 42"/>
                  <a:gd name="T1" fmla="*/ 50 h 50"/>
                  <a:gd name="T2" fmla="*/ 0 w 42"/>
                  <a:gd name="T3" fmla="*/ 50 h 50"/>
                  <a:gd name="T4" fmla="*/ 42 w 42"/>
                  <a:gd name="T5" fmla="*/ 0 h 50"/>
                  <a:gd name="T6" fmla="*/ 42 w 42"/>
                  <a:gd name="T7" fmla="*/ 47 h 50"/>
                  <a:gd name="T8" fmla="*/ 0 w 42"/>
                  <a:gd name="T9" fmla="*/ 50 h 50"/>
                </a:gdLst>
                <a:ahLst/>
                <a:cxnLst>
                  <a:cxn ang="0">
                    <a:pos x="T0" y="T1"/>
                  </a:cxn>
                  <a:cxn ang="0">
                    <a:pos x="T2" y="T3"/>
                  </a:cxn>
                  <a:cxn ang="0">
                    <a:pos x="T4" y="T5"/>
                  </a:cxn>
                  <a:cxn ang="0">
                    <a:pos x="T6" y="T7"/>
                  </a:cxn>
                  <a:cxn ang="0">
                    <a:pos x="T8" y="T9"/>
                  </a:cxn>
                </a:cxnLst>
                <a:rect l="0" t="0" r="r" b="b"/>
                <a:pathLst>
                  <a:path w="42" h="50">
                    <a:moveTo>
                      <a:pt x="0" y="50"/>
                    </a:moveTo>
                    <a:lnTo>
                      <a:pt x="0" y="50"/>
                    </a:lnTo>
                    <a:lnTo>
                      <a:pt x="42" y="0"/>
                    </a:lnTo>
                    <a:lnTo>
                      <a:pt x="42" y="47"/>
                    </a:lnTo>
                    <a:lnTo>
                      <a:pt x="0" y="5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484" name="Freeform 504"/>
              <p:cNvSpPr>
                <a:spLocks/>
              </p:cNvSpPr>
              <p:nvPr/>
            </p:nvSpPr>
            <p:spPr bwMode="gray">
              <a:xfrm>
                <a:off x="-920750" y="6819900"/>
                <a:ext cx="66675" cy="268288"/>
              </a:xfrm>
              <a:custGeom>
                <a:avLst/>
                <a:gdLst>
                  <a:gd name="T0" fmla="*/ 42 w 42"/>
                  <a:gd name="T1" fmla="*/ 169 h 169"/>
                  <a:gd name="T2" fmla="*/ 0 w 42"/>
                  <a:gd name="T3" fmla="*/ 3 h 169"/>
                  <a:gd name="T4" fmla="*/ 42 w 42"/>
                  <a:gd name="T5" fmla="*/ 0 h 169"/>
                  <a:gd name="T6" fmla="*/ 42 w 42"/>
                  <a:gd name="T7" fmla="*/ 169 h 169"/>
                </a:gdLst>
                <a:ahLst/>
                <a:cxnLst>
                  <a:cxn ang="0">
                    <a:pos x="T0" y="T1"/>
                  </a:cxn>
                  <a:cxn ang="0">
                    <a:pos x="T2" y="T3"/>
                  </a:cxn>
                  <a:cxn ang="0">
                    <a:pos x="T4" y="T5"/>
                  </a:cxn>
                  <a:cxn ang="0">
                    <a:pos x="T6" y="T7"/>
                  </a:cxn>
                </a:cxnLst>
                <a:rect l="0" t="0" r="r" b="b"/>
                <a:pathLst>
                  <a:path w="42" h="169">
                    <a:moveTo>
                      <a:pt x="42" y="169"/>
                    </a:moveTo>
                    <a:lnTo>
                      <a:pt x="0" y="3"/>
                    </a:lnTo>
                    <a:lnTo>
                      <a:pt x="42" y="0"/>
                    </a:lnTo>
                    <a:lnTo>
                      <a:pt x="42" y="16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grpSp>
        <p:sp>
          <p:nvSpPr>
            <p:cNvPr id="278" name="AutoShape 303"/>
            <p:cNvSpPr>
              <a:spLocks noChangeArrowheads="1" noTextEdit="1"/>
            </p:cNvSpPr>
            <p:nvPr/>
          </p:nvSpPr>
          <p:spPr bwMode="gray">
            <a:xfrm>
              <a:off x="749301" y="-1"/>
              <a:ext cx="8961438" cy="6721475"/>
            </a:xfrm>
            <a:prstGeom prst="rect">
              <a:avLst/>
            </a:prstGeom>
            <a:solidFill>
              <a:schemeClr val="accent4">
                <a:alpha val="83000"/>
              </a:schemeClr>
            </a:solidFill>
            <a:ln>
              <a:noFill/>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grpSp>
      <p:sp>
        <p:nvSpPr>
          <p:cNvPr id="2" name="Title 1"/>
          <p:cNvSpPr>
            <a:spLocks noGrp="1"/>
          </p:cNvSpPr>
          <p:nvPr>
            <p:ph type="title"/>
          </p:nvPr>
        </p:nvSpPr>
        <p:spPr bwMode="gray">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zh-CN" dirty="0">
                <a:solidFill>
                  <a:schemeClr val="bg1"/>
                </a:solidFill>
                <a:latin typeface="+mn-lt"/>
                <a:ea typeface="楷体" panose="02010609060101010101" pitchFamily="49" charset="-122"/>
                <a:cs typeface="SimSun"/>
              </a:rPr>
              <a:t>深度学习人工智能 - 如何运作</a:t>
            </a:r>
          </a:p>
        </p:txBody>
      </p:sp>
      <p:sp>
        <p:nvSpPr>
          <p:cNvPr id="488" name="Slide Number"/>
          <p:cNvSpPr txBox="1">
            <a:spLocks/>
          </p:cNvSpPr>
          <p:nvPr/>
        </p:nvSpPr>
        <p:spPr bwMode="gray">
          <a:xfrm>
            <a:off x="8564563" y="6508272"/>
            <a:ext cx="115416"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r>
              <a:rPr lang="zh-CN" sz="800" dirty="0">
                <a:solidFill>
                  <a:srgbClr val="FFFFFF"/>
                </a:solidFill>
                <a:ea typeface="楷体" panose="02010609060101010101" pitchFamily="49" charset="-122"/>
                <a:cs typeface="SimSun"/>
              </a:rPr>
              <a:t>44</a:t>
            </a:r>
          </a:p>
        </p:txBody>
      </p:sp>
      <p:sp>
        <p:nvSpPr>
          <p:cNvPr id="489" name="SlideLogoText"/>
          <p:cNvSpPr>
            <a:spLocks noChangeArrowheads="1"/>
          </p:cNvSpPr>
          <p:nvPr>
            <p:custDataLst>
              <p:tags r:id="rId1"/>
            </p:custDataLst>
          </p:nvPr>
        </p:nvSpPr>
        <p:spPr bwMode="gray">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zh-CN" sz="800" dirty="0">
                <a:solidFill>
                  <a:srgbClr val="FFFFFF"/>
                </a:solidFill>
                <a:latin typeface="+mn-lt"/>
                <a:ea typeface="楷体" panose="02010609060101010101" pitchFamily="49" charset="-122"/>
                <a:cs typeface="SimSun"/>
              </a:rPr>
              <a:t>McKinsey &amp; Company</a:t>
            </a:r>
          </a:p>
        </p:txBody>
      </p:sp>
      <p:sp>
        <p:nvSpPr>
          <p:cNvPr id="485" name="TextBox 484"/>
          <p:cNvSpPr txBox="1"/>
          <p:nvPr/>
        </p:nvSpPr>
        <p:spPr bwMode="gray">
          <a:xfrm>
            <a:off x="2378979" y="1018840"/>
            <a:ext cx="3287946"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600" dirty="0">
                <a:solidFill>
                  <a:srgbClr val="FFCA21"/>
                </a:solidFill>
                <a:ea typeface="楷体" panose="02010609060101010101" pitchFamily="49" charset="-122"/>
                <a:cs typeface="SimSun"/>
              </a:rPr>
              <a:t>问题</a:t>
            </a:r>
          </a:p>
        </p:txBody>
      </p:sp>
      <p:sp>
        <p:nvSpPr>
          <p:cNvPr id="486" name="TextBox 485"/>
          <p:cNvSpPr txBox="1"/>
          <p:nvPr/>
        </p:nvSpPr>
        <p:spPr bwMode="gray">
          <a:xfrm>
            <a:off x="5304183" y="1018840"/>
            <a:ext cx="3287946"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zh-CN" sz="1600" dirty="0">
                <a:solidFill>
                  <a:srgbClr val="FFCA21"/>
                </a:solidFill>
                <a:ea typeface="楷体" panose="02010609060101010101" pitchFamily="49" charset="-122"/>
                <a:cs typeface="SimSun"/>
              </a:rPr>
              <a:t>答案</a:t>
            </a:r>
          </a:p>
        </p:txBody>
      </p:sp>
      <p:sp>
        <p:nvSpPr>
          <p:cNvPr id="9" name="Left-Right Arrow 8"/>
          <p:cNvSpPr/>
          <p:nvPr/>
        </p:nvSpPr>
        <p:spPr bwMode="gray">
          <a:xfrm>
            <a:off x="2147294" y="837982"/>
            <a:ext cx="6689655" cy="607936"/>
          </a:xfrm>
          <a:prstGeom prst="leftRightArrow">
            <a:avLst>
              <a:gd name="adj1" fmla="val 70000"/>
              <a:gd name="adj2" fmla="val 37678"/>
            </a:avLst>
          </a:pr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a typeface="楷体" panose="02010609060101010101" pitchFamily="49" charset="-122"/>
            </a:endParaRPr>
          </a:p>
        </p:txBody>
      </p:sp>
      <p:sp>
        <p:nvSpPr>
          <p:cNvPr id="490" name="TextBox 489"/>
          <p:cNvSpPr txBox="1"/>
          <p:nvPr/>
        </p:nvSpPr>
        <p:spPr bwMode="gray">
          <a:xfrm>
            <a:off x="167472" y="1561889"/>
            <a:ext cx="1615147"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600" dirty="0">
                <a:solidFill>
                  <a:srgbClr val="FFCA21"/>
                </a:solidFill>
                <a:ea typeface="楷体" panose="02010609060101010101" pitchFamily="49" charset="-122"/>
                <a:cs typeface="SimSun"/>
              </a:rPr>
              <a:t>非结构化数据</a:t>
            </a:r>
          </a:p>
        </p:txBody>
      </p:sp>
      <p:sp>
        <p:nvSpPr>
          <p:cNvPr id="491" name="TextBox 490"/>
          <p:cNvSpPr txBox="1"/>
          <p:nvPr/>
        </p:nvSpPr>
        <p:spPr bwMode="gray">
          <a:xfrm>
            <a:off x="2378979" y="1561889"/>
            <a:ext cx="1615147"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sz="1600" dirty="0">
                <a:solidFill>
                  <a:srgbClr val="FFCA21"/>
                </a:solidFill>
                <a:ea typeface="楷体" panose="02010609060101010101" pitchFamily="49" charset="-122"/>
                <a:cs typeface="SimSun"/>
              </a:rPr>
              <a:t>（...数据示例...）</a:t>
            </a:r>
          </a:p>
        </p:txBody>
      </p:sp>
      <p:sp>
        <p:nvSpPr>
          <p:cNvPr id="492" name="TextBox 491"/>
          <p:cNvSpPr txBox="1"/>
          <p:nvPr/>
        </p:nvSpPr>
        <p:spPr bwMode="gray">
          <a:xfrm>
            <a:off x="6976982" y="1561889"/>
            <a:ext cx="1615147"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zh-CN" sz="1600" dirty="0">
                <a:solidFill>
                  <a:srgbClr val="FFCA21"/>
                </a:solidFill>
                <a:ea typeface="楷体" panose="02010609060101010101" pitchFamily="49" charset="-122"/>
                <a:cs typeface="SimSun"/>
              </a:rPr>
              <a:t>（...实际结果...）</a:t>
            </a:r>
          </a:p>
        </p:txBody>
      </p:sp>
      <p:sp>
        <p:nvSpPr>
          <p:cNvPr id="494" name="Shape 623"/>
          <p:cNvSpPr txBox="1"/>
          <p:nvPr/>
        </p:nvSpPr>
        <p:spPr bwMode="gray">
          <a:xfrm>
            <a:off x="167472" y="2228667"/>
            <a:ext cx="649608" cy="246221"/>
          </a:xfrm>
          <a:prstGeom prst="rect">
            <a:avLst/>
          </a:prstGeom>
        </p:spPr>
        <p:txBody>
          <a:bodyPr vert="horz" wrap="square" lIns="0" tIns="0" rIns="0" bIns="0" rtlCol="0">
            <a:spAutoFit/>
          </a:bodyPr>
          <a:lstStyle>
            <a:defPPr>
              <a:defRPr lang="en-US"/>
            </a:defPPr>
            <a:lvl1pPr marL="0" lvl="0" indent="0" defTabSz="895350" eaLnBrk="1" latinLnBrk="0" hangingPunct="1">
              <a:buClr>
                <a:schemeClr val="tx2"/>
              </a:buClr>
              <a:buSzPct val="100000"/>
              <a:defRPr baseline="0">
                <a:solidFill>
                  <a:srgbClr val="FFCA21"/>
                </a:solidFill>
                <a:latin typeface="Georgia" panose="02040502050405020303" pitchFamily="18"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dirty="0">
                <a:solidFill>
                  <a:schemeClr val="bg1"/>
                </a:solidFill>
                <a:latin typeface="+mn-lt"/>
                <a:ea typeface="楷体" panose="02010609060101010101" pitchFamily="49" charset="-122"/>
                <a:cs typeface="SimSun"/>
                <a:sym typeface="Trebuchet MS"/>
              </a:rPr>
              <a:t>视觉</a:t>
            </a:r>
          </a:p>
        </p:txBody>
      </p:sp>
      <p:sp>
        <p:nvSpPr>
          <p:cNvPr id="495" name="Shape 624"/>
          <p:cNvSpPr txBox="1"/>
          <p:nvPr/>
        </p:nvSpPr>
        <p:spPr bwMode="gray">
          <a:xfrm>
            <a:off x="167472" y="2676392"/>
            <a:ext cx="749105" cy="246221"/>
          </a:xfrm>
          <a:prstGeom prst="rect">
            <a:avLst/>
          </a:prstGeom>
        </p:spPr>
        <p:txBody>
          <a:bodyPr vert="horz" wrap="square" lIns="0" tIns="0" rIns="0" bIns="0" rtlCol="0">
            <a:spAutoFit/>
          </a:bodyPr>
          <a:lstStyle>
            <a:defPPr>
              <a:defRPr lang="en-US"/>
            </a:defPPr>
            <a:lvl1pPr marL="0" lvl="0" indent="0" defTabSz="895350" eaLnBrk="1" latinLnBrk="0" hangingPunct="1">
              <a:buClr>
                <a:schemeClr val="tx2"/>
              </a:buClr>
              <a:buSzPct val="100000"/>
              <a:defRPr baseline="0">
                <a:solidFill>
                  <a:srgbClr val="FFCA21"/>
                </a:solidFill>
                <a:latin typeface="Georgia" panose="02040502050405020303" pitchFamily="18"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a:solidFill>
                  <a:schemeClr val="bg1"/>
                </a:solidFill>
                <a:latin typeface="+mn-lt"/>
                <a:ea typeface="楷体" panose="02010609060101010101" pitchFamily="49" charset="-122"/>
                <a:cs typeface="SimSun"/>
                <a:sym typeface="Trebuchet MS"/>
              </a:rPr>
              <a:t>语音</a:t>
            </a:r>
          </a:p>
        </p:txBody>
      </p:sp>
      <p:sp>
        <p:nvSpPr>
          <p:cNvPr id="496" name="Shape 625"/>
          <p:cNvSpPr txBox="1"/>
          <p:nvPr/>
        </p:nvSpPr>
        <p:spPr bwMode="gray">
          <a:xfrm>
            <a:off x="167472" y="3124117"/>
            <a:ext cx="763504" cy="246221"/>
          </a:xfrm>
          <a:prstGeom prst="rect">
            <a:avLst/>
          </a:prstGeom>
        </p:spPr>
        <p:txBody>
          <a:bodyPr vert="horz" wrap="square" lIns="0" tIns="0" rIns="0" bIns="0" rtlCol="0">
            <a:spAutoFit/>
          </a:bodyPr>
          <a:lstStyle>
            <a:defPPr>
              <a:defRPr lang="en-US"/>
            </a:defPPr>
            <a:lvl1pPr marL="0" lvl="0" indent="0" defTabSz="895350" eaLnBrk="1" latinLnBrk="0" hangingPunct="1">
              <a:buClr>
                <a:schemeClr val="tx2"/>
              </a:buClr>
              <a:buSzPct val="100000"/>
              <a:defRPr baseline="0">
                <a:solidFill>
                  <a:srgbClr val="FFCA21"/>
                </a:solidFill>
                <a:latin typeface="Georgia" panose="02040502050405020303" pitchFamily="18"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a:solidFill>
                  <a:schemeClr val="bg1"/>
                </a:solidFill>
                <a:latin typeface="+mn-lt"/>
                <a:ea typeface="楷体" panose="02010609060101010101" pitchFamily="49" charset="-122"/>
                <a:cs typeface="SimSun"/>
                <a:sym typeface="Trebuchet MS"/>
              </a:rPr>
              <a:t>行动</a:t>
            </a:r>
          </a:p>
        </p:txBody>
      </p:sp>
      <p:sp>
        <p:nvSpPr>
          <p:cNvPr id="497" name="Shape 626"/>
          <p:cNvSpPr txBox="1"/>
          <p:nvPr/>
        </p:nvSpPr>
        <p:spPr bwMode="gray">
          <a:xfrm>
            <a:off x="167472" y="3571843"/>
            <a:ext cx="853838" cy="246221"/>
          </a:xfrm>
          <a:prstGeom prst="rect">
            <a:avLst/>
          </a:prstGeom>
        </p:spPr>
        <p:txBody>
          <a:bodyPr vert="horz" wrap="square" lIns="0" tIns="0" rIns="0" bIns="0" rtlCol="0">
            <a:spAutoFit/>
          </a:bodyPr>
          <a:lstStyle>
            <a:defPPr>
              <a:defRPr lang="en-US"/>
            </a:defPPr>
            <a:lvl1pPr marL="0" lvl="0" indent="0" defTabSz="895350" eaLnBrk="1" latinLnBrk="0" hangingPunct="1">
              <a:buClr>
                <a:schemeClr val="tx2"/>
              </a:buClr>
              <a:buSzPct val="100000"/>
              <a:defRPr baseline="0">
                <a:solidFill>
                  <a:srgbClr val="FFCA21"/>
                </a:solidFill>
                <a:latin typeface="Georgia" panose="02040502050405020303" pitchFamily="18"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a:solidFill>
                  <a:schemeClr val="bg1"/>
                </a:solidFill>
                <a:latin typeface="+mn-lt"/>
                <a:ea typeface="楷体" panose="02010609060101010101" pitchFamily="49" charset="-122"/>
                <a:cs typeface="SimSun"/>
                <a:sym typeface="Trebuchet MS"/>
              </a:rPr>
              <a:t>策略</a:t>
            </a:r>
          </a:p>
        </p:txBody>
      </p:sp>
      <p:sp>
        <p:nvSpPr>
          <p:cNvPr id="498" name="Shape 627"/>
          <p:cNvSpPr>
            <a:spLocks/>
          </p:cNvSpPr>
          <p:nvPr/>
        </p:nvSpPr>
        <p:spPr bwMode="gray">
          <a:xfrm>
            <a:off x="1356626" y="2200630"/>
            <a:ext cx="1103848" cy="1645470"/>
          </a:xfrm>
          <a:prstGeom prst="homePlate">
            <a:avLst>
              <a:gd name="adj" fmla="val 27128"/>
            </a:avLst>
          </a:prstGeom>
          <a:noFill/>
          <a:ln>
            <a:solidFill>
              <a:schemeClr val="bg2"/>
            </a:solidFill>
          </a:ln>
        </p:spPr>
        <p:txBody>
          <a:bodyPr lIns="74666" tIns="37323" rIns="74666" bIns="37323" anchor="ctr" anchorCtr="0">
            <a:noAutofit/>
          </a:bodyPr>
          <a:lstStyle/>
          <a:p>
            <a:pPr algn="ctr" defTabSz="373395">
              <a:spcBef>
                <a:spcPts val="0"/>
              </a:spcBef>
              <a:spcAft>
                <a:spcPts val="0"/>
              </a:spcAft>
              <a:buClr>
                <a:srgbClr val="FFFFFF"/>
              </a:buClr>
              <a:buSzPct val="25000"/>
            </a:pPr>
            <a:r>
              <a:rPr lang="zh-CN" sz="1470">
                <a:solidFill>
                  <a:srgbClr val="FFFFFF"/>
                </a:solidFill>
                <a:latin typeface="+mn-lt"/>
                <a:ea typeface="楷体" panose="02010609060101010101" pitchFamily="49" charset="-122"/>
                <a:cs typeface="SimSun"/>
                <a:sym typeface="Trebuchet MS"/>
              </a:rPr>
              <a:t>人工智能</a:t>
            </a:r>
          </a:p>
        </p:txBody>
      </p:sp>
      <p:sp>
        <p:nvSpPr>
          <p:cNvPr id="500" name="Shape 609"/>
          <p:cNvSpPr txBox="1">
            <a:spLocks/>
          </p:cNvSpPr>
          <p:nvPr/>
        </p:nvSpPr>
        <p:spPr bwMode="gray">
          <a:xfrm>
            <a:off x="2589955" y="2411473"/>
            <a:ext cx="2386333" cy="279009"/>
          </a:xfrm>
          <a:prstGeom prst="rect">
            <a:avLst/>
          </a:prstGeom>
          <a:noFill/>
          <a:ln>
            <a:noFill/>
          </a:ln>
        </p:spPr>
        <p:txBody>
          <a:bodyPr lIns="74666" tIns="37323" rIns="74666" bIns="37323" anchor="ctr" anchorCtr="0">
            <a:noAutofit/>
          </a:bodyPr>
          <a:lstStyle/>
          <a:p>
            <a:pPr defTabSz="373395">
              <a:lnSpc>
                <a:spcPct val="90000"/>
              </a:lnSpc>
              <a:spcBef>
                <a:spcPts val="0"/>
              </a:spcBef>
              <a:spcAft>
                <a:spcPts val="0"/>
              </a:spcAft>
              <a:buClr>
                <a:srgbClr val="FFFFFF"/>
              </a:buClr>
              <a:buSzPct val="25000"/>
            </a:pPr>
            <a:r>
              <a:rPr lang="zh-CN" sz="1470" dirty="0">
                <a:solidFill>
                  <a:srgbClr val="FFFFFF"/>
                </a:solidFill>
                <a:latin typeface="+mn-lt"/>
                <a:ea typeface="楷体" panose="02010609060101010101" pitchFamily="49" charset="-122"/>
                <a:cs typeface="SimSun"/>
                <a:sym typeface="Trebuchet MS"/>
              </a:rPr>
              <a:t>这是什么？</a:t>
            </a:r>
          </a:p>
        </p:txBody>
      </p:sp>
      <p:sp>
        <p:nvSpPr>
          <p:cNvPr id="501" name="Shape 610"/>
          <p:cNvSpPr txBox="1">
            <a:spLocks/>
          </p:cNvSpPr>
          <p:nvPr/>
        </p:nvSpPr>
        <p:spPr bwMode="gray">
          <a:xfrm>
            <a:off x="5857840" y="2411473"/>
            <a:ext cx="2508680" cy="279009"/>
          </a:xfrm>
          <a:prstGeom prst="rect">
            <a:avLst/>
          </a:prstGeom>
          <a:noFill/>
          <a:ln>
            <a:noFill/>
          </a:ln>
        </p:spPr>
        <p:txBody>
          <a:bodyPr lIns="74666" tIns="37323" rIns="74666" bIns="37323" anchor="ctr" anchorCtr="0">
            <a:noAutofit/>
          </a:bodyPr>
          <a:lstStyle/>
          <a:p>
            <a:pPr algn="r" defTabSz="373395">
              <a:lnSpc>
                <a:spcPct val="90000"/>
              </a:lnSpc>
              <a:spcBef>
                <a:spcPts val="0"/>
              </a:spcBef>
              <a:spcAft>
                <a:spcPts val="0"/>
              </a:spcAft>
              <a:buClr>
                <a:srgbClr val="FFFFFF"/>
              </a:buClr>
              <a:buSzPct val="25000"/>
            </a:pPr>
            <a:r>
              <a:rPr lang="zh-CN" sz="1470" dirty="0">
                <a:solidFill>
                  <a:srgbClr val="FFFFFF"/>
                </a:solidFill>
                <a:latin typeface="+mn-lt"/>
                <a:ea typeface="楷体" panose="02010609060101010101" pitchFamily="49" charset="-122"/>
                <a:cs typeface="SimSun"/>
                <a:sym typeface="Trebuchet MS"/>
              </a:rPr>
              <a:t>“猫”</a:t>
            </a:r>
          </a:p>
        </p:txBody>
      </p:sp>
      <p:sp>
        <p:nvSpPr>
          <p:cNvPr id="503" name="Shape 612"/>
          <p:cNvSpPr txBox="1">
            <a:spLocks/>
          </p:cNvSpPr>
          <p:nvPr/>
        </p:nvSpPr>
        <p:spPr bwMode="gray">
          <a:xfrm>
            <a:off x="2589955" y="2744352"/>
            <a:ext cx="2386333" cy="279009"/>
          </a:xfrm>
          <a:prstGeom prst="rect">
            <a:avLst/>
          </a:prstGeom>
          <a:noFill/>
          <a:ln>
            <a:noFill/>
          </a:ln>
        </p:spPr>
        <p:txBody>
          <a:bodyPr lIns="74666" tIns="37323" rIns="74666" bIns="37323" anchor="ctr" anchorCtr="0">
            <a:noAutofit/>
          </a:bodyPr>
          <a:lstStyle/>
          <a:p>
            <a:pPr defTabSz="373395">
              <a:lnSpc>
                <a:spcPct val="90000"/>
              </a:lnSpc>
              <a:spcBef>
                <a:spcPts val="0"/>
              </a:spcBef>
              <a:spcAft>
                <a:spcPts val="0"/>
              </a:spcAft>
              <a:buClr>
                <a:srgbClr val="FFFFFF"/>
              </a:buClr>
              <a:buSzPct val="25000"/>
            </a:pPr>
            <a:r>
              <a:rPr lang="zh-CN" sz="1470" dirty="0">
                <a:solidFill>
                  <a:srgbClr val="FFFFFF"/>
                </a:solidFill>
                <a:latin typeface="+mn-lt"/>
                <a:ea typeface="楷体" panose="02010609060101010101" pitchFamily="49" charset="-122"/>
                <a:cs typeface="SimSun"/>
                <a:sym typeface="Trebuchet MS"/>
              </a:rPr>
              <a:t>说的什么？</a:t>
            </a:r>
          </a:p>
        </p:txBody>
      </p:sp>
      <p:sp>
        <p:nvSpPr>
          <p:cNvPr id="504" name="Shape 613"/>
          <p:cNvSpPr txBox="1">
            <a:spLocks/>
          </p:cNvSpPr>
          <p:nvPr/>
        </p:nvSpPr>
        <p:spPr bwMode="gray">
          <a:xfrm>
            <a:off x="5857840" y="2741457"/>
            <a:ext cx="2508680" cy="279009"/>
          </a:xfrm>
          <a:prstGeom prst="rect">
            <a:avLst/>
          </a:prstGeom>
          <a:noFill/>
          <a:ln>
            <a:noFill/>
          </a:ln>
        </p:spPr>
        <p:txBody>
          <a:bodyPr lIns="74666" tIns="37323" rIns="74666" bIns="37323" anchor="ctr" anchorCtr="0">
            <a:noAutofit/>
          </a:bodyPr>
          <a:lstStyle/>
          <a:p>
            <a:pPr algn="r" defTabSz="373395">
              <a:lnSpc>
                <a:spcPct val="90000"/>
              </a:lnSpc>
              <a:spcBef>
                <a:spcPts val="0"/>
              </a:spcBef>
              <a:spcAft>
                <a:spcPts val="0"/>
              </a:spcAft>
              <a:buClr>
                <a:srgbClr val="FFFFFF"/>
              </a:buClr>
              <a:buSzPct val="25000"/>
            </a:pPr>
            <a:r>
              <a:rPr lang="zh-CN" sz="1470">
                <a:solidFill>
                  <a:srgbClr val="FFFFFF"/>
                </a:solidFill>
                <a:latin typeface="+mn-lt"/>
                <a:ea typeface="楷体" panose="02010609060101010101" pitchFamily="49" charset="-122"/>
                <a:cs typeface="SimSun"/>
                <a:sym typeface="Trebuchet MS"/>
              </a:rPr>
              <a:t>“找到最近的星巴克”</a:t>
            </a:r>
          </a:p>
        </p:txBody>
      </p:sp>
      <p:sp>
        <p:nvSpPr>
          <p:cNvPr id="506" name="Shape 615"/>
          <p:cNvSpPr txBox="1">
            <a:spLocks/>
          </p:cNvSpPr>
          <p:nvPr/>
        </p:nvSpPr>
        <p:spPr bwMode="gray">
          <a:xfrm>
            <a:off x="2589956" y="3068546"/>
            <a:ext cx="2386333" cy="279009"/>
          </a:xfrm>
          <a:prstGeom prst="rect">
            <a:avLst/>
          </a:prstGeom>
          <a:noFill/>
          <a:ln>
            <a:noFill/>
          </a:ln>
        </p:spPr>
        <p:txBody>
          <a:bodyPr lIns="74666" tIns="37323" rIns="74666" bIns="37323" anchor="ctr" anchorCtr="0">
            <a:noAutofit/>
          </a:bodyPr>
          <a:lstStyle/>
          <a:p>
            <a:pPr defTabSz="373395">
              <a:lnSpc>
                <a:spcPct val="90000"/>
              </a:lnSpc>
              <a:spcBef>
                <a:spcPts val="0"/>
              </a:spcBef>
              <a:spcAft>
                <a:spcPts val="0"/>
              </a:spcAft>
              <a:buClr>
                <a:srgbClr val="FFFFFF"/>
              </a:buClr>
              <a:buSzPct val="25000"/>
            </a:pPr>
            <a:r>
              <a:rPr lang="zh-CN" sz="1470" dirty="0">
                <a:solidFill>
                  <a:srgbClr val="FFFFFF"/>
                </a:solidFill>
                <a:latin typeface="+mn-lt"/>
                <a:ea typeface="楷体" panose="02010609060101010101" pitchFamily="49" charset="-122"/>
                <a:cs typeface="SimSun"/>
                <a:sym typeface="Trebuchet MS"/>
              </a:rPr>
              <a:t>我应当怎样驾驶？</a:t>
            </a:r>
          </a:p>
        </p:txBody>
      </p:sp>
      <p:sp>
        <p:nvSpPr>
          <p:cNvPr id="507" name="Shape 616"/>
          <p:cNvSpPr txBox="1">
            <a:spLocks/>
          </p:cNvSpPr>
          <p:nvPr/>
        </p:nvSpPr>
        <p:spPr bwMode="gray">
          <a:xfrm>
            <a:off x="5857840" y="3071441"/>
            <a:ext cx="2508680" cy="279009"/>
          </a:xfrm>
          <a:prstGeom prst="rect">
            <a:avLst/>
          </a:prstGeom>
          <a:noFill/>
          <a:ln>
            <a:noFill/>
          </a:ln>
        </p:spPr>
        <p:txBody>
          <a:bodyPr lIns="74666" tIns="37323" rIns="74666" bIns="37323" anchor="ctr" anchorCtr="0">
            <a:noAutofit/>
          </a:bodyPr>
          <a:lstStyle/>
          <a:p>
            <a:pPr algn="r" defTabSz="373395">
              <a:lnSpc>
                <a:spcPct val="90000"/>
              </a:lnSpc>
              <a:spcBef>
                <a:spcPts val="0"/>
              </a:spcBef>
              <a:spcAft>
                <a:spcPts val="0"/>
              </a:spcAft>
              <a:buClr>
                <a:srgbClr val="FFFFFF"/>
              </a:buClr>
              <a:buSzPct val="25000"/>
            </a:pPr>
            <a:r>
              <a:rPr lang="zh-CN" sz="1470" dirty="0">
                <a:solidFill>
                  <a:srgbClr val="FFFFFF"/>
                </a:solidFill>
                <a:latin typeface="+mn-lt"/>
                <a:ea typeface="楷体" panose="02010609060101010101" pitchFamily="49" charset="-122"/>
                <a:cs typeface="SimSun"/>
                <a:sym typeface="Trebuchet MS"/>
              </a:rPr>
              <a:t>...驾驶示例...</a:t>
            </a:r>
          </a:p>
        </p:txBody>
      </p:sp>
      <p:sp>
        <p:nvSpPr>
          <p:cNvPr id="509" name="Shape 618"/>
          <p:cNvSpPr txBox="1">
            <a:spLocks/>
          </p:cNvSpPr>
          <p:nvPr/>
        </p:nvSpPr>
        <p:spPr bwMode="gray">
          <a:xfrm>
            <a:off x="2589956" y="3401425"/>
            <a:ext cx="2386333" cy="279009"/>
          </a:xfrm>
          <a:prstGeom prst="rect">
            <a:avLst/>
          </a:prstGeom>
          <a:noFill/>
          <a:ln>
            <a:noFill/>
          </a:ln>
        </p:spPr>
        <p:txBody>
          <a:bodyPr lIns="74666" tIns="37323" rIns="74666" bIns="37323" anchor="ctr" anchorCtr="0">
            <a:noAutofit/>
          </a:bodyPr>
          <a:lstStyle/>
          <a:p>
            <a:pPr defTabSz="373395">
              <a:lnSpc>
                <a:spcPct val="90000"/>
              </a:lnSpc>
              <a:spcBef>
                <a:spcPts val="0"/>
              </a:spcBef>
              <a:spcAft>
                <a:spcPts val="0"/>
              </a:spcAft>
              <a:buClr>
                <a:srgbClr val="FFFFFF"/>
              </a:buClr>
              <a:buSzPct val="25000"/>
            </a:pPr>
            <a:r>
              <a:rPr lang="zh-CN" sz="1470">
                <a:solidFill>
                  <a:srgbClr val="FFFFFF"/>
                </a:solidFill>
                <a:latin typeface="+mn-lt"/>
                <a:ea typeface="楷体" panose="02010609060101010101" pitchFamily="49" charset="-122"/>
                <a:cs typeface="SimSun"/>
                <a:sym typeface="Trebuchet MS"/>
              </a:rPr>
              <a:t>什么策略能赢？</a:t>
            </a:r>
          </a:p>
        </p:txBody>
      </p:sp>
      <p:sp>
        <p:nvSpPr>
          <p:cNvPr id="510" name="Shape 619"/>
          <p:cNvSpPr txBox="1">
            <a:spLocks/>
          </p:cNvSpPr>
          <p:nvPr/>
        </p:nvSpPr>
        <p:spPr bwMode="gray">
          <a:xfrm>
            <a:off x="5857840" y="3401425"/>
            <a:ext cx="2508680" cy="279009"/>
          </a:xfrm>
          <a:prstGeom prst="rect">
            <a:avLst/>
          </a:prstGeom>
          <a:noFill/>
          <a:ln>
            <a:noFill/>
          </a:ln>
        </p:spPr>
        <p:txBody>
          <a:bodyPr lIns="74666" tIns="37323" rIns="74666" bIns="37323" anchor="ctr" anchorCtr="0">
            <a:noAutofit/>
          </a:bodyPr>
          <a:lstStyle/>
          <a:p>
            <a:pPr algn="r" defTabSz="373395">
              <a:lnSpc>
                <a:spcPct val="90000"/>
              </a:lnSpc>
              <a:spcBef>
                <a:spcPts val="0"/>
              </a:spcBef>
              <a:spcAft>
                <a:spcPts val="0"/>
              </a:spcAft>
              <a:buClr>
                <a:srgbClr val="FFFFFF"/>
              </a:buClr>
              <a:buSzPct val="25000"/>
            </a:pPr>
            <a:r>
              <a:rPr lang="zh-CN" sz="1470">
                <a:solidFill>
                  <a:srgbClr val="FFFFFF"/>
                </a:solidFill>
                <a:latin typeface="+mn-lt"/>
                <a:ea typeface="楷体" panose="02010609060101010101" pitchFamily="49" charset="-122"/>
                <a:cs typeface="SimSun"/>
                <a:sym typeface="Trebuchet MS"/>
              </a:rPr>
              <a:t>...棋局示例...</a:t>
            </a:r>
          </a:p>
        </p:txBody>
      </p:sp>
      <p:sp>
        <p:nvSpPr>
          <p:cNvPr id="512" name="Shape 621"/>
          <p:cNvSpPr>
            <a:spLocks/>
          </p:cNvSpPr>
          <p:nvPr/>
        </p:nvSpPr>
        <p:spPr bwMode="gray">
          <a:xfrm>
            <a:off x="2474583" y="2200630"/>
            <a:ext cx="6035077" cy="1645470"/>
          </a:xfrm>
          <a:prstGeom prst="roundRect">
            <a:avLst>
              <a:gd name="adj" fmla="val 4146"/>
            </a:avLst>
          </a:prstGeom>
          <a:noFill/>
          <a:ln>
            <a:solidFill>
              <a:schemeClr val="bg2"/>
            </a:solidFill>
          </a:ln>
        </p:spPr>
        <p:txBody>
          <a:bodyPr lIns="74666" tIns="37323" rIns="74666" bIns="37323" anchor="ctr" anchorCtr="0">
            <a:noAutofit/>
          </a:bodyPr>
          <a:lstStyle/>
          <a:p>
            <a:pPr algn="ctr" defTabSz="373395">
              <a:spcBef>
                <a:spcPts val="0"/>
              </a:spcBef>
              <a:spcAft>
                <a:spcPts val="0"/>
              </a:spcAft>
              <a:buClr>
                <a:srgbClr val="FFFFFF"/>
              </a:buClr>
              <a:buSzPct val="25000"/>
            </a:pPr>
            <a:endParaRPr sz="1470">
              <a:solidFill>
                <a:srgbClr val="FFFFFF"/>
              </a:solidFill>
              <a:latin typeface="+mn-lt"/>
              <a:ea typeface="楷体" panose="02010609060101010101" pitchFamily="49" charset="-122"/>
              <a:cs typeface="Trebuchet MS"/>
              <a:sym typeface="Trebuchet MS"/>
            </a:endParaRPr>
          </a:p>
        </p:txBody>
      </p:sp>
      <p:sp>
        <p:nvSpPr>
          <p:cNvPr id="716" name="Shape 623"/>
          <p:cNvSpPr txBox="1"/>
          <p:nvPr/>
        </p:nvSpPr>
        <p:spPr bwMode="gray">
          <a:xfrm>
            <a:off x="167471" y="4558085"/>
            <a:ext cx="1092760" cy="246221"/>
          </a:xfrm>
          <a:prstGeom prst="rect">
            <a:avLst/>
          </a:prstGeom>
        </p:spPr>
        <p:txBody>
          <a:bodyPr vert="horz" wrap="square" lIns="0" tIns="0" rIns="0" bIns="0" rtlCol="0">
            <a:spAutoFit/>
          </a:bodyPr>
          <a:lstStyle>
            <a:defPPr>
              <a:defRPr lang="en-US"/>
            </a:defPPr>
            <a:lvl1pPr marL="0" lvl="0" indent="0" defTabSz="895350" eaLnBrk="1" latinLnBrk="0" hangingPunct="1">
              <a:buClr>
                <a:schemeClr val="tx2"/>
              </a:buClr>
              <a:buSzPct val="100000"/>
              <a:defRPr baseline="0">
                <a:solidFill>
                  <a:srgbClr val="FFCA21"/>
                </a:solidFill>
                <a:latin typeface="Georgia" panose="02040502050405020303" pitchFamily="18"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dirty="0">
                <a:solidFill>
                  <a:schemeClr val="bg1"/>
                </a:solidFill>
                <a:latin typeface="+mn-lt"/>
                <a:ea typeface="楷体" panose="02010609060101010101" pitchFamily="49" charset="-122"/>
                <a:cs typeface="SimSun"/>
                <a:sym typeface="Trebuchet MS"/>
              </a:rPr>
              <a:t>预测性分析</a:t>
            </a:r>
          </a:p>
        </p:txBody>
      </p:sp>
      <p:sp>
        <p:nvSpPr>
          <p:cNvPr id="720" name="Shape 627"/>
          <p:cNvSpPr>
            <a:spLocks/>
          </p:cNvSpPr>
          <p:nvPr/>
        </p:nvSpPr>
        <p:spPr bwMode="gray">
          <a:xfrm>
            <a:off x="1356626" y="3981571"/>
            <a:ext cx="1103848" cy="1645470"/>
          </a:xfrm>
          <a:prstGeom prst="homePlate">
            <a:avLst>
              <a:gd name="adj" fmla="val 27128"/>
            </a:avLst>
          </a:prstGeom>
          <a:noFill/>
          <a:ln>
            <a:solidFill>
              <a:schemeClr val="bg2"/>
            </a:solidFill>
          </a:ln>
        </p:spPr>
        <p:txBody>
          <a:bodyPr lIns="74666" tIns="37323" rIns="74666" bIns="37323" anchor="ctr" anchorCtr="0">
            <a:noAutofit/>
          </a:bodyPr>
          <a:lstStyle/>
          <a:p>
            <a:pPr algn="ctr" defTabSz="373395">
              <a:spcBef>
                <a:spcPts val="0"/>
              </a:spcBef>
              <a:spcAft>
                <a:spcPts val="0"/>
              </a:spcAft>
              <a:buClr>
                <a:srgbClr val="FFFFFF"/>
              </a:buClr>
              <a:buSzPct val="25000"/>
            </a:pPr>
            <a:r>
              <a:rPr lang="zh-CN" sz="1470" dirty="0">
                <a:solidFill>
                  <a:srgbClr val="FFFFFF"/>
                </a:solidFill>
                <a:latin typeface="+mn-lt"/>
                <a:ea typeface="楷体" panose="02010609060101010101" pitchFamily="49" charset="-122"/>
                <a:cs typeface="SimSun"/>
                <a:sym typeface="Trebuchet MS"/>
              </a:rPr>
              <a:t>数据科学</a:t>
            </a:r>
          </a:p>
        </p:txBody>
      </p:sp>
      <p:sp>
        <p:nvSpPr>
          <p:cNvPr id="721" name="Shape 609"/>
          <p:cNvSpPr txBox="1">
            <a:spLocks/>
          </p:cNvSpPr>
          <p:nvPr/>
        </p:nvSpPr>
        <p:spPr bwMode="gray">
          <a:xfrm>
            <a:off x="2589955" y="4192414"/>
            <a:ext cx="2386333" cy="279009"/>
          </a:xfrm>
          <a:prstGeom prst="rect">
            <a:avLst/>
          </a:prstGeom>
          <a:noFill/>
          <a:ln>
            <a:noFill/>
          </a:ln>
        </p:spPr>
        <p:txBody>
          <a:bodyPr lIns="74666" tIns="37323" rIns="74666" bIns="37323" anchor="ctr" anchorCtr="0">
            <a:noAutofit/>
          </a:bodyPr>
          <a:lstStyle/>
          <a:p>
            <a:pPr defTabSz="373395">
              <a:lnSpc>
                <a:spcPct val="90000"/>
              </a:lnSpc>
              <a:spcBef>
                <a:spcPts val="0"/>
              </a:spcBef>
              <a:spcAft>
                <a:spcPts val="0"/>
              </a:spcAft>
              <a:buClr>
                <a:srgbClr val="FFFFFF"/>
              </a:buClr>
              <a:buSzPct val="25000"/>
            </a:pPr>
            <a:r>
              <a:rPr lang="zh-CN" sz="1470" dirty="0">
                <a:solidFill>
                  <a:srgbClr val="FFFFFF"/>
                </a:solidFill>
                <a:latin typeface="+mn-lt"/>
                <a:ea typeface="楷体" panose="02010609060101010101" pitchFamily="49" charset="-122"/>
                <a:cs typeface="SimSun"/>
                <a:sym typeface="Trebuchet MS"/>
              </a:rPr>
              <a:t>这是癌症吗？</a:t>
            </a:r>
          </a:p>
        </p:txBody>
      </p:sp>
      <p:sp>
        <p:nvSpPr>
          <p:cNvPr id="724" name="Shape 612"/>
          <p:cNvSpPr txBox="1">
            <a:spLocks/>
          </p:cNvSpPr>
          <p:nvPr/>
        </p:nvSpPr>
        <p:spPr bwMode="gray">
          <a:xfrm>
            <a:off x="2589955" y="4525293"/>
            <a:ext cx="2386333" cy="279009"/>
          </a:xfrm>
          <a:prstGeom prst="rect">
            <a:avLst/>
          </a:prstGeom>
          <a:noFill/>
          <a:ln>
            <a:noFill/>
          </a:ln>
        </p:spPr>
        <p:txBody>
          <a:bodyPr lIns="74666" tIns="37323" rIns="74666" bIns="37323" anchor="ctr" anchorCtr="0">
            <a:noAutofit/>
          </a:bodyPr>
          <a:lstStyle/>
          <a:p>
            <a:pPr defTabSz="373395">
              <a:lnSpc>
                <a:spcPct val="90000"/>
              </a:lnSpc>
              <a:spcBef>
                <a:spcPts val="0"/>
              </a:spcBef>
              <a:spcAft>
                <a:spcPts val="0"/>
              </a:spcAft>
              <a:buClr>
                <a:srgbClr val="FFFFFF"/>
              </a:buClr>
              <a:buSzPct val="25000"/>
            </a:pPr>
            <a:r>
              <a:rPr lang="zh-CN" sz="1470" dirty="0">
                <a:solidFill>
                  <a:srgbClr val="FFFFFF"/>
                </a:solidFill>
                <a:latin typeface="+mn-lt"/>
                <a:ea typeface="楷体" panose="02010609060101010101" pitchFamily="49" charset="-122"/>
                <a:cs typeface="SimSun"/>
                <a:sym typeface="Trebuchet MS"/>
              </a:rPr>
              <a:t>客户会购买吗？</a:t>
            </a:r>
          </a:p>
        </p:txBody>
      </p:sp>
      <p:sp>
        <p:nvSpPr>
          <p:cNvPr id="727" name="Shape 615"/>
          <p:cNvSpPr txBox="1">
            <a:spLocks/>
          </p:cNvSpPr>
          <p:nvPr/>
        </p:nvSpPr>
        <p:spPr bwMode="gray">
          <a:xfrm>
            <a:off x="2589956" y="4849487"/>
            <a:ext cx="2386333" cy="279009"/>
          </a:xfrm>
          <a:prstGeom prst="rect">
            <a:avLst/>
          </a:prstGeom>
          <a:noFill/>
          <a:ln>
            <a:noFill/>
          </a:ln>
        </p:spPr>
        <p:txBody>
          <a:bodyPr lIns="74666" tIns="37323" rIns="74666" bIns="37323" anchor="ctr" anchorCtr="0">
            <a:noAutofit/>
          </a:bodyPr>
          <a:lstStyle/>
          <a:p>
            <a:pPr defTabSz="373395">
              <a:lnSpc>
                <a:spcPct val="90000"/>
              </a:lnSpc>
              <a:spcBef>
                <a:spcPts val="0"/>
              </a:spcBef>
              <a:spcAft>
                <a:spcPts val="0"/>
              </a:spcAft>
              <a:buClr>
                <a:srgbClr val="FFFFFF"/>
              </a:buClr>
              <a:buSzPct val="25000"/>
            </a:pPr>
            <a:r>
              <a:rPr lang="zh-CN" altLang="en-US" sz="1470" dirty="0">
                <a:solidFill>
                  <a:srgbClr val="FFFFFF"/>
                </a:solidFill>
                <a:latin typeface="+mn-lt"/>
                <a:ea typeface="楷体" panose="02010609060101010101" pitchFamily="49" charset="-122"/>
                <a:cs typeface="SimSun"/>
                <a:sym typeface="Trebuchet MS"/>
              </a:rPr>
              <a:t>应当现在卖</a:t>
            </a:r>
            <a:r>
              <a:rPr lang="zh-CN" sz="1470" dirty="0">
                <a:solidFill>
                  <a:srgbClr val="FFFFFF"/>
                </a:solidFill>
                <a:latin typeface="+mn-lt"/>
                <a:ea typeface="楷体" panose="02010609060101010101" pitchFamily="49" charset="-122"/>
                <a:cs typeface="SimSun"/>
                <a:sym typeface="Trebuchet MS"/>
              </a:rPr>
              <a:t>出股票吗</a:t>
            </a:r>
            <a:r>
              <a:rPr lang="zh-CN" altLang="en-US" sz="1470" dirty="0">
                <a:solidFill>
                  <a:srgbClr val="FFFFFF"/>
                </a:solidFill>
                <a:latin typeface="+mn-lt"/>
                <a:ea typeface="楷体" panose="02010609060101010101" pitchFamily="49" charset="-122"/>
                <a:cs typeface="SimSun"/>
                <a:sym typeface="Trebuchet MS"/>
              </a:rPr>
              <a:t>？</a:t>
            </a:r>
            <a:endParaRPr lang="zh-CN" sz="1470" dirty="0">
              <a:solidFill>
                <a:srgbClr val="FFFFFF"/>
              </a:solidFill>
              <a:latin typeface="+mn-lt"/>
              <a:ea typeface="楷体" panose="02010609060101010101" pitchFamily="49" charset="-122"/>
              <a:cs typeface="SimSun"/>
              <a:sym typeface="Trebuchet MS"/>
            </a:endParaRPr>
          </a:p>
        </p:txBody>
      </p:sp>
      <p:sp>
        <p:nvSpPr>
          <p:cNvPr id="730" name="Shape 618"/>
          <p:cNvSpPr txBox="1">
            <a:spLocks/>
          </p:cNvSpPr>
          <p:nvPr/>
        </p:nvSpPr>
        <p:spPr bwMode="gray">
          <a:xfrm>
            <a:off x="2589956" y="5182366"/>
            <a:ext cx="2386333" cy="279009"/>
          </a:xfrm>
          <a:prstGeom prst="rect">
            <a:avLst/>
          </a:prstGeom>
          <a:noFill/>
          <a:ln>
            <a:noFill/>
          </a:ln>
        </p:spPr>
        <p:txBody>
          <a:bodyPr lIns="74666" tIns="37323" rIns="74666" bIns="37323" anchor="ctr" anchorCtr="0">
            <a:noAutofit/>
          </a:bodyPr>
          <a:lstStyle/>
          <a:p>
            <a:pPr defTabSz="373395">
              <a:lnSpc>
                <a:spcPct val="90000"/>
              </a:lnSpc>
              <a:spcBef>
                <a:spcPts val="0"/>
              </a:spcBef>
              <a:spcAft>
                <a:spcPts val="0"/>
              </a:spcAft>
              <a:buClr>
                <a:srgbClr val="FFFFFF"/>
              </a:buClr>
              <a:buSzPct val="25000"/>
            </a:pPr>
            <a:r>
              <a:rPr lang="zh-CN" sz="1470" dirty="0">
                <a:solidFill>
                  <a:srgbClr val="FFFFFF"/>
                </a:solidFill>
                <a:latin typeface="+mn-lt"/>
                <a:ea typeface="楷体" panose="02010609060101010101" pitchFamily="49" charset="-122"/>
                <a:cs typeface="SimSun"/>
                <a:sym typeface="Trebuchet MS"/>
              </a:rPr>
              <a:t>临床试验会失败吗？</a:t>
            </a:r>
          </a:p>
        </p:txBody>
      </p:sp>
      <p:cxnSp>
        <p:nvCxnSpPr>
          <p:cNvPr id="502" name="Shape 611"/>
          <p:cNvCxnSpPr/>
          <p:nvPr/>
        </p:nvCxnSpPr>
        <p:spPr bwMode="gray">
          <a:xfrm>
            <a:off x="5249984" y="2550977"/>
            <a:ext cx="581811" cy="0"/>
          </a:xfrm>
          <a:prstGeom prst="straightConnector1">
            <a:avLst/>
          </a:prstGeom>
          <a:ln w="28575">
            <a:solidFill>
              <a:srgbClr val="FFCA2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05" name="Shape 614"/>
          <p:cNvCxnSpPr/>
          <p:nvPr/>
        </p:nvCxnSpPr>
        <p:spPr bwMode="gray">
          <a:xfrm>
            <a:off x="5249984" y="2880961"/>
            <a:ext cx="581811" cy="0"/>
          </a:xfrm>
          <a:prstGeom prst="straightConnector1">
            <a:avLst/>
          </a:prstGeom>
          <a:ln w="28575">
            <a:solidFill>
              <a:srgbClr val="FFCA2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08" name="Shape 617"/>
          <p:cNvCxnSpPr/>
          <p:nvPr/>
        </p:nvCxnSpPr>
        <p:spPr bwMode="gray">
          <a:xfrm>
            <a:off x="5249984" y="3210945"/>
            <a:ext cx="581811" cy="0"/>
          </a:xfrm>
          <a:prstGeom prst="straightConnector1">
            <a:avLst/>
          </a:prstGeom>
          <a:ln w="28575">
            <a:solidFill>
              <a:srgbClr val="FFCA2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11" name="Shape 620"/>
          <p:cNvCxnSpPr/>
          <p:nvPr/>
        </p:nvCxnSpPr>
        <p:spPr bwMode="gray">
          <a:xfrm>
            <a:off x="5249984" y="3540929"/>
            <a:ext cx="581811" cy="0"/>
          </a:xfrm>
          <a:prstGeom prst="straightConnector1">
            <a:avLst/>
          </a:prstGeom>
          <a:ln w="28575">
            <a:solidFill>
              <a:srgbClr val="FFCA2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723" name="Shape 611"/>
          <p:cNvCxnSpPr/>
          <p:nvPr/>
        </p:nvCxnSpPr>
        <p:spPr bwMode="gray">
          <a:xfrm>
            <a:off x="5249984" y="4331918"/>
            <a:ext cx="581811" cy="0"/>
          </a:xfrm>
          <a:prstGeom prst="straightConnector1">
            <a:avLst/>
          </a:prstGeom>
          <a:ln w="28575">
            <a:solidFill>
              <a:srgbClr val="FFCA2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726" name="Shape 614"/>
          <p:cNvCxnSpPr/>
          <p:nvPr/>
        </p:nvCxnSpPr>
        <p:spPr bwMode="gray">
          <a:xfrm>
            <a:off x="5249984" y="4661902"/>
            <a:ext cx="581811" cy="0"/>
          </a:xfrm>
          <a:prstGeom prst="straightConnector1">
            <a:avLst/>
          </a:prstGeom>
          <a:ln w="28575">
            <a:solidFill>
              <a:srgbClr val="FFCA2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729" name="Shape 617"/>
          <p:cNvCxnSpPr/>
          <p:nvPr/>
        </p:nvCxnSpPr>
        <p:spPr bwMode="gray">
          <a:xfrm>
            <a:off x="5249984" y="4991886"/>
            <a:ext cx="581811" cy="0"/>
          </a:xfrm>
          <a:prstGeom prst="straightConnector1">
            <a:avLst/>
          </a:prstGeom>
          <a:ln w="28575">
            <a:solidFill>
              <a:srgbClr val="FFCA2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732" name="Shape 620"/>
          <p:cNvCxnSpPr/>
          <p:nvPr/>
        </p:nvCxnSpPr>
        <p:spPr bwMode="gray">
          <a:xfrm>
            <a:off x="5249984" y="5321870"/>
            <a:ext cx="581811" cy="0"/>
          </a:xfrm>
          <a:prstGeom prst="straightConnector1">
            <a:avLst/>
          </a:prstGeom>
          <a:ln w="28575">
            <a:solidFill>
              <a:srgbClr val="FFCA21"/>
            </a:solidFill>
            <a:tailEnd type="triangle" w="lg" len="med"/>
          </a:ln>
        </p:spPr>
        <p:style>
          <a:lnRef idx="1">
            <a:schemeClr val="accent1"/>
          </a:lnRef>
          <a:fillRef idx="0">
            <a:schemeClr val="accent1"/>
          </a:fillRef>
          <a:effectRef idx="0">
            <a:schemeClr val="accent1"/>
          </a:effectRef>
          <a:fontRef idx="minor">
            <a:schemeClr val="tx1"/>
          </a:fontRef>
        </p:style>
      </p:cxnSp>
      <p:sp>
        <p:nvSpPr>
          <p:cNvPr id="733" name="Shape 621"/>
          <p:cNvSpPr>
            <a:spLocks/>
          </p:cNvSpPr>
          <p:nvPr/>
        </p:nvSpPr>
        <p:spPr bwMode="gray">
          <a:xfrm>
            <a:off x="2474583" y="3981571"/>
            <a:ext cx="6035077" cy="1645470"/>
          </a:xfrm>
          <a:prstGeom prst="roundRect">
            <a:avLst>
              <a:gd name="adj" fmla="val 4146"/>
            </a:avLst>
          </a:prstGeom>
          <a:noFill/>
          <a:ln>
            <a:solidFill>
              <a:schemeClr val="bg2"/>
            </a:solidFill>
          </a:ln>
        </p:spPr>
        <p:txBody>
          <a:bodyPr lIns="74666" tIns="37323" rIns="74666" bIns="37323" anchor="ctr" anchorCtr="0">
            <a:noAutofit/>
          </a:bodyPr>
          <a:lstStyle/>
          <a:p>
            <a:pPr algn="ctr" defTabSz="373395">
              <a:spcBef>
                <a:spcPts val="0"/>
              </a:spcBef>
              <a:spcAft>
                <a:spcPts val="0"/>
              </a:spcAft>
              <a:buClr>
                <a:srgbClr val="FFFFFF"/>
              </a:buClr>
              <a:buSzPct val="25000"/>
            </a:pPr>
            <a:endParaRPr sz="1470">
              <a:solidFill>
                <a:srgbClr val="FFFFFF"/>
              </a:solidFill>
              <a:latin typeface="+mn-lt"/>
              <a:ea typeface="楷体" panose="02010609060101010101" pitchFamily="49" charset="-122"/>
              <a:cs typeface="Trebuchet MS"/>
              <a:sym typeface="Trebuchet MS"/>
            </a:endParaRPr>
          </a:p>
        </p:txBody>
      </p:sp>
      <p:sp>
        <p:nvSpPr>
          <p:cNvPr id="734" name="Shape 638"/>
          <p:cNvSpPr txBox="1"/>
          <p:nvPr/>
        </p:nvSpPr>
        <p:spPr bwMode="gray">
          <a:xfrm rot="20104168">
            <a:off x="6397280" y="4674176"/>
            <a:ext cx="1843565" cy="279009"/>
          </a:xfrm>
          <a:prstGeom prst="rect">
            <a:avLst/>
          </a:prstGeom>
          <a:noFill/>
          <a:ln w="9525" cap="flat" cmpd="sng">
            <a:solidFill>
              <a:schemeClr val="lt1"/>
            </a:solidFill>
            <a:prstDash val="solid"/>
            <a:round/>
            <a:headEnd type="none" w="med" len="med"/>
            <a:tailEnd type="none" w="med" len="med"/>
          </a:ln>
        </p:spPr>
        <p:txBody>
          <a:bodyPr lIns="74666" tIns="37323" rIns="74666" bIns="37323" anchor="ctr" anchorCtr="0">
            <a:noAutofit/>
          </a:bodyPr>
          <a:lstStyle/>
          <a:p>
            <a:pPr algn="ctr" defTabSz="373395">
              <a:lnSpc>
                <a:spcPct val="90000"/>
              </a:lnSpc>
              <a:spcBef>
                <a:spcPts val="0"/>
              </a:spcBef>
              <a:spcAft>
                <a:spcPts val="0"/>
              </a:spcAft>
              <a:buClr>
                <a:srgbClr val="FFFFFF"/>
              </a:buClr>
              <a:buSzPct val="25000"/>
            </a:pPr>
            <a:r>
              <a:rPr lang="zh-CN" sz="1470" dirty="0">
                <a:solidFill>
                  <a:srgbClr val="FFFFFF"/>
                </a:solidFill>
                <a:latin typeface="+mn-lt"/>
                <a:ea typeface="楷体" panose="02010609060101010101" pitchFamily="49" charset="-122"/>
                <a:cs typeface="SimSun"/>
                <a:sym typeface="Trebuchet MS"/>
              </a:rPr>
              <a:t>数据示例</a:t>
            </a:r>
          </a:p>
        </p:txBody>
      </p:sp>
      <p:sp>
        <p:nvSpPr>
          <p:cNvPr id="735" name="Shape 623"/>
          <p:cNvSpPr txBox="1"/>
          <p:nvPr/>
        </p:nvSpPr>
        <p:spPr bwMode="gray">
          <a:xfrm>
            <a:off x="167471" y="5739884"/>
            <a:ext cx="1092760" cy="246221"/>
          </a:xfrm>
          <a:prstGeom prst="rect">
            <a:avLst/>
          </a:prstGeom>
        </p:spPr>
        <p:txBody>
          <a:bodyPr vert="horz" wrap="square" lIns="0" tIns="0" rIns="0" bIns="0" rtlCol="0">
            <a:spAutoFit/>
          </a:bodyPr>
          <a:lstStyle>
            <a:defPPr>
              <a:defRPr lang="en-US"/>
            </a:defPPr>
            <a:lvl1pPr marL="0" lvl="0" indent="0" defTabSz="895350" eaLnBrk="1" latinLnBrk="0" hangingPunct="1">
              <a:buClr>
                <a:schemeClr val="tx2"/>
              </a:buClr>
              <a:buSzPct val="100000"/>
              <a:defRPr baseline="0">
                <a:solidFill>
                  <a:srgbClr val="FFCA21"/>
                </a:solidFill>
                <a:latin typeface="Georgia" panose="02040502050405020303" pitchFamily="18"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zh-CN" dirty="0">
                <a:solidFill>
                  <a:schemeClr val="bg1"/>
                </a:solidFill>
                <a:latin typeface="+mn-lt"/>
                <a:ea typeface="楷体" panose="02010609060101010101" pitchFamily="49" charset="-122"/>
                <a:cs typeface="SimSun"/>
                <a:sym typeface="Trebuchet MS"/>
              </a:rPr>
              <a:t>结构性数据</a:t>
            </a:r>
          </a:p>
        </p:txBody>
      </p:sp>
    </p:spTree>
    <p:extLst>
      <p:ext uri="{BB962C8B-B14F-4D97-AF65-F5344CB8AC3E}">
        <p14:creationId xmlns:p14="http://schemas.microsoft.com/office/powerpoint/2010/main" val="4875687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p:cNvGrpSpPr>
            <a:grpSpLocks/>
          </p:cNvGrpSpPr>
          <p:nvPr/>
        </p:nvGrpSpPr>
        <p:grpSpPr>
          <a:xfrm>
            <a:off x="0" y="-1"/>
            <a:ext cx="8961440" cy="6721475"/>
            <a:chOff x="-12625426" y="-4110030"/>
            <a:chExt cx="11771351" cy="11769703"/>
          </a:xfrm>
        </p:grpSpPr>
        <p:sp>
          <p:nvSpPr>
            <p:cNvPr id="59" name="Freeform 305"/>
            <p:cNvSpPr>
              <a:spLocks noEditPoints="1"/>
            </p:cNvSpPr>
            <p:nvPr/>
          </p:nvSpPr>
          <p:spPr bwMode="auto">
            <a:xfrm>
              <a:off x="-12625426" y="-4110030"/>
              <a:ext cx="11771348" cy="11769701"/>
            </a:xfrm>
            <a:custGeom>
              <a:avLst/>
              <a:gdLst>
                <a:gd name="T0" fmla="*/ 15360 w 15446"/>
                <a:gd name="T1" fmla="*/ 14351 h 15446"/>
                <a:gd name="T2" fmla="*/ 11037 w 15446"/>
                <a:gd name="T3" fmla="*/ 13656 h 15446"/>
                <a:gd name="T4" fmla="*/ 5936 w 15446"/>
                <a:gd name="T5" fmla="*/ 12632 h 15446"/>
                <a:gd name="T6" fmla="*/ 13164 w 15446"/>
                <a:gd name="T7" fmla="*/ 15446 h 15446"/>
                <a:gd name="T8" fmla="*/ 7984 w 15446"/>
                <a:gd name="T9" fmla="*/ 14465 h 15446"/>
                <a:gd name="T10" fmla="*/ 4300 w 15446"/>
                <a:gd name="T11" fmla="*/ 15446 h 15446"/>
                <a:gd name="T12" fmla="*/ 750 w 15446"/>
                <a:gd name="T13" fmla="*/ 12746 h 15446"/>
                <a:gd name="T14" fmla="*/ 750 w 15446"/>
                <a:gd name="T15" fmla="*/ 12746 h 15446"/>
                <a:gd name="T16" fmla="*/ 750 w 15446"/>
                <a:gd name="T17" fmla="*/ 12746 h 15446"/>
                <a:gd name="T18" fmla="*/ 371 w 15446"/>
                <a:gd name="T19" fmla="*/ 15010 h 15446"/>
                <a:gd name="T20" fmla="*/ 14542 w 15446"/>
                <a:gd name="T21" fmla="*/ 0 h 15446"/>
                <a:gd name="T22" fmla="*/ 7468 w 15446"/>
                <a:gd name="T23" fmla="*/ 1574 h 15446"/>
                <a:gd name="T24" fmla="*/ 7468 w 15446"/>
                <a:gd name="T25" fmla="*/ 1574 h 15446"/>
                <a:gd name="T26" fmla="*/ 3502 w 15446"/>
                <a:gd name="T27" fmla="*/ 2789 h 15446"/>
                <a:gd name="T28" fmla="*/ 1065 w 15446"/>
                <a:gd name="T29" fmla="*/ 1273 h 15446"/>
                <a:gd name="T30" fmla="*/ 120 w 15446"/>
                <a:gd name="T31" fmla="*/ 3894 h 15446"/>
                <a:gd name="T32" fmla="*/ 1145 w 15446"/>
                <a:gd name="T33" fmla="*/ 6872 h 15446"/>
                <a:gd name="T34" fmla="*/ 0 w 15446"/>
                <a:gd name="T35" fmla="*/ 7970 h 15446"/>
                <a:gd name="T36" fmla="*/ 2324 w 15446"/>
                <a:gd name="T37" fmla="*/ 8914 h 15446"/>
                <a:gd name="T38" fmla="*/ 3502 w 15446"/>
                <a:gd name="T39" fmla="*/ 10955 h 15446"/>
                <a:gd name="T40" fmla="*/ 2324 w 15446"/>
                <a:gd name="T41" fmla="*/ 8914 h 15446"/>
                <a:gd name="T42" fmla="*/ 586 w 15446"/>
                <a:gd name="T43" fmla="*/ 11428 h 15446"/>
                <a:gd name="T44" fmla="*/ 3502 w 15446"/>
                <a:gd name="T45" fmla="*/ 10956 h 15446"/>
                <a:gd name="T46" fmla="*/ 4943 w 15446"/>
                <a:gd name="T47" fmla="*/ 15446 h 15446"/>
                <a:gd name="T48" fmla="*/ 901 w 15446"/>
                <a:gd name="T49" fmla="*/ 1246 h 15446"/>
                <a:gd name="T50" fmla="*/ 2324 w 15446"/>
                <a:gd name="T51" fmla="*/ 748 h 15446"/>
                <a:gd name="T52" fmla="*/ 45 w 15446"/>
                <a:gd name="T53" fmla="*/ 0 h 15446"/>
                <a:gd name="T54" fmla="*/ 3737 w 15446"/>
                <a:gd name="T55" fmla="*/ 15446 h 15446"/>
                <a:gd name="T56" fmla="*/ 11037 w 15446"/>
                <a:gd name="T57" fmla="*/ 13656 h 15446"/>
                <a:gd name="T58" fmla="*/ 8413 w 15446"/>
                <a:gd name="T59" fmla="*/ 8879 h 15446"/>
                <a:gd name="T60" fmla="*/ 10777 w 15446"/>
                <a:gd name="T61" fmla="*/ 9480 h 15446"/>
                <a:gd name="T62" fmla="*/ 14110 w 15446"/>
                <a:gd name="T63" fmla="*/ 8914 h 15446"/>
                <a:gd name="T64" fmla="*/ 12931 w 15446"/>
                <a:gd name="T65" fmla="*/ 10955 h 15446"/>
                <a:gd name="T66" fmla="*/ 14110 w 15446"/>
                <a:gd name="T67" fmla="*/ 12997 h 15446"/>
                <a:gd name="T68" fmla="*/ 2324 w 15446"/>
                <a:gd name="T69" fmla="*/ 12997 h 15446"/>
                <a:gd name="T70" fmla="*/ 5935 w 15446"/>
                <a:gd name="T71" fmla="*/ 12631 h 15446"/>
                <a:gd name="T72" fmla="*/ 5936 w 15446"/>
                <a:gd name="T73" fmla="*/ 12632 h 15446"/>
                <a:gd name="T74" fmla="*/ 12931 w 15446"/>
                <a:gd name="T75" fmla="*/ 6872 h 15446"/>
                <a:gd name="T76" fmla="*/ 12931 w 15446"/>
                <a:gd name="T77" fmla="*/ 6872 h 15446"/>
                <a:gd name="T78" fmla="*/ 5860 w 15446"/>
                <a:gd name="T79" fmla="*/ 6872 h 15446"/>
                <a:gd name="T80" fmla="*/ 7038 w 15446"/>
                <a:gd name="T81" fmla="*/ 8914 h 15446"/>
                <a:gd name="T82" fmla="*/ 15446 w 15446"/>
                <a:gd name="T83" fmla="*/ 8914 h 15446"/>
                <a:gd name="T84" fmla="*/ 8217 w 15446"/>
                <a:gd name="T85" fmla="*/ 6872 h 15446"/>
                <a:gd name="T86" fmla="*/ 4159 w 15446"/>
                <a:gd name="T87" fmla="*/ 4109 h 15446"/>
                <a:gd name="T88" fmla="*/ 4159 w 15446"/>
                <a:gd name="T89" fmla="*/ 4109 h 15446"/>
                <a:gd name="T90" fmla="*/ 2557 w 15446"/>
                <a:gd name="T91" fmla="*/ 7302 h 15446"/>
                <a:gd name="T92" fmla="*/ 5860 w 15446"/>
                <a:gd name="T93" fmla="*/ 6872 h 15446"/>
                <a:gd name="T94" fmla="*/ 15446 w 15446"/>
                <a:gd name="T95" fmla="*/ 7072 h 15446"/>
                <a:gd name="T96" fmla="*/ 10574 w 15446"/>
                <a:gd name="T97" fmla="*/ 6872 h 15446"/>
                <a:gd name="T98" fmla="*/ 10574 w 15446"/>
                <a:gd name="T99" fmla="*/ 6872 h 15446"/>
                <a:gd name="T100" fmla="*/ 9316 w 15446"/>
                <a:gd name="T101" fmla="*/ 6257 h 15446"/>
                <a:gd name="T102" fmla="*/ 12655 w 15446"/>
                <a:gd name="T103" fmla="*/ 5604 h 15446"/>
                <a:gd name="T104" fmla="*/ 9316 w 15446"/>
                <a:gd name="T105" fmla="*/ 6257 h 15446"/>
                <a:gd name="T106" fmla="*/ 12655 w 15446"/>
                <a:gd name="T107" fmla="*/ 5604 h 15446"/>
                <a:gd name="T108" fmla="*/ 8410 w 15446"/>
                <a:gd name="T109" fmla="*/ 2581 h 15446"/>
                <a:gd name="T110" fmla="*/ 7038 w 15446"/>
                <a:gd name="T111" fmla="*/ 4831 h 15446"/>
                <a:gd name="T112" fmla="*/ 14110 w 15446"/>
                <a:gd name="T113" fmla="*/ 4831 h 15446"/>
                <a:gd name="T114" fmla="*/ 14110 w 15446"/>
                <a:gd name="T115" fmla="*/ 4831 h 15446"/>
                <a:gd name="T116" fmla="*/ 4603 w 15446"/>
                <a:gd name="T117" fmla="*/ 3765 h 15446"/>
                <a:gd name="T118" fmla="*/ 9396 w 15446"/>
                <a:gd name="T119" fmla="*/ 748 h 15446"/>
                <a:gd name="T120" fmla="*/ 5859 w 15446"/>
                <a:gd name="T121" fmla="*/ 2790 h 15446"/>
                <a:gd name="T122" fmla="*/ 15446 w 15446"/>
                <a:gd name="T123" fmla="*/ 1876 h 15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46" h="15446">
                  <a:moveTo>
                    <a:pt x="14929" y="15446"/>
                  </a:moveTo>
                  <a:lnTo>
                    <a:pt x="14929" y="15446"/>
                  </a:lnTo>
                  <a:lnTo>
                    <a:pt x="15360" y="14351"/>
                  </a:lnTo>
                  <a:lnTo>
                    <a:pt x="13552" y="15446"/>
                  </a:lnTo>
                  <a:lnTo>
                    <a:pt x="15360" y="14351"/>
                  </a:lnTo>
                  <a:lnTo>
                    <a:pt x="14710" y="13647"/>
                  </a:lnTo>
                  <a:lnTo>
                    <a:pt x="15360" y="14351"/>
                  </a:lnTo>
                  <a:lnTo>
                    <a:pt x="15446" y="14344"/>
                  </a:lnTo>
                  <a:lnTo>
                    <a:pt x="15446" y="14344"/>
                  </a:lnTo>
                  <a:lnTo>
                    <a:pt x="15360" y="14351"/>
                  </a:lnTo>
                  <a:lnTo>
                    <a:pt x="14929" y="15446"/>
                  </a:lnTo>
                  <a:moveTo>
                    <a:pt x="13164" y="15446"/>
                  </a:moveTo>
                  <a:lnTo>
                    <a:pt x="13164" y="15446"/>
                  </a:lnTo>
                  <a:lnTo>
                    <a:pt x="11037" y="13656"/>
                  </a:lnTo>
                  <a:lnTo>
                    <a:pt x="11394" y="15446"/>
                  </a:lnTo>
                  <a:lnTo>
                    <a:pt x="11394" y="15446"/>
                  </a:lnTo>
                  <a:lnTo>
                    <a:pt x="11037" y="13656"/>
                  </a:lnTo>
                  <a:lnTo>
                    <a:pt x="9396" y="12997"/>
                  </a:lnTo>
                  <a:lnTo>
                    <a:pt x="9395" y="12997"/>
                  </a:lnTo>
                  <a:lnTo>
                    <a:pt x="9396" y="12997"/>
                  </a:lnTo>
                  <a:lnTo>
                    <a:pt x="5936" y="12632"/>
                  </a:lnTo>
                  <a:lnTo>
                    <a:pt x="9395" y="12997"/>
                  </a:lnTo>
                  <a:lnTo>
                    <a:pt x="9395" y="12997"/>
                  </a:lnTo>
                  <a:lnTo>
                    <a:pt x="11037" y="13656"/>
                  </a:lnTo>
                  <a:lnTo>
                    <a:pt x="11037" y="13656"/>
                  </a:lnTo>
                  <a:lnTo>
                    <a:pt x="11037" y="13656"/>
                  </a:lnTo>
                  <a:lnTo>
                    <a:pt x="11037" y="13656"/>
                  </a:lnTo>
                  <a:lnTo>
                    <a:pt x="13164" y="15446"/>
                  </a:lnTo>
                  <a:moveTo>
                    <a:pt x="8513" y="15446"/>
                  </a:moveTo>
                  <a:lnTo>
                    <a:pt x="6538" y="15446"/>
                  </a:lnTo>
                  <a:lnTo>
                    <a:pt x="7984" y="14465"/>
                  </a:lnTo>
                  <a:lnTo>
                    <a:pt x="6538" y="15446"/>
                  </a:lnTo>
                  <a:lnTo>
                    <a:pt x="7984" y="14465"/>
                  </a:lnTo>
                  <a:lnTo>
                    <a:pt x="7376" y="13922"/>
                  </a:lnTo>
                  <a:lnTo>
                    <a:pt x="7984" y="14465"/>
                  </a:lnTo>
                  <a:lnTo>
                    <a:pt x="8513" y="15446"/>
                  </a:lnTo>
                  <a:moveTo>
                    <a:pt x="4943" y="15446"/>
                  </a:moveTo>
                  <a:lnTo>
                    <a:pt x="4943" y="15446"/>
                  </a:lnTo>
                  <a:lnTo>
                    <a:pt x="3564" y="14028"/>
                  </a:lnTo>
                  <a:lnTo>
                    <a:pt x="3502" y="15039"/>
                  </a:lnTo>
                  <a:lnTo>
                    <a:pt x="4300" y="15446"/>
                  </a:lnTo>
                  <a:lnTo>
                    <a:pt x="4300" y="15446"/>
                  </a:lnTo>
                  <a:lnTo>
                    <a:pt x="3502" y="15039"/>
                  </a:lnTo>
                  <a:lnTo>
                    <a:pt x="3502" y="15039"/>
                  </a:lnTo>
                  <a:lnTo>
                    <a:pt x="3502" y="15039"/>
                  </a:lnTo>
                  <a:lnTo>
                    <a:pt x="3564" y="14028"/>
                  </a:lnTo>
                  <a:lnTo>
                    <a:pt x="2324" y="12997"/>
                  </a:lnTo>
                  <a:lnTo>
                    <a:pt x="2324" y="12997"/>
                  </a:lnTo>
                  <a:lnTo>
                    <a:pt x="750" y="12746"/>
                  </a:lnTo>
                  <a:lnTo>
                    <a:pt x="750" y="12746"/>
                  </a:lnTo>
                  <a:lnTo>
                    <a:pt x="750" y="12746"/>
                  </a:lnTo>
                  <a:lnTo>
                    <a:pt x="750" y="12746"/>
                  </a:lnTo>
                  <a:lnTo>
                    <a:pt x="586" y="11428"/>
                  </a:lnTo>
                  <a:lnTo>
                    <a:pt x="0" y="11274"/>
                  </a:lnTo>
                  <a:lnTo>
                    <a:pt x="0" y="12062"/>
                  </a:lnTo>
                  <a:lnTo>
                    <a:pt x="750" y="12746"/>
                  </a:lnTo>
                  <a:lnTo>
                    <a:pt x="750" y="12746"/>
                  </a:lnTo>
                  <a:lnTo>
                    <a:pt x="0" y="12062"/>
                  </a:lnTo>
                  <a:lnTo>
                    <a:pt x="750" y="12746"/>
                  </a:lnTo>
                  <a:lnTo>
                    <a:pt x="0" y="13667"/>
                  </a:lnTo>
                  <a:lnTo>
                    <a:pt x="0" y="15111"/>
                  </a:lnTo>
                  <a:lnTo>
                    <a:pt x="371" y="15010"/>
                  </a:lnTo>
                  <a:lnTo>
                    <a:pt x="750" y="12746"/>
                  </a:lnTo>
                  <a:lnTo>
                    <a:pt x="750" y="12746"/>
                  </a:lnTo>
                  <a:lnTo>
                    <a:pt x="372" y="15010"/>
                  </a:lnTo>
                  <a:lnTo>
                    <a:pt x="1152" y="14205"/>
                  </a:lnTo>
                  <a:lnTo>
                    <a:pt x="372" y="15010"/>
                  </a:lnTo>
                  <a:lnTo>
                    <a:pt x="482" y="15446"/>
                  </a:lnTo>
                  <a:lnTo>
                    <a:pt x="482" y="15446"/>
                  </a:lnTo>
                  <a:lnTo>
                    <a:pt x="371" y="15010"/>
                  </a:lnTo>
                  <a:lnTo>
                    <a:pt x="0" y="15111"/>
                  </a:lnTo>
                  <a:lnTo>
                    <a:pt x="0" y="15446"/>
                  </a:lnTo>
                  <a:lnTo>
                    <a:pt x="0" y="0"/>
                  </a:lnTo>
                  <a:lnTo>
                    <a:pt x="15446" y="0"/>
                  </a:lnTo>
                  <a:lnTo>
                    <a:pt x="14542" y="0"/>
                  </a:lnTo>
                  <a:lnTo>
                    <a:pt x="14110" y="748"/>
                  </a:lnTo>
                  <a:lnTo>
                    <a:pt x="14542" y="0"/>
                  </a:lnTo>
                  <a:lnTo>
                    <a:pt x="8964" y="0"/>
                  </a:lnTo>
                  <a:lnTo>
                    <a:pt x="9395" y="747"/>
                  </a:lnTo>
                  <a:lnTo>
                    <a:pt x="9395" y="747"/>
                  </a:lnTo>
                  <a:lnTo>
                    <a:pt x="8964" y="0"/>
                  </a:lnTo>
                  <a:lnTo>
                    <a:pt x="7879" y="0"/>
                  </a:lnTo>
                  <a:lnTo>
                    <a:pt x="7468" y="1574"/>
                  </a:lnTo>
                  <a:lnTo>
                    <a:pt x="7468" y="1574"/>
                  </a:lnTo>
                  <a:lnTo>
                    <a:pt x="7879" y="0"/>
                  </a:lnTo>
                  <a:lnTo>
                    <a:pt x="6111" y="0"/>
                  </a:lnTo>
                  <a:lnTo>
                    <a:pt x="7468" y="1574"/>
                  </a:lnTo>
                  <a:lnTo>
                    <a:pt x="6111" y="0"/>
                  </a:lnTo>
                  <a:lnTo>
                    <a:pt x="4249" y="0"/>
                  </a:lnTo>
                  <a:lnTo>
                    <a:pt x="4681" y="748"/>
                  </a:lnTo>
                  <a:lnTo>
                    <a:pt x="7468" y="1574"/>
                  </a:lnTo>
                  <a:lnTo>
                    <a:pt x="7468" y="1574"/>
                  </a:lnTo>
                  <a:lnTo>
                    <a:pt x="4681" y="748"/>
                  </a:lnTo>
                  <a:lnTo>
                    <a:pt x="5860" y="2789"/>
                  </a:lnTo>
                  <a:lnTo>
                    <a:pt x="5859" y="2789"/>
                  </a:lnTo>
                  <a:lnTo>
                    <a:pt x="4681" y="748"/>
                  </a:lnTo>
                  <a:lnTo>
                    <a:pt x="3502" y="2790"/>
                  </a:lnTo>
                  <a:lnTo>
                    <a:pt x="3502" y="2789"/>
                  </a:lnTo>
                  <a:lnTo>
                    <a:pt x="4681" y="748"/>
                  </a:lnTo>
                  <a:lnTo>
                    <a:pt x="2324" y="748"/>
                  </a:lnTo>
                  <a:lnTo>
                    <a:pt x="3502" y="2789"/>
                  </a:lnTo>
                  <a:lnTo>
                    <a:pt x="3502" y="2789"/>
                  </a:lnTo>
                  <a:lnTo>
                    <a:pt x="2324" y="748"/>
                  </a:lnTo>
                  <a:lnTo>
                    <a:pt x="1065" y="1273"/>
                  </a:lnTo>
                  <a:lnTo>
                    <a:pt x="1065" y="1273"/>
                  </a:lnTo>
                  <a:lnTo>
                    <a:pt x="1065" y="1273"/>
                  </a:lnTo>
                  <a:lnTo>
                    <a:pt x="1065" y="1273"/>
                  </a:lnTo>
                  <a:lnTo>
                    <a:pt x="120" y="3894"/>
                  </a:lnTo>
                  <a:lnTo>
                    <a:pt x="2324" y="4831"/>
                  </a:lnTo>
                  <a:lnTo>
                    <a:pt x="2324" y="4831"/>
                  </a:lnTo>
                  <a:lnTo>
                    <a:pt x="120" y="3894"/>
                  </a:lnTo>
                  <a:lnTo>
                    <a:pt x="120" y="3894"/>
                  </a:lnTo>
                  <a:lnTo>
                    <a:pt x="1065" y="1273"/>
                  </a:lnTo>
                  <a:lnTo>
                    <a:pt x="0" y="1982"/>
                  </a:lnTo>
                  <a:lnTo>
                    <a:pt x="0" y="3795"/>
                  </a:lnTo>
                  <a:lnTo>
                    <a:pt x="120" y="3894"/>
                  </a:lnTo>
                  <a:lnTo>
                    <a:pt x="120" y="3894"/>
                  </a:lnTo>
                  <a:lnTo>
                    <a:pt x="270" y="4331"/>
                  </a:lnTo>
                  <a:lnTo>
                    <a:pt x="1145" y="6872"/>
                  </a:lnTo>
                  <a:lnTo>
                    <a:pt x="270" y="4331"/>
                  </a:lnTo>
                  <a:lnTo>
                    <a:pt x="1145" y="6872"/>
                  </a:lnTo>
                  <a:lnTo>
                    <a:pt x="2088" y="5239"/>
                  </a:lnTo>
                  <a:lnTo>
                    <a:pt x="1145" y="6872"/>
                  </a:lnTo>
                  <a:lnTo>
                    <a:pt x="1145" y="6872"/>
                  </a:lnTo>
                  <a:lnTo>
                    <a:pt x="1109" y="6907"/>
                  </a:lnTo>
                  <a:lnTo>
                    <a:pt x="0" y="7970"/>
                  </a:lnTo>
                  <a:lnTo>
                    <a:pt x="1109" y="6907"/>
                  </a:lnTo>
                  <a:lnTo>
                    <a:pt x="0" y="7970"/>
                  </a:lnTo>
                  <a:lnTo>
                    <a:pt x="0" y="8978"/>
                  </a:lnTo>
                  <a:lnTo>
                    <a:pt x="2324" y="8914"/>
                  </a:lnTo>
                  <a:lnTo>
                    <a:pt x="1145" y="6872"/>
                  </a:lnTo>
                  <a:lnTo>
                    <a:pt x="2324" y="8914"/>
                  </a:lnTo>
                  <a:lnTo>
                    <a:pt x="2324" y="8914"/>
                  </a:lnTo>
                  <a:lnTo>
                    <a:pt x="4116" y="9609"/>
                  </a:lnTo>
                  <a:lnTo>
                    <a:pt x="3114" y="8126"/>
                  </a:lnTo>
                  <a:lnTo>
                    <a:pt x="4116" y="9609"/>
                  </a:lnTo>
                  <a:lnTo>
                    <a:pt x="5860" y="10955"/>
                  </a:lnTo>
                  <a:lnTo>
                    <a:pt x="5859" y="10955"/>
                  </a:lnTo>
                  <a:lnTo>
                    <a:pt x="4116" y="9609"/>
                  </a:lnTo>
                  <a:lnTo>
                    <a:pt x="3502" y="10955"/>
                  </a:lnTo>
                  <a:lnTo>
                    <a:pt x="3502" y="10955"/>
                  </a:lnTo>
                  <a:lnTo>
                    <a:pt x="3502" y="10955"/>
                  </a:lnTo>
                  <a:lnTo>
                    <a:pt x="3502" y="10955"/>
                  </a:lnTo>
                  <a:lnTo>
                    <a:pt x="4116" y="9609"/>
                  </a:lnTo>
                  <a:lnTo>
                    <a:pt x="2324" y="8914"/>
                  </a:lnTo>
                  <a:lnTo>
                    <a:pt x="2324" y="8914"/>
                  </a:lnTo>
                  <a:lnTo>
                    <a:pt x="2324" y="8914"/>
                  </a:lnTo>
                  <a:lnTo>
                    <a:pt x="2324" y="8914"/>
                  </a:lnTo>
                  <a:lnTo>
                    <a:pt x="2324" y="8914"/>
                  </a:lnTo>
                  <a:lnTo>
                    <a:pt x="0" y="8978"/>
                  </a:lnTo>
                  <a:lnTo>
                    <a:pt x="0" y="11274"/>
                  </a:lnTo>
                  <a:lnTo>
                    <a:pt x="586" y="11428"/>
                  </a:lnTo>
                  <a:lnTo>
                    <a:pt x="1542" y="10045"/>
                  </a:lnTo>
                  <a:lnTo>
                    <a:pt x="586" y="11428"/>
                  </a:lnTo>
                  <a:lnTo>
                    <a:pt x="3502" y="10955"/>
                  </a:lnTo>
                  <a:lnTo>
                    <a:pt x="586" y="11428"/>
                  </a:lnTo>
                  <a:lnTo>
                    <a:pt x="750" y="12746"/>
                  </a:lnTo>
                  <a:lnTo>
                    <a:pt x="2324" y="12997"/>
                  </a:lnTo>
                  <a:lnTo>
                    <a:pt x="2324" y="12997"/>
                  </a:lnTo>
                  <a:lnTo>
                    <a:pt x="3564" y="14028"/>
                  </a:lnTo>
                  <a:lnTo>
                    <a:pt x="3502" y="10956"/>
                  </a:lnTo>
                  <a:lnTo>
                    <a:pt x="3564" y="14028"/>
                  </a:lnTo>
                  <a:lnTo>
                    <a:pt x="5860" y="10956"/>
                  </a:lnTo>
                  <a:lnTo>
                    <a:pt x="5860" y="10956"/>
                  </a:lnTo>
                  <a:lnTo>
                    <a:pt x="3564" y="14028"/>
                  </a:lnTo>
                  <a:lnTo>
                    <a:pt x="3564" y="14028"/>
                  </a:lnTo>
                  <a:lnTo>
                    <a:pt x="3564" y="14028"/>
                  </a:lnTo>
                  <a:lnTo>
                    <a:pt x="4943" y="15446"/>
                  </a:lnTo>
                  <a:moveTo>
                    <a:pt x="0" y="3795"/>
                  </a:moveTo>
                  <a:lnTo>
                    <a:pt x="120" y="3894"/>
                  </a:lnTo>
                  <a:lnTo>
                    <a:pt x="0" y="3795"/>
                  </a:lnTo>
                  <a:moveTo>
                    <a:pt x="0" y="1099"/>
                  </a:moveTo>
                  <a:lnTo>
                    <a:pt x="0" y="1982"/>
                  </a:lnTo>
                  <a:lnTo>
                    <a:pt x="1065" y="1273"/>
                  </a:lnTo>
                  <a:lnTo>
                    <a:pt x="901" y="1246"/>
                  </a:lnTo>
                  <a:lnTo>
                    <a:pt x="1065" y="1273"/>
                  </a:lnTo>
                  <a:lnTo>
                    <a:pt x="2324" y="748"/>
                  </a:lnTo>
                  <a:lnTo>
                    <a:pt x="0" y="916"/>
                  </a:lnTo>
                  <a:lnTo>
                    <a:pt x="0" y="1099"/>
                  </a:lnTo>
                  <a:moveTo>
                    <a:pt x="0" y="52"/>
                  </a:moveTo>
                  <a:lnTo>
                    <a:pt x="0" y="916"/>
                  </a:lnTo>
                  <a:lnTo>
                    <a:pt x="2324" y="748"/>
                  </a:lnTo>
                  <a:lnTo>
                    <a:pt x="4681" y="748"/>
                  </a:lnTo>
                  <a:lnTo>
                    <a:pt x="4249" y="0"/>
                  </a:lnTo>
                  <a:lnTo>
                    <a:pt x="1892" y="0"/>
                  </a:lnTo>
                  <a:lnTo>
                    <a:pt x="2324" y="748"/>
                  </a:lnTo>
                  <a:lnTo>
                    <a:pt x="2324" y="748"/>
                  </a:lnTo>
                  <a:lnTo>
                    <a:pt x="1892" y="0"/>
                  </a:lnTo>
                  <a:lnTo>
                    <a:pt x="45" y="0"/>
                  </a:lnTo>
                  <a:lnTo>
                    <a:pt x="0" y="52"/>
                  </a:lnTo>
                  <a:moveTo>
                    <a:pt x="0" y="0"/>
                  </a:moveTo>
                  <a:lnTo>
                    <a:pt x="0" y="52"/>
                  </a:lnTo>
                  <a:lnTo>
                    <a:pt x="44" y="0"/>
                  </a:lnTo>
                  <a:lnTo>
                    <a:pt x="0" y="0"/>
                  </a:lnTo>
                  <a:moveTo>
                    <a:pt x="3737" y="15446"/>
                  </a:moveTo>
                  <a:lnTo>
                    <a:pt x="3737" y="15446"/>
                  </a:lnTo>
                  <a:lnTo>
                    <a:pt x="3502" y="15039"/>
                  </a:lnTo>
                  <a:lnTo>
                    <a:pt x="3737" y="15446"/>
                  </a:lnTo>
                  <a:moveTo>
                    <a:pt x="1074" y="15446"/>
                  </a:moveTo>
                  <a:lnTo>
                    <a:pt x="1074" y="15446"/>
                  </a:lnTo>
                  <a:lnTo>
                    <a:pt x="800" y="15275"/>
                  </a:lnTo>
                  <a:lnTo>
                    <a:pt x="1074" y="15446"/>
                  </a:lnTo>
                  <a:moveTo>
                    <a:pt x="11037" y="13656"/>
                  </a:moveTo>
                  <a:lnTo>
                    <a:pt x="12931" y="10955"/>
                  </a:lnTo>
                  <a:lnTo>
                    <a:pt x="10777" y="9480"/>
                  </a:lnTo>
                  <a:lnTo>
                    <a:pt x="10433" y="11715"/>
                  </a:lnTo>
                  <a:lnTo>
                    <a:pt x="10433" y="11715"/>
                  </a:lnTo>
                  <a:lnTo>
                    <a:pt x="10433" y="11715"/>
                  </a:lnTo>
                  <a:lnTo>
                    <a:pt x="10777" y="9480"/>
                  </a:lnTo>
                  <a:lnTo>
                    <a:pt x="8413" y="8879"/>
                  </a:lnTo>
                  <a:lnTo>
                    <a:pt x="8413" y="8879"/>
                  </a:lnTo>
                  <a:lnTo>
                    <a:pt x="8413" y="8879"/>
                  </a:lnTo>
                  <a:lnTo>
                    <a:pt x="8413" y="8879"/>
                  </a:lnTo>
                  <a:lnTo>
                    <a:pt x="7038" y="8914"/>
                  </a:lnTo>
                  <a:lnTo>
                    <a:pt x="7038" y="8914"/>
                  </a:lnTo>
                  <a:lnTo>
                    <a:pt x="8413" y="8879"/>
                  </a:lnTo>
                  <a:lnTo>
                    <a:pt x="10777" y="9480"/>
                  </a:lnTo>
                  <a:lnTo>
                    <a:pt x="10777" y="9480"/>
                  </a:lnTo>
                  <a:lnTo>
                    <a:pt x="10777" y="9480"/>
                  </a:lnTo>
                  <a:lnTo>
                    <a:pt x="10777" y="9480"/>
                  </a:lnTo>
                  <a:lnTo>
                    <a:pt x="12931" y="10955"/>
                  </a:lnTo>
                  <a:lnTo>
                    <a:pt x="13871" y="11844"/>
                  </a:lnTo>
                  <a:lnTo>
                    <a:pt x="14110" y="8914"/>
                  </a:lnTo>
                  <a:lnTo>
                    <a:pt x="14110" y="8914"/>
                  </a:lnTo>
                  <a:lnTo>
                    <a:pt x="13871" y="11844"/>
                  </a:lnTo>
                  <a:lnTo>
                    <a:pt x="15446" y="11473"/>
                  </a:lnTo>
                  <a:lnTo>
                    <a:pt x="15446" y="11473"/>
                  </a:lnTo>
                  <a:lnTo>
                    <a:pt x="13871" y="11844"/>
                  </a:lnTo>
                  <a:lnTo>
                    <a:pt x="14069" y="12799"/>
                  </a:lnTo>
                  <a:lnTo>
                    <a:pt x="13871" y="11844"/>
                  </a:lnTo>
                  <a:lnTo>
                    <a:pt x="12931" y="10955"/>
                  </a:lnTo>
                  <a:lnTo>
                    <a:pt x="14110" y="12997"/>
                  </a:lnTo>
                  <a:lnTo>
                    <a:pt x="14110" y="12997"/>
                  </a:lnTo>
                  <a:lnTo>
                    <a:pt x="14110" y="12997"/>
                  </a:lnTo>
                  <a:lnTo>
                    <a:pt x="12931" y="10955"/>
                  </a:lnTo>
                  <a:lnTo>
                    <a:pt x="11037" y="13656"/>
                  </a:lnTo>
                  <a:moveTo>
                    <a:pt x="15446" y="12997"/>
                  </a:moveTo>
                  <a:lnTo>
                    <a:pt x="14110" y="12997"/>
                  </a:lnTo>
                  <a:lnTo>
                    <a:pt x="14110" y="12997"/>
                  </a:lnTo>
                  <a:lnTo>
                    <a:pt x="15446" y="12997"/>
                  </a:lnTo>
                  <a:lnTo>
                    <a:pt x="15446" y="12997"/>
                  </a:lnTo>
                  <a:moveTo>
                    <a:pt x="2324" y="12997"/>
                  </a:moveTo>
                  <a:lnTo>
                    <a:pt x="586" y="11428"/>
                  </a:lnTo>
                  <a:lnTo>
                    <a:pt x="2324" y="12997"/>
                  </a:lnTo>
                  <a:lnTo>
                    <a:pt x="2324" y="12997"/>
                  </a:lnTo>
                  <a:moveTo>
                    <a:pt x="750" y="12746"/>
                  </a:moveTo>
                  <a:lnTo>
                    <a:pt x="750" y="12746"/>
                  </a:lnTo>
                  <a:lnTo>
                    <a:pt x="750" y="12746"/>
                  </a:lnTo>
                  <a:lnTo>
                    <a:pt x="750" y="12746"/>
                  </a:lnTo>
                  <a:lnTo>
                    <a:pt x="750" y="12746"/>
                  </a:lnTo>
                  <a:moveTo>
                    <a:pt x="5936" y="12632"/>
                  </a:moveTo>
                  <a:lnTo>
                    <a:pt x="5935" y="12631"/>
                  </a:lnTo>
                  <a:lnTo>
                    <a:pt x="7357" y="11428"/>
                  </a:lnTo>
                  <a:lnTo>
                    <a:pt x="5860" y="10955"/>
                  </a:lnTo>
                  <a:lnTo>
                    <a:pt x="5860" y="10955"/>
                  </a:lnTo>
                  <a:lnTo>
                    <a:pt x="7357" y="11428"/>
                  </a:lnTo>
                  <a:lnTo>
                    <a:pt x="7093" y="9346"/>
                  </a:lnTo>
                  <a:lnTo>
                    <a:pt x="7357" y="11428"/>
                  </a:lnTo>
                  <a:lnTo>
                    <a:pt x="5936" y="12632"/>
                  </a:lnTo>
                  <a:moveTo>
                    <a:pt x="5935" y="12632"/>
                  </a:moveTo>
                  <a:lnTo>
                    <a:pt x="5927" y="12440"/>
                  </a:lnTo>
                  <a:lnTo>
                    <a:pt x="5935" y="12631"/>
                  </a:lnTo>
                  <a:moveTo>
                    <a:pt x="10777" y="9480"/>
                  </a:moveTo>
                  <a:lnTo>
                    <a:pt x="12931" y="6872"/>
                  </a:lnTo>
                  <a:lnTo>
                    <a:pt x="10574" y="6872"/>
                  </a:lnTo>
                  <a:lnTo>
                    <a:pt x="12931" y="6872"/>
                  </a:lnTo>
                  <a:lnTo>
                    <a:pt x="12818" y="6352"/>
                  </a:lnTo>
                  <a:lnTo>
                    <a:pt x="12931" y="6872"/>
                  </a:lnTo>
                  <a:lnTo>
                    <a:pt x="15446" y="7725"/>
                  </a:lnTo>
                  <a:lnTo>
                    <a:pt x="15446" y="7725"/>
                  </a:lnTo>
                  <a:lnTo>
                    <a:pt x="12931" y="6872"/>
                  </a:lnTo>
                  <a:lnTo>
                    <a:pt x="14110" y="8914"/>
                  </a:lnTo>
                  <a:lnTo>
                    <a:pt x="12931" y="6872"/>
                  </a:lnTo>
                  <a:lnTo>
                    <a:pt x="10777" y="9480"/>
                  </a:lnTo>
                  <a:lnTo>
                    <a:pt x="10777" y="9480"/>
                  </a:lnTo>
                  <a:moveTo>
                    <a:pt x="7038" y="8914"/>
                  </a:moveTo>
                  <a:lnTo>
                    <a:pt x="7038" y="8914"/>
                  </a:lnTo>
                  <a:lnTo>
                    <a:pt x="8217" y="6872"/>
                  </a:lnTo>
                  <a:lnTo>
                    <a:pt x="5860" y="6872"/>
                  </a:lnTo>
                  <a:lnTo>
                    <a:pt x="5860" y="6872"/>
                  </a:lnTo>
                  <a:lnTo>
                    <a:pt x="8217" y="6872"/>
                  </a:lnTo>
                  <a:lnTo>
                    <a:pt x="7366" y="5398"/>
                  </a:lnTo>
                  <a:lnTo>
                    <a:pt x="8217" y="6872"/>
                  </a:lnTo>
                  <a:lnTo>
                    <a:pt x="9050" y="6406"/>
                  </a:lnTo>
                  <a:lnTo>
                    <a:pt x="8217" y="6872"/>
                  </a:lnTo>
                  <a:lnTo>
                    <a:pt x="8217" y="6872"/>
                  </a:lnTo>
                  <a:lnTo>
                    <a:pt x="7038" y="8914"/>
                  </a:lnTo>
                  <a:moveTo>
                    <a:pt x="7038" y="8914"/>
                  </a:moveTo>
                  <a:lnTo>
                    <a:pt x="5868" y="6886"/>
                  </a:lnTo>
                  <a:lnTo>
                    <a:pt x="7038" y="8914"/>
                  </a:lnTo>
                  <a:lnTo>
                    <a:pt x="7038" y="8914"/>
                  </a:lnTo>
                  <a:moveTo>
                    <a:pt x="15446" y="8914"/>
                  </a:moveTo>
                  <a:lnTo>
                    <a:pt x="14110" y="8914"/>
                  </a:lnTo>
                  <a:lnTo>
                    <a:pt x="15446" y="8914"/>
                  </a:lnTo>
                  <a:lnTo>
                    <a:pt x="15446" y="8914"/>
                  </a:lnTo>
                  <a:moveTo>
                    <a:pt x="14110" y="8914"/>
                  </a:moveTo>
                  <a:lnTo>
                    <a:pt x="14110" y="8914"/>
                  </a:lnTo>
                  <a:lnTo>
                    <a:pt x="14874" y="8485"/>
                  </a:lnTo>
                  <a:lnTo>
                    <a:pt x="14110" y="8914"/>
                  </a:lnTo>
                  <a:moveTo>
                    <a:pt x="8413" y="8878"/>
                  </a:moveTo>
                  <a:lnTo>
                    <a:pt x="8217" y="6872"/>
                  </a:lnTo>
                  <a:lnTo>
                    <a:pt x="8217" y="6872"/>
                  </a:lnTo>
                  <a:lnTo>
                    <a:pt x="8413" y="8878"/>
                  </a:lnTo>
                  <a:lnTo>
                    <a:pt x="8413" y="8878"/>
                  </a:lnTo>
                  <a:moveTo>
                    <a:pt x="2557" y="7302"/>
                  </a:moveTo>
                  <a:lnTo>
                    <a:pt x="2557" y="7302"/>
                  </a:lnTo>
                  <a:lnTo>
                    <a:pt x="2557" y="7302"/>
                  </a:lnTo>
                  <a:lnTo>
                    <a:pt x="4159" y="4109"/>
                  </a:lnTo>
                  <a:lnTo>
                    <a:pt x="2324" y="4831"/>
                  </a:lnTo>
                  <a:lnTo>
                    <a:pt x="2324" y="4831"/>
                  </a:lnTo>
                  <a:lnTo>
                    <a:pt x="2324" y="4831"/>
                  </a:lnTo>
                  <a:lnTo>
                    <a:pt x="2324" y="4831"/>
                  </a:lnTo>
                  <a:lnTo>
                    <a:pt x="2324" y="4831"/>
                  </a:lnTo>
                  <a:lnTo>
                    <a:pt x="4159" y="4109"/>
                  </a:lnTo>
                  <a:lnTo>
                    <a:pt x="4159" y="4109"/>
                  </a:lnTo>
                  <a:lnTo>
                    <a:pt x="4159" y="4109"/>
                  </a:lnTo>
                  <a:lnTo>
                    <a:pt x="4159" y="4109"/>
                  </a:lnTo>
                  <a:lnTo>
                    <a:pt x="4159" y="4109"/>
                  </a:lnTo>
                  <a:lnTo>
                    <a:pt x="5860" y="6872"/>
                  </a:lnTo>
                  <a:lnTo>
                    <a:pt x="5859" y="6872"/>
                  </a:lnTo>
                  <a:lnTo>
                    <a:pt x="4159" y="4109"/>
                  </a:lnTo>
                  <a:lnTo>
                    <a:pt x="2557" y="7302"/>
                  </a:lnTo>
                  <a:lnTo>
                    <a:pt x="2557" y="7302"/>
                  </a:lnTo>
                  <a:moveTo>
                    <a:pt x="2557" y="7302"/>
                  </a:moveTo>
                  <a:lnTo>
                    <a:pt x="2324" y="4831"/>
                  </a:lnTo>
                  <a:lnTo>
                    <a:pt x="2324" y="4831"/>
                  </a:lnTo>
                  <a:lnTo>
                    <a:pt x="2557" y="7302"/>
                  </a:lnTo>
                  <a:moveTo>
                    <a:pt x="2909" y="7256"/>
                  </a:moveTo>
                  <a:lnTo>
                    <a:pt x="5860" y="6872"/>
                  </a:lnTo>
                  <a:lnTo>
                    <a:pt x="5860" y="6872"/>
                  </a:lnTo>
                  <a:lnTo>
                    <a:pt x="5860" y="6872"/>
                  </a:lnTo>
                  <a:lnTo>
                    <a:pt x="2909" y="7256"/>
                  </a:lnTo>
                  <a:moveTo>
                    <a:pt x="15446" y="7072"/>
                  </a:moveTo>
                  <a:lnTo>
                    <a:pt x="15229" y="6708"/>
                  </a:lnTo>
                  <a:lnTo>
                    <a:pt x="15446" y="7072"/>
                  </a:lnTo>
                  <a:lnTo>
                    <a:pt x="15446" y="7072"/>
                  </a:lnTo>
                  <a:moveTo>
                    <a:pt x="1145" y="6872"/>
                  </a:moveTo>
                  <a:lnTo>
                    <a:pt x="1145" y="6872"/>
                  </a:lnTo>
                  <a:moveTo>
                    <a:pt x="10574" y="6872"/>
                  </a:moveTo>
                  <a:lnTo>
                    <a:pt x="10574" y="6872"/>
                  </a:lnTo>
                  <a:lnTo>
                    <a:pt x="10574" y="6872"/>
                  </a:lnTo>
                  <a:lnTo>
                    <a:pt x="12458" y="5724"/>
                  </a:lnTo>
                  <a:lnTo>
                    <a:pt x="10574" y="6872"/>
                  </a:lnTo>
                  <a:moveTo>
                    <a:pt x="8217" y="6872"/>
                  </a:moveTo>
                  <a:lnTo>
                    <a:pt x="8217" y="6872"/>
                  </a:lnTo>
                  <a:lnTo>
                    <a:pt x="8217" y="6872"/>
                  </a:lnTo>
                  <a:lnTo>
                    <a:pt x="8217" y="6872"/>
                  </a:lnTo>
                  <a:moveTo>
                    <a:pt x="10574" y="6872"/>
                  </a:moveTo>
                  <a:lnTo>
                    <a:pt x="9445" y="6321"/>
                  </a:lnTo>
                  <a:lnTo>
                    <a:pt x="10574" y="6872"/>
                  </a:lnTo>
                  <a:lnTo>
                    <a:pt x="10574" y="6872"/>
                  </a:lnTo>
                  <a:moveTo>
                    <a:pt x="9316" y="6257"/>
                  </a:moveTo>
                  <a:lnTo>
                    <a:pt x="9316" y="6257"/>
                  </a:lnTo>
                  <a:lnTo>
                    <a:pt x="9316" y="6257"/>
                  </a:lnTo>
                  <a:lnTo>
                    <a:pt x="9316" y="6257"/>
                  </a:lnTo>
                  <a:lnTo>
                    <a:pt x="9316" y="6257"/>
                  </a:lnTo>
                  <a:lnTo>
                    <a:pt x="9316" y="6257"/>
                  </a:lnTo>
                  <a:lnTo>
                    <a:pt x="12655" y="5604"/>
                  </a:lnTo>
                  <a:lnTo>
                    <a:pt x="12655" y="5604"/>
                  </a:lnTo>
                  <a:lnTo>
                    <a:pt x="12655" y="5604"/>
                  </a:lnTo>
                  <a:lnTo>
                    <a:pt x="12655" y="5604"/>
                  </a:lnTo>
                  <a:lnTo>
                    <a:pt x="14110" y="4831"/>
                  </a:lnTo>
                  <a:lnTo>
                    <a:pt x="12655" y="5604"/>
                  </a:lnTo>
                  <a:lnTo>
                    <a:pt x="12655" y="5604"/>
                  </a:lnTo>
                  <a:lnTo>
                    <a:pt x="12655" y="5604"/>
                  </a:lnTo>
                  <a:lnTo>
                    <a:pt x="9316" y="6257"/>
                  </a:lnTo>
                  <a:moveTo>
                    <a:pt x="9316" y="6257"/>
                  </a:moveTo>
                  <a:lnTo>
                    <a:pt x="7038" y="4831"/>
                  </a:lnTo>
                  <a:lnTo>
                    <a:pt x="7038" y="4831"/>
                  </a:lnTo>
                  <a:lnTo>
                    <a:pt x="9316" y="6257"/>
                  </a:lnTo>
                  <a:lnTo>
                    <a:pt x="9316" y="6257"/>
                  </a:lnTo>
                  <a:moveTo>
                    <a:pt x="9316" y="6257"/>
                  </a:moveTo>
                  <a:lnTo>
                    <a:pt x="9316" y="3550"/>
                  </a:lnTo>
                  <a:lnTo>
                    <a:pt x="9316" y="6257"/>
                  </a:lnTo>
                  <a:moveTo>
                    <a:pt x="12655" y="5604"/>
                  </a:moveTo>
                  <a:lnTo>
                    <a:pt x="12655" y="5604"/>
                  </a:lnTo>
                  <a:lnTo>
                    <a:pt x="12201" y="3434"/>
                  </a:lnTo>
                  <a:lnTo>
                    <a:pt x="12655" y="5604"/>
                  </a:lnTo>
                  <a:moveTo>
                    <a:pt x="7038" y="4831"/>
                  </a:moveTo>
                  <a:lnTo>
                    <a:pt x="7038" y="4831"/>
                  </a:lnTo>
                  <a:lnTo>
                    <a:pt x="9316" y="3550"/>
                  </a:lnTo>
                  <a:lnTo>
                    <a:pt x="5859" y="2789"/>
                  </a:lnTo>
                  <a:lnTo>
                    <a:pt x="5860" y="2789"/>
                  </a:lnTo>
                  <a:lnTo>
                    <a:pt x="9316" y="3550"/>
                  </a:lnTo>
                  <a:lnTo>
                    <a:pt x="8410" y="2581"/>
                  </a:lnTo>
                  <a:lnTo>
                    <a:pt x="9316" y="3550"/>
                  </a:lnTo>
                  <a:lnTo>
                    <a:pt x="9319" y="3444"/>
                  </a:lnTo>
                  <a:lnTo>
                    <a:pt x="9316" y="3550"/>
                  </a:lnTo>
                  <a:lnTo>
                    <a:pt x="10574" y="2789"/>
                  </a:lnTo>
                  <a:lnTo>
                    <a:pt x="9316" y="3550"/>
                  </a:lnTo>
                  <a:lnTo>
                    <a:pt x="7038" y="4831"/>
                  </a:lnTo>
                  <a:moveTo>
                    <a:pt x="7038" y="4831"/>
                  </a:moveTo>
                  <a:lnTo>
                    <a:pt x="6499" y="3898"/>
                  </a:lnTo>
                  <a:lnTo>
                    <a:pt x="7038" y="4831"/>
                  </a:lnTo>
                  <a:moveTo>
                    <a:pt x="2324" y="4831"/>
                  </a:moveTo>
                  <a:lnTo>
                    <a:pt x="1405" y="2233"/>
                  </a:lnTo>
                  <a:lnTo>
                    <a:pt x="2324" y="4831"/>
                  </a:lnTo>
                  <a:lnTo>
                    <a:pt x="2324" y="4831"/>
                  </a:lnTo>
                  <a:moveTo>
                    <a:pt x="14110" y="4831"/>
                  </a:moveTo>
                  <a:lnTo>
                    <a:pt x="12201" y="3434"/>
                  </a:lnTo>
                  <a:lnTo>
                    <a:pt x="12066" y="2627"/>
                  </a:lnTo>
                  <a:lnTo>
                    <a:pt x="12201" y="3434"/>
                  </a:lnTo>
                  <a:lnTo>
                    <a:pt x="15446" y="2602"/>
                  </a:lnTo>
                  <a:lnTo>
                    <a:pt x="15446" y="2602"/>
                  </a:lnTo>
                  <a:lnTo>
                    <a:pt x="12201" y="3434"/>
                  </a:lnTo>
                  <a:lnTo>
                    <a:pt x="14110" y="4831"/>
                  </a:lnTo>
                  <a:moveTo>
                    <a:pt x="14110" y="4831"/>
                  </a:moveTo>
                  <a:lnTo>
                    <a:pt x="14110" y="4831"/>
                  </a:lnTo>
                  <a:lnTo>
                    <a:pt x="15358" y="3331"/>
                  </a:lnTo>
                  <a:lnTo>
                    <a:pt x="14110" y="4831"/>
                  </a:lnTo>
                  <a:moveTo>
                    <a:pt x="4159" y="4109"/>
                  </a:moveTo>
                  <a:lnTo>
                    <a:pt x="4159" y="4109"/>
                  </a:lnTo>
                  <a:lnTo>
                    <a:pt x="4603" y="3765"/>
                  </a:lnTo>
                  <a:lnTo>
                    <a:pt x="4159" y="4109"/>
                  </a:lnTo>
                  <a:moveTo>
                    <a:pt x="12201" y="3434"/>
                  </a:moveTo>
                  <a:lnTo>
                    <a:pt x="10574" y="2789"/>
                  </a:lnTo>
                  <a:lnTo>
                    <a:pt x="10574" y="2789"/>
                  </a:lnTo>
                  <a:lnTo>
                    <a:pt x="10574" y="2789"/>
                  </a:lnTo>
                  <a:lnTo>
                    <a:pt x="11753" y="748"/>
                  </a:lnTo>
                  <a:lnTo>
                    <a:pt x="9396" y="748"/>
                  </a:lnTo>
                  <a:lnTo>
                    <a:pt x="9396" y="748"/>
                  </a:lnTo>
                  <a:lnTo>
                    <a:pt x="11753" y="748"/>
                  </a:lnTo>
                  <a:lnTo>
                    <a:pt x="11753" y="748"/>
                  </a:lnTo>
                  <a:lnTo>
                    <a:pt x="11753" y="748"/>
                  </a:lnTo>
                  <a:lnTo>
                    <a:pt x="10574" y="2789"/>
                  </a:lnTo>
                  <a:lnTo>
                    <a:pt x="12201" y="3434"/>
                  </a:lnTo>
                  <a:moveTo>
                    <a:pt x="5859" y="2790"/>
                  </a:moveTo>
                  <a:lnTo>
                    <a:pt x="3502" y="2790"/>
                  </a:lnTo>
                  <a:lnTo>
                    <a:pt x="5860" y="2789"/>
                  </a:lnTo>
                  <a:lnTo>
                    <a:pt x="5859" y="2789"/>
                  </a:lnTo>
                  <a:lnTo>
                    <a:pt x="5859" y="2790"/>
                  </a:lnTo>
                  <a:moveTo>
                    <a:pt x="15446" y="1876"/>
                  </a:moveTo>
                  <a:lnTo>
                    <a:pt x="14110" y="748"/>
                  </a:lnTo>
                  <a:lnTo>
                    <a:pt x="15446" y="1876"/>
                  </a:lnTo>
                  <a:lnTo>
                    <a:pt x="15446" y="1876"/>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60" name="Freeform 306"/>
            <p:cNvSpPr>
              <a:spLocks/>
            </p:cNvSpPr>
            <p:nvPr/>
          </p:nvSpPr>
          <p:spPr bwMode="auto">
            <a:xfrm>
              <a:off x="-12625426" y="-3271831"/>
              <a:ext cx="811215" cy="671512"/>
            </a:xfrm>
            <a:custGeom>
              <a:avLst/>
              <a:gdLst>
                <a:gd name="T0" fmla="*/ 0 w 511"/>
                <a:gd name="T1" fmla="*/ 423 h 423"/>
                <a:gd name="T2" fmla="*/ 0 w 511"/>
                <a:gd name="T3" fmla="*/ 0 h 423"/>
                <a:gd name="T4" fmla="*/ 433 w 511"/>
                <a:gd name="T5" fmla="*/ 70 h 423"/>
                <a:gd name="T6" fmla="*/ 511 w 511"/>
                <a:gd name="T7" fmla="*/ 83 h 423"/>
                <a:gd name="T8" fmla="*/ 0 w 511"/>
                <a:gd name="T9" fmla="*/ 423 h 423"/>
              </a:gdLst>
              <a:ahLst/>
              <a:cxnLst>
                <a:cxn ang="0">
                  <a:pos x="T0" y="T1"/>
                </a:cxn>
                <a:cxn ang="0">
                  <a:pos x="T2" y="T3"/>
                </a:cxn>
                <a:cxn ang="0">
                  <a:pos x="T4" y="T5"/>
                </a:cxn>
                <a:cxn ang="0">
                  <a:pos x="T6" y="T7"/>
                </a:cxn>
                <a:cxn ang="0">
                  <a:pos x="T8" y="T9"/>
                </a:cxn>
              </a:cxnLst>
              <a:rect l="0" t="0" r="r" b="b"/>
              <a:pathLst>
                <a:path w="511" h="423">
                  <a:moveTo>
                    <a:pt x="0" y="423"/>
                  </a:moveTo>
                  <a:lnTo>
                    <a:pt x="0" y="0"/>
                  </a:lnTo>
                  <a:lnTo>
                    <a:pt x="433" y="70"/>
                  </a:lnTo>
                  <a:lnTo>
                    <a:pt x="511" y="83"/>
                  </a:lnTo>
                  <a:lnTo>
                    <a:pt x="0" y="42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61" name="Freeform 307"/>
            <p:cNvSpPr>
              <a:spLocks/>
            </p:cNvSpPr>
            <p:nvPr/>
          </p:nvSpPr>
          <p:spPr bwMode="auto">
            <a:xfrm>
              <a:off x="-12625426" y="-4110030"/>
              <a:ext cx="33338" cy="39688"/>
            </a:xfrm>
            <a:custGeom>
              <a:avLst/>
              <a:gdLst>
                <a:gd name="T0" fmla="*/ 0 w 21"/>
                <a:gd name="T1" fmla="*/ 25 h 25"/>
                <a:gd name="T2" fmla="*/ 0 w 21"/>
                <a:gd name="T3" fmla="*/ 0 h 25"/>
                <a:gd name="T4" fmla="*/ 21 w 21"/>
                <a:gd name="T5" fmla="*/ 0 h 25"/>
                <a:gd name="T6" fmla="*/ 0 w 21"/>
                <a:gd name="T7" fmla="*/ 25 h 25"/>
              </a:gdLst>
              <a:ahLst/>
              <a:cxnLst>
                <a:cxn ang="0">
                  <a:pos x="T0" y="T1"/>
                </a:cxn>
                <a:cxn ang="0">
                  <a:pos x="T2" y="T3"/>
                </a:cxn>
                <a:cxn ang="0">
                  <a:pos x="T4" y="T5"/>
                </a:cxn>
                <a:cxn ang="0">
                  <a:pos x="T6" y="T7"/>
                </a:cxn>
              </a:cxnLst>
              <a:rect l="0" t="0" r="r" b="b"/>
              <a:pathLst>
                <a:path w="21" h="25">
                  <a:moveTo>
                    <a:pt x="0" y="25"/>
                  </a:moveTo>
                  <a:lnTo>
                    <a:pt x="0" y="0"/>
                  </a:lnTo>
                  <a:lnTo>
                    <a:pt x="21" y="0"/>
                  </a:lnTo>
                  <a:lnTo>
                    <a:pt x="0" y="25"/>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62" name="Freeform 308"/>
            <p:cNvSpPr>
              <a:spLocks/>
            </p:cNvSpPr>
            <p:nvPr/>
          </p:nvSpPr>
          <p:spPr bwMode="auto">
            <a:xfrm>
              <a:off x="-12625426" y="-3540120"/>
              <a:ext cx="1771656" cy="400049"/>
            </a:xfrm>
            <a:custGeom>
              <a:avLst/>
              <a:gdLst>
                <a:gd name="T0" fmla="*/ 511 w 1116"/>
                <a:gd name="T1" fmla="*/ 252 h 252"/>
                <a:gd name="T2" fmla="*/ 433 w 1116"/>
                <a:gd name="T3" fmla="*/ 239 h 252"/>
                <a:gd name="T4" fmla="*/ 0 w 1116"/>
                <a:gd name="T5" fmla="*/ 169 h 252"/>
                <a:gd name="T6" fmla="*/ 0 w 1116"/>
                <a:gd name="T7" fmla="*/ 81 h 252"/>
                <a:gd name="T8" fmla="*/ 1116 w 1116"/>
                <a:gd name="T9" fmla="*/ 0 h 252"/>
                <a:gd name="T10" fmla="*/ 511 w 1116"/>
                <a:gd name="T11" fmla="*/ 252 h 252"/>
              </a:gdLst>
              <a:ahLst/>
              <a:cxnLst>
                <a:cxn ang="0">
                  <a:pos x="T0" y="T1"/>
                </a:cxn>
                <a:cxn ang="0">
                  <a:pos x="T2" y="T3"/>
                </a:cxn>
                <a:cxn ang="0">
                  <a:pos x="T4" y="T5"/>
                </a:cxn>
                <a:cxn ang="0">
                  <a:pos x="T6" y="T7"/>
                </a:cxn>
                <a:cxn ang="0">
                  <a:pos x="T8" y="T9"/>
                </a:cxn>
                <a:cxn ang="0">
                  <a:pos x="T10" y="T11"/>
                </a:cxn>
              </a:cxnLst>
              <a:rect l="0" t="0" r="r" b="b"/>
              <a:pathLst>
                <a:path w="1116" h="252">
                  <a:moveTo>
                    <a:pt x="511" y="252"/>
                  </a:moveTo>
                  <a:lnTo>
                    <a:pt x="433" y="239"/>
                  </a:lnTo>
                  <a:lnTo>
                    <a:pt x="0" y="169"/>
                  </a:lnTo>
                  <a:lnTo>
                    <a:pt x="0" y="81"/>
                  </a:lnTo>
                  <a:lnTo>
                    <a:pt x="1116" y="0"/>
                  </a:lnTo>
                  <a:lnTo>
                    <a:pt x="511" y="25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63" name="Freeform 309"/>
            <p:cNvSpPr>
              <a:spLocks/>
            </p:cNvSpPr>
            <p:nvPr/>
          </p:nvSpPr>
          <p:spPr bwMode="auto">
            <a:xfrm>
              <a:off x="-12625426" y="-4110030"/>
              <a:ext cx="1771656" cy="698499"/>
            </a:xfrm>
            <a:custGeom>
              <a:avLst/>
              <a:gdLst>
                <a:gd name="T0" fmla="*/ 0 w 1116"/>
                <a:gd name="T1" fmla="*/ 440 h 440"/>
                <a:gd name="T2" fmla="*/ 0 w 1116"/>
                <a:gd name="T3" fmla="*/ 25 h 440"/>
                <a:gd name="T4" fmla="*/ 22 w 1116"/>
                <a:gd name="T5" fmla="*/ 0 h 440"/>
                <a:gd name="T6" fmla="*/ 908 w 1116"/>
                <a:gd name="T7" fmla="*/ 0 h 440"/>
                <a:gd name="T8" fmla="*/ 1116 w 1116"/>
                <a:gd name="T9" fmla="*/ 359 h 440"/>
                <a:gd name="T10" fmla="*/ 1116 w 1116"/>
                <a:gd name="T11" fmla="*/ 359 h 440"/>
                <a:gd name="T12" fmla="*/ 1116 w 1116"/>
                <a:gd name="T13" fmla="*/ 359 h 440"/>
                <a:gd name="T14" fmla="*/ 0 w 1116"/>
                <a:gd name="T15" fmla="*/ 440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6" h="440">
                  <a:moveTo>
                    <a:pt x="0" y="440"/>
                  </a:moveTo>
                  <a:lnTo>
                    <a:pt x="0" y="25"/>
                  </a:lnTo>
                  <a:lnTo>
                    <a:pt x="22" y="0"/>
                  </a:lnTo>
                  <a:lnTo>
                    <a:pt x="908" y="0"/>
                  </a:lnTo>
                  <a:lnTo>
                    <a:pt x="1116" y="359"/>
                  </a:lnTo>
                  <a:lnTo>
                    <a:pt x="1116" y="359"/>
                  </a:lnTo>
                  <a:lnTo>
                    <a:pt x="1116" y="359"/>
                  </a:lnTo>
                  <a:lnTo>
                    <a:pt x="0" y="440"/>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64" name="Freeform 310"/>
            <p:cNvSpPr>
              <a:spLocks noEditPoints="1"/>
            </p:cNvSpPr>
            <p:nvPr/>
          </p:nvSpPr>
          <p:spPr bwMode="auto">
            <a:xfrm>
              <a:off x="-10853770" y="-4110030"/>
              <a:ext cx="1795468" cy="569912"/>
            </a:xfrm>
            <a:custGeom>
              <a:avLst/>
              <a:gdLst>
                <a:gd name="T0" fmla="*/ 2357 w 2357"/>
                <a:gd name="T1" fmla="*/ 748 h 748"/>
                <a:gd name="T2" fmla="*/ 0 w 2357"/>
                <a:gd name="T3" fmla="*/ 748 h 748"/>
                <a:gd name="T4" fmla="*/ 432 w 2357"/>
                <a:gd name="T5" fmla="*/ 0 h 748"/>
                <a:gd name="T6" fmla="*/ 1925 w 2357"/>
                <a:gd name="T7" fmla="*/ 0 h 748"/>
                <a:gd name="T8" fmla="*/ 2357 w 2357"/>
                <a:gd name="T9" fmla="*/ 748 h 748"/>
                <a:gd name="T10" fmla="*/ 0 w 2357"/>
                <a:gd name="T11" fmla="*/ 748 h 748"/>
                <a:gd name="T12" fmla="*/ 0 w 2357"/>
                <a:gd name="T13" fmla="*/ 748 h 748"/>
                <a:gd name="T14" fmla="*/ 0 w 2357"/>
                <a:gd name="T15" fmla="*/ 748 h 748"/>
                <a:gd name="T16" fmla="*/ 0 w 2357"/>
                <a:gd name="T17" fmla="*/ 748 h 748"/>
                <a:gd name="T18" fmla="*/ 0 w 2357"/>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7" h="748">
                  <a:moveTo>
                    <a:pt x="2357" y="748"/>
                  </a:moveTo>
                  <a:lnTo>
                    <a:pt x="0" y="748"/>
                  </a:lnTo>
                  <a:lnTo>
                    <a:pt x="432" y="0"/>
                  </a:lnTo>
                  <a:lnTo>
                    <a:pt x="1925" y="0"/>
                  </a:lnTo>
                  <a:lnTo>
                    <a:pt x="2357" y="748"/>
                  </a:lnTo>
                  <a:moveTo>
                    <a:pt x="0" y="748"/>
                  </a:moveTo>
                  <a:lnTo>
                    <a:pt x="0" y="748"/>
                  </a:lnTo>
                  <a:lnTo>
                    <a:pt x="0" y="748"/>
                  </a:lnTo>
                  <a:lnTo>
                    <a:pt x="0" y="748"/>
                  </a:lnTo>
                  <a:lnTo>
                    <a:pt x="0"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65" name="Freeform 311"/>
            <p:cNvSpPr>
              <a:spLocks/>
            </p:cNvSpPr>
            <p:nvPr/>
          </p:nvSpPr>
          <p:spPr bwMode="auto">
            <a:xfrm>
              <a:off x="-9386916" y="-4110030"/>
              <a:ext cx="865191" cy="569912"/>
            </a:xfrm>
            <a:custGeom>
              <a:avLst/>
              <a:gdLst>
                <a:gd name="T0" fmla="*/ 207 w 545"/>
                <a:gd name="T1" fmla="*/ 359 h 359"/>
                <a:gd name="T2" fmla="*/ 0 w 545"/>
                <a:gd name="T3" fmla="*/ 0 h 359"/>
                <a:gd name="T4" fmla="*/ 545 w 545"/>
                <a:gd name="T5" fmla="*/ 0 h 359"/>
                <a:gd name="T6" fmla="*/ 207 w 545"/>
                <a:gd name="T7" fmla="*/ 359 h 359"/>
              </a:gdLst>
              <a:ahLst/>
              <a:cxnLst>
                <a:cxn ang="0">
                  <a:pos x="T0" y="T1"/>
                </a:cxn>
                <a:cxn ang="0">
                  <a:pos x="T2" y="T3"/>
                </a:cxn>
                <a:cxn ang="0">
                  <a:pos x="T4" y="T5"/>
                </a:cxn>
                <a:cxn ang="0">
                  <a:pos x="T6" y="T7"/>
                </a:cxn>
              </a:cxnLst>
              <a:rect l="0" t="0" r="r" b="b"/>
              <a:pathLst>
                <a:path w="545" h="359">
                  <a:moveTo>
                    <a:pt x="207" y="359"/>
                  </a:moveTo>
                  <a:lnTo>
                    <a:pt x="0" y="0"/>
                  </a:lnTo>
                  <a:lnTo>
                    <a:pt x="545" y="0"/>
                  </a:lnTo>
                  <a:lnTo>
                    <a:pt x="207"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66" name="Freeform 312"/>
            <p:cNvSpPr>
              <a:spLocks/>
            </p:cNvSpPr>
            <p:nvPr/>
          </p:nvSpPr>
          <p:spPr bwMode="auto">
            <a:xfrm>
              <a:off x="-11183972" y="-4110030"/>
              <a:ext cx="658815" cy="569912"/>
            </a:xfrm>
            <a:custGeom>
              <a:avLst/>
              <a:gdLst>
                <a:gd name="T0" fmla="*/ 208 w 415"/>
                <a:gd name="T1" fmla="*/ 359 h 359"/>
                <a:gd name="T2" fmla="*/ 0 w 415"/>
                <a:gd name="T3" fmla="*/ 0 h 359"/>
                <a:gd name="T4" fmla="*/ 415 w 415"/>
                <a:gd name="T5" fmla="*/ 0 h 359"/>
                <a:gd name="T6" fmla="*/ 208 w 415"/>
                <a:gd name="T7" fmla="*/ 359 h 359"/>
              </a:gdLst>
              <a:ahLst/>
              <a:cxnLst>
                <a:cxn ang="0">
                  <a:pos x="T0" y="T1"/>
                </a:cxn>
                <a:cxn ang="0">
                  <a:pos x="T2" y="T3"/>
                </a:cxn>
                <a:cxn ang="0">
                  <a:pos x="T4" y="T5"/>
                </a:cxn>
                <a:cxn ang="0">
                  <a:pos x="T6" y="T7"/>
                </a:cxn>
              </a:cxnLst>
              <a:rect l="0" t="0" r="r" b="b"/>
              <a:pathLst>
                <a:path w="415" h="359">
                  <a:moveTo>
                    <a:pt x="208" y="359"/>
                  </a:moveTo>
                  <a:lnTo>
                    <a:pt x="0" y="0"/>
                  </a:lnTo>
                  <a:lnTo>
                    <a:pt x="415" y="0"/>
                  </a:lnTo>
                  <a:lnTo>
                    <a:pt x="208"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67" name="Freeform 313"/>
            <p:cNvSpPr>
              <a:spLocks/>
            </p:cNvSpPr>
            <p:nvPr/>
          </p:nvSpPr>
          <p:spPr bwMode="auto">
            <a:xfrm>
              <a:off x="-10853770" y="-4110030"/>
              <a:ext cx="328614" cy="569912"/>
            </a:xfrm>
            <a:custGeom>
              <a:avLst/>
              <a:gdLst>
                <a:gd name="T0" fmla="*/ 0 w 207"/>
                <a:gd name="T1" fmla="*/ 359 h 359"/>
                <a:gd name="T2" fmla="*/ 0 w 207"/>
                <a:gd name="T3" fmla="*/ 359 h 359"/>
                <a:gd name="T4" fmla="*/ 0 w 207"/>
                <a:gd name="T5" fmla="*/ 359 h 359"/>
                <a:gd name="T6" fmla="*/ 207 w 207"/>
                <a:gd name="T7" fmla="*/ 0 h 359"/>
                <a:gd name="T8" fmla="*/ 207 w 207"/>
                <a:gd name="T9" fmla="*/ 0 h 359"/>
                <a:gd name="T10" fmla="*/ 0 w 207"/>
                <a:gd name="T11" fmla="*/ 359 h 359"/>
              </a:gdLst>
              <a:ahLst/>
              <a:cxnLst>
                <a:cxn ang="0">
                  <a:pos x="T0" y="T1"/>
                </a:cxn>
                <a:cxn ang="0">
                  <a:pos x="T2" y="T3"/>
                </a:cxn>
                <a:cxn ang="0">
                  <a:pos x="T4" y="T5"/>
                </a:cxn>
                <a:cxn ang="0">
                  <a:pos x="T6" y="T7"/>
                </a:cxn>
                <a:cxn ang="0">
                  <a:pos x="T8" y="T9"/>
                </a:cxn>
                <a:cxn ang="0">
                  <a:pos x="T10" y="T11"/>
                </a:cxn>
              </a:cxnLst>
              <a:rect l="0" t="0" r="r" b="b"/>
              <a:pathLst>
                <a:path w="207" h="359">
                  <a:moveTo>
                    <a:pt x="0" y="359"/>
                  </a:moveTo>
                  <a:lnTo>
                    <a:pt x="0" y="359"/>
                  </a:lnTo>
                  <a:lnTo>
                    <a:pt x="0" y="359"/>
                  </a:lnTo>
                  <a:lnTo>
                    <a:pt x="207" y="0"/>
                  </a:lnTo>
                  <a:lnTo>
                    <a:pt x="207"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68" name="Freeform 314"/>
            <p:cNvSpPr>
              <a:spLocks noEditPoints="1"/>
            </p:cNvSpPr>
            <p:nvPr/>
          </p:nvSpPr>
          <p:spPr bwMode="auto">
            <a:xfrm>
              <a:off x="-12533351" y="-1142998"/>
              <a:ext cx="781052" cy="2268534"/>
            </a:xfrm>
            <a:custGeom>
              <a:avLst/>
              <a:gdLst>
                <a:gd name="T0" fmla="*/ 1025 w 1025"/>
                <a:gd name="T1" fmla="*/ 2978 h 2978"/>
                <a:gd name="T2" fmla="*/ 150 w 1025"/>
                <a:gd name="T3" fmla="*/ 437 h 2978"/>
                <a:gd name="T4" fmla="*/ 1025 w 1025"/>
                <a:gd name="T5" fmla="*/ 2978 h 2978"/>
                <a:gd name="T6" fmla="*/ 0 w 1025"/>
                <a:gd name="T7" fmla="*/ 0 h 2978"/>
                <a:gd name="T8" fmla="*/ 0 w 1025"/>
                <a:gd name="T9" fmla="*/ 0 h 2978"/>
              </a:gdLst>
              <a:ahLst/>
              <a:cxnLst>
                <a:cxn ang="0">
                  <a:pos x="T0" y="T1"/>
                </a:cxn>
                <a:cxn ang="0">
                  <a:pos x="T2" y="T3"/>
                </a:cxn>
                <a:cxn ang="0">
                  <a:pos x="T4" y="T5"/>
                </a:cxn>
                <a:cxn ang="0">
                  <a:pos x="T6" y="T7"/>
                </a:cxn>
                <a:cxn ang="0">
                  <a:pos x="T8" y="T9"/>
                </a:cxn>
              </a:cxnLst>
              <a:rect l="0" t="0" r="r" b="b"/>
              <a:pathLst>
                <a:path w="1025" h="2978">
                  <a:moveTo>
                    <a:pt x="1025" y="2978"/>
                  </a:moveTo>
                  <a:lnTo>
                    <a:pt x="150" y="437"/>
                  </a:lnTo>
                  <a:lnTo>
                    <a:pt x="1025" y="2978"/>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69" name="Freeform 315"/>
            <p:cNvSpPr>
              <a:spLocks/>
            </p:cNvSpPr>
            <p:nvPr/>
          </p:nvSpPr>
          <p:spPr bwMode="auto">
            <a:xfrm>
              <a:off x="-12625426" y="-3140069"/>
              <a:ext cx="811215" cy="1997071"/>
            </a:xfrm>
            <a:custGeom>
              <a:avLst/>
              <a:gdLst>
                <a:gd name="T0" fmla="*/ 58 w 511"/>
                <a:gd name="T1" fmla="*/ 1258 h 1258"/>
                <a:gd name="T2" fmla="*/ 0 w 511"/>
                <a:gd name="T3" fmla="*/ 1211 h 1258"/>
                <a:gd name="T4" fmla="*/ 0 w 511"/>
                <a:gd name="T5" fmla="*/ 340 h 1258"/>
                <a:gd name="T6" fmla="*/ 511 w 511"/>
                <a:gd name="T7" fmla="*/ 0 h 1258"/>
                <a:gd name="T8" fmla="*/ 58 w 511"/>
                <a:gd name="T9" fmla="*/ 1258 h 1258"/>
              </a:gdLst>
              <a:ahLst/>
              <a:cxnLst>
                <a:cxn ang="0">
                  <a:pos x="T0" y="T1"/>
                </a:cxn>
                <a:cxn ang="0">
                  <a:pos x="T2" y="T3"/>
                </a:cxn>
                <a:cxn ang="0">
                  <a:pos x="T4" y="T5"/>
                </a:cxn>
                <a:cxn ang="0">
                  <a:pos x="T6" y="T7"/>
                </a:cxn>
                <a:cxn ang="0">
                  <a:pos x="T8" y="T9"/>
                </a:cxn>
              </a:cxnLst>
              <a:rect l="0" t="0" r="r" b="b"/>
              <a:pathLst>
                <a:path w="511" h="1258">
                  <a:moveTo>
                    <a:pt x="58" y="1258"/>
                  </a:moveTo>
                  <a:lnTo>
                    <a:pt x="0" y="1211"/>
                  </a:lnTo>
                  <a:lnTo>
                    <a:pt x="0" y="340"/>
                  </a:lnTo>
                  <a:lnTo>
                    <a:pt x="511" y="0"/>
                  </a:lnTo>
                  <a:lnTo>
                    <a:pt x="58" y="1258"/>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70" name="Line 316"/>
            <p:cNvSpPr>
              <a:spLocks noChangeShapeType="1"/>
            </p:cNvSpPr>
            <p:nvPr/>
          </p:nvSpPr>
          <p:spPr bwMode="auto">
            <a:xfrm>
              <a:off x="-12533351" y="-1142998"/>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71" name="Freeform 317"/>
            <p:cNvSpPr>
              <a:spLocks noEditPoints="1"/>
            </p:cNvSpPr>
            <p:nvPr/>
          </p:nvSpPr>
          <p:spPr bwMode="auto">
            <a:xfrm>
              <a:off x="-12533351" y="-1142998"/>
              <a:ext cx="1679581" cy="2268534"/>
            </a:xfrm>
            <a:custGeom>
              <a:avLst/>
              <a:gdLst>
                <a:gd name="T0" fmla="*/ 1025 w 2204"/>
                <a:gd name="T1" fmla="*/ 2978 h 2978"/>
                <a:gd name="T2" fmla="*/ 150 w 2204"/>
                <a:gd name="T3" fmla="*/ 437 h 2978"/>
                <a:gd name="T4" fmla="*/ 0 w 2204"/>
                <a:gd name="T5" fmla="*/ 0 h 2978"/>
                <a:gd name="T6" fmla="*/ 2204 w 2204"/>
                <a:gd name="T7" fmla="*/ 937 h 2978"/>
                <a:gd name="T8" fmla="*/ 2204 w 2204"/>
                <a:gd name="T9" fmla="*/ 937 h 2978"/>
                <a:gd name="T10" fmla="*/ 2204 w 2204"/>
                <a:gd name="T11" fmla="*/ 937 h 2978"/>
                <a:gd name="T12" fmla="*/ 2204 w 2204"/>
                <a:gd name="T13" fmla="*/ 937 h 2978"/>
                <a:gd name="T14" fmla="*/ 2204 w 2204"/>
                <a:gd name="T15" fmla="*/ 937 h 2978"/>
                <a:gd name="T16" fmla="*/ 1968 w 2204"/>
                <a:gd name="T17" fmla="*/ 1345 h 2978"/>
                <a:gd name="T18" fmla="*/ 1025 w 2204"/>
                <a:gd name="T19" fmla="*/ 2978 h 2978"/>
                <a:gd name="T20" fmla="*/ 150 w 2204"/>
                <a:gd name="T21" fmla="*/ 437 h 2978"/>
                <a:gd name="T22" fmla="*/ 0 w 2204"/>
                <a:gd name="T23" fmla="*/ 0 h 2978"/>
                <a:gd name="T24" fmla="*/ 150 w 2204"/>
                <a:gd name="T25" fmla="*/ 437 h 2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4" h="2978">
                  <a:moveTo>
                    <a:pt x="1025" y="2978"/>
                  </a:moveTo>
                  <a:lnTo>
                    <a:pt x="150" y="437"/>
                  </a:lnTo>
                  <a:lnTo>
                    <a:pt x="0" y="0"/>
                  </a:lnTo>
                  <a:lnTo>
                    <a:pt x="2204" y="937"/>
                  </a:lnTo>
                  <a:lnTo>
                    <a:pt x="2204" y="937"/>
                  </a:lnTo>
                  <a:lnTo>
                    <a:pt x="2204" y="937"/>
                  </a:lnTo>
                  <a:lnTo>
                    <a:pt x="2204" y="937"/>
                  </a:lnTo>
                  <a:lnTo>
                    <a:pt x="2204" y="937"/>
                  </a:lnTo>
                  <a:lnTo>
                    <a:pt x="1968" y="1345"/>
                  </a:lnTo>
                  <a:lnTo>
                    <a:pt x="1025" y="2978"/>
                  </a:lnTo>
                  <a:moveTo>
                    <a:pt x="150" y="437"/>
                  </a:moveTo>
                  <a:lnTo>
                    <a:pt x="0" y="0"/>
                  </a:lnTo>
                  <a:lnTo>
                    <a:pt x="150" y="437"/>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72" name="Freeform 318"/>
            <p:cNvSpPr>
              <a:spLocks/>
            </p:cNvSpPr>
            <p:nvPr/>
          </p:nvSpPr>
          <p:spPr bwMode="auto">
            <a:xfrm>
              <a:off x="-12533351" y="-1142998"/>
              <a:ext cx="114300" cy="333374"/>
            </a:xfrm>
            <a:custGeom>
              <a:avLst/>
              <a:gdLst>
                <a:gd name="T0" fmla="*/ 72 w 72"/>
                <a:gd name="T1" fmla="*/ 210 h 210"/>
                <a:gd name="T2" fmla="*/ 72 w 72"/>
                <a:gd name="T3" fmla="*/ 210 h 210"/>
                <a:gd name="T4" fmla="*/ 0 w 72"/>
                <a:gd name="T5" fmla="*/ 0 h 210"/>
                <a:gd name="T6" fmla="*/ 0 w 72"/>
                <a:gd name="T7" fmla="*/ 0 h 210"/>
                <a:gd name="T8" fmla="*/ 72 w 72"/>
                <a:gd name="T9" fmla="*/ 210 h 210"/>
              </a:gdLst>
              <a:ahLst/>
              <a:cxnLst>
                <a:cxn ang="0">
                  <a:pos x="T0" y="T1"/>
                </a:cxn>
                <a:cxn ang="0">
                  <a:pos x="T2" y="T3"/>
                </a:cxn>
                <a:cxn ang="0">
                  <a:pos x="T4" y="T5"/>
                </a:cxn>
                <a:cxn ang="0">
                  <a:pos x="T6" y="T7"/>
                </a:cxn>
                <a:cxn ang="0">
                  <a:pos x="T8" y="T9"/>
                </a:cxn>
              </a:cxnLst>
              <a:rect l="0" t="0" r="r" b="b"/>
              <a:pathLst>
                <a:path w="72" h="210">
                  <a:moveTo>
                    <a:pt x="72" y="210"/>
                  </a:moveTo>
                  <a:lnTo>
                    <a:pt x="72" y="210"/>
                  </a:lnTo>
                  <a:lnTo>
                    <a:pt x="0" y="0"/>
                  </a:lnTo>
                  <a:lnTo>
                    <a:pt x="0" y="0"/>
                  </a:lnTo>
                  <a:lnTo>
                    <a:pt x="72" y="210"/>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73" name="Freeform 319"/>
            <p:cNvSpPr>
              <a:spLocks/>
            </p:cNvSpPr>
            <p:nvPr/>
          </p:nvSpPr>
          <p:spPr bwMode="auto">
            <a:xfrm>
              <a:off x="-12625426" y="-1217611"/>
              <a:ext cx="92075" cy="74613"/>
            </a:xfrm>
            <a:custGeom>
              <a:avLst/>
              <a:gdLst>
                <a:gd name="T0" fmla="*/ 58 w 58"/>
                <a:gd name="T1" fmla="*/ 47 h 47"/>
                <a:gd name="T2" fmla="*/ 0 w 58"/>
                <a:gd name="T3" fmla="*/ 0 h 47"/>
                <a:gd name="T4" fmla="*/ 58 w 58"/>
                <a:gd name="T5" fmla="*/ 47 h 47"/>
              </a:gdLst>
              <a:ahLst/>
              <a:cxnLst>
                <a:cxn ang="0">
                  <a:pos x="T0" y="T1"/>
                </a:cxn>
                <a:cxn ang="0">
                  <a:pos x="T2" y="T3"/>
                </a:cxn>
                <a:cxn ang="0">
                  <a:pos x="T4" y="T5"/>
                </a:cxn>
              </a:cxnLst>
              <a:rect l="0" t="0" r="r" b="b"/>
              <a:pathLst>
                <a:path w="58" h="47">
                  <a:moveTo>
                    <a:pt x="58" y="47"/>
                  </a:moveTo>
                  <a:lnTo>
                    <a:pt x="0" y="0"/>
                  </a:lnTo>
                  <a:lnTo>
                    <a:pt x="58" y="4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74" name="Freeform 320"/>
            <p:cNvSpPr>
              <a:spLocks noEditPoints="1"/>
            </p:cNvSpPr>
            <p:nvPr/>
          </p:nvSpPr>
          <p:spPr bwMode="auto">
            <a:xfrm>
              <a:off x="-12533351" y="-3140069"/>
              <a:ext cx="1679581" cy="2711444"/>
            </a:xfrm>
            <a:custGeom>
              <a:avLst/>
              <a:gdLst>
                <a:gd name="T0" fmla="*/ 2204 w 2204"/>
                <a:gd name="T1" fmla="*/ 3558 h 3558"/>
                <a:gd name="T2" fmla="*/ 0 w 2204"/>
                <a:gd name="T3" fmla="*/ 2621 h 3558"/>
                <a:gd name="T4" fmla="*/ 945 w 2204"/>
                <a:gd name="T5" fmla="*/ 0 h 3558"/>
                <a:gd name="T6" fmla="*/ 945 w 2204"/>
                <a:gd name="T7" fmla="*/ 0 h 3558"/>
                <a:gd name="T8" fmla="*/ 945 w 2204"/>
                <a:gd name="T9" fmla="*/ 0 h 3558"/>
                <a:gd name="T10" fmla="*/ 1285 w 2204"/>
                <a:gd name="T11" fmla="*/ 960 h 3558"/>
                <a:gd name="T12" fmla="*/ 2204 w 2204"/>
                <a:gd name="T13" fmla="*/ 3558 h 3558"/>
                <a:gd name="T14" fmla="*/ 2204 w 2204"/>
                <a:gd name="T15" fmla="*/ 3558 h 3558"/>
                <a:gd name="T16" fmla="*/ 2204 w 2204"/>
                <a:gd name="T17" fmla="*/ 3558 h 3558"/>
                <a:gd name="T18" fmla="*/ 2204 w 2204"/>
                <a:gd name="T19" fmla="*/ 3558 h 3558"/>
                <a:gd name="T20" fmla="*/ 945 w 2204"/>
                <a:gd name="T21" fmla="*/ 0 h 3558"/>
                <a:gd name="T22" fmla="*/ 945 w 2204"/>
                <a:gd name="T23" fmla="*/ 0 h 3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4" h="3558">
                  <a:moveTo>
                    <a:pt x="2204" y="3558"/>
                  </a:moveTo>
                  <a:lnTo>
                    <a:pt x="0" y="2621"/>
                  </a:lnTo>
                  <a:lnTo>
                    <a:pt x="945" y="0"/>
                  </a:lnTo>
                  <a:lnTo>
                    <a:pt x="945" y="0"/>
                  </a:lnTo>
                  <a:lnTo>
                    <a:pt x="945" y="0"/>
                  </a:lnTo>
                  <a:lnTo>
                    <a:pt x="1285" y="960"/>
                  </a:lnTo>
                  <a:lnTo>
                    <a:pt x="2204" y="3558"/>
                  </a:lnTo>
                  <a:lnTo>
                    <a:pt x="2204" y="3558"/>
                  </a:lnTo>
                  <a:lnTo>
                    <a:pt x="2204" y="3558"/>
                  </a:lnTo>
                  <a:lnTo>
                    <a:pt x="2204" y="3558"/>
                  </a:lnTo>
                  <a:moveTo>
                    <a:pt x="945" y="0"/>
                  </a:moveTo>
                  <a:lnTo>
                    <a:pt x="945" y="0"/>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80" name="Rectangle 321"/>
            <p:cNvSpPr>
              <a:spLocks noChangeArrowheads="1"/>
            </p:cNvSpPr>
            <p:nvPr/>
          </p:nvSpPr>
          <p:spPr bwMode="auto">
            <a:xfrm>
              <a:off x="-10853770" y="-428625"/>
              <a:ext cx="1588" cy="1588"/>
            </a:xfrm>
            <a:prstGeom prst="rect">
              <a:avLst/>
            </a:prstGeom>
            <a:solidFill>
              <a:srgbClr val="518DB3"/>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81" name="Freeform 322"/>
            <p:cNvSpPr>
              <a:spLocks/>
            </p:cNvSpPr>
            <p:nvPr/>
          </p:nvSpPr>
          <p:spPr bwMode="auto">
            <a:xfrm>
              <a:off x="-10853770" y="-1984372"/>
              <a:ext cx="1397005" cy="1555746"/>
            </a:xfrm>
            <a:custGeom>
              <a:avLst/>
              <a:gdLst>
                <a:gd name="T0" fmla="*/ 0 w 880"/>
                <a:gd name="T1" fmla="*/ 980 h 980"/>
                <a:gd name="T2" fmla="*/ 565 w 880"/>
                <a:gd name="T3" fmla="*/ 0 h 980"/>
                <a:gd name="T4" fmla="*/ 880 w 880"/>
                <a:gd name="T5" fmla="*/ 633 h 980"/>
                <a:gd name="T6" fmla="*/ 0 w 880"/>
                <a:gd name="T7" fmla="*/ 980 h 980"/>
              </a:gdLst>
              <a:ahLst/>
              <a:cxnLst>
                <a:cxn ang="0">
                  <a:pos x="T0" y="T1"/>
                </a:cxn>
                <a:cxn ang="0">
                  <a:pos x="T2" y="T3"/>
                </a:cxn>
                <a:cxn ang="0">
                  <a:pos x="T4" y="T5"/>
                </a:cxn>
                <a:cxn ang="0">
                  <a:pos x="T6" y="T7"/>
                </a:cxn>
              </a:cxnLst>
              <a:rect l="0" t="0" r="r" b="b"/>
              <a:pathLst>
                <a:path w="880" h="980">
                  <a:moveTo>
                    <a:pt x="0" y="980"/>
                  </a:moveTo>
                  <a:lnTo>
                    <a:pt x="565" y="0"/>
                  </a:lnTo>
                  <a:lnTo>
                    <a:pt x="880" y="633"/>
                  </a:lnTo>
                  <a:lnTo>
                    <a:pt x="0"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84" name="Freeform 323"/>
            <p:cNvSpPr>
              <a:spLocks/>
            </p:cNvSpPr>
            <p:nvPr/>
          </p:nvSpPr>
          <p:spPr bwMode="auto">
            <a:xfrm>
              <a:off x="-10853770" y="-3540120"/>
              <a:ext cx="1795468" cy="1555746"/>
            </a:xfrm>
            <a:custGeom>
              <a:avLst/>
              <a:gdLst>
                <a:gd name="T0" fmla="*/ 565 w 1131"/>
                <a:gd name="T1" fmla="*/ 980 h 980"/>
                <a:gd name="T2" fmla="*/ 565 w 1131"/>
                <a:gd name="T3" fmla="*/ 980 h 980"/>
                <a:gd name="T4" fmla="*/ 0 w 1131"/>
                <a:gd name="T5" fmla="*/ 0 h 980"/>
                <a:gd name="T6" fmla="*/ 1131 w 1131"/>
                <a:gd name="T7" fmla="*/ 0 h 980"/>
                <a:gd name="T8" fmla="*/ 565 w 1131"/>
                <a:gd name="T9" fmla="*/ 980 h 980"/>
              </a:gdLst>
              <a:ahLst/>
              <a:cxnLst>
                <a:cxn ang="0">
                  <a:pos x="T0" y="T1"/>
                </a:cxn>
                <a:cxn ang="0">
                  <a:pos x="T2" y="T3"/>
                </a:cxn>
                <a:cxn ang="0">
                  <a:pos x="T4" y="T5"/>
                </a:cxn>
                <a:cxn ang="0">
                  <a:pos x="T6" y="T7"/>
                </a:cxn>
                <a:cxn ang="0">
                  <a:pos x="T8" y="T9"/>
                </a:cxn>
              </a:cxnLst>
              <a:rect l="0" t="0" r="r" b="b"/>
              <a:pathLst>
                <a:path w="1131" h="980">
                  <a:moveTo>
                    <a:pt x="565" y="980"/>
                  </a:moveTo>
                  <a:lnTo>
                    <a:pt x="565" y="980"/>
                  </a:lnTo>
                  <a:lnTo>
                    <a:pt x="0" y="0"/>
                  </a:lnTo>
                  <a:lnTo>
                    <a:pt x="1131" y="0"/>
                  </a:lnTo>
                  <a:lnTo>
                    <a:pt x="565"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86" name="Freeform 324"/>
            <p:cNvSpPr>
              <a:spLocks/>
            </p:cNvSpPr>
            <p:nvPr/>
          </p:nvSpPr>
          <p:spPr bwMode="auto">
            <a:xfrm>
              <a:off x="-9956830" y="-1984372"/>
              <a:ext cx="1797056" cy="1004886"/>
            </a:xfrm>
            <a:custGeom>
              <a:avLst/>
              <a:gdLst>
                <a:gd name="T0" fmla="*/ 315 w 1132"/>
                <a:gd name="T1" fmla="*/ 633 h 633"/>
                <a:gd name="T2" fmla="*/ 315 w 1132"/>
                <a:gd name="T3" fmla="*/ 633 h 633"/>
                <a:gd name="T4" fmla="*/ 0 w 1132"/>
                <a:gd name="T5" fmla="*/ 0 h 633"/>
                <a:gd name="T6" fmla="*/ 0 w 1132"/>
                <a:gd name="T7" fmla="*/ 0 h 633"/>
                <a:gd name="T8" fmla="*/ 1132 w 1132"/>
                <a:gd name="T9" fmla="*/ 0 h 633"/>
                <a:gd name="T10" fmla="*/ 529 w 1132"/>
                <a:gd name="T11" fmla="*/ 468 h 633"/>
                <a:gd name="T12" fmla="*/ 315 w 1132"/>
                <a:gd name="T13" fmla="*/ 633 h 633"/>
                <a:gd name="T14" fmla="*/ 315 w 1132"/>
                <a:gd name="T15" fmla="*/ 633 h 633"/>
                <a:gd name="T16" fmla="*/ 315 w 1132"/>
                <a:gd name="T17" fmla="*/ 633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2" h="633">
                  <a:moveTo>
                    <a:pt x="315" y="633"/>
                  </a:moveTo>
                  <a:lnTo>
                    <a:pt x="315" y="633"/>
                  </a:lnTo>
                  <a:lnTo>
                    <a:pt x="0" y="0"/>
                  </a:lnTo>
                  <a:lnTo>
                    <a:pt x="0" y="0"/>
                  </a:lnTo>
                  <a:lnTo>
                    <a:pt x="1132" y="0"/>
                  </a:lnTo>
                  <a:lnTo>
                    <a:pt x="529" y="468"/>
                  </a:lnTo>
                  <a:lnTo>
                    <a:pt x="315" y="633"/>
                  </a:lnTo>
                  <a:lnTo>
                    <a:pt x="315" y="633"/>
                  </a:lnTo>
                  <a:lnTo>
                    <a:pt x="315" y="633"/>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87" name="Freeform 325"/>
            <p:cNvSpPr>
              <a:spLocks/>
            </p:cNvSpPr>
            <p:nvPr/>
          </p:nvSpPr>
          <p:spPr bwMode="auto">
            <a:xfrm>
              <a:off x="-9956830" y="-1984372"/>
              <a:ext cx="500064" cy="1004886"/>
            </a:xfrm>
            <a:custGeom>
              <a:avLst/>
              <a:gdLst>
                <a:gd name="T0" fmla="*/ 315 w 315"/>
                <a:gd name="T1" fmla="*/ 633 h 633"/>
                <a:gd name="T2" fmla="*/ 0 w 315"/>
                <a:gd name="T3" fmla="*/ 0 h 633"/>
                <a:gd name="T4" fmla="*/ 0 w 315"/>
                <a:gd name="T5" fmla="*/ 0 h 633"/>
                <a:gd name="T6" fmla="*/ 315 w 315"/>
                <a:gd name="T7" fmla="*/ 633 h 633"/>
              </a:gdLst>
              <a:ahLst/>
              <a:cxnLst>
                <a:cxn ang="0">
                  <a:pos x="T0" y="T1"/>
                </a:cxn>
                <a:cxn ang="0">
                  <a:pos x="T2" y="T3"/>
                </a:cxn>
                <a:cxn ang="0">
                  <a:pos x="T4" y="T5"/>
                </a:cxn>
                <a:cxn ang="0">
                  <a:pos x="T6" y="T7"/>
                </a:cxn>
              </a:cxnLst>
              <a:rect l="0" t="0" r="r" b="b"/>
              <a:pathLst>
                <a:path w="315" h="633">
                  <a:moveTo>
                    <a:pt x="315" y="633"/>
                  </a:moveTo>
                  <a:lnTo>
                    <a:pt x="0" y="0"/>
                  </a:lnTo>
                  <a:lnTo>
                    <a:pt x="0" y="0"/>
                  </a:lnTo>
                  <a:lnTo>
                    <a:pt x="315" y="63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88" name="Freeform 326"/>
            <p:cNvSpPr>
              <a:spLocks/>
            </p:cNvSpPr>
            <p:nvPr/>
          </p:nvSpPr>
          <p:spPr bwMode="auto">
            <a:xfrm>
              <a:off x="-11814211" y="-3540120"/>
              <a:ext cx="1857381" cy="1555746"/>
            </a:xfrm>
            <a:custGeom>
              <a:avLst/>
              <a:gdLst>
                <a:gd name="T0" fmla="*/ 1170 w 1170"/>
                <a:gd name="T1" fmla="*/ 980 h 980"/>
                <a:gd name="T2" fmla="*/ 0 w 1170"/>
                <a:gd name="T3" fmla="*/ 252 h 980"/>
                <a:gd name="T4" fmla="*/ 605 w 1170"/>
                <a:gd name="T5" fmla="*/ 0 h 980"/>
                <a:gd name="T6" fmla="*/ 1170 w 1170"/>
                <a:gd name="T7" fmla="*/ 980 h 980"/>
              </a:gdLst>
              <a:ahLst/>
              <a:cxnLst>
                <a:cxn ang="0">
                  <a:pos x="T0" y="T1"/>
                </a:cxn>
                <a:cxn ang="0">
                  <a:pos x="T2" y="T3"/>
                </a:cxn>
                <a:cxn ang="0">
                  <a:pos x="T4" y="T5"/>
                </a:cxn>
                <a:cxn ang="0">
                  <a:pos x="T6" y="T7"/>
                </a:cxn>
              </a:cxnLst>
              <a:rect l="0" t="0" r="r" b="b"/>
              <a:pathLst>
                <a:path w="1170" h="980">
                  <a:moveTo>
                    <a:pt x="1170" y="980"/>
                  </a:moveTo>
                  <a:lnTo>
                    <a:pt x="0" y="252"/>
                  </a:lnTo>
                  <a:lnTo>
                    <a:pt x="605" y="0"/>
                  </a:lnTo>
                  <a:lnTo>
                    <a:pt x="1170"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89" name="Freeform 327"/>
            <p:cNvSpPr>
              <a:spLocks/>
            </p:cNvSpPr>
            <p:nvPr/>
          </p:nvSpPr>
          <p:spPr bwMode="auto">
            <a:xfrm>
              <a:off x="-9956830" y="-3540120"/>
              <a:ext cx="1797056" cy="1555746"/>
            </a:xfrm>
            <a:custGeom>
              <a:avLst/>
              <a:gdLst>
                <a:gd name="T0" fmla="*/ 0 w 1132"/>
                <a:gd name="T1" fmla="*/ 980 h 980"/>
                <a:gd name="T2" fmla="*/ 0 w 1132"/>
                <a:gd name="T3" fmla="*/ 980 h 980"/>
                <a:gd name="T4" fmla="*/ 566 w 1132"/>
                <a:gd name="T5" fmla="*/ 0 h 980"/>
                <a:gd name="T6" fmla="*/ 1132 w 1132"/>
                <a:gd name="T7" fmla="*/ 980 h 980"/>
                <a:gd name="T8" fmla="*/ 1132 w 1132"/>
                <a:gd name="T9" fmla="*/ 980 h 980"/>
                <a:gd name="T10" fmla="*/ 1132 w 1132"/>
                <a:gd name="T11" fmla="*/ 980 h 980"/>
                <a:gd name="T12" fmla="*/ 1132 w 1132"/>
                <a:gd name="T13" fmla="*/ 980 h 980"/>
                <a:gd name="T14" fmla="*/ 0 w 1132"/>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980">
                  <a:moveTo>
                    <a:pt x="0" y="980"/>
                  </a:moveTo>
                  <a:lnTo>
                    <a:pt x="0" y="980"/>
                  </a:lnTo>
                  <a:lnTo>
                    <a:pt x="566" y="0"/>
                  </a:lnTo>
                  <a:lnTo>
                    <a:pt x="1132" y="980"/>
                  </a:lnTo>
                  <a:lnTo>
                    <a:pt x="1132" y="980"/>
                  </a:lnTo>
                  <a:lnTo>
                    <a:pt x="1132" y="980"/>
                  </a:lnTo>
                  <a:lnTo>
                    <a:pt x="1132" y="980"/>
                  </a:lnTo>
                  <a:lnTo>
                    <a:pt x="0" y="98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90" name="Freeform 328"/>
            <p:cNvSpPr>
              <a:spLocks/>
            </p:cNvSpPr>
            <p:nvPr/>
          </p:nvSpPr>
          <p:spPr bwMode="auto">
            <a:xfrm>
              <a:off x="-11814211" y="-3140069"/>
              <a:ext cx="1857381" cy="2711444"/>
            </a:xfrm>
            <a:custGeom>
              <a:avLst/>
              <a:gdLst>
                <a:gd name="T0" fmla="*/ 605 w 1170"/>
                <a:gd name="T1" fmla="*/ 1708 h 1708"/>
                <a:gd name="T2" fmla="*/ 605 w 1170"/>
                <a:gd name="T3" fmla="*/ 1708 h 1708"/>
                <a:gd name="T4" fmla="*/ 605 w 1170"/>
                <a:gd name="T5" fmla="*/ 1708 h 1708"/>
                <a:gd name="T6" fmla="*/ 163 w 1170"/>
                <a:gd name="T7" fmla="*/ 461 h 1708"/>
                <a:gd name="T8" fmla="*/ 0 w 1170"/>
                <a:gd name="T9" fmla="*/ 0 h 1708"/>
                <a:gd name="T10" fmla="*/ 0 w 1170"/>
                <a:gd name="T11" fmla="*/ 0 h 1708"/>
                <a:gd name="T12" fmla="*/ 1170 w 1170"/>
                <a:gd name="T13" fmla="*/ 728 h 1708"/>
                <a:gd name="T14" fmla="*/ 1170 w 1170"/>
                <a:gd name="T15" fmla="*/ 728 h 1708"/>
                <a:gd name="T16" fmla="*/ 1170 w 1170"/>
                <a:gd name="T17" fmla="*/ 728 h 1708"/>
                <a:gd name="T18" fmla="*/ 1170 w 1170"/>
                <a:gd name="T19" fmla="*/ 728 h 1708"/>
                <a:gd name="T20" fmla="*/ 1170 w 1170"/>
                <a:gd name="T21" fmla="*/ 728 h 1708"/>
                <a:gd name="T22" fmla="*/ 1170 w 1170"/>
                <a:gd name="T23" fmla="*/ 728 h 1708"/>
                <a:gd name="T24" fmla="*/ 605 w 1170"/>
                <a:gd name="T25" fmla="*/ 1708 h 1708"/>
                <a:gd name="T26" fmla="*/ 605 w 1170"/>
                <a:gd name="T27" fmla="*/ 1708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0" h="1708">
                  <a:moveTo>
                    <a:pt x="605" y="1708"/>
                  </a:moveTo>
                  <a:lnTo>
                    <a:pt x="605" y="1708"/>
                  </a:lnTo>
                  <a:lnTo>
                    <a:pt x="605" y="1708"/>
                  </a:lnTo>
                  <a:lnTo>
                    <a:pt x="163" y="461"/>
                  </a:lnTo>
                  <a:lnTo>
                    <a:pt x="0" y="0"/>
                  </a:lnTo>
                  <a:lnTo>
                    <a:pt x="0" y="0"/>
                  </a:lnTo>
                  <a:lnTo>
                    <a:pt x="1170" y="728"/>
                  </a:lnTo>
                  <a:lnTo>
                    <a:pt x="1170" y="728"/>
                  </a:lnTo>
                  <a:lnTo>
                    <a:pt x="1170" y="728"/>
                  </a:lnTo>
                  <a:lnTo>
                    <a:pt x="1170" y="728"/>
                  </a:lnTo>
                  <a:lnTo>
                    <a:pt x="1170" y="728"/>
                  </a:lnTo>
                  <a:lnTo>
                    <a:pt x="1170" y="728"/>
                  </a:lnTo>
                  <a:lnTo>
                    <a:pt x="605" y="1708"/>
                  </a:lnTo>
                  <a:lnTo>
                    <a:pt x="605" y="1708"/>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91" name="Freeform 329"/>
            <p:cNvSpPr>
              <a:spLocks/>
            </p:cNvSpPr>
            <p:nvPr/>
          </p:nvSpPr>
          <p:spPr bwMode="auto">
            <a:xfrm>
              <a:off x="-12625426" y="3949693"/>
              <a:ext cx="446089" cy="647699"/>
            </a:xfrm>
            <a:custGeom>
              <a:avLst/>
              <a:gdLst>
                <a:gd name="T0" fmla="*/ 281 w 281"/>
                <a:gd name="T1" fmla="*/ 408 h 408"/>
                <a:gd name="T2" fmla="*/ 0 w 281"/>
                <a:gd name="T3" fmla="*/ 334 h 408"/>
                <a:gd name="T4" fmla="*/ 0 w 281"/>
                <a:gd name="T5" fmla="*/ 0 h 408"/>
                <a:gd name="T6" fmla="*/ 281 w 281"/>
                <a:gd name="T7" fmla="*/ 408 h 408"/>
              </a:gdLst>
              <a:ahLst/>
              <a:cxnLst>
                <a:cxn ang="0">
                  <a:pos x="T0" y="T1"/>
                </a:cxn>
                <a:cxn ang="0">
                  <a:pos x="T2" y="T3"/>
                </a:cxn>
                <a:cxn ang="0">
                  <a:pos x="T4" y="T5"/>
                </a:cxn>
                <a:cxn ang="0">
                  <a:pos x="T6" y="T7"/>
                </a:cxn>
              </a:cxnLst>
              <a:rect l="0" t="0" r="r" b="b"/>
              <a:pathLst>
                <a:path w="281" h="408">
                  <a:moveTo>
                    <a:pt x="281" y="408"/>
                  </a:moveTo>
                  <a:lnTo>
                    <a:pt x="0" y="334"/>
                  </a:lnTo>
                  <a:lnTo>
                    <a:pt x="0" y="0"/>
                  </a:lnTo>
                  <a:lnTo>
                    <a:pt x="281" y="408"/>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92" name="Freeform 330"/>
            <p:cNvSpPr>
              <a:spLocks/>
            </p:cNvSpPr>
            <p:nvPr/>
          </p:nvSpPr>
          <p:spPr bwMode="auto">
            <a:xfrm>
              <a:off x="-12625426" y="1152522"/>
              <a:ext cx="844552" cy="811212"/>
            </a:xfrm>
            <a:custGeom>
              <a:avLst/>
              <a:gdLst>
                <a:gd name="T0" fmla="*/ 0 w 532"/>
                <a:gd name="T1" fmla="*/ 511 h 511"/>
                <a:gd name="T2" fmla="*/ 0 w 532"/>
                <a:gd name="T3" fmla="*/ 511 h 511"/>
                <a:gd name="T4" fmla="*/ 532 w 532"/>
                <a:gd name="T5" fmla="*/ 0 h 511"/>
                <a:gd name="T6" fmla="*/ 0 w 532"/>
                <a:gd name="T7" fmla="*/ 511 h 511"/>
              </a:gdLst>
              <a:ahLst/>
              <a:cxnLst>
                <a:cxn ang="0">
                  <a:pos x="T0" y="T1"/>
                </a:cxn>
                <a:cxn ang="0">
                  <a:pos x="T2" y="T3"/>
                </a:cxn>
                <a:cxn ang="0">
                  <a:pos x="T4" y="T5"/>
                </a:cxn>
                <a:cxn ang="0">
                  <a:pos x="T6" y="T7"/>
                </a:cxn>
              </a:cxnLst>
              <a:rect l="0" t="0" r="r" b="b"/>
              <a:pathLst>
                <a:path w="532" h="511">
                  <a:moveTo>
                    <a:pt x="0" y="511"/>
                  </a:moveTo>
                  <a:lnTo>
                    <a:pt x="0" y="511"/>
                  </a:lnTo>
                  <a:lnTo>
                    <a:pt x="532" y="0"/>
                  </a:lnTo>
                  <a:lnTo>
                    <a:pt x="0" y="51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93" name="Freeform 331"/>
            <p:cNvSpPr>
              <a:spLocks noEditPoints="1"/>
            </p:cNvSpPr>
            <p:nvPr/>
          </p:nvSpPr>
          <p:spPr bwMode="auto">
            <a:xfrm>
              <a:off x="-12625426" y="2682869"/>
              <a:ext cx="1771656" cy="1914521"/>
            </a:xfrm>
            <a:custGeom>
              <a:avLst/>
              <a:gdLst>
                <a:gd name="T0" fmla="*/ 586 w 2324"/>
                <a:gd name="T1" fmla="*/ 2514 h 2514"/>
                <a:gd name="T2" fmla="*/ 586 w 2324"/>
                <a:gd name="T3" fmla="*/ 2514 h 2514"/>
                <a:gd name="T4" fmla="*/ 0 w 2324"/>
                <a:gd name="T5" fmla="*/ 1664 h 2514"/>
                <a:gd name="T6" fmla="*/ 0 w 2324"/>
                <a:gd name="T7" fmla="*/ 64 h 2514"/>
                <a:gd name="T8" fmla="*/ 2324 w 2324"/>
                <a:gd name="T9" fmla="*/ 0 h 2514"/>
                <a:gd name="T10" fmla="*/ 1542 w 2324"/>
                <a:gd name="T11" fmla="*/ 1131 h 2514"/>
                <a:gd name="T12" fmla="*/ 586 w 2324"/>
                <a:gd name="T13" fmla="*/ 2514 h 2514"/>
                <a:gd name="T14" fmla="*/ 2324 w 2324"/>
                <a:gd name="T15" fmla="*/ 0 h 2514"/>
                <a:gd name="T16" fmla="*/ 2324 w 2324"/>
                <a:gd name="T17" fmla="*/ 0 h 2514"/>
                <a:gd name="T18" fmla="*/ 2324 w 2324"/>
                <a:gd name="T19"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4" h="2514">
                  <a:moveTo>
                    <a:pt x="586" y="2514"/>
                  </a:moveTo>
                  <a:lnTo>
                    <a:pt x="586" y="2514"/>
                  </a:lnTo>
                  <a:lnTo>
                    <a:pt x="0" y="1664"/>
                  </a:lnTo>
                  <a:lnTo>
                    <a:pt x="0" y="64"/>
                  </a:lnTo>
                  <a:lnTo>
                    <a:pt x="2324" y="0"/>
                  </a:lnTo>
                  <a:lnTo>
                    <a:pt x="1542" y="1131"/>
                  </a:lnTo>
                  <a:lnTo>
                    <a:pt x="586" y="2514"/>
                  </a:lnTo>
                  <a:moveTo>
                    <a:pt x="2324" y="0"/>
                  </a:moveTo>
                  <a:lnTo>
                    <a:pt x="2324" y="0"/>
                  </a:lnTo>
                  <a:lnTo>
                    <a:pt x="2324"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94" name="Freeform 332"/>
            <p:cNvSpPr>
              <a:spLocks/>
            </p:cNvSpPr>
            <p:nvPr/>
          </p:nvSpPr>
          <p:spPr bwMode="auto">
            <a:xfrm>
              <a:off x="-12625426" y="1125535"/>
              <a:ext cx="1771656" cy="1604960"/>
            </a:xfrm>
            <a:custGeom>
              <a:avLst/>
              <a:gdLst>
                <a:gd name="T0" fmla="*/ 0 w 1116"/>
                <a:gd name="T1" fmla="*/ 1011 h 1011"/>
                <a:gd name="T2" fmla="*/ 0 w 1116"/>
                <a:gd name="T3" fmla="*/ 528 h 1011"/>
                <a:gd name="T4" fmla="*/ 532 w 1116"/>
                <a:gd name="T5" fmla="*/ 17 h 1011"/>
                <a:gd name="T6" fmla="*/ 550 w 1116"/>
                <a:gd name="T7" fmla="*/ 0 h 1011"/>
                <a:gd name="T8" fmla="*/ 532 w 1116"/>
                <a:gd name="T9" fmla="*/ 17 h 1011"/>
                <a:gd name="T10" fmla="*/ 550 w 1116"/>
                <a:gd name="T11" fmla="*/ 0 h 1011"/>
                <a:gd name="T12" fmla="*/ 550 w 1116"/>
                <a:gd name="T13" fmla="*/ 0 h 1011"/>
                <a:gd name="T14" fmla="*/ 550 w 1116"/>
                <a:gd name="T15" fmla="*/ 0 h 1011"/>
                <a:gd name="T16" fmla="*/ 1116 w 1116"/>
                <a:gd name="T17" fmla="*/ 981 h 1011"/>
                <a:gd name="T18" fmla="*/ 0 w 1116"/>
                <a:gd name="T19" fmla="*/ 1011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6" h="1011">
                  <a:moveTo>
                    <a:pt x="0" y="1011"/>
                  </a:moveTo>
                  <a:lnTo>
                    <a:pt x="0" y="528"/>
                  </a:lnTo>
                  <a:lnTo>
                    <a:pt x="532" y="17"/>
                  </a:lnTo>
                  <a:lnTo>
                    <a:pt x="550" y="0"/>
                  </a:lnTo>
                  <a:lnTo>
                    <a:pt x="532" y="17"/>
                  </a:lnTo>
                  <a:lnTo>
                    <a:pt x="550" y="0"/>
                  </a:lnTo>
                  <a:lnTo>
                    <a:pt x="550" y="0"/>
                  </a:lnTo>
                  <a:lnTo>
                    <a:pt x="550" y="0"/>
                  </a:lnTo>
                  <a:lnTo>
                    <a:pt x="1116" y="981"/>
                  </a:lnTo>
                  <a:lnTo>
                    <a:pt x="0" y="101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95" name="Freeform 333"/>
            <p:cNvSpPr>
              <a:spLocks/>
            </p:cNvSpPr>
            <p:nvPr/>
          </p:nvSpPr>
          <p:spPr bwMode="auto">
            <a:xfrm>
              <a:off x="-11780874" y="1125535"/>
              <a:ext cx="28575" cy="26987"/>
            </a:xfrm>
            <a:custGeom>
              <a:avLst/>
              <a:gdLst>
                <a:gd name="T0" fmla="*/ 0 w 18"/>
                <a:gd name="T1" fmla="*/ 17 h 17"/>
                <a:gd name="T2" fmla="*/ 0 w 18"/>
                <a:gd name="T3" fmla="*/ 17 h 17"/>
                <a:gd name="T4" fmla="*/ 18 w 18"/>
                <a:gd name="T5" fmla="*/ 0 h 17"/>
                <a:gd name="T6" fmla="*/ 0 w 18"/>
                <a:gd name="T7" fmla="*/ 17 h 17"/>
              </a:gdLst>
              <a:ahLst/>
              <a:cxnLst>
                <a:cxn ang="0">
                  <a:pos x="T0" y="T1"/>
                </a:cxn>
                <a:cxn ang="0">
                  <a:pos x="T2" y="T3"/>
                </a:cxn>
                <a:cxn ang="0">
                  <a:pos x="T4" y="T5"/>
                </a:cxn>
                <a:cxn ang="0">
                  <a:pos x="T6" y="T7"/>
                </a:cxn>
              </a:cxnLst>
              <a:rect l="0" t="0" r="r" b="b"/>
              <a:pathLst>
                <a:path w="18" h="17">
                  <a:moveTo>
                    <a:pt x="0" y="17"/>
                  </a:moveTo>
                  <a:lnTo>
                    <a:pt x="0" y="17"/>
                  </a:lnTo>
                  <a:lnTo>
                    <a:pt x="18" y="0"/>
                  </a:lnTo>
                  <a:lnTo>
                    <a:pt x="0" y="1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96" name="Freeform 334"/>
            <p:cNvSpPr>
              <a:spLocks noEditPoints="1"/>
            </p:cNvSpPr>
            <p:nvPr/>
          </p:nvSpPr>
          <p:spPr bwMode="auto">
            <a:xfrm>
              <a:off x="-10853770" y="1454147"/>
              <a:ext cx="1365255" cy="1757360"/>
            </a:xfrm>
            <a:custGeom>
              <a:avLst/>
              <a:gdLst>
                <a:gd name="T0" fmla="*/ 1792 w 1792"/>
                <a:gd name="T1" fmla="*/ 2307 h 2307"/>
                <a:gd name="T2" fmla="*/ 0 w 1792"/>
                <a:gd name="T3" fmla="*/ 1612 h 2307"/>
                <a:gd name="T4" fmla="*/ 0 w 1792"/>
                <a:gd name="T5" fmla="*/ 1612 h 2307"/>
                <a:gd name="T6" fmla="*/ 0 w 1792"/>
                <a:gd name="T7" fmla="*/ 1612 h 2307"/>
                <a:gd name="T8" fmla="*/ 233 w 1792"/>
                <a:gd name="T9" fmla="*/ 0 h 2307"/>
                <a:gd name="T10" fmla="*/ 790 w 1792"/>
                <a:gd name="T11" fmla="*/ 824 h 2307"/>
                <a:gd name="T12" fmla="*/ 1792 w 1792"/>
                <a:gd name="T13" fmla="*/ 2307 h 2307"/>
                <a:gd name="T14" fmla="*/ 233 w 1792"/>
                <a:gd name="T15" fmla="*/ 0 h 2307"/>
                <a:gd name="T16" fmla="*/ 233 w 1792"/>
                <a:gd name="T17" fmla="*/ 0 h 2307"/>
                <a:gd name="T18" fmla="*/ 233 w 1792"/>
                <a:gd name="T19" fmla="*/ 0 h 2307"/>
                <a:gd name="T20" fmla="*/ 233 w 1792"/>
                <a:gd name="T21" fmla="*/ 0 h 2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2" h="2307">
                  <a:moveTo>
                    <a:pt x="1792" y="2307"/>
                  </a:moveTo>
                  <a:lnTo>
                    <a:pt x="0" y="1612"/>
                  </a:lnTo>
                  <a:lnTo>
                    <a:pt x="0" y="1612"/>
                  </a:lnTo>
                  <a:lnTo>
                    <a:pt x="0" y="1612"/>
                  </a:lnTo>
                  <a:lnTo>
                    <a:pt x="233" y="0"/>
                  </a:lnTo>
                  <a:lnTo>
                    <a:pt x="790" y="824"/>
                  </a:lnTo>
                  <a:lnTo>
                    <a:pt x="1792" y="2307"/>
                  </a:lnTo>
                  <a:moveTo>
                    <a:pt x="233" y="0"/>
                  </a:moveTo>
                  <a:lnTo>
                    <a:pt x="233" y="0"/>
                  </a:lnTo>
                  <a:lnTo>
                    <a:pt x="233" y="0"/>
                  </a:lnTo>
                  <a:lnTo>
                    <a:pt x="233"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97" name="Freeform 335"/>
            <p:cNvSpPr>
              <a:spLocks/>
            </p:cNvSpPr>
            <p:nvPr/>
          </p:nvSpPr>
          <p:spPr bwMode="auto">
            <a:xfrm>
              <a:off x="-10853770" y="-979486"/>
              <a:ext cx="1397005" cy="2433633"/>
            </a:xfrm>
            <a:custGeom>
              <a:avLst/>
              <a:gdLst>
                <a:gd name="T0" fmla="*/ 111 w 880"/>
                <a:gd name="T1" fmla="*/ 1533 h 1533"/>
                <a:gd name="T2" fmla="*/ 111 w 880"/>
                <a:gd name="T3" fmla="*/ 1533 h 1533"/>
                <a:gd name="T4" fmla="*/ 0 w 880"/>
                <a:gd name="T5" fmla="*/ 347 h 1533"/>
                <a:gd name="T6" fmla="*/ 0 w 880"/>
                <a:gd name="T7" fmla="*/ 347 h 1533"/>
                <a:gd name="T8" fmla="*/ 0 w 880"/>
                <a:gd name="T9" fmla="*/ 347 h 1533"/>
                <a:gd name="T10" fmla="*/ 880 w 880"/>
                <a:gd name="T11" fmla="*/ 0 h 1533"/>
                <a:gd name="T12" fmla="*/ 111 w 880"/>
                <a:gd name="T13" fmla="*/ 1533 h 1533"/>
              </a:gdLst>
              <a:ahLst/>
              <a:cxnLst>
                <a:cxn ang="0">
                  <a:pos x="T0" y="T1"/>
                </a:cxn>
                <a:cxn ang="0">
                  <a:pos x="T2" y="T3"/>
                </a:cxn>
                <a:cxn ang="0">
                  <a:pos x="T4" y="T5"/>
                </a:cxn>
                <a:cxn ang="0">
                  <a:pos x="T6" y="T7"/>
                </a:cxn>
                <a:cxn ang="0">
                  <a:pos x="T8" y="T9"/>
                </a:cxn>
                <a:cxn ang="0">
                  <a:pos x="T10" y="T11"/>
                </a:cxn>
                <a:cxn ang="0">
                  <a:pos x="T12" y="T13"/>
                </a:cxn>
              </a:cxnLst>
              <a:rect l="0" t="0" r="r" b="b"/>
              <a:pathLst>
                <a:path w="880" h="1533">
                  <a:moveTo>
                    <a:pt x="111" y="1533"/>
                  </a:moveTo>
                  <a:lnTo>
                    <a:pt x="111" y="1533"/>
                  </a:lnTo>
                  <a:lnTo>
                    <a:pt x="0" y="347"/>
                  </a:lnTo>
                  <a:lnTo>
                    <a:pt x="0" y="347"/>
                  </a:lnTo>
                  <a:lnTo>
                    <a:pt x="0" y="347"/>
                  </a:lnTo>
                  <a:lnTo>
                    <a:pt x="880" y="0"/>
                  </a:lnTo>
                  <a:lnTo>
                    <a:pt x="111" y="15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00" name="Freeform 336"/>
            <p:cNvSpPr>
              <a:spLocks/>
            </p:cNvSpPr>
            <p:nvPr/>
          </p:nvSpPr>
          <p:spPr bwMode="auto">
            <a:xfrm>
              <a:off x="-10677557" y="1125535"/>
              <a:ext cx="2517783" cy="2085971"/>
            </a:xfrm>
            <a:custGeom>
              <a:avLst/>
              <a:gdLst>
                <a:gd name="T0" fmla="*/ 749 w 1586"/>
                <a:gd name="T1" fmla="*/ 1314 h 1314"/>
                <a:gd name="T2" fmla="*/ 268 w 1586"/>
                <a:gd name="T3" fmla="*/ 602 h 1314"/>
                <a:gd name="T4" fmla="*/ 0 w 1586"/>
                <a:gd name="T5" fmla="*/ 207 h 1314"/>
                <a:gd name="T6" fmla="*/ 0 w 1586"/>
                <a:gd name="T7" fmla="*/ 207 h 1314"/>
                <a:gd name="T8" fmla="*/ 0 w 1586"/>
                <a:gd name="T9" fmla="*/ 207 h 1314"/>
                <a:gd name="T10" fmla="*/ 0 w 1586"/>
                <a:gd name="T11" fmla="*/ 207 h 1314"/>
                <a:gd name="T12" fmla="*/ 169 w 1586"/>
                <a:gd name="T13" fmla="*/ 185 h 1314"/>
                <a:gd name="T14" fmla="*/ 1586 w 1586"/>
                <a:gd name="T15" fmla="*/ 0 h 1314"/>
                <a:gd name="T16" fmla="*/ 749 w 1586"/>
                <a:gd name="T17" fmla="*/ 1314 h 1314"/>
                <a:gd name="T18" fmla="*/ 749 w 1586"/>
                <a:gd name="T19" fmla="*/ 1314 h 1314"/>
                <a:gd name="T20" fmla="*/ 749 w 1586"/>
                <a:gd name="T21" fmla="*/ 1314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6" h="1314">
                  <a:moveTo>
                    <a:pt x="749" y="1314"/>
                  </a:moveTo>
                  <a:lnTo>
                    <a:pt x="268" y="602"/>
                  </a:lnTo>
                  <a:lnTo>
                    <a:pt x="0" y="207"/>
                  </a:lnTo>
                  <a:lnTo>
                    <a:pt x="0" y="207"/>
                  </a:lnTo>
                  <a:lnTo>
                    <a:pt x="0" y="207"/>
                  </a:lnTo>
                  <a:lnTo>
                    <a:pt x="0" y="207"/>
                  </a:lnTo>
                  <a:lnTo>
                    <a:pt x="169" y="185"/>
                  </a:lnTo>
                  <a:lnTo>
                    <a:pt x="1586" y="0"/>
                  </a:lnTo>
                  <a:lnTo>
                    <a:pt x="749" y="1314"/>
                  </a:lnTo>
                  <a:lnTo>
                    <a:pt x="749" y="1314"/>
                  </a:lnTo>
                  <a:lnTo>
                    <a:pt x="749" y="1314"/>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07" name="Freeform 337"/>
            <p:cNvSpPr>
              <a:spLocks/>
            </p:cNvSpPr>
            <p:nvPr/>
          </p:nvSpPr>
          <p:spPr bwMode="auto">
            <a:xfrm>
              <a:off x="-10677557" y="1454147"/>
              <a:ext cx="425452" cy="627061"/>
            </a:xfrm>
            <a:custGeom>
              <a:avLst/>
              <a:gdLst>
                <a:gd name="T0" fmla="*/ 268 w 268"/>
                <a:gd name="T1" fmla="*/ 395 h 395"/>
                <a:gd name="T2" fmla="*/ 0 w 268"/>
                <a:gd name="T3" fmla="*/ 0 h 395"/>
                <a:gd name="T4" fmla="*/ 0 w 268"/>
                <a:gd name="T5" fmla="*/ 0 h 395"/>
                <a:gd name="T6" fmla="*/ 268 w 268"/>
                <a:gd name="T7" fmla="*/ 395 h 395"/>
              </a:gdLst>
              <a:ahLst/>
              <a:cxnLst>
                <a:cxn ang="0">
                  <a:pos x="T0" y="T1"/>
                </a:cxn>
                <a:cxn ang="0">
                  <a:pos x="T2" y="T3"/>
                </a:cxn>
                <a:cxn ang="0">
                  <a:pos x="T4" y="T5"/>
                </a:cxn>
                <a:cxn ang="0">
                  <a:pos x="T6" y="T7"/>
                </a:cxn>
              </a:cxnLst>
              <a:rect l="0" t="0" r="r" b="b"/>
              <a:pathLst>
                <a:path w="268" h="395">
                  <a:moveTo>
                    <a:pt x="268" y="395"/>
                  </a:moveTo>
                  <a:lnTo>
                    <a:pt x="0" y="0"/>
                  </a:lnTo>
                  <a:lnTo>
                    <a:pt x="0" y="0"/>
                  </a:lnTo>
                  <a:lnTo>
                    <a:pt x="268" y="39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08" name="Freeform 338"/>
            <p:cNvSpPr>
              <a:spLocks/>
            </p:cNvSpPr>
            <p:nvPr/>
          </p:nvSpPr>
          <p:spPr bwMode="auto">
            <a:xfrm>
              <a:off x="-11752299" y="-428625"/>
              <a:ext cx="1074741" cy="1882771"/>
            </a:xfrm>
            <a:custGeom>
              <a:avLst/>
              <a:gdLst>
                <a:gd name="T0" fmla="*/ 677 w 677"/>
                <a:gd name="T1" fmla="*/ 1186 h 1186"/>
                <a:gd name="T2" fmla="*/ 0 w 677"/>
                <a:gd name="T3" fmla="*/ 979 h 1186"/>
                <a:gd name="T4" fmla="*/ 452 w 677"/>
                <a:gd name="T5" fmla="*/ 196 h 1186"/>
                <a:gd name="T6" fmla="*/ 566 w 677"/>
                <a:gd name="T7" fmla="*/ 0 h 1186"/>
                <a:gd name="T8" fmla="*/ 677 w 677"/>
                <a:gd name="T9" fmla="*/ 1186 h 1186"/>
                <a:gd name="T10" fmla="*/ 677 w 677"/>
                <a:gd name="T11" fmla="*/ 1186 h 1186"/>
              </a:gdLst>
              <a:ahLst/>
              <a:cxnLst>
                <a:cxn ang="0">
                  <a:pos x="T0" y="T1"/>
                </a:cxn>
                <a:cxn ang="0">
                  <a:pos x="T2" y="T3"/>
                </a:cxn>
                <a:cxn ang="0">
                  <a:pos x="T4" y="T5"/>
                </a:cxn>
                <a:cxn ang="0">
                  <a:pos x="T6" y="T7"/>
                </a:cxn>
                <a:cxn ang="0">
                  <a:pos x="T8" y="T9"/>
                </a:cxn>
                <a:cxn ang="0">
                  <a:pos x="T10" y="T11"/>
                </a:cxn>
              </a:cxnLst>
              <a:rect l="0" t="0" r="r" b="b"/>
              <a:pathLst>
                <a:path w="677" h="1186">
                  <a:moveTo>
                    <a:pt x="677" y="1186"/>
                  </a:moveTo>
                  <a:lnTo>
                    <a:pt x="0" y="979"/>
                  </a:lnTo>
                  <a:lnTo>
                    <a:pt x="452" y="196"/>
                  </a:lnTo>
                  <a:lnTo>
                    <a:pt x="566" y="0"/>
                  </a:lnTo>
                  <a:lnTo>
                    <a:pt x="677" y="1186"/>
                  </a:lnTo>
                  <a:lnTo>
                    <a:pt x="677" y="118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09" name="Rectangle 339"/>
            <p:cNvSpPr>
              <a:spLocks noChangeArrowheads="1"/>
            </p:cNvSpPr>
            <p:nvPr/>
          </p:nvSpPr>
          <p:spPr bwMode="auto">
            <a:xfrm>
              <a:off x="-10677557" y="1454147"/>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11" name="Rectangle 340"/>
            <p:cNvSpPr>
              <a:spLocks noChangeArrowheads="1"/>
            </p:cNvSpPr>
            <p:nvPr/>
          </p:nvSpPr>
          <p:spPr bwMode="auto">
            <a:xfrm>
              <a:off x="-11752299" y="1125535"/>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12" name="Freeform 341"/>
            <p:cNvSpPr>
              <a:spLocks/>
            </p:cNvSpPr>
            <p:nvPr/>
          </p:nvSpPr>
          <p:spPr bwMode="auto">
            <a:xfrm>
              <a:off x="-10677557" y="-979486"/>
              <a:ext cx="2517783" cy="2433633"/>
            </a:xfrm>
            <a:custGeom>
              <a:avLst/>
              <a:gdLst>
                <a:gd name="T0" fmla="*/ 0 w 1586"/>
                <a:gd name="T1" fmla="*/ 1533 h 1533"/>
                <a:gd name="T2" fmla="*/ 769 w 1586"/>
                <a:gd name="T3" fmla="*/ 0 h 1533"/>
                <a:gd name="T4" fmla="*/ 1586 w 1586"/>
                <a:gd name="T5" fmla="*/ 1326 h 1533"/>
                <a:gd name="T6" fmla="*/ 1586 w 1586"/>
                <a:gd name="T7" fmla="*/ 1326 h 1533"/>
                <a:gd name="T8" fmla="*/ 1586 w 1586"/>
                <a:gd name="T9" fmla="*/ 1326 h 1533"/>
                <a:gd name="T10" fmla="*/ 1586 w 1586"/>
                <a:gd name="T11" fmla="*/ 1326 h 1533"/>
                <a:gd name="T12" fmla="*/ 169 w 1586"/>
                <a:gd name="T13" fmla="*/ 1511 h 1533"/>
                <a:gd name="T14" fmla="*/ 0 w 1586"/>
                <a:gd name="T15" fmla="*/ 1533 h 15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6" h="1533">
                  <a:moveTo>
                    <a:pt x="0" y="1533"/>
                  </a:moveTo>
                  <a:lnTo>
                    <a:pt x="769" y="0"/>
                  </a:lnTo>
                  <a:lnTo>
                    <a:pt x="1586" y="1326"/>
                  </a:lnTo>
                  <a:lnTo>
                    <a:pt x="1586" y="1326"/>
                  </a:lnTo>
                  <a:lnTo>
                    <a:pt x="1586" y="1326"/>
                  </a:lnTo>
                  <a:lnTo>
                    <a:pt x="1586" y="1326"/>
                  </a:lnTo>
                  <a:lnTo>
                    <a:pt x="169" y="1511"/>
                  </a:lnTo>
                  <a:lnTo>
                    <a:pt x="0" y="1533"/>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13" name="Freeform 342"/>
            <p:cNvSpPr>
              <a:spLocks noEditPoints="1"/>
            </p:cNvSpPr>
            <p:nvPr/>
          </p:nvSpPr>
          <p:spPr bwMode="auto">
            <a:xfrm>
              <a:off x="-11752299" y="1125535"/>
              <a:ext cx="1074741" cy="1557335"/>
            </a:xfrm>
            <a:custGeom>
              <a:avLst/>
              <a:gdLst>
                <a:gd name="T0" fmla="*/ 1179 w 1412"/>
                <a:gd name="T1" fmla="*/ 2042 h 2042"/>
                <a:gd name="T2" fmla="*/ 0 w 1412"/>
                <a:gd name="T3" fmla="*/ 0 h 2042"/>
                <a:gd name="T4" fmla="*/ 1412 w 1412"/>
                <a:gd name="T5" fmla="*/ 430 h 2042"/>
                <a:gd name="T6" fmla="*/ 1179 w 1412"/>
                <a:gd name="T7" fmla="*/ 2042 h 2042"/>
                <a:gd name="T8" fmla="*/ 1412 w 1412"/>
                <a:gd name="T9" fmla="*/ 430 h 2042"/>
                <a:gd name="T10" fmla="*/ 1412 w 1412"/>
                <a:gd name="T11" fmla="*/ 430 h 2042"/>
                <a:gd name="T12" fmla="*/ 1412 w 1412"/>
                <a:gd name="T13" fmla="*/ 430 h 2042"/>
                <a:gd name="T14" fmla="*/ 1412 w 1412"/>
                <a:gd name="T15" fmla="*/ 430 h 20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2042">
                  <a:moveTo>
                    <a:pt x="1179" y="2042"/>
                  </a:moveTo>
                  <a:lnTo>
                    <a:pt x="0" y="0"/>
                  </a:lnTo>
                  <a:lnTo>
                    <a:pt x="1412" y="430"/>
                  </a:lnTo>
                  <a:lnTo>
                    <a:pt x="1179" y="2042"/>
                  </a:lnTo>
                  <a:moveTo>
                    <a:pt x="1412" y="430"/>
                  </a:moveTo>
                  <a:lnTo>
                    <a:pt x="1412" y="430"/>
                  </a:lnTo>
                  <a:lnTo>
                    <a:pt x="1412" y="430"/>
                  </a:lnTo>
                  <a:lnTo>
                    <a:pt x="1412" y="430"/>
                  </a:lnTo>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20" name="Freeform 343"/>
            <p:cNvSpPr>
              <a:spLocks/>
            </p:cNvSpPr>
            <p:nvPr/>
          </p:nvSpPr>
          <p:spPr bwMode="auto">
            <a:xfrm>
              <a:off x="-10853770" y="1454147"/>
              <a:ext cx="176214" cy="1228722"/>
            </a:xfrm>
            <a:custGeom>
              <a:avLst/>
              <a:gdLst>
                <a:gd name="T0" fmla="*/ 0 w 111"/>
                <a:gd name="T1" fmla="*/ 774 h 774"/>
                <a:gd name="T2" fmla="*/ 0 w 111"/>
                <a:gd name="T3" fmla="*/ 774 h 774"/>
                <a:gd name="T4" fmla="*/ 111 w 111"/>
                <a:gd name="T5" fmla="*/ 0 h 774"/>
                <a:gd name="T6" fmla="*/ 111 w 111"/>
                <a:gd name="T7" fmla="*/ 0 h 774"/>
                <a:gd name="T8" fmla="*/ 111 w 111"/>
                <a:gd name="T9" fmla="*/ 0 h 774"/>
                <a:gd name="T10" fmla="*/ 111 w 111"/>
                <a:gd name="T11" fmla="*/ 0 h 774"/>
                <a:gd name="T12" fmla="*/ 111 w 111"/>
                <a:gd name="T13" fmla="*/ 0 h 774"/>
                <a:gd name="T14" fmla="*/ 111 w 111"/>
                <a:gd name="T15" fmla="*/ 0 h 774"/>
                <a:gd name="T16" fmla="*/ 0 w 111"/>
                <a:gd name="T17" fmla="*/ 77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74">
                  <a:moveTo>
                    <a:pt x="0" y="774"/>
                  </a:moveTo>
                  <a:lnTo>
                    <a:pt x="0" y="774"/>
                  </a:lnTo>
                  <a:lnTo>
                    <a:pt x="111" y="0"/>
                  </a:lnTo>
                  <a:lnTo>
                    <a:pt x="111" y="0"/>
                  </a:lnTo>
                  <a:lnTo>
                    <a:pt x="111" y="0"/>
                  </a:lnTo>
                  <a:lnTo>
                    <a:pt x="111" y="0"/>
                  </a:lnTo>
                  <a:lnTo>
                    <a:pt x="111" y="0"/>
                  </a:lnTo>
                  <a:lnTo>
                    <a:pt x="111" y="0"/>
                  </a:lnTo>
                  <a:lnTo>
                    <a:pt x="0" y="774"/>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21" name="Rectangle 344"/>
            <p:cNvSpPr>
              <a:spLocks noChangeArrowheads="1"/>
            </p:cNvSpPr>
            <p:nvPr/>
          </p:nvSpPr>
          <p:spPr bwMode="auto">
            <a:xfrm>
              <a:off x="-11752299" y="1125535"/>
              <a:ext cx="1588" cy="1588"/>
            </a:xfrm>
            <a:prstGeom prst="rect">
              <a:avLst/>
            </a:prstGeom>
            <a:solidFill>
              <a:srgbClr val="579ABA"/>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22" name="Rectangle 345"/>
            <p:cNvSpPr>
              <a:spLocks noChangeArrowheads="1"/>
            </p:cNvSpPr>
            <p:nvPr/>
          </p:nvSpPr>
          <p:spPr bwMode="auto">
            <a:xfrm>
              <a:off x="-10677557" y="1454147"/>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23" name="Rectangle 346"/>
            <p:cNvSpPr>
              <a:spLocks noChangeArrowheads="1"/>
            </p:cNvSpPr>
            <p:nvPr/>
          </p:nvSpPr>
          <p:spPr bwMode="auto">
            <a:xfrm>
              <a:off x="-10677557" y="1454147"/>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24" name="Freeform 347"/>
            <p:cNvSpPr>
              <a:spLocks/>
            </p:cNvSpPr>
            <p:nvPr/>
          </p:nvSpPr>
          <p:spPr bwMode="auto">
            <a:xfrm>
              <a:off x="-11752299" y="1125535"/>
              <a:ext cx="1074741" cy="328613"/>
            </a:xfrm>
            <a:custGeom>
              <a:avLst/>
              <a:gdLst>
                <a:gd name="T0" fmla="*/ 677 w 677"/>
                <a:gd name="T1" fmla="*/ 207 h 207"/>
                <a:gd name="T2" fmla="*/ 0 w 677"/>
                <a:gd name="T3" fmla="*/ 0 h 207"/>
                <a:gd name="T4" fmla="*/ 0 w 677"/>
                <a:gd name="T5" fmla="*/ 0 h 207"/>
                <a:gd name="T6" fmla="*/ 0 w 677"/>
                <a:gd name="T7" fmla="*/ 0 h 207"/>
                <a:gd name="T8" fmla="*/ 677 w 677"/>
                <a:gd name="T9" fmla="*/ 207 h 207"/>
                <a:gd name="T10" fmla="*/ 677 w 677"/>
                <a:gd name="T11" fmla="*/ 207 h 207"/>
              </a:gdLst>
              <a:ahLst/>
              <a:cxnLst>
                <a:cxn ang="0">
                  <a:pos x="T0" y="T1"/>
                </a:cxn>
                <a:cxn ang="0">
                  <a:pos x="T2" y="T3"/>
                </a:cxn>
                <a:cxn ang="0">
                  <a:pos x="T4" y="T5"/>
                </a:cxn>
                <a:cxn ang="0">
                  <a:pos x="T6" y="T7"/>
                </a:cxn>
                <a:cxn ang="0">
                  <a:pos x="T8" y="T9"/>
                </a:cxn>
                <a:cxn ang="0">
                  <a:pos x="T10" y="T11"/>
                </a:cxn>
              </a:cxnLst>
              <a:rect l="0" t="0" r="r" b="b"/>
              <a:pathLst>
                <a:path w="677" h="207">
                  <a:moveTo>
                    <a:pt x="677" y="207"/>
                  </a:moveTo>
                  <a:lnTo>
                    <a:pt x="0" y="0"/>
                  </a:lnTo>
                  <a:lnTo>
                    <a:pt x="0" y="0"/>
                  </a:lnTo>
                  <a:lnTo>
                    <a:pt x="0" y="0"/>
                  </a:lnTo>
                  <a:lnTo>
                    <a:pt x="677" y="207"/>
                  </a:lnTo>
                  <a:lnTo>
                    <a:pt x="677" y="20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25" name="Rectangle 348"/>
            <p:cNvSpPr>
              <a:spLocks noChangeArrowheads="1"/>
            </p:cNvSpPr>
            <p:nvPr/>
          </p:nvSpPr>
          <p:spPr bwMode="auto">
            <a:xfrm>
              <a:off x="-10677557" y="1454147"/>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26" name="Freeform 349"/>
            <p:cNvSpPr>
              <a:spLocks noEditPoints="1"/>
            </p:cNvSpPr>
            <p:nvPr/>
          </p:nvSpPr>
          <p:spPr bwMode="auto">
            <a:xfrm>
              <a:off x="-12625426" y="5602276"/>
              <a:ext cx="571502" cy="1801809"/>
            </a:xfrm>
            <a:custGeom>
              <a:avLst/>
              <a:gdLst>
                <a:gd name="T0" fmla="*/ 0 w 750"/>
                <a:gd name="T1" fmla="*/ 2365 h 2365"/>
                <a:gd name="T2" fmla="*/ 0 w 750"/>
                <a:gd name="T3" fmla="*/ 921 h 2365"/>
                <a:gd name="T4" fmla="*/ 750 w 750"/>
                <a:gd name="T5" fmla="*/ 0 h 2365"/>
                <a:gd name="T6" fmla="*/ 371 w 750"/>
                <a:gd name="T7" fmla="*/ 2264 h 2365"/>
                <a:gd name="T8" fmla="*/ 0 w 750"/>
                <a:gd name="T9" fmla="*/ 2365 h 2365"/>
                <a:gd name="T10" fmla="*/ 0 w 750"/>
                <a:gd name="T11" fmla="*/ 921 h 2365"/>
                <a:gd name="T12" fmla="*/ 0 w 750"/>
                <a:gd name="T13" fmla="*/ 921 h 2365"/>
                <a:gd name="T14" fmla="*/ 750 w 750"/>
                <a:gd name="T15" fmla="*/ 0 h 2365"/>
                <a:gd name="T16" fmla="*/ 750 w 750"/>
                <a:gd name="T17" fmla="*/ 0 h 2365"/>
                <a:gd name="T18" fmla="*/ 750 w 750"/>
                <a:gd name="T19" fmla="*/ 0 h 2365"/>
                <a:gd name="T20" fmla="*/ 0 w 750"/>
                <a:gd name="T21" fmla="*/ 921 h 2365"/>
                <a:gd name="T22" fmla="*/ 750 w 750"/>
                <a:gd name="T23" fmla="*/ 0 h 2365"/>
                <a:gd name="T24" fmla="*/ 750 w 750"/>
                <a:gd name="T25" fmla="*/ 0 h 2365"/>
                <a:gd name="T26" fmla="*/ 750 w 750"/>
                <a:gd name="T27" fmla="*/ 0 h 2365"/>
                <a:gd name="T28" fmla="*/ 750 w 750"/>
                <a:gd name="T29" fmla="*/ 0 h 2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0" h="2365">
                  <a:moveTo>
                    <a:pt x="0" y="2365"/>
                  </a:moveTo>
                  <a:lnTo>
                    <a:pt x="0" y="921"/>
                  </a:lnTo>
                  <a:lnTo>
                    <a:pt x="750" y="0"/>
                  </a:lnTo>
                  <a:lnTo>
                    <a:pt x="371" y="2264"/>
                  </a:lnTo>
                  <a:lnTo>
                    <a:pt x="0" y="2365"/>
                  </a:lnTo>
                  <a:moveTo>
                    <a:pt x="0" y="921"/>
                  </a:moveTo>
                  <a:lnTo>
                    <a:pt x="0" y="921"/>
                  </a:lnTo>
                  <a:lnTo>
                    <a:pt x="750" y="0"/>
                  </a:lnTo>
                  <a:lnTo>
                    <a:pt x="750" y="0"/>
                  </a:lnTo>
                  <a:lnTo>
                    <a:pt x="750" y="0"/>
                  </a:lnTo>
                  <a:lnTo>
                    <a:pt x="0" y="921"/>
                  </a:lnTo>
                  <a:moveTo>
                    <a:pt x="750" y="0"/>
                  </a:moveTo>
                  <a:lnTo>
                    <a:pt x="750" y="0"/>
                  </a:lnTo>
                  <a:lnTo>
                    <a:pt x="750" y="0"/>
                  </a:lnTo>
                  <a:lnTo>
                    <a:pt x="750" y="0"/>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27" name="Freeform 350"/>
            <p:cNvSpPr>
              <a:spLocks/>
            </p:cNvSpPr>
            <p:nvPr/>
          </p:nvSpPr>
          <p:spPr bwMode="auto">
            <a:xfrm>
              <a:off x="-12625426" y="4479917"/>
              <a:ext cx="571502" cy="1122361"/>
            </a:xfrm>
            <a:custGeom>
              <a:avLst/>
              <a:gdLst>
                <a:gd name="T0" fmla="*/ 360 w 360"/>
                <a:gd name="T1" fmla="*/ 707 h 707"/>
                <a:gd name="T2" fmla="*/ 0 w 360"/>
                <a:gd name="T3" fmla="*/ 379 h 707"/>
                <a:gd name="T4" fmla="*/ 0 w 360"/>
                <a:gd name="T5" fmla="*/ 0 h 707"/>
                <a:gd name="T6" fmla="*/ 281 w 360"/>
                <a:gd name="T7" fmla="*/ 74 h 707"/>
                <a:gd name="T8" fmla="*/ 360 w 360"/>
                <a:gd name="T9" fmla="*/ 707 h 707"/>
              </a:gdLst>
              <a:ahLst/>
              <a:cxnLst>
                <a:cxn ang="0">
                  <a:pos x="T0" y="T1"/>
                </a:cxn>
                <a:cxn ang="0">
                  <a:pos x="T2" y="T3"/>
                </a:cxn>
                <a:cxn ang="0">
                  <a:pos x="T4" y="T5"/>
                </a:cxn>
                <a:cxn ang="0">
                  <a:pos x="T6" y="T7"/>
                </a:cxn>
                <a:cxn ang="0">
                  <a:pos x="T8" y="T9"/>
                </a:cxn>
              </a:cxnLst>
              <a:rect l="0" t="0" r="r" b="b"/>
              <a:pathLst>
                <a:path w="360" h="707">
                  <a:moveTo>
                    <a:pt x="360" y="707"/>
                  </a:moveTo>
                  <a:lnTo>
                    <a:pt x="0" y="379"/>
                  </a:lnTo>
                  <a:lnTo>
                    <a:pt x="0" y="0"/>
                  </a:lnTo>
                  <a:lnTo>
                    <a:pt x="281" y="74"/>
                  </a:lnTo>
                  <a:lnTo>
                    <a:pt x="360" y="707"/>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28" name="Freeform 351"/>
            <p:cNvSpPr>
              <a:spLocks noEditPoints="1"/>
            </p:cNvSpPr>
            <p:nvPr/>
          </p:nvSpPr>
          <p:spPr bwMode="auto">
            <a:xfrm>
              <a:off x="-12341262" y="5602276"/>
              <a:ext cx="1487493" cy="1725610"/>
            </a:xfrm>
            <a:custGeom>
              <a:avLst/>
              <a:gdLst>
                <a:gd name="T0" fmla="*/ 0 w 1952"/>
                <a:gd name="T1" fmla="*/ 2264 h 2264"/>
                <a:gd name="T2" fmla="*/ 378 w 1952"/>
                <a:gd name="T3" fmla="*/ 0 h 2264"/>
                <a:gd name="T4" fmla="*/ 378 w 1952"/>
                <a:gd name="T5" fmla="*/ 0 h 2264"/>
                <a:gd name="T6" fmla="*/ 1952 w 1952"/>
                <a:gd name="T7" fmla="*/ 251 h 2264"/>
                <a:gd name="T8" fmla="*/ 1952 w 1952"/>
                <a:gd name="T9" fmla="*/ 251 h 2264"/>
                <a:gd name="T10" fmla="*/ 1952 w 1952"/>
                <a:gd name="T11" fmla="*/ 251 h 2264"/>
                <a:gd name="T12" fmla="*/ 1952 w 1952"/>
                <a:gd name="T13" fmla="*/ 251 h 2264"/>
                <a:gd name="T14" fmla="*/ 780 w 1952"/>
                <a:gd name="T15" fmla="*/ 1459 h 2264"/>
                <a:gd name="T16" fmla="*/ 0 w 1952"/>
                <a:gd name="T17" fmla="*/ 2264 h 2264"/>
                <a:gd name="T18" fmla="*/ 378 w 1952"/>
                <a:gd name="T19" fmla="*/ 0 h 2264"/>
                <a:gd name="T20" fmla="*/ 378 w 1952"/>
                <a:gd name="T21" fmla="*/ 0 h 2264"/>
                <a:gd name="T22" fmla="*/ 378 w 1952"/>
                <a:gd name="T23" fmla="*/ 0 h 2264"/>
                <a:gd name="T24" fmla="*/ 378 w 1952"/>
                <a:gd name="T25" fmla="*/ 0 h 2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52" h="2264">
                  <a:moveTo>
                    <a:pt x="0" y="2264"/>
                  </a:moveTo>
                  <a:lnTo>
                    <a:pt x="378" y="0"/>
                  </a:lnTo>
                  <a:lnTo>
                    <a:pt x="378" y="0"/>
                  </a:lnTo>
                  <a:lnTo>
                    <a:pt x="1952" y="251"/>
                  </a:lnTo>
                  <a:lnTo>
                    <a:pt x="1952" y="251"/>
                  </a:lnTo>
                  <a:lnTo>
                    <a:pt x="1952" y="251"/>
                  </a:lnTo>
                  <a:lnTo>
                    <a:pt x="1952" y="251"/>
                  </a:lnTo>
                  <a:lnTo>
                    <a:pt x="780" y="1459"/>
                  </a:lnTo>
                  <a:lnTo>
                    <a:pt x="0" y="2264"/>
                  </a:lnTo>
                  <a:moveTo>
                    <a:pt x="378" y="0"/>
                  </a:moveTo>
                  <a:lnTo>
                    <a:pt x="378" y="0"/>
                  </a:lnTo>
                  <a:lnTo>
                    <a:pt x="378" y="0"/>
                  </a:lnTo>
                  <a:lnTo>
                    <a:pt x="378"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29" name="Freeform 352"/>
            <p:cNvSpPr>
              <a:spLocks noEditPoints="1"/>
            </p:cNvSpPr>
            <p:nvPr/>
          </p:nvSpPr>
          <p:spPr bwMode="auto">
            <a:xfrm>
              <a:off x="-12625426" y="5081578"/>
              <a:ext cx="571502" cy="520699"/>
            </a:xfrm>
            <a:custGeom>
              <a:avLst/>
              <a:gdLst>
                <a:gd name="T0" fmla="*/ 750 w 750"/>
                <a:gd name="T1" fmla="*/ 684 h 684"/>
                <a:gd name="T2" fmla="*/ 750 w 750"/>
                <a:gd name="T3" fmla="*/ 684 h 684"/>
                <a:gd name="T4" fmla="*/ 750 w 750"/>
                <a:gd name="T5" fmla="*/ 684 h 684"/>
                <a:gd name="T6" fmla="*/ 750 w 750"/>
                <a:gd name="T7" fmla="*/ 684 h 684"/>
                <a:gd name="T8" fmla="*/ 750 w 750"/>
                <a:gd name="T9" fmla="*/ 684 h 684"/>
                <a:gd name="T10" fmla="*/ 0 w 750"/>
                <a:gd name="T11" fmla="*/ 0 h 684"/>
                <a:gd name="T12" fmla="*/ 750 w 750"/>
                <a:gd name="T13" fmla="*/ 684 h 684"/>
              </a:gdLst>
              <a:ahLst/>
              <a:cxnLst>
                <a:cxn ang="0">
                  <a:pos x="T0" y="T1"/>
                </a:cxn>
                <a:cxn ang="0">
                  <a:pos x="T2" y="T3"/>
                </a:cxn>
                <a:cxn ang="0">
                  <a:pos x="T4" y="T5"/>
                </a:cxn>
                <a:cxn ang="0">
                  <a:pos x="T6" y="T7"/>
                </a:cxn>
                <a:cxn ang="0">
                  <a:pos x="T8" y="T9"/>
                </a:cxn>
                <a:cxn ang="0">
                  <a:pos x="T10" y="T11"/>
                </a:cxn>
                <a:cxn ang="0">
                  <a:pos x="T12" y="T13"/>
                </a:cxn>
              </a:cxnLst>
              <a:rect l="0" t="0" r="r" b="b"/>
              <a:pathLst>
                <a:path w="750" h="684">
                  <a:moveTo>
                    <a:pt x="750" y="684"/>
                  </a:moveTo>
                  <a:lnTo>
                    <a:pt x="750" y="684"/>
                  </a:lnTo>
                  <a:lnTo>
                    <a:pt x="750" y="684"/>
                  </a:lnTo>
                  <a:lnTo>
                    <a:pt x="750" y="684"/>
                  </a:lnTo>
                  <a:moveTo>
                    <a:pt x="750" y="684"/>
                  </a:moveTo>
                  <a:lnTo>
                    <a:pt x="0" y="0"/>
                  </a:lnTo>
                  <a:lnTo>
                    <a:pt x="750" y="684"/>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30" name="Rectangle 353"/>
            <p:cNvSpPr>
              <a:spLocks noChangeArrowheads="1"/>
            </p:cNvSpPr>
            <p:nvPr/>
          </p:nvSpPr>
          <p:spPr bwMode="auto">
            <a:xfrm>
              <a:off x="-12053924" y="5602276"/>
              <a:ext cx="1588" cy="1588"/>
            </a:xfrm>
            <a:prstGeom prst="rect">
              <a:avLst/>
            </a:prstGeom>
            <a:solidFill>
              <a:srgbClr val="599DBC"/>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31" name="Line 354"/>
            <p:cNvSpPr>
              <a:spLocks noChangeShapeType="1"/>
            </p:cNvSpPr>
            <p:nvPr/>
          </p:nvSpPr>
          <p:spPr bwMode="auto">
            <a:xfrm>
              <a:off x="-12053924" y="5602276"/>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32" name="Freeform 355"/>
            <p:cNvSpPr>
              <a:spLocks/>
            </p:cNvSpPr>
            <p:nvPr/>
          </p:nvSpPr>
          <p:spPr bwMode="auto">
            <a:xfrm>
              <a:off x="-12179337" y="4597390"/>
              <a:ext cx="1325567" cy="1195385"/>
            </a:xfrm>
            <a:custGeom>
              <a:avLst/>
              <a:gdLst>
                <a:gd name="T0" fmla="*/ 835 w 835"/>
                <a:gd name="T1" fmla="*/ 753 h 753"/>
                <a:gd name="T2" fmla="*/ 79 w 835"/>
                <a:gd name="T3" fmla="*/ 633 h 753"/>
                <a:gd name="T4" fmla="*/ 0 w 835"/>
                <a:gd name="T5" fmla="*/ 0 h 753"/>
                <a:gd name="T6" fmla="*/ 835 w 835"/>
                <a:gd name="T7" fmla="*/ 753 h 753"/>
                <a:gd name="T8" fmla="*/ 835 w 835"/>
                <a:gd name="T9" fmla="*/ 753 h 753"/>
              </a:gdLst>
              <a:ahLst/>
              <a:cxnLst>
                <a:cxn ang="0">
                  <a:pos x="T0" y="T1"/>
                </a:cxn>
                <a:cxn ang="0">
                  <a:pos x="T2" y="T3"/>
                </a:cxn>
                <a:cxn ang="0">
                  <a:pos x="T4" y="T5"/>
                </a:cxn>
                <a:cxn ang="0">
                  <a:pos x="T6" y="T7"/>
                </a:cxn>
                <a:cxn ang="0">
                  <a:pos x="T8" y="T9"/>
                </a:cxn>
              </a:cxnLst>
              <a:rect l="0" t="0" r="r" b="b"/>
              <a:pathLst>
                <a:path w="835" h="753">
                  <a:moveTo>
                    <a:pt x="835" y="753"/>
                  </a:moveTo>
                  <a:lnTo>
                    <a:pt x="79" y="633"/>
                  </a:lnTo>
                  <a:lnTo>
                    <a:pt x="0" y="0"/>
                  </a:lnTo>
                  <a:lnTo>
                    <a:pt x="835" y="753"/>
                  </a:lnTo>
                  <a:lnTo>
                    <a:pt x="835" y="753"/>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33" name="Freeform 356"/>
            <p:cNvSpPr>
              <a:spLocks/>
            </p:cNvSpPr>
            <p:nvPr/>
          </p:nvSpPr>
          <p:spPr bwMode="auto">
            <a:xfrm>
              <a:off x="-12625426" y="5602276"/>
              <a:ext cx="571502" cy="701674"/>
            </a:xfrm>
            <a:custGeom>
              <a:avLst/>
              <a:gdLst>
                <a:gd name="T0" fmla="*/ 0 w 360"/>
                <a:gd name="T1" fmla="*/ 442 h 442"/>
                <a:gd name="T2" fmla="*/ 0 w 360"/>
                <a:gd name="T3" fmla="*/ 442 h 442"/>
                <a:gd name="T4" fmla="*/ 360 w 360"/>
                <a:gd name="T5" fmla="*/ 0 h 442"/>
                <a:gd name="T6" fmla="*/ 360 w 360"/>
                <a:gd name="T7" fmla="*/ 0 h 442"/>
                <a:gd name="T8" fmla="*/ 360 w 360"/>
                <a:gd name="T9" fmla="*/ 0 h 442"/>
                <a:gd name="T10" fmla="*/ 360 w 360"/>
                <a:gd name="T11" fmla="*/ 0 h 442"/>
                <a:gd name="T12" fmla="*/ 360 w 360"/>
                <a:gd name="T13" fmla="*/ 0 h 442"/>
                <a:gd name="T14" fmla="*/ 0 w 36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442">
                  <a:moveTo>
                    <a:pt x="0" y="442"/>
                  </a:moveTo>
                  <a:lnTo>
                    <a:pt x="0" y="442"/>
                  </a:lnTo>
                  <a:lnTo>
                    <a:pt x="360" y="0"/>
                  </a:lnTo>
                  <a:lnTo>
                    <a:pt x="360" y="0"/>
                  </a:lnTo>
                  <a:lnTo>
                    <a:pt x="360" y="0"/>
                  </a:lnTo>
                  <a:lnTo>
                    <a:pt x="360" y="0"/>
                  </a:lnTo>
                  <a:lnTo>
                    <a:pt x="360" y="0"/>
                  </a:lnTo>
                  <a:lnTo>
                    <a:pt x="0" y="4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34" name="Freeform 357"/>
            <p:cNvSpPr>
              <a:spLocks noEditPoints="1"/>
            </p:cNvSpPr>
            <p:nvPr/>
          </p:nvSpPr>
          <p:spPr bwMode="auto">
            <a:xfrm>
              <a:off x="-10853770" y="4237029"/>
              <a:ext cx="944566" cy="2341559"/>
            </a:xfrm>
            <a:custGeom>
              <a:avLst/>
              <a:gdLst>
                <a:gd name="T0" fmla="*/ 1240 w 1240"/>
                <a:gd name="T1" fmla="*/ 3073 h 3073"/>
                <a:gd name="T2" fmla="*/ 0 w 1240"/>
                <a:gd name="T3" fmla="*/ 2042 h 3073"/>
                <a:gd name="T4" fmla="*/ 0 w 1240"/>
                <a:gd name="T5" fmla="*/ 2042 h 3073"/>
                <a:gd name="T6" fmla="*/ 0 w 1240"/>
                <a:gd name="T7" fmla="*/ 2042 h 3073"/>
                <a:gd name="T8" fmla="*/ 0 w 1240"/>
                <a:gd name="T9" fmla="*/ 2042 h 3073"/>
                <a:gd name="T10" fmla="*/ 1178 w 1240"/>
                <a:gd name="T11" fmla="*/ 1 h 3073"/>
                <a:gd name="T12" fmla="*/ 1240 w 1240"/>
                <a:gd name="T13" fmla="*/ 3073 h 3073"/>
                <a:gd name="T14" fmla="*/ 1178 w 1240"/>
                <a:gd name="T15" fmla="*/ 0 h 3073"/>
                <a:gd name="T16" fmla="*/ 1178 w 1240"/>
                <a:gd name="T17" fmla="*/ 0 h 3073"/>
                <a:gd name="T18" fmla="*/ 1178 w 1240"/>
                <a:gd name="T19" fmla="*/ 0 h 3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0" h="3073">
                  <a:moveTo>
                    <a:pt x="1240" y="3073"/>
                  </a:moveTo>
                  <a:lnTo>
                    <a:pt x="0" y="2042"/>
                  </a:lnTo>
                  <a:lnTo>
                    <a:pt x="0" y="2042"/>
                  </a:lnTo>
                  <a:lnTo>
                    <a:pt x="0" y="2042"/>
                  </a:lnTo>
                  <a:lnTo>
                    <a:pt x="0" y="2042"/>
                  </a:lnTo>
                  <a:lnTo>
                    <a:pt x="1178" y="1"/>
                  </a:lnTo>
                  <a:lnTo>
                    <a:pt x="1240" y="3073"/>
                  </a:lnTo>
                  <a:moveTo>
                    <a:pt x="1178" y="0"/>
                  </a:moveTo>
                  <a:lnTo>
                    <a:pt x="1178" y="0"/>
                  </a:lnTo>
                  <a:lnTo>
                    <a:pt x="1178" y="0"/>
                  </a:lnTo>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35" name="Rectangle 358"/>
            <p:cNvSpPr>
              <a:spLocks noChangeArrowheads="1"/>
            </p:cNvSpPr>
            <p:nvPr/>
          </p:nvSpPr>
          <p:spPr bwMode="auto">
            <a:xfrm>
              <a:off x="-10853770" y="5792776"/>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36" name="Freeform 359"/>
            <p:cNvSpPr>
              <a:spLocks/>
            </p:cNvSpPr>
            <p:nvPr/>
          </p:nvSpPr>
          <p:spPr bwMode="auto">
            <a:xfrm>
              <a:off x="-10853770" y="2682869"/>
              <a:ext cx="1365255" cy="1554160"/>
            </a:xfrm>
            <a:custGeom>
              <a:avLst/>
              <a:gdLst>
                <a:gd name="T0" fmla="*/ 565 w 860"/>
                <a:gd name="T1" fmla="*/ 979 h 979"/>
                <a:gd name="T2" fmla="*/ 565 w 860"/>
                <a:gd name="T3" fmla="*/ 979 h 979"/>
                <a:gd name="T4" fmla="*/ 0 w 860"/>
                <a:gd name="T5" fmla="*/ 0 h 979"/>
                <a:gd name="T6" fmla="*/ 0 w 860"/>
                <a:gd name="T7" fmla="*/ 0 h 979"/>
                <a:gd name="T8" fmla="*/ 860 w 860"/>
                <a:gd name="T9" fmla="*/ 333 h 979"/>
                <a:gd name="T10" fmla="*/ 565 w 860"/>
                <a:gd name="T11" fmla="*/ 979 h 979"/>
              </a:gdLst>
              <a:ahLst/>
              <a:cxnLst>
                <a:cxn ang="0">
                  <a:pos x="T0" y="T1"/>
                </a:cxn>
                <a:cxn ang="0">
                  <a:pos x="T2" y="T3"/>
                </a:cxn>
                <a:cxn ang="0">
                  <a:pos x="T4" y="T5"/>
                </a:cxn>
                <a:cxn ang="0">
                  <a:pos x="T6" y="T7"/>
                </a:cxn>
                <a:cxn ang="0">
                  <a:pos x="T8" y="T9"/>
                </a:cxn>
                <a:cxn ang="0">
                  <a:pos x="T10" y="T11"/>
                </a:cxn>
              </a:cxnLst>
              <a:rect l="0" t="0" r="r" b="b"/>
              <a:pathLst>
                <a:path w="860" h="979">
                  <a:moveTo>
                    <a:pt x="565" y="979"/>
                  </a:moveTo>
                  <a:lnTo>
                    <a:pt x="565" y="979"/>
                  </a:lnTo>
                  <a:lnTo>
                    <a:pt x="0" y="0"/>
                  </a:lnTo>
                  <a:lnTo>
                    <a:pt x="0" y="0"/>
                  </a:lnTo>
                  <a:lnTo>
                    <a:pt x="860" y="333"/>
                  </a:lnTo>
                  <a:lnTo>
                    <a:pt x="565"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37" name="Freeform 360"/>
            <p:cNvSpPr>
              <a:spLocks/>
            </p:cNvSpPr>
            <p:nvPr/>
          </p:nvSpPr>
          <p:spPr bwMode="auto">
            <a:xfrm>
              <a:off x="-9956830" y="4237029"/>
              <a:ext cx="1797056" cy="2341559"/>
            </a:xfrm>
            <a:custGeom>
              <a:avLst/>
              <a:gdLst>
                <a:gd name="T0" fmla="*/ 30 w 1132"/>
                <a:gd name="T1" fmla="*/ 1475 h 1475"/>
                <a:gd name="T2" fmla="*/ 0 w 1132"/>
                <a:gd name="T3" fmla="*/ 1 h 1475"/>
                <a:gd name="T4" fmla="*/ 0 w 1132"/>
                <a:gd name="T5" fmla="*/ 0 h 1475"/>
                <a:gd name="T6" fmla="*/ 0 w 1132"/>
                <a:gd name="T7" fmla="*/ 0 h 1475"/>
                <a:gd name="T8" fmla="*/ 0 w 1132"/>
                <a:gd name="T9" fmla="*/ 0 h 1475"/>
                <a:gd name="T10" fmla="*/ 1132 w 1132"/>
                <a:gd name="T11" fmla="*/ 0 h 1475"/>
                <a:gd name="T12" fmla="*/ 1132 w 1132"/>
                <a:gd name="T13" fmla="*/ 1 h 1475"/>
                <a:gd name="T14" fmla="*/ 30 w 1132"/>
                <a:gd name="T15" fmla="*/ 1475 h 14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1475">
                  <a:moveTo>
                    <a:pt x="30" y="1475"/>
                  </a:moveTo>
                  <a:lnTo>
                    <a:pt x="0" y="1"/>
                  </a:lnTo>
                  <a:lnTo>
                    <a:pt x="0" y="0"/>
                  </a:lnTo>
                  <a:lnTo>
                    <a:pt x="0" y="0"/>
                  </a:lnTo>
                  <a:lnTo>
                    <a:pt x="0" y="0"/>
                  </a:lnTo>
                  <a:lnTo>
                    <a:pt x="1132" y="0"/>
                  </a:lnTo>
                  <a:lnTo>
                    <a:pt x="1132" y="1"/>
                  </a:lnTo>
                  <a:lnTo>
                    <a:pt x="30" y="147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38" name="Freeform 361"/>
            <p:cNvSpPr>
              <a:spLocks noEditPoints="1"/>
            </p:cNvSpPr>
            <p:nvPr/>
          </p:nvSpPr>
          <p:spPr bwMode="auto">
            <a:xfrm>
              <a:off x="-12179337" y="2682869"/>
              <a:ext cx="2222506" cy="1914521"/>
            </a:xfrm>
            <a:custGeom>
              <a:avLst/>
              <a:gdLst>
                <a:gd name="T0" fmla="*/ 0 w 2916"/>
                <a:gd name="T1" fmla="*/ 2514 h 2514"/>
                <a:gd name="T2" fmla="*/ 956 w 2916"/>
                <a:gd name="T3" fmla="*/ 1131 h 2514"/>
                <a:gd name="T4" fmla="*/ 1738 w 2916"/>
                <a:gd name="T5" fmla="*/ 0 h 2514"/>
                <a:gd name="T6" fmla="*/ 2916 w 2916"/>
                <a:gd name="T7" fmla="*/ 2041 h 2514"/>
                <a:gd name="T8" fmla="*/ 0 w 2916"/>
                <a:gd name="T9" fmla="*/ 2514 h 2514"/>
                <a:gd name="T10" fmla="*/ 1738 w 2916"/>
                <a:gd name="T11" fmla="*/ 0 h 2514"/>
                <a:gd name="T12" fmla="*/ 1738 w 2916"/>
                <a:gd name="T13" fmla="*/ 0 h 2514"/>
              </a:gdLst>
              <a:ahLst/>
              <a:cxnLst>
                <a:cxn ang="0">
                  <a:pos x="T0" y="T1"/>
                </a:cxn>
                <a:cxn ang="0">
                  <a:pos x="T2" y="T3"/>
                </a:cxn>
                <a:cxn ang="0">
                  <a:pos x="T4" y="T5"/>
                </a:cxn>
                <a:cxn ang="0">
                  <a:pos x="T6" y="T7"/>
                </a:cxn>
                <a:cxn ang="0">
                  <a:pos x="T8" y="T9"/>
                </a:cxn>
                <a:cxn ang="0">
                  <a:pos x="T10" y="T11"/>
                </a:cxn>
                <a:cxn ang="0">
                  <a:pos x="T12" y="T13"/>
                </a:cxn>
              </a:cxnLst>
              <a:rect l="0" t="0" r="r" b="b"/>
              <a:pathLst>
                <a:path w="2916" h="2514">
                  <a:moveTo>
                    <a:pt x="0" y="2514"/>
                  </a:moveTo>
                  <a:lnTo>
                    <a:pt x="956" y="1131"/>
                  </a:lnTo>
                  <a:lnTo>
                    <a:pt x="1738" y="0"/>
                  </a:lnTo>
                  <a:lnTo>
                    <a:pt x="2916" y="2041"/>
                  </a:lnTo>
                  <a:lnTo>
                    <a:pt x="0" y="2514"/>
                  </a:lnTo>
                  <a:moveTo>
                    <a:pt x="1738" y="0"/>
                  </a:moveTo>
                  <a:lnTo>
                    <a:pt x="1738"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39" name="Freeform 362"/>
            <p:cNvSpPr>
              <a:spLocks/>
            </p:cNvSpPr>
            <p:nvPr/>
          </p:nvSpPr>
          <p:spPr bwMode="auto">
            <a:xfrm>
              <a:off x="-9956830" y="3211505"/>
              <a:ext cx="1797056" cy="1025524"/>
            </a:xfrm>
            <a:custGeom>
              <a:avLst/>
              <a:gdLst>
                <a:gd name="T0" fmla="*/ 2358 w 2358"/>
                <a:gd name="T1" fmla="*/ 1346 h 1346"/>
                <a:gd name="T2" fmla="*/ 0 w 2358"/>
                <a:gd name="T3" fmla="*/ 1346 h 1346"/>
                <a:gd name="T4" fmla="*/ 614 w 2358"/>
                <a:gd name="T5" fmla="*/ 0 h 1346"/>
                <a:gd name="T6" fmla="*/ 2358 w 2358"/>
                <a:gd name="T7" fmla="*/ 1346 h 1346"/>
                <a:gd name="T8" fmla="*/ 2357 w 2358"/>
                <a:gd name="T9" fmla="*/ 1346 h 1346"/>
                <a:gd name="T10" fmla="*/ 2358 w 2358"/>
                <a:gd name="T11" fmla="*/ 1346 h 1346"/>
                <a:gd name="T12" fmla="*/ 2358 w 2358"/>
                <a:gd name="T13" fmla="*/ 1346 h 1346"/>
                <a:gd name="T14" fmla="*/ 2357 w 2358"/>
                <a:gd name="T15" fmla="*/ 1346 h 13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8" h="1346">
                  <a:moveTo>
                    <a:pt x="2358" y="1346"/>
                  </a:moveTo>
                  <a:lnTo>
                    <a:pt x="0" y="1346"/>
                  </a:lnTo>
                  <a:lnTo>
                    <a:pt x="614" y="0"/>
                  </a:lnTo>
                  <a:lnTo>
                    <a:pt x="2358" y="1346"/>
                  </a:lnTo>
                  <a:lnTo>
                    <a:pt x="2357" y="1346"/>
                  </a:lnTo>
                  <a:lnTo>
                    <a:pt x="2358" y="1346"/>
                  </a:lnTo>
                  <a:lnTo>
                    <a:pt x="2358" y="1346"/>
                  </a:lnTo>
                  <a:lnTo>
                    <a:pt x="2357" y="1346"/>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40" name="Freeform 363"/>
            <p:cNvSpPr>
              <a:spLocks noEditPoints="1"/>
            </p:cNvSpPr>
            <p:nvPr/>
          </p:nvSpPr>
          <p:spPr bwMode="auto">
            <a:xfrm>
              <a:off x="-12179337" y="4237029"/>
              <a:ext cx="2222506" cy="1555746"/>
            </a:xfrm>
            <a:custGeom>
              <a:avLst/>
              <a:gdLst>
                <a:gd name="T0" fmla="*/ 1738 w 2916"/>
                <a:gd name="T1" fmla="*/ 2042 h 2042"/>
                <a:gd name="T2" fmla="*/ 0 w 2916"/>
                <a:gd name="T3" fmla="*/ 473 h 2042"/>
                <a:gd name="T4" fmla="*/ 2916 w 2916"/>
                <a:gd name="T5" fmla="*/ 0 h 2042"/>
                <a:gd name="T6" fmla="*/ 1738 w 2916"/>
                <a:gd name="T7" fmla="*/ 2042 h 2042"/>
                <a:gd name="T8" fmla="*/ 2916 w 2916"/>
                <a:gd name="T9" fmla="*/ 1 h 2042"/>
                <a:gd name="T10" fmla="*/ 2916 w 2916"/>
                <a:gd name="T11" fmla="*/ 0 h 2042"/>
                <a:gd name="T12" fmla="*/ 2916 w 2916"/>
                <a:gd name="T13" fmla="*/ 1 h 2042"/>
              </a:gdLst>
              <a:ahLst/>
              <a:cxnLst>
                <a:cxn ang="0">
                  <a:pos x="T0" y="T1"/>
                </a:cxn>
                <a:cxn ang="0">
                  <a:pos x="T2" y="T3"/>
                </a:cxn>
                <a:cxn ang="0">
                  <a:pos x="T4" y="T5"/>
                </a:cxn>
                <a:cxn ang="0">
                  <a:pos x="T6" y="T7"/>
                </a:cxn>
                <a:cxn ang="0">
                  <a:pos x="T8" y="T9"/>
                </a:cxn>
                <a:cxn ang="0">
                  <a:pos x="T10" y="T11"/>
                </a:cxn>
                <a:cxn ang="0">
                  <a:pos x="T12" y="T13"/>
                </a:cxn>
              </a:cxnLst>
              <a:rect l="0" t="0" r="r" b="b"/>
              <a:pathLst>
                <a:path w="2916" h="2042">
                  <a:moveTo>
                    <a:pt x="1738" y="2042"/>
                  </a:moveTo>
                  <a:lnTo>
                    <a:pt x="0" y="473"/>
                  </a:lnTo>
                  <a:lnTo>
                    <a:pt x="2916" y="0"/>
                  </a:lnTo>
                  <a:lnTo>
                    <a:pt x="1738" y="2042"/>
                  </a:lnTo>
                  <a:moveTo>
                    <a:pt x="2916" y="1"/>
                  </a:moveTo>
                  <a:lnTo>
                    <a:pt x="2916" y="0"/>
                  </a:lnTo>
                  <a:lnTo>
                    <a:pt x="2916" y="1"/>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41" name="Freeform 364"/>
            <p:cNvSpPr>
              <a:spLocks/>
            </p:cNvSpPr>
            <p:nvPr/>
          </p:nvSpPr>
          <p:spPr bwMode="auto">
            <a:xfrm>
              <a:off x="-10853770" y="4237029"/>
              <a:ext cx="896941" cy="1555746"/>
            </a:xfrm>
            <a:custGeom>
              <a:avLst/>
              <a:gdLst>
                <a:gd name="T0" fmla="*/ 0 w 565"/>
                <a:gd name="T1" fmla="*/ 980 h 980"/>
                <a:gd name="T2" fmla="*/ 0 w 565"/>
                <a:gd name="T3" fmla="*/ 980 h 980"/>
                <a:gd name="T4" fmla="*/ 565 w 565"/>
                <a:gd name="T5" fmla="*/ 0 h 980"/>
                <a:gd name="T6" fmla="*/ 565 w 565"/>
                <a:gd name="T7" fmla="*/ 1 h 980"/>
                <a:gd name="T8" fmla="*/ 0 w 565"/>
                <a:gd name="T9" fmla="*/ 980 h 980"/>
              </a:gdLst>
              <a:ahLst/>
              <a:cxnLst>
                <a:cxn ang="0">
                  <a:pos x="T0" y="T1"/>
                </a:cxn>
                <a:cxn ang="0">
                  <a:pos x="T2" y="T3"/>
                </a:cxn>
                <a:cxn ang="0">
                  <a:pos x="T4" y="T5"/>
                </a:cxn>
                <a:cxn ang="0">
                  <a:pos x="T6" y="T7"/>
                </a:cxn>
                <a:cxn ang="0">
                  <a:pos x="T8" y="T9"/>
                </a:cxn>
              </a:cxnLst>
              <a:rect l="0" t="0" r="r" b="b"/>
              <a:pathLst>
                <a:path w="565" h="980">
                  <a:moveTo>
                    <a:pt x="0" y="980"/>
                  </a:moveTo>
                  <a:lnTo>
                    <a:pt x="0" y="980"/>
                  </a:lnTo>
                  <a:lnTo>
                    <a:pt x="565" y="0"/>
                  </a:lnTo>
                  <a:lnTo>
                    <a:pt x="565" y="1"/>
                  </a:lnTo>
                  <a:lnTo>
                    <a:pt x="0" y="980"/>
                  </a:lnTo>
                  <a:close/>
                </a:path>
              </a:pathLst>
            </a:custGeom>
            <a:solidFill>
              <a:srgbClr val="599FB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42" name="Rectangle 365"/>
            <p:cNvSpPr>
              <a:spLocks noChangeArrowheads="1"/>
            </p:cNvSpPr>
            <p:nvPr/>
          </p:nvSpPr>
          <p:spPr bwMode="auto">
            <a:xfrm>
              <a:off x="-9956830" y="4237029"/>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43" name="Freeform 366"/>
            <p:cNvSpPr>
              <a:spLocks/>
            </p:cNvSpPr>
            <p:nvPr/>
          </p:nvSpPr>
          <p:spPr bwMode="auto">
            <a:xfrm>
              <a:off x="-12625426" y="7327886"/>
              <a:ext cx="366715" cy="331787"/>
            </a:xfrm>
            <a:custGeom>
              <a:avLst/>
              <a:gdLst>
                <a:gd name="T0" fmla="*/ 231 w 231"/>
                <a:gd name="T1" fmla="*/ 209 h 209"/>
                <a:gd name="T2" fmla="*/ 0 w 231"/>
                <a:gd name="T3" fmla="*/ 209 h 209"/>
                <a:gd name="T4" fmla="*/ 0 w 231"/>
                <a:gd name="T5" fmla="*/ 48 h 209"/>
                <a:gd name="T6" fmla="*/ 178 w 231"/>
                <a:gd name="T7" fmla="*/ 0 h 209"/>
                <a:gd name="T8" fmla="*/ 231 w 231"/>
                <a:gd name="T9" fmla="*/ 209 h 209"/>
              </a:gdLst>
              <a:ahLst/>
              <a:cxnLst>
                <a:cxn ang="0">
                  <a:pos x="T0" y="T1"/>
                </a:cxn>
                <a:cxn ang="0">
                  <a:pos x="T2" y="T3"/>
                </a:cxn>
                <a:cxn ang="0">
                  <a:pos x="T4" y="T5"/>
                </a:cxn>
                <a:cxn ang="0">
                  <a:pos x="T6" y="T7"/>
                </a:cxn>
                <a:cxn ang="0">
                  <a:pos x="T8" y="T9"/>
                </a:cxn>
              </a:cxnLst>
              <a:rect l="0" t="0" r="r" b="b"/>
              <a:pathLst>
                <a:path w="231" h="209">
                  <a:moveTo>
                    <a:pt x="231" y="209"/>
                  </a:moveTo>
                  <a:lnTo>
                    <a:pt x="0" y="209"/>
                  </a:lnTo>
                  <a:lnTo>
                    <a:pt x="0" y="48"/>
                  </a:lnTo>
                  <a:lnTo>
                    <a:pt x="178" y="0"/>
                  </a:lnTo>
                  <a:lnTo>
                    <a:pt x="231" y="20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44" name="Freeform 367"/>
            <p:cNvSpPr>
              <a:spLocks/>
            </p:cNvSpPr>
            <p:nvPr/>
          </p:nvSpPr>
          <p:spPr bwMode="auto">
            <a:xfrm>
              <a:off x="-12341262" y="7327886"/>
              <a:ext cx="534990" cy="331787"/>
            </a:xfrm>
            <a:custGeom>
              <a:avLst/>
              <a:gdLst>
                <a:gd name="T0" fmla="*/ 337 w 337"/>
                <a:gd name="T1" fmla="*/ 209 h 209"/>
                <a:gd name="T2" fmla="*/ 52 w 337"/>
                <a:gd name="T3" fmla="*/ 209 h 209"/>
                <a:gd name="T4" fmla="*/ 0 w 337"/>
                <a:gd name="T5" fmla="*/ 0 h 209"/>
                <a:gd name="T6" fmla="*/ 205 w 337"/>
                <a:gd name="T7" fmla="*/ 127 h 209"/>
                <a:gd name="T8" fmla="*/ 337 w 337"/>
                <a:gd name="T9" fmla="*/ 209 h 209"/>
              </a:gdLst>
              <a:ahLst/>
              <a:cxnLst>
                <a:cxn ang="0">
                  <a:pos x="T0" y="T1"/>
                </a:cxn>
                <a:cxn ang="0">
                  <a:pos x="T2" y="T3"/>
                </a:cxn>
                <a:cxn ang="0">
                  <a:pos x="T4" y="T5"/>
                </a:cxn>
                <a:cxn ang="0">
                  <a:pos x="T6" y="T7"/>
                </a:cxn>
                <a:cxn ang="0">
                  <a:pos x="T8" y="T9"/>
                </a:cxn>
              </a:cxnLst>
              <a:rect l="0" t="0" r="r" b="b"/>
              <a:pathLst>
                <a:path w="337" h="209">
                  <a:moveTo>
                    <a:pt x="337" y="209"/>
                  </a:moveTo>
                  <a:lnTo>
                    <a:pt x="52" y="209"/>
                  </a:lnTo>
                  <a:lnTo>
                    <a:pt x="0" y="0"/>
                  </a:lnTo>
                  <a:lnTo>
                    <a:pt x="205" y="127"/>
                  </a:lnTo>
                  <a:lnTo>
                    <a:pt x="337" y="20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45" name="Freeform 368"/>
            <p:cNvSpPr>
              <a:spLocks/>
            </p:cNvSpPr>
            <p:nvPr/>
          </p:nvSpPr>
          <p:spPr bwMode="auto">
            <a:xfrm>
              <a:off x="-10125106" y="7350110"/>
              <a:ext cx="347664" cy="309563"/>
            </a:xfrm>
            <a:custGeom>
              <a:avLst/>
              <a:gdLst>
                <a:gd name="T0" fmla="*/ 219 w 219"/>
                <a:gd name="T1" fmla="*/ 195 h 195"/>
                <a:gd name="T2" fmla="*/ 0 w 219"/>
                <a:gd name="T3" fmla="*/ 195 h 195"/>
                <a:gd name="T4" fmla="*/ 106 w 219"/>
                <a:gd name="T5" fmla="*/ 0 h 195"/>
                <a:gd name="T6" fmla="*/ 219 w 219"/>
                <a:gd name="T7" fmla="*/ 195 h 195"/>
              </a:gdLst>
              <a:ahLst/>
              <a:cxnLst>
                <a:cxn ang="0">
                  <a:pos x="T0" y="T1"/>
                </a:cxn>
                <a:cxn ang="0">
                  <a:pos x="T2" y="T3"/>
                </a:cxn>
                <a:cxn ang="0">
                  <a:pos x="T4" y="T5"/>
                </a:cxn>
                <a:cxn ang="0">
                  <a:pos x="T6" y="T7"/>
                </a:cxn>
              </a:cxnLst>
              <a:rect l="0" t="0" r="r" b="b"/>
              <a:pathLst>
                <a:path w="219" h="195">
                  <a:moveTo>
                    <a:pt x="219" y="195"/>
                  </a:moveTo>
                  <a:lnTo>
                    <a:pt x="0" y="195"/>
                  </a:lnTo>
                  <a:lnTo>
                    <a:pt x="106" y="0"/>
                  </a:lnTo>
                  <a:lnTo>
                    <a:pt x="219"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46" name="Freeform 369"/>
            <p:cNvSpPr>
              <a:spLocks/>
            </p:cNvSpPr>
            <p:nvPr/>
          </p:nvSpPr>
          <p:spPr bwMode="auto">
            <a:xfrm>
              <a:off x="-10853770" y="5792776"/>
              <a:ext cx="944566" cy="1557335"/>
            </a:xfrm>
            <a:custGeom>
              <a:avLst/>
              <a:gdLst>
                <a:gd name="T0" fmla="*/ 565 w 595"/>
                <a:gd name="T1" fmla="*/ 981 h 981"/>
                <a:gd name="T2" fmla="*/ 565 w 595"/>
                <a:gd name="T3" fmla="*/ 981 h 981"/>
                <a:gd name="T4" fmla="*/ 0 w 595"/>
                <a:gd name="T5" fmla="*/ 0 h 981"/>
                <a:gd name="T6" fmla="*/ 0 w 595"/>
                <a:gd name="T7" fmla="*/ 0 h 981"/>
                <a:gd name="T8" fmla="*/ 595 w 595"/>
                <a:gd name="T9" fmla="*/ 495 h 981"/>
                <a:gd name="T10" fmla="*/ 565 w 595"/>
                <a:gd name="T11" fmla="*/ 981 h 981"/>
              </a:gdLst>
              <a:ahLst/>
              <a:cxnLst>
                <a:cxn ang="0">
                  <a:pos x="T0" y="T1"/>
                </a:cxn>
                <a:cxn ang="0">
                  <a:pos x="T2" y="T3"/>
                </a:cxn>
                <a:cxn ang="0">
                  <a:pos x="T4" y="T5"/>
                </a:cxn>
                <a:cxn ang="0">
                  <a:pos x="T6" y="T7"/>
                </a:cxn>
                <a:cxn ang="0">
                  <a:pos x="T8" y="T9"/>
                </a:cxn>
                <a:cxn ang="0">
                  <a:pos x="T10" y="T11"/>
                </a:cxn>
              </a:cxnLst>
              <a:rect l="0" t="0" r="r" b="b"/>
              <a:pathLst>
                <a:path w="595" h="981">
                  <a:moveTo>
                    <a:pt x="565" y="981"/>
                  </a:moveTo>
                  <a:lnTo>
                    <a:pt x="565" y="981"/>
                  </a:lnTo>
                  <a:lnTo>
                    <a:pt x="0" y="0"/>
                  </a:lnTo>
                  <a:lnTo>
                    <a:pt x="0" y="0"/>
                  </a:lnTo>
                  <a:lnTo>
                    <a:pt x="595" y="495"/>
                  </a:lnTo>
                  <a:lnTo>
                    <a:pt x="565"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47" name="Freeform 370"/>
            <p:cNvSpPr>
              <a:spLocks/>
            </p:cNvSpPr>
            <p:nvPr/>
          </p:nvSpPr>
          <p:spPr bwMode="auto">
            <a:xfrm>
              <a:off x="-9956830" y="7350110"/>
              <a:ext cx="608015" cy="309563"/>
            </a:xfrm>
            <a:custGeom>
              <a:avLst/>
              <a:gdLst>
                <a:gd name="T0" fmla="*/ 383 w 383"/>
                <a:gd name="T1" fmla="*/ 195 h 195"/>
                <a:gd name="T2" fmla="*/ 113 w 383"/>
                <a:gd name="T3" fmla="*/ 195 h 195"/>
                <a:gd name="T4" fmla="*/ 0 w 383"/>
                <a:gd name="T5" fmla="*/ 0 h 195"/>
                <a:gd name="T6" fmla="*/ 0 w 383"/>
                <a:gd name="T7" fmla="*/ 0 h 195"/>
                <a:gd name="T8" fmla="*/ 383 w 383"/>
                <a:gd name="T9" fmla="*/ 195 h 195"/>
              </a:gdLst>
              <a:ahLst/>
              <a:cxnLst>
                <a:cxn ang="0">
                  <a:pos x="T0" y="T1"/>
                </a:cxn>
                <a:cxn ang="0">
                  <a:pos x="T2" y="T3"/>
                </a:cxn>
                <a:cxn ang="0">
                  <a:pos x="T4" y="T5"/>
                </a:cxn>
                <a:cxn ang="0">
                  <a:pos x="T6" y="T7"/>
                </a:cxn>
                <a:cxn ang="0">
                  <a:pos x="T8" y="T9"/>
                </a:cxn>
              </a:cxnLst>
              <a:rect l="0" t="0" r="r" b="b"/>
              <a:pathLst>
                <a:path w="383" h="195">
                  <a:moveTo>
                    <a:pt x="383" y="195"/>
                  </a:moveTo>
                  <a:lnTo>
                    <a:pt x="113" y="195"/>
                  </a:lnTo>
                  <a:lnTo>
                    <a:pt x="0" y="0"/>
                  </a:lnTo>
                  <a:lnTo>
                    <a:pt x="0" y="0"/>
                  </a:lnTo>
                  <a:lnTo>
                    <a:pt x="383"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48" name="Freeform 371"/>
            <p:cNvSpPr>
              <a:spLocks/>
            </p:cNvSpPr>
            <p:nvPr/>
          </p:nvSpPr>
          <p:spPr bwMode="auto">
            <a:xfrm>
              <a:off x="-12341262" y="5792776"/>
              <a:ext cx="2384432" cy="1557335"/>
            </a:xfrm>
            <a:custGeom>
              <a:avLst/>
              <a:gdLst>
                <a:gd name="T0" fmla="*/ 1502 w 1502"/>
                <a:gd name="T1" fmla="*/ 981 h 981"/>
                <a:gd name="T2" fmla="*/ 0 w 1502"/>
                <a:gd name="T3" fmla="*/ 967 h 981"/>
                <a:gd name="T4" fmla="*/ 0 w 1502"/>
                <a:gd name="T5" fmla="*/ 967 h 981"/>
                <a:gd name="T6" fmla="*/ 0 w 1502"/>
                <a:gd name="T7" fmla="*/ 967 h 981"/>
                <a:gd name="T8" fmla="*/ 374 w 1502"/>
                <a:gd name="T9" fmla="*/ 580 h 981"/>
                <a:gd name="T10" fmla="*/ 937 w 1502"/>
                <a:gd name="T11" fmla="*/ 0 h 981"/>
                <a:gd name="T12" fmla="*/ 1502 w 1502"/>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502" h="981">
                  <a:moveTo>
                    <a:pt x="1502" y="981"/>
                  </a:moveTo>
                  <a:lnTo>
                    <a:pt x="0" y="967"/>
                  </a:lnTo>
                  <a:lnTo>
                    <a:pt x="0" y="967"/>
                  </a:lnTo>
                  <a:lnTo>
                    <a:pt x="0" y="967"/>
                  </a:lnTo>
                  <a:lnTo>
                    <a:pt x="374" y="580"/>
                  </a:lnTo>
                  <a:lnTo>
                    <a:pt x="937" y="0"/>
                  </a:lnTo>
                  <a:lnTo>
                    <a:pt x="1502" y="981"/>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49" name="Freeform 372"/>
            <p:cNvSpPr>
              <a:spLocks/>
            </p:cNvSpPr>
            <p:nvPr/>
          </p:nvSpPr>
          <p:spPr bwMode="auto">
            <a:xfrm>
              <a:off x="-9956830" y="6578586"/>
              <a:ext cx="1098553" cy="1081087"/>
            </a:xfrm>
            <a:custGeom>
              <a:avLst/>
              <a:gdLst>
                <a:gd name="T0" fmla="*/ 692 w 692"/>
                <a:gd name="T1" fmla="*/ 681 h 681"/>
                <a:gd name="T2" fmla="*/ 383 w 692"/>
                <a:gd name="T3" fmla="*/ 681 h 681"/>
                <a:gd name="T4" fmla="*/ 0 w 692"/>
                <a:gd name="T5" fmla="*/ 486 h 681"/>
                <a:gd name="T6" fmla="*/ 30 w 692"/>
                <a:gd name="T7" fmla="*/ 0 h 681"/>
                <a:gd name="T8" fmla="*/ 692 w 692"/>
                <a:gd name="T9" fmla="*/ 681 h 681"/>
              </a:gdLst>
              <a:ahLst/>
              <a:cxnLst>
                <a:cxn ang="0">
                  <a:pos x="T0" y="T1"/>
                </a:cxn>
                <a:cxn ang="0">
                  <a:pos x="T2" y="T3"/>
                </a:cxn>
                <a:cxn ang="0">
                  <a:pos x="T4" y="T5"/>
                </a:cxn>
                <a:cxn ang="0">
                  <a:pos x="T6" y="T7"/>
                </a:cxn>
                <a:cxn ang="0">
                  <a:pos x="T8" y="T9"/>
                </a:cxn>
              </a:cxnLst>
              <a:rect l="0" t="0" r="r" b="b"/>
              <a:pathLst>
                <a:path w="692" h="681">
                  <a:moveTo>
                    <a:pt x="692" y="681"/>
                  </a:moveTo>
                  <a:lnTo>
                    <a:pt x="383" y="681"/>
                  </a:lnTo>
                  <a:lnTo>
                    <a:pt x="0" y="486"/>
                  </a:lnTo>
                  <a:lnTo>
                    <a:pt x="30" y="0"/>
                  </a:lnTo>
                  <a:lnTo>
                    <a:pt x="692" y="68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50" name="Freeform 373"/>
            <p:cNvSpPr>
              <a:spLocks noEditPoints="1"/>
            </p:cNvSpPr>
            <p:nvPr/>
          </p:nvSpPr>
          <p:spPr bwMode="auto">
            <a:xfrm>
              <a:off x="-12341262" y="7327886"/>
              <a:ext cx="2384432" cy="331787"/>
            </a:xfrm>
            <a:custGeom>
              <a:avLst/>
              <a:gdLst>
                <a:gd name="T0" fmla="*/ 2910 w 3130"/>
                <a:gd name="T1" fmla="*/ 436 h 436"/>
                <a:gd name="T2" fmla="*/ 702 w 3130"/>
                <a:gd name="T3" fmla="*/ 436 h 436"/>
                <a:gd name="T4" fmla="*/ 428 w 3130"/>
                <a:gd name="T5" fmla="*/ 265 h 436"/>
                <a:gd name="T6" fmla="*/ 0 w 3130"/>
                <a:gd name="T7" fmla="*/ 0 h 436"/>
                <a:gd name="T8" fmla="*/ 3130 w 3130"/>
                <a:gd name="T9" fmla="*/ 29 h 436"/>
                <a:gd name="T10" fmla="*/ 2910 w 3130"/>
                <a:gd name="T11" fmla="*/ 436 h 436"/>
                <a:gd name="T12" fmla="*/ 3130 w 3130"/>
                <a:gd name="T13" fmla="*/ 29 h 436"/>
                <a:gd name="T14" fmla="*/ 3130 w 3130"/>
                <a:gd name="T15" fmla="*/ 29 h 436"/>
                <a:gd name="T16" fmla="*/ 3130 w 3130"/>
                <a:gd name="T17" fmla="*/ 29 h 436"/>
                <a:gd name="T18" fmla="*/ 3130 w 3130"/>
                <a:gd name="T19" fmla="*/ 29 h 436"/>
                <a:gd name="T20" fmla="*/ 3130 w 3130"/>
                <a:gd name="T21" fmla="*/ 29 h 436"/>
                <a:gd name="T22" fmla="*/ 3130 w 3130"/>
                <a:gd name="T23" fmla="*/ 29 h 436"/>
                <a:gd name="T24" fmla="*/ 0 w 3130"/>
                <a:gd name="T25" fmla="*/ 0 h 436"/>
                <a:gd name="T26" fmla="*/ 0 w 3130"/>
                <a:gd name="T27" fmla="*/ 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30" h="436">
                  <a:moveTo>
                    <a:pt x="2910" y="436"/>
                  </a:moveTo>
                  <a:lnTo>
                    <a:pt x="702" y="436"/>
                  </a:lnTo>
                  <a:lnTo>
                    <a:pt x="428" y="265"/>
                  </a:lnTo>
                  <a:lnTo>
                    <a:pt x="0" y="0"/>
                  </a:lnTo>
                  <a:lnTo>
                    <a:pt x="3130" y="29"/>
                  </a:lnTo>
                  <a:lnTo>
                    <a:pt x="2910" y="436"/>
                  </a:lnTo>
                  <a:moveTo>
                    <a:pt x="3130" y="29"/>
                  </a:moveTo>
                  <a:lnTo>
                    <a:pt x="3130" y="29"/>
                  </a:lnTo>
                  <a:lnTo>
                    <a:pt x="3130" y="29"/>
                  </a:lnTo>
                  <a:lnTo>
                    <a:pt x="3130" y="29"/>
                  </a:lnTo>
                  <a:lnTo>
                    <a:pt x="3130" y="29"/>
                  </a:lnTo>
                  <a:lnTo>
                    <a:pt x="3130" y="29"/>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51" name="Freeform 374"/>
            <p:cNvSpPr>
              <a:spLocks/>
            </p:cNvSpPr>
            <p:nvPr/>
          </p:nvSpPr>
          <p:spPr bwMode="auto">
            <a:xfrm>
              <a:off x="-10125106" y="7350110"/>
              <a:ext cx="168276" cy="309563"/>
            </a:xfrm>
            <a:custGeom>
              <a:avLst/>
              <a:gdLst>
                <a:gd name="T0" fmla="*/ 0 w 106"/>
                <a:gd name="T1" fmla="*/ 195 h 195"/>
                <a:gd name="T2" fmla="*/ 0 w 106"/>
                <a:gd name="T3" fmla="*/ 195 h 195"/>
                <a:gd name="T4" fmla="*/ 106 w 106"/>
                <a:gd name="T5" fmla="*/ 0 h 195"/>
                <a:gd name="T6" fmla="*/ 106 w 106"/>
                <a:gd name="T7" fmla="*/ 0 h 195"/>
                <a:gd name="T8" fmla="*/ 0 w 106"/>
                <a:gd name="T9" fmla="*/ 195 h 195"/>
              </a:gdLst>
              <a:ahLst/>
              <a:cxnLst>
                <a:cxn ang="0">
                  <a:pos x="T0" y="T1"/>
                </a:cxn>
                <a:cxn ang="0">
                  <a:pos x="T2" y="T3"/>
                </a:cxn>
                <a:cxn ang="0">
                  <a:pos x="T4" y="T5"/>
                </a:cxn>
                <a:cxn ang="0">
                  <a:pos x="T6" y="T7"/>
                </a:cxn>
                <a:cxn ang="0">
                  <a:pos x="T8" y="T9"/>
                </a:cxn>
              </a:cxnLst>
              <a:rect l="0" t="0" r="r" b="b"/>
              <a:pathLst>
                <a:path w="106" h="195">
                  <a:moveTo>
                    <a:pt x="0" y="195"/>
                  </a:moveTo>
                  <a:lnTo>
                    <a:pt x="0" y="195"/>
                  </a:lnTo>
                  <a:lnTo>
                    <a:pt x="106" y="0"/>
                  </a:lnTo>
                  <a:lnTo>
                    <a:pt x="106" y="0"/>
                  </a:lnTo>
                  <a:lnTo>
                    <a:pt x="0"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52" name="Rectangle 375"/>
            <p:cNvSpPr>
              <a:spLocks noChangeArrowheads="1"/>
            </p:cNvSpPr>
            <p:nvPr/>
          </p:nvSpPr>
          <p:spPr bwMode="auto">
            <a:xfrm>
              <a:off x="-9956830" y="7350110"/>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53" name="Freeform 376"/>
            <p:cNvSpPr>
              <a:spLocks noEditPoints="1"/>
            </p:cNvSpPr>
            <p:nvPr/>
          </p:nvSpPr>
          <p:spPr bwMode="auto">
            <a:xfrm>
              <a:off x="-12341262" y="7327886"/>
              <a:ext cx="2384432" cy="22224"/>
            </a:xfrm>
            <a:custGeom>
              <a:avLst/>
              <a:gdLst>
                <a:gd name="T0" fmla="*/ 3130 w 3130"/>
                <a:gd name="T1" fmla="*/ 29 h 29"/>
                <a:gd name="T2" fmla="*/ 0 w 3130"/>
                <a:gd name="T3" fmla="*/ 0 h 29"/>
                <a:gd name="T4" fmla="*/ 0 w 3130"/>
                <a:gd name="T5" fmla="*/ 0 h 29"/>
                <a:gd name="T6" fmla="*/ 3130 w 3130"/>
                <a:gd name="T7" fmla="*/ 29 h 29"/>
                <a:gd name="T8" fmla="*/ 3130 w 3130"/>
                <a:gd name="T9" fmla="*/ 29 h 29"/>
                <a:gd name="T10" fmla="*/ 0 w 3130"/>
                <a:gd name="T11" fmla="*/ 0 h 29"/>
                <a:gd name="T12" fmla="*/ 0 w 3130"/>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130" h="29">
                  <a:moveTo>
                    <a:pt x="3130" y="29"/>
                  </a:moveTo>
                  <a:lnTo>
                    <a:pt x="0" y="0"/>
                  </a:lnTo>
                  <a:lnTo>
                    <a:pt x="0" y="0"/>
                  </a:lnTo>
                  <a:lnTo>
                    <a:pt x="3130" y="29"/>
                  </a:lnTo>
                  <a:lnTo>
                    <a:pt x="3130" y="29"/>
                  </a:lnTo>
                  <a:moveTo>
                    <a:pt x="0" y="0"/>
                  </a:moveTo>
                  <a:lnTo>
                    <a:pt x="0" y="0"/>
                  </a:lnTo>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54" name="Freeform 377"/>
            <p:cNvSpPr>
              <a:spLocks/>
            </p:cNvSpPr>
            <p:nvPr/>
          </p:nvSpPr>
          <p:spPr bwMode="auto">
            <a:xfrm>
              <a:off x="-8159775" y="-2909882"/>
              <a:ext cx="2633671" cy="1504946"/>
            </a:xfrm>
            <a:custGeom>
              <a:avLst/>
              <a:gdLst>
                <a:gd name="T0" fmla="*/ 1659 w 1659"/>
                <a:gd name="T1" fmla="*/ 948 h 948"/>
                <a:gd name="T2" fmla="*/ 0 w 1659"/>
                <a:gd name="T3" fmla="*/ 583 h 948"/>
                <a:gd name="T4" fmla="*/ 0 w 1659"/>
                <a:gd name="T5" fmla="*/ 583 h 948"/>
                <a:gd name="T6" fmla="*/ 0 w 1659"/>
                <a:gd name="T7" fmla="*/ 583 h 948"/>
                <a:gd name="T8" fmla="*/ 0 w 1659"/>
                <a:gd name="T9" fmla="*/ 583 h 948"/>
                <a:gd name="T10" fmla="*/ 772 w 1659"/>
                <a:gd name="T11" fmla="*/ 0 h 948"/>
                <a:gd name="T12" fmla="*/ 772 w 1659"/>
                <a:gd name="T13" fmla="*/ 0 h 948"/>
                <a:gd name="T14" fmla="*/ 772 w 1659"/>
                <a:gd name="T15" fmla="*/ 0 h 948"/>
                <a:gd name="T16" fmla="*/ 772 w 1659"/>
                <a:gd name="T17" fmla="*/ 0 h 948"/>
                <a:gd name="T18" fmla="*/ 772 w 1659"/>
                <a:gd name="T19" fmla="*/ 0 h 948"/>
                <a:gd name="T20" fmla="*/ 1224 w 1659"/>
                <a:gd name="T21" fmla="*/ 483 h 948"/>
                <a:gd name="T22" fmla="*/ 1659 w 1659"/>
                <a:gd name="T23" fmla="*/ 948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9" h="948">
                  <a:moveTo>
                    <a:pt x="1659" y="948"/>
                  </a:moveTo>
                  <a:lnTo>
                    <a:pt x="0" y="583"/>
                  </a:lnTo>
                  <a:lnTo>
                    <a:pt x="0" y="583"/>
                  </a:lnTo>
                  <a:lnTo>
                    <a:pt x="0" y="583"/>
                  </a:lnTo>
                  <a:lnTo>
                    <a:pt x="0" y="583"/>
                  </a:lnTo>
                  <a:lnTo>
                    <a:pt x="772" y="0"/>
                  </a:lnTo>
                  <a:lnTo>
                    <a:pt x="772" y="0"/>
                  </a:lnTo>
                  <a:lnTo>
                    <a:pt x="772" y="0"/>
                  </a:lnTo>
                  <a:lnTo>
                    <a:pt x="772" y="0"/>
                  </a:lnTo>
                  <a:lnTo>
                    <a:pt x="772" y="0"/>
                  </a:lnTo>
                  <a:lnTo>
                    <a:pt x="1224" y="483"/>
                  </a:lnTo>
                  <a:lnTo>
                    <a:pt x="1659" y="948"/>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55" name="Freeform 378"/>
            <p:cNvSpPr>
              <a:spLocks/>
            </p:cNvSpPr>
            <p:nvPr/>
          </p:nvSpPr>
          <p:spPr bwMode="auto">
            <a:xfrm>
              <a:off x="-7967687" y="-4110030"/>
              <a:ext cx="1346204" cy="1200148"/>
            </a:xfrm>
            <a:custGeom>
              <a:avLst/>
              <a:gdLst>
                <a:gd name="T0" fmla="*/ 651 w 848"/>
                <a:gd name="T1" fmla="*/ 756 h 756"/>
                <a:gd name="T2" fmla="*/ 0 w 848"/>
                <a:gd name="T3" fmla="*/ 0 h 756"/>
                <a:gd name="T4" fmla="*/ 848 w 848"/>
                <a:gd name="T5" fmla="*/ 0 h 756"/>
                <a:gd name="T6" fmla="*/ 651 w 848"/>
                <a:gd name="T7" fmla="*/ 756 h 756"/>
              </a:gdLst>
              <a:ahLst/>
              <a:cxnLst>
                <a:cxn ang="0">
                  <a:pos x="T0" y="T1"/>
                </a:cxn>
                <a:cxn ang="0">
                  <a:pos x="T2" y="T3"/>
                </a:cxn>
                <a:cxn ang="0">
                  <a:pos x="T4" y="T5"/>
                </a:cxn>
                <a:cxn ang="0">
                  <a:pos x="T6" y="T7"/>
                </a:cxn>
              </a:cxnLst>
              <a:rect l="0" t="0" r="r" b="b"/>
              <a:pathLst>
                <a:path w="848" h="756">
                  <a:moveTo>
                    <a:pt x="651" y="756"/>
                  </a:moveTo>
                  <a:lnTo>
                    <a:pt x="0" y="0"/>
                  </a:lnTo>
                  <a:lnTo>
                    <a:pt x="848" y="0"/>
                  </a:lnTo>
                  <a:lnTo>
                    <a:pt x="651" y="756"/>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56" name="Freeform 379"/>
            <p:cNvSpPr>
              <a:spLocks/>
            </p:cNvSpPr>
            <p:nvPr/>
          </p:nvSpPr>
          <p:spPr bwMode="auto">
            <a:xfrm>
              <a:off x="-6934221" y="-3540120"/>
              <a:ext cx="1468442" cy="2135184"/>
            </a:xfrm>
            <a:custGeom>
              <a:avLst/>
              <a:gdLst>
                <a:gd name="T0" fmla="*/ 887 w 925"/>
                <a:gd name="T1" fmla="*/ 1345 h 1345"/>
                <a:gd name="T2" fmla="*/ 452 w 925"/>
                <a:gd name="T3" fmla="*/ 880 h 1345"/>
                <a:gd name="T4" fmla="*/ 0 w 925"/>
                <a:gd name="T5" fmla="*/ 397 h 1345"/>
                <a:gd name="T6" fmla="*/ 925 w 925"/>
                <a:gd name="T7" fmla="*/ 0 h 1345"/>
                <a:gd name="T8" fmla="*/ 925 w 925"/>
                <a:gd name="T9" fmla="*/ 0 h 1345"/>
                <a:gd name="T10" fmla="*/ 888 w 925"/>
                <a:gd name="T11" fmla="*/ 1294 h 1345"/>
                <a:gd name="T12" fmla="*/ 887 w 925"/>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925" h="1345">
                  <a:moveTo>
                    <a:pt x="887" y="1345"/>
                  </a:moveTo>
                  <a:lnTo>
                    <a:pt x="452" y="880"/>
                  </a:lnTo>
                  <a:lnTo>
                    <a:pt x="0" y="397"/>
                  </a:lnTo>
                  <a:lnTo>
                    <a:pt x="925" y="0"/>
                  </a:lnTo>
                  <a:lnTo>
                    <a:pt x="925" y="0"/>
                  </a:lnTo>
                  <a:lnTo>
                    <a:pt x="888" y="1294"/>
                  </a:lnTo>
                  <a:lnTo>
                    <a:pt x="887" y="1345"/>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57" name="Freeform 380"/>
            <p:cNvSpPr>
              <a:spLocks/>
            </p:cNvSpPr>
            <p:nvPr/>
          </p:nvSpPr>
          <p:spPr bwMode="auto">
            <a:xfrm>
              <a:off x="-9058302" y="-4110030"/>
              <a:ext cx="2124081" cy="1200148"/>
            </a:xfrm>
            <a:custGeom>
              <a:avLst/>
              <a:gdLst>
                <a:gd name="T0" fmla="*/ 1338 w 1338"/>
                <a:gd name="T1" fmla="*/ 756 h 756"/>
                <a:gd name="T2" fmla="*/ 1338 w 1338"/>
                <a:gd name="T3" fmla="*/ 756 h 756"/>
                <a:gd name="T4" fmla="*/ 0 w 1338"/>
                <a:gd name="T5" fmla="*/ 359 h 756"/>
                <a:gd name="T6" fmla="*/ 338 w 1338"/>
                <a:gd name="T7" fmla="*/ 0 h 756"/>
                <a:gd name="T8" fmla="*/ 687 w 1338"/>
                <a:gd name="T9" fmla="*/ 0 h 756"/>
                <a:gd name="T10" fmla="*/ 1338 w 1338"/>
                <a:gd name="T11" fmla="*/ 756 h 756"/>
              </a:gdLst>
              <a:ahLst/>
              <a:cxnLst>
                <a:cxn ang="0">
                  <a:pos x="T0" y="T1"/>
                </a:cxn>
                <a:cxn ang="0">
                  <a:pos x="T2" y="T3"/>
                </a:cxn>
                <a:cxn ang="0">
                  <a:pos x="T4" y="T5"/>
                </a:cxn>
                <a:cxn ang="0">
                  <a:pos x="T6" y="T7"/>
                </a:cxn>
                <a:cxn ang="0">
                  <a:pos x="T8" y="T9"/>
                </a:cxn>
                <a:cxn ang="0">
                  <a:pos x="T10" y="T11"/>
                </a:cxn>
              </a:cxnLst>
              <a:rect l="0" t="0" r="r" b="b"/>
              <a:pathLst>
                <a:path w="1338" h="756">
                  <a:moveTo>
                    <a:pt x="1338" y="756"/>
                  </a:moveTo>
                  <a:lnTo>
                    <a:pt x="1338" y="756"/>
                  </a:lnTo>
                  <a:lnTo>
                    <a:pt x="0" y="359"/>
                  </a:lnTo>
                  <a:lnTo>
                    <a:pt x="338" y="0"/>
                  </a:lnTo>
                  <a:lnTo>
                    <a:pt x="687" y="0"/>
                  </a:lnTo>
                  <a:lnTo>
                    <a:pt x="1338"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58" name="Freeform 381"/>
            <p:cNvSpPr>
              <a:spLocks/>
            </p:cNvSpPr>
            <p:nvPr/>
          </p:nvSpPr>
          <p:spPr bwMode="auto">
            <a:xfrm>
              <a:off x="-6934221" y="-4110030"/>
              <a:ext cx="1468442" cy="1200148"/>
            </a:xfrm>
            <a:custGeom>
              <a:avLst/>
              <a:gdLst>
                <a:gd name="T0" fmla="*/ 0 w 925"/>
                <a:gd name="T1" fmla="*/ 756 h 756"/>
                <a:gd name="T2" fmla="*/ 0 w 925"/>
                <a:gd name="T3" fmla="*/ 756 h 756"/>
                <a:gd name="T4" fmla="*/ 197 w 925"/>
                <a:gd name="T5" fmla="*/ 0 h 756"/>
                <a:gd name="T6" fmla="*/ 718 w 925"/>
                <a:gd name="T7" fmla="*/ 0 h 756"/>
                <a:gd name="T8" fmla="*/ 925 w 925"/>
                <a:gd name="T9" fmla="*/ 359 h 756"/>
                <a:gd name="T10" fmla="*/ 925 w 925"/>
                <a:gd name="T11" fmla="*/ 359 h 756"/>
                <a:gd name="T12" fmla="*/ 925 w 925"/>
                <a:gd name="T13" fmla="*/ 359 h 756"/>
                <a:gd name="T14" fmla="*/ 925 w 925"/>
                <a:gd name="T15" fmla="*/ 359 h 756"/>
                <a:gd name="T16" fmla="*/ 925 w 925"/>
                <a:gd name="T17" fmla="*/ 359 h 756"/>
                <a:gd name="T18" fmla="*/ 925 w 925"/>
                <a:gd name="T19" fmla="*/ 359 h 756"/>
                <a:gd name="T20" fmla="*/ 0 w 925"/>
                <a:gd name="T21" fmla="*/ 756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5" h="756">
                  <a:moveTo>
                    <a:pt x="0" y="756"/>
                  </a:moveTo>
                  <a:lnTo>
                    <a:pt x="0" y="756"/>
                  </a:lnTo>
                  <a:lnTo>
                    <a:pt x="197" y="0"/>
                  </a:lnTo>
                  <a:lnTo>
                    <a:pt x="718" y="0"/>
                  </a:lnTo>
                  <a:lnTo>
                    <a:pt x="925" y="359"/>
                  </a:lnTo>
                  <a:lnTo>
                    <a:pt x="925" y="359"/>
                  </a:lnTo>
                  <a:lnTo>
                    <a:pt x="925" y="359"/>
                  </a:lnTo>
                  <a:lnTo>
                    <a:pt x="925" y="359"/>
                  </a:lnTo>
                  <a:lnTo>
                    <a:pt x="925" y="359"/>
                  </a:lnTo>
                  <a:lnTo>
                    <a:pt x="925" y="359"/>
                  </a:lnTo>
                  <a:lnTo>
                    <a:pt x="0"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59" name="Freeform 382"/>
            <p:cNvSpPr>
              <a:spLocks/>
            </p:cNvSpPr>
            <p:nvPr/>
          </p:nvSpPr>
          <p:spPr bwMode="auto">
            <a:xfrm>
              <a:off x="-9058302" y="-3540120"/>
              <a:ext cx="2124081" cy="1555746"/>
            </a:xfrm>
            <a:custGeom>
              <a:avLst/>
              <a:gdLst>
                <a:gd name="T0" fmla="*/ 566 w 1338"/>
                <a:gd name="T1" fmla="*/ 980 h 980"/>
                <a:gd name="T2" fmla="*/ 0 w 1338"/>
                <a:gd name="T3" fmla="*/ 0 h 980"/>
                <a:gd name="T4" fmla="*/ 1338 w 1338"/>
                <a:gd name="T5" fmla="*/ 397 h 980"/>
                <a:gd name="T6" fmla="*/ 566 w 1338"/>
                <a:gd name="T7" fmla="*/ 980 h 980"/>
              </a:gdLst>
              <a:ahLst/>
              <a:cxnLst>
                <a:cxn ang="0">
                  <a:pos x="T0" y="T1"/>
                </a:cxn>
                <a:cxn ang="0">
                  <a:pos x="T2" y="T3"/>
                </a:cxn>
                <a:cxn ang="0">
                  <a:pos x="T4" y="T5"/>
                </a:cxn>
                <a:cxn ang="0">
                  <a:pos x="T6" y="T7"/>
                </a:cxn>
              </a:cxnLst>
              <a:rect l="0" t="0" r="r" b="b"/>
              <a:pathLst>
                <a:path w="1338" h="980">
                  <a:moveTo>
                    <a:pt x="566" y="980"/>
                  </a:moveTo>
                  <a:lnTo>
                    <a:pt x="0" y="0"/>
                  </a:lnTo>
                  <a:lnTo>
                    <a:pt x="1338" y="397"/>
                  </a:lnTo>
                  <a:lnTo>
                    <a:pt x="566"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60" name="Freeform 383"/>
            <p:cNvSpPr>
              <a:spLocks/>
            </p:cNvSpPr>
            <p:nvPr/>
          </p:nvSpPr>
          <p:spPr bwMode="auto">
            <a:xfrm>
              <a:off x="-8159775" y="-2909882"/>
              <a:ext cx="1225554" cy="925512"/>
            </a:xfrm>
            <a:custGeom>
              <a:avLst/>
              <a:gdLst>
                <a:gd name="T0" fmla="*/ 0 w 772"/>
                <a:gd name="T1" fmla="*/ 583 h 583"/>
                <a:gd name="T2" fmla="*/ 0 w 772"/>
                <a:gd name="T3" fmla="*/ 583 h 583"/>
                <a:gd name="T4" fmla="*/ 772 w 772"/>
                <a:gd name="T5" fmla="*/ 0 h 583"/>
                <a:gd name="T6" fmla="*/ 772 w 772"/>
                <a:gd name="T7" fmla="*/ 0 h 583"/>
                <a:gd name="T8" fmla="*/ 0 w 772"/>
                <a:gd name="T9" fmla="*/ 583 h 583"/>
              </a:gdLst>
              <a:ahLst/>
              <a:cxnLst>
                <a:cxn ang="0">
                  <a:pos x="T0" y="T1"/>
                </a:cxn>
                <a:cxn ang="0">
                  <a:pos x="T2" y="T3"/>
                </a:cxn>
                <a:cxn ang="0">
                  <a:pos x="T4" y="T5"/>
                </a:cxn>
                <a:cxn ang="0">
                  <a:pos x="T6" y="T7"/>
                </a:cxn>
                <a:cxn ang="0">
                  <a:pos x="T8" y="T9"/>
                </a:cxn>
              </a:cxnLst>
              <a:rect l="0" t="0" r="r" b="b"/>
              <a:pathLst>
                <a:path w="772" h="583">
                  <a:moveTo>
                    <a:pt x="0" y="583"/>
                  </a:moveTo>
                  <a:lnTo>
                    <a:pt x="0" y="583"/>
                  </a:lnTo>
                  <a:lnTo>
                    <a:pt x="772" y="0"/>
                  </a:lnTo>
                  <a:lnTo>
                    <a:pt x="772" y="0"/>
                  </a:lnTo>
                  <a:lnTo>
                    <a:pt x="0" y="58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61" name="Freeform 384"/>
            <p:cNvSpPr>
              <a:spLocks noEditPoints="1"/>
            </p:cNvSpPr>
            <p:nvPr/>
          </p:nvSpPr>
          <p:spPr bwMode="auto">
            <a:xfrm>
              <a:off x="-5465780" y="-4110030"/>
              <a:ext cx="1797056" cy="569912"/>
            </a:xfrm>
            <a:custGeom>
              <a:avLst/>
              <a:gdLst>
                <a:gd name="T0" fmla="*/ 2358 w 2358"/>
                <a:gd name="T1" fmla="*/ 748 h 748"/>
                <a:gd name="T2" fmla="*/ 1 w 2358"/>
                <a:gd name="T3" fmla="*/ 748 h 748"/>
                <a:gd name="T4" fmla="*/ 247 w 2358"/>
                <a:gd name="T5" fmla="*/ 0 h 748"/>
                <a:gd name="T6" fmla="*/ 1489 w 2358"/>
                <a:gd name="T7" fmla="*/ 0 h 748"/>
                <a:gd name="T8" fmla="*/ 2358 w 2358"/>
                <a:gd name="T9" fmla="*/ 748 h 748"/>
                <a:gd name="T10" fmla="*/ 1 w 2358"/>
                <a:gd name="T11" fmla="*/ 748 h 748"/>
                <a:gd name="T12" fmla="*/ 0 w 2358"/>
                <a:gd name="T13" fmla="*/ 748 h 748"/>
                <a:gd name="T14" fmla="*/ 0 w 2358"/>
                <a:gd name="T15" fmla="*/ 747 h 748"/>
                <a:gd name="T16" fmla="*/ 0 w 2358"/>
                <a:gd name="T17" fmla="*/ 747 h 748"/>
                <a:gd name="T18" fmla="*/ 1 w 2358"/>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8" h="748">
                  <a:moveTo>
                    <a:pt x="2358" y="748"/>
                  </a:moveTo>
                  <a:lnTo>
                    <a:pt x="1" y="748"/>
                  </a:lnTo>
                  <a:lnTo>
                    <a:pt x="247" y="0"/>
                  </a:lnTo>
                  <a:lnTo>
                    <a:pt x="1489" y="0"/>
                  </a:lnTo>
                  <a:lnTo>
                    <a:pt x="2358" y="748"/>
                  </a:lnTo>
                  <a:moveTo>
                    <a:pt x="1" y="748"/>
                  </a:moveTo>
                  <a:lnTo>
                    <a:pt x="0" y="748"/>
                  </a:lnTo>
                  <a:lnTo>
                    <a:pt x="0" y="747"/>
                  </a:lnTo>
                  <a:lnTo>
                    <a:pt x="0" y="747"/>
                  </a:lnTo>
                  <a:lnTo>
                    <a:pt x="1"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62" name="Freeform 385"/>
            <p:cNvSpPr>
              <a:spLocks/>
            </p:cNvSpPr>
            <p:nvPr/>
          </p:nvSpPr>
          <p:spPr bwMode="auto">
            <a:xfrm>
              <a:off x="-4330713" y="-4110030"/>
              <a:ext cx="1114429" cy="569912"/>
            </a:xfrm>
            <a:custGeom>
              <a:avLst/>
              <a:gdLst>
                <a:gd name="T0" fmla="*/ 417 w 702"/>
                <a:gd name="T1" fmla="*/ 359 h 359"/>
                <a:gd name="T2" fmla="*/ 417 w 702"/>
                <a:gd name="T3" fmla="*/ 359 h 359"/>
                <a:gd name="T4" fmla="*/ 417 w 702"/>
                <a:gd name="T5" fmla="*/ 359 h 359"/>
                <a:gd name="T6" fmla="*/ 0 w 702"/>
                <a:gd name="T7" fmla="*/ 0 h 359"/>
                <a:gd name="T8" fmla="*/ 702 w 702"/>
                <a:gd name="T9" fmla="*/ 0 h 359"/>
                <a:gd name="T10" fmla="*/ 417 w 702"/>
                <a:gd name="T11" fmla="*/ 359 h 359"/>
                <a:gd name="T12" fmla="*/ 417 w 702"/>
                <a:gd name="T13" fmla="*/ 359 h 359"/>
                <a:gd name="T14" fmla="*/ 417 w 702"/>
                <a:gd name="T15" fmla="*/ 359 h 359"/>
                <a:gd name="T16" fmla="*/ 417 w 702"/>
                <a:gd name="T17"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2" h="359">
                  <a:moveTo>
                    <a:pt x="417" y="359"/>
                  </a:moveTo>
                  <a:lnTo>
                    <a:pt x="417" y="359"/>
                  </a:lnTo>
                  <a:lnTo>
                    <a:pt x="417" y="359"/>
                  </a:lnTo>
                  <a:lnTo>
                    <a:pt x="0" y="0"/>
                  </a:lnTo>
                  <a:lnTo>
                    <a:pt x="702" y="0"/>
                  </a:lnTo>
                  <a:lnTo>
                    <a:pt x="417" y="359"/>
                  </a:lnTo>
                  <a:lnTo>
                    <a:pt x="417" y="359"/>
                  </a:lnTo>
                  <a:lnTo>
                    <a:pt x="417" y="359"/>
                  </a:lnTo>
                  <a:lnTo>
                    <a:pt x="417"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63" name="Freeform 386"/>
            <p:cNvSpPr>
              <a:spLocks/>
            </p:cNvSpPr>
            <p:nvPr/>
          </p:nvSpPr>
          <p:spPr bwMode="auto">
            <a:xfrm>
              <a:off x="-4330713" y="-4110030"/>
              <a:ext cx="661990" cy="569912"/>
            </a:xfrm>
            <a:custGeom>
              <a:avLst/>
              <a:gdLst>
                <a:gd name="T0" fmla="*/ 417 w 417"/>
                <a:gd name="T1" fmla="*/ 359 h 359"/>
                <a:gd name="T2" fmla="*/ 417 w 417"/>
                <a:gd name="T3" fmla="*/ 359 h 359"/>
                <a:gd name="T4" fmla="*/ 0 w 417"/>
                <a:gd name="T5" fmla="*/ 0 h 359"/>
                <a:gd name="T6" fmla="*/ 0 w 417"/>
                <a:gd name="T7" fmla="*/ 0 h 359"/>
                <a:gd name="T8" fmla="*/ 417 w 417"/>
                <a:gd name="T9" fmla="*/ 359 h 359"/>
              </a:gdLst>
              <a:ahLst/>
              <a:cxnLst>
                <a:cxn ang="0">
                  <a:pos x="T0" y="T1"/>
                </a:cxn>
                <a:cxn ang="0">
                  <a:pos x="T2" y="T3"/>
                </a:cxn>
                <a:cxn ang="0">
                  <a:pos x="T4" y="T5"/>
                </a:cxn>
                <a:cxn ang="0">
                  <a:pos x="T6" y="T7"/>
                </a:cxn>
                <a:cxn ang="0">
                  <a:pos x="T8" y="T9"/>
                </a:cxn>
              </a:cxnLst>
              <a:rect l="0" t="0" r="r" b="b"/>
              <a:pathLst>
                <a:path w="417" h="359">
                  <a:moveTo>
                    <a:pt x="417" y="359"/>
                  </a:moveTo>
                  <a:lnTo>
                    <a:pt x="417" y="359"/>
                  </a:lnTo>
                  <a:lnTo>
                    <a:pt x="0" y="0"/>
                  </a:lnTo>
                  <a:lnTo>
                    <a:pt x="0" y="0"/>
                  </a:lnTo>
                  <a:lnTo>
                    <a:pt x="417"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64" name="Freeform 387"/>
            <p:cNvSpPr>
              <a:spLocks/>
            </p:cNvSpPr>
            <p:nvPr/>
          </p:nvSpPr>
          <p:spPr bwMode="auto">
            <a:xfrm>
              <a:off x="-5794392" y="-4110030"/>
              <a:ext cx="517527" cy="569912"/>
            </a:xfrm>
            <a:custGeom>
              <a:avLst/>
              <a:gdLst>
                <a:gd name="T0" fmla="*/ 207 w 326"/>
                <a:gd name="T1" fmla="*/ 359 h 359"/>
                <a:gd name="T2" fmla="*/ 0 w 326"/>
                <a:gd name="T3" fmla="*/ 0 h 359"/>
                <a:gd name="T4" fmla="*/ 326 w 326"/>
                <a:gd name="T5" fmla="*/ 0 h 359"/>
                <a:gd name="T6" fmla="*/ 207 w 326"/>
                <a:gd name="T7" fmla="*/ 359 h 359"/>
              </a:gdLst>
              <a:ahLst/>
              <a:cxnLst>
                <a:cxn ang="0">
                  <a:pos x="T0" y="T1"/>
                </a:cxn>
                <a:cxn ang="0">
                  <a:pos x="T2" y="T3"/>
                </a:cxn>
                <a:cxn ang="0">
                  <a:pos x="T4" y="T5"/>
                </a:cxn>
                <a:cxn ang="0">
                  <a:pos x="T6" y="T7"/>
                </a:cxn>
              </a:cxnLst>
              <a:rect l="0" t="0" r="r" b="b"/>
              <a:pathLst>
                <a:path w="326" h="359">
                  <a:moveTo>
                    <a:pt x="207" y="359"/>
                  </a:moveTo>
                  <a:lnTo>
                    <a:pt x="0" y="0"/>
                  </a:lnTo>
                  <a:lnTo>
                    <a:pt x="326" y="0"/>
                  </a:lnTo>
                  <a:lnTo>
                    <a:pt x="207" y="35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65" name="Freeform 388"/>
            <p:cNvSpPr>
              <a:spLocks/>
            </p:cNvSpPr>
            <p:nvPr/>
          </p:nvSpPr>
          <p:spPr bwMode="auto">
            <a:xfrm>
              <a:off x="-5465780" y="-4110030"/>
              <a:ext cx="188913" cy="569912"/>
            </a:xfrm>
            <a:custGeom>
              <a:avLst/>
              <a:gdLst>
                <a:gd name="T0" fmla="*/ 0 w 119"/>
                <a:gd name="T1" fmla="*/ 359 h 359"/>
                <a:gd name="T2" fmla="*/ 0 w 119"/>
                <a:gd name="T3" fmla="*/ 359 h 359"/>
                <a:gd name="T4" fmla="*/ 0 w 119"/>
                <a:gd name="T5" fmla="*/ 359 h 359"/>
                <a:gd name="T6" fmla="*/ 119 w 119"/>
                <a:gd name="T7" fmla="*/ 0 h 359"/>
                <a:gd name="T8" fmla="*/ 119 w 119"/>
                <a:gd name="T9" fmla="*/ 0 h 359"/>
                <a:gd name="T10" fmla="*/ 0 w 119"/>
                <a:gd name="T11" fmla="*/ 359 h 359"/>
              </a:gdLst>
              <a:ahLst/>
              <a:cxnLst>
                <a:cxn ang="0">
                  <a:pos x="T0" y="T1"/>
                </a:cxn>
                <a:cxn ang="0">
                  <a:pos x="T2" y="T3"/>
                </a:cxn>
                <a:cxn ang="0">
                  <a:pos x="T4" y="T5"/>
                </a:cxn>
                <a:cxn ang="0">
                  <a:pos x="T6" y="T7"/>
                </a:cxn>
                <a:cxn ang="0">
                  <a:pos x="T8" y="T9"/>
                </a:cxn>
                <a:cxn ang="0">
                  <a:pos x="T10" y="T11"/>
                </a:cxn>
              </a:cxnLst>
              <a:rect l="0" t="0" r="r" b="b"/>
              <a:pathLst>
                <a:path w="119" h="359">
                  <a:moveTo>
                    <a:pt x="0" y="359"/>
                  </a:moveTo>
                  <a:lnTo>
                    <a:pt x="0" y="359"/>
                  </a:lnTo>
                  <a:lnTo>
                    <a:pt x="0" y="359"/>
                  </a:lnTo>
                  <a:lnTo>
                    <a:pt x="119" y="0"/>
                  </a:lnTo>
                  <a:lnTo>
                    <a:pt x="119"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66" name="Freeform 389"/>
            <p:cNvSpPr>
              <a:spLocks noEditPoints="1"/>
            </p:cNvSpPr>
            <p:nvPr/>
          </p:nvSpPr>
          <p:spPr bwMode="auto">
            <a:xfrm>
              <a:off x="-8159775" y="-428625"/>
              <a:ext cx="1795468" cy="1554160"/>
            </a:xfrm>
            <a:custGeom>
              <a:avLst/>
              <a:gdLst>
                <a:gd name="T0" fmla="*/ 2358 w 2358"/>
                <a:gd name="T1" fmla="*/ 2041 h 2041"/>
                <a:gd name="T2" fmla="*/ 1 w 2358"/>
                <a:gd name="T3" fmla="*/ 2041 h 2041"/>
                <a:gd name="T4" fmla="*/ 1179 w 2358"/>
                <a:gd name="T5" fmla="*/ 0 h 2041"/>
                <a:gd name="T6" fmla="*/ 1179 w 2358"/>
                <a:gd name="T7" fmla="*/ 0 h 2041"/>
                <a:gd name="T8" fmla="*/ 1179 w 2358"/>
                <a:gd name="T9" fmla="*/ 0 h 2041"/>
                <a:gd name="T10" fmla="*/ 1507 w 2358"/>
                <a:gd name="T11" fmla="*/ 567 h 2041"/>
                <a:gd name="T12" fmla="*/ 2358 w 2358"/>
                <a:gd name="T13" fmla="*/ 2041 h 2041"/>
                <a:gd name="T14" fmla="*/ 1 w 2358"/>
                <a:gd name="T15" fmla="*/ 2041 h 2041"/>
                <a:gd name="T16" fmla="*/ 0 w 2358"/>
                <a:gd name="T17" fmla="*/ 2041 h 2041"/>
                <a:gd name="T18" fmla="*/ 1 w 2358"/>
                <a:gd name="T19" fmla="*/ 2041 h 2041"/>
                <a:gd name="T20" fmla="*/ 1 w 2358"/>
                <a:gd name="T21" fmla="*/ 2041 h 2041"/>
                <a:gd name="T22" fmla="*/ 1179 w 2358"/>
                <a:gd name="T23" fmla="*/ 0 h 2041"/>
                <a:gd name="T24" fmla="*/ 1179 w 2358"/>
                <a:gd name="T25" fmla="*/ 0 h 2041"/>
                <a:gd name="T26" fmla="*/ 1179 w 2358"/>
                <a:gd name="T27" fmla="*/ 0 h 2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8" h="2041">
                  <a:moveTo>
                    <a:pt x="2358" y="2041"/>
                  </a:moveTo>
                  <a:lnTo>
                    <a:pt x="1" y="2041"/>
                  </a:lnTo>
                  <a:lnTo>
                    <a:pt x="1179" y="0"/>
                  </a:lnTo>
                  <a:lnTo>
                    <a:pt x="1179" y="0"/>
                  </a:lnTo>
                  <a:lnTo>
                    <a:pt x="1179" y="0"/>
                  </a:lnTo>
                  <a:lnTo>
                    <a:pt x="1507" y="567"/>
                  </a:lnTo>
                  <a:lnTo>
                    <a:pt x="2358" y="2041"/>
                  </a:lnTo>
                  <a:moveTo>
                    <a:pt x="1" y="2041"/>
                  </a:moveTo>
                  <a:lnTo>
                    <a:pt x="0" y="2041"/>
                  </a:lnTo>
                  <a:lnTo>
                    <a:pt x="1" y="2041"/>
                  </a:lnTo>
                  <a:lnTo>
                    <a:pt x="1" y="2041"/>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67" name="Freeform 390"/>
            <p:cNvSpPr>
              <a:spLocks/>
            </p:cNvSpPr>
            <p:nvPr/>
          </p:nvSpPr>
          <p:spPr bwMode="auto">
            <a:xfrm>
              <a:off x="-8159775" y="-1984372"/>
              <a:ext cx="2633671" cy="1555746"/>
            </a:xfrm>
            <a:custGeom>
              <a:avLst/>
              <a:gdLst>
                <a:gd name="T0" fmla="*/ 566 w 1659"/>
                <a:gd name="T1" fmla="*/ 980 h 980"/>
                <a:gd name="T2" fmla="*/ 566 w 1659"/>
                <a:gd name="T3" fmla="*/ 980 h 980"/>
                <a:gd name="T4" fmla="*/ 307 w 1659"/>
                <a:gd name="T5" fmla="*/ 532 h 980"/>
                <a:gd name="T6" fmla="*/ 0 w 1659"/>
                <a:gd name="T7" fmla="*/ 0 h 980"/>
                <a:gd name="T8" fmla="*/ 0 w 1659"/>
                <a:gd name="T9" fmla="*/ 0 h 980"/>
                <a:gd name="T10" fmla="*/ 1659 w 1659"/>
                <a:gd name="T11" fmla="*/ 365 h 980"/>
                <a:gd name="T12" fmla="*/ 566 w 1659"/>
                <a:gd name="T13" fmla="*/ 980 h 980"/>
              </a:gdLst>
              <a:ahLst/>
              <a:cxnLst>
                <a:cxn ang="0">
                  <a:pos x="T0" y="T1"/>
                </a:cxn>
                <a:cxn ang="0">
                  <a:pos x="T2" y="T3"/>
                </a:cxn>
                <a:cxn ang="0">
                  <a:pos x="T4" y="T5"/>
                </a:cxn>
                <a:cxn ang="0">
                  <a:pos x="T6" y="T7"/>
                </a:cxn>
                <a:cxn ang="0">
                  <a:pos x="T8" y="T9"/>
                </a:cxn>
                <a:cxn ang="0">
                  <a:pos x="T10" y="T11"/>
                </a:cxn>
                <a:cxn ang="0">
                  <a:pos x="T12" y="T13"/>
                </a:cxn>
              </a:cxnLst>
              <a:rect l="0" t="0" r="r" b="b"/>
              <a:pathLst>
                <a:path w="1659" h="980">
                  <a:moveTo>
                    <a:pt x="566" y="980"/>
                  </a:moveTo>
                  <a:lnTo>
                    <a:pt x="566" y="980"/>
                  </a:lnTo>
                  <a:lnTo>
                    <a:pt x="307" y="532"/>
                  </a:lnTo>
                  <a:lnTo>
                    <a:pt x="0" y="0"/>
                  </a:lnTo>
                  <a:lnTo>
                    <a:pt x="0" y="0"/>
                  </a:lnTo>
                  <a:lnTo>
                    <a:pt x="1659" y="36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68" name="Freeform 391"/>
            <p:cNvSpPr>
              <a:spLocks/>
            </p:cNvSpPr>
            <p:nvPr/>
          </p:nvSpPr>
          <p:spPr bwMode="auto">
            <a:xfrm>
              <a:off x="-7261246" y="-428625"/>
              <a:ext cx="1735143" cy="1554160"/>
            </a:xfrm>
            <a:custGeom>
              <a:avLst/>
              <a:gdLst>
                <a:gd name="T0" fmla="*/ 565 w 1093"/>
                <a:gd name="T1" fmla="*/ 979 h 979"/>
                <a:gd name="T2" fmla="*/ 157 w 1093"/>
                <a:gd name="T3" fmla="*/ 272 h 979"/>
                <a:gd name="T4" fmla="*/ 0 w 1093"/>
                <a:gd name="T5" fmla="*/ 0 h 979"/>
                <a:gd name="T6" fmla="*/ 1093 w 1093"/>
                <a:gd name="T7" fmla="*/ 684 h 979"/>
                <a:gd name="T8" fmla="*/ 1093 w 1093"/>
                <a:gd name="T9" fmla="*/ 684 h 979"/>
                <a:gd name="T10" fmla="*/ 1093 w 1093"/>
                <a:gd name="T11" fmla="*/ 684 h 979"/>
                <a:gd name="T12" fmla="*/ 1093 w 1093"/>
                <a:gd name="T13" fmla="*/ 684 h 979"/>
                <a:gd name="T14" fmla="*/ 1093 w 1093"/>
                <a:gd name="T15" fmla="*/ 684 h 979"/>
                <a:gd name="T16" fmla="*/ 965 w 1093"/>
                <a:gd name="T17" fmla="*/ 756 h 979"/>
                <a:gd name="T18" fmla="*/ 565 w 1093"/>
                <a:gd name="T19" fmla="*/ 979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3" h="979">
                  <a:moveTo>
                    <a:pt x="565" y="979"/>
                  </a:moveTo>
                  <a:lnTo>
                    <a:pt x="157" y="272"/>
                  </a:lnTo>
                  <a:lnTo>
                    <a:pt x="0" y="0"/>
                  </a:lnTo>
                  <a:lnTo>
                    <a:pt x="1093" y="684"/>
                  </a:lnTo>
                  <a:lnTo>
                    <a:pt x="1093" y="684"/>
                  </a:lnTo>
                  <a:lnTo>
                    <a:pt x="1093" y="684"/>
                  </a:lnTo>
                  <a:lnTo>
                    <a:pt x="1093" y="684"/>
                  </a:lnTo>
                  <a:lnTo>
                    <a:pt x="1093" y="684"/>
                  </a:lnTo>
                  <a:lnTo>
                    <a:pt x="965" y="756"/>
                  </a:lnTo>
                  <a:lnTo>
                    <a:pt x="565" y="97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69" name="Freeform 392"/>
            <p:cNvSpPr>
              <a:spLocks noEditPoints="1"/>
            </p:cNvSpPr>
            <p:nvPr/>
          </p:nvSpPr>
          <p:spPr bwMode="auto">
            <a:xfrm>
              <a:off x="-9456767" y="-1984372"/>
              <a:ext cx="2195519" cy="1555746"/>
            </a:xfrm>
            <a:custGeom>
              <a:avLst/>
              <a:gdLst>
                <a:gd name="T0" fmla="*/ 2879 w 2879"/>
                <a:gd name="T1" fmla="*/ 2042 h 2042"/>
                <a:gd name="T2" fmla="*/ 0 w 2879"/>
                <a:gd name="T3" fmla="*/ 1320 h 2042"/>
                <a:gd name="T4" fmla="*/ 444 w 2879"/>
                <a:gd name="T5" fmla="*/ 976 h 2042"/>
                <a:gd name="T6" fmla="*/ 1701 w 2879"/>
                <a:gd name="T7" fmla="*/ 1 h 2042"/>
                <a:gd name="T8" fmla="*/ 2340 w 2879"/>
                <a:gd name="T9" fmla="*/ 1109 h 2042"/>
                <a:gd name="T10" fmla="*/ 2879 w 2879"/>
                <a:gd name="T11" fmla="*/ 2042 h 2042"/>
                <a:gd name="T12" fmla="*/ 2879 w 2879"/>
                <a:gd name="T13" fmla="*/ 2042 h 2042"/>
                <a:gd name="T14" fmla="*/ 1701 w 2879"/>
                <a:gd name="T15" fmla="*/ 1 h 2042"/>
                <a:gd name="T16" fmla="*/ 1700 w 2879"/>
                <a:gd name="T17" fmla="*/ 1 h 2042"/>
                <a:gd name="T18" fmla="*/ 1701 w 2879"/>
                <a:gd name="T19" fmla="*/ 0 h 2042"/>
                <a:gd name="T20" fmla="*/ 1701 w 2879"/>
                <a:gd name="T21" fmla="*/ 1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9" h="2042">
                  <a:moveTo>
                    <a:pt x="2879" y="2042"/>
                  </a:moveTo>
                  <a:lnTo>
                    <a:pt x="0" y="1320"/>
                  </a:lnTo>
                  <a:lnTo>
                    <a:pt x="444" y="976"/>
                  </a:lnTo>
                  <a:lnTo>
                    <a:pt x="1701" y="1"/>
                  </a:lnTo>
                  <a:lnTo>
                    <a:pt x="2340" y="1109"/>
                  </a:lnTo>
                  <a:lnTo>
                    <a:pt x="2879" y="2042"/>
                  </a:lnTo>
                  <a:lnTo>
                    <a:pt x="2879" y="2042"/>
                  </a:lnTo>
                  <a:moveTo>
                    <a:pt x="1701" y="1"/>
                  </a:moveTo>
                  <a:lnTo>
                    <a:pt x="1700" y="1"/>
                  </a:lnTo>
                  <a:lnTo>
                    <a:pt x="1701" y="0"/>
                  </a:lnTo>
                  <a:lnTo>
                    <a:pt x="170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70" name="Freeform 393"/>
            <p:cNvSpPr>
              <a:spLocks/>
            </p:cNvSpPr>
            <p:nvPr/>
          </p:nvSpPr>
          <p:spPr bwMode="auto">
            <a:xfrm>
              <a:off x="-9117041" y="-1984372"/>
              <a:ext cx="957266" cy="742948"/>
            </a:xfrm>
            <a:custGeom>
              <a:avLst/>
              <a:gdLst>
                <a:gd name="T0" fmla="*/ 0 w 603"/>
                <a:gd name="T1" fmla="*/ 468 h 468"/>
                <a:gd name="T2" fmla="*/ 603 w 603"/>
                <a:gd name="T3" fmla="*/ 0 h 468"/>
                <a:gd name="T4" fmla="*/ 603 w 603"/>
                <a:gd name="T5" fmla="*/ 0 h 468"/>
                <a:gd name="T6" fmla="*/ 603 w 603"/>
                <a:gd name="T7" fmla="*/ 0 h 468"/>
                <a:gd name="T8" fmla="*/ 0 w 603"/>
                <a:gd name="T9" fmla="*/ 468 h 468"/>
              </a:gdLst>
              <a:ahLst/>
              <a:cxnLst>
                <a:cxn ang="0">
                  <a:pos x="T0" y="T1"/>
                </a:cxn>
                <a:cxn ang="0">
                  <a:pos x="T2" y="T3"/>
                </a:cxn>
                <a:cxn ang="0">
                  <a:pos x="T4" y="T5"/>
                </a:cxn>
                <a:cxn ang="0">
                  <a:pos x="T6" y="T7"/>
                </a:cxn>
                <a:cxn ang="0">
                  <a:pos x="T8" y="T9"/>
                </a:cxn>
              </a:cxnLst>
              <a:rect l="0" t="0" r="r" b="b"/>
              <a:pathLst>
                <a:path w="603" h="468">
                  <a:moveTo>
                    <a:pt x="0" y="468"/>
                  </a:moveTo>
                  <a:lnTo>
                    <a:pt x="603" y="0"/>
                  </a:lnTo>
                  <a:lnTo>
                    <a:pt x="603" y="0"/>
                  </a:lnTo>
                  <a:lnTo>
                    <a:pt x="603" y="0"/>
                  </a:lnTo>
                  <a:lnTo>
                    <a:pt x="0" y="468"/>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71" name="Freeform 394"/>
            <p:cNvSpPr>
              <a:spLocks/>
            </p:cNvSpPr>
            <p:nvPr/>
          </p:nvSpPr>
          <p:spPr bwMode="auto">
            <a:xfrm>
              <a:off x="-8159775" y="-1984372"/>
              <a:ext cx="487365" cy="844548"/>
            </a:xfrm>
            <a:custGeom>
              <a:avLst/>
              <a:gdLst>
                <a:gd name="T0" fmla="*/ 307 w 307"/>
                <a:gd name="T1" fmla="*/ 532 h 532"/>
                <a:gd name="T2" fmla="*/ 0 w 307"/>
                <a:gd name="T3" fmla="*/ 0 h 532"/>
                <a:gd name="T4" fmla="*/ 0 w 307"/>
                <a:gd name="T5" fmla="*/ 0 h 532"/>
                <a:gd name="T6" fmla="*/ 0 w 307"/>
                <a:gd name="T7" fmla="*/ 0 h 532"/>
                <a:gd name="T8" fmla="*/ 0 w 307"/>
                <a:gd name="T9" fmla="*/ 0 h 532"/>
                <a:gd name="T10" fmla="*/ 307 w 307"/>
                <a:gd name="T11" fmla="*/ 532 h 532"/>
              </a:gdLst>
              <a:ahLst/>
              <a:cxnLst>
                <a:cxn ang="0">
                  <a:pos x="T0" y="T1"/>
                </a:cxn>
                <a:cxn ang="0">
                  <a:pos x="T2" y="T3"/>
                </a:cxn>
                <a:cxn ang="0">
                  <a:pos x="T4" y="T5"/>
                </a:cxn>
                <a:cxn ang="0">
                  <a:pos x="T6" y="T7"/>
                </a:cxn>
                <a:cxn ang="0">
                  <a:pos x="T8" y="T9"/>
                </a:cxn>
                <a:cxn ang="0">
                  <a:pos x="T10" y="T11"/>
                </a:cxn>
              </a:cxnLst>
              <a:rect l="0" t="0" r="r" b="b"/>
              <a:pathLst>
                <a:path w="307" h="532">
                  <a:moveTo>
                    <a:pt x="307" y="532"/>
                  </a:moveTo>
                  <a:lnTo>
                    <a:pt x="0" y="0"/>
                  </a:lnTo>
                  <a:lnTo>
                    <a:pt x="0" y="0"/>
                  </a:lnTo>
                  <a:lnTo>
                    <a:pt x="0" y="0"/>
                  </a:lnTo>
                  <a:lnTo>
                    <a:pt x="0" y="0"/>
                  </a:lnTo>
                  <a:lnTo>
                    <a:pt x="307" y="5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72" name="Freeform 395"/>
            <p:cNvSpPr>
              <a:spLocks noEditPoints="1"/>
            </p:cNvSpPr>
            <p:nvPr/>
          </p:nvSpPr>
          <p:spPr bwMode="auto">
            <a:xfrm>
              <a:off x="-7261246" y="-1404935"/>
              <a:ext cx="1735143" cy="2062160"/>
            </a:xfrm>
            <a:custGeom>
              <a:avLst/>
              <a:gdLst>
                <a:gd name="T0" fmla="*/ 2278 w 2278"/>
                <a:gd name="T1" fmla="*/ 2707 h 2707"/>
                <a:gd name="T2" fmla="*/ 2278 w 2278"/>
                <a:gd name="T3" fmla="*/ 2707 h 2707"/>
                <a:gd name="T4" fmla="*/ 2278 w 2278"/>
                <a:gd name="T5" fmla="*/ 2707 h 2707"/>
                <a:gd name="T6" fmla="*/ 2278 w 2278"/>
                <a:gd name="T7" fmla="*/ 2707 h 2707"/>
                <a:gd name="T8" fmla="*/ 2278 w 2278"/>
                <a:gd name="T9" fmla="*/ 2707 h 2707"/>
                <a:gd name="T10" fmla="*/ 0 w 2278"/>
                <a:gd name="T11" fmla="*/ 1281 h 2707"/>
                <a:gd name="T12" fmla="*/ 0 w 2278"/>
                <a:gd name="T13" fmla="*/ 1281 h 2707"/>
                <a:gd name="T14" fmla="*/ 2278 w 2278"/>
                <a:gd name="T15" fmla="*/ 0 h 2707"/>
                <a:gd name="T16" fmla="*/ 2278 w 2278"/>
                <a:gd name="T17" fmla="*/ 2707 h 2707"/>
                <a:gd name="T18" fmla="*/ 2278 w 2278"/>
                <a:gd name="T19" fmla="*/ 2707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8" h="2707">
                  <a:moveTo>
                    <a:pt x="2278" y="2707"/>
                  </a:moveTo>
                  <a:lnTo>
                    <a:pt x="2278" y="2707"/>
                  </a:lnTo>
                  <a:lnTo>
                    <a:pt x="2278" y="2707"/>
                  </a:lnTo>
                  <a:lnTo>
                    <a:pt x="2278" y="2707"/>
                  </a:lnTo>
                  <a:moveTo>
                    <a:pt x="2278" y="2707"/>
                  </a:moveTo>
                  <a:lnTo>
                    <a:pt x="0" y="1281"/>
                  </a:lnTo>
                  <a:lnTo>
                    <a:pt x="0" y="1281"/>
                  </a:lnTo>
                  <a:lnTo>
                    <a:pt x="2278" y="0"/>
                  </a:lnTo>
                  <a:lnTo>
                    <a:pt x="2278" y="2707"/>
                  </a:lnTo>
                  <a:lnTo>
                    <a:pt x="2278" y="2707"/>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73" name="Freeform 396"/>
            <p:cNvSpPr>
              <a:spLocks/>
            </p:cNvSpPr>
            <p:nvPr/>
          </p:nvSpPr>
          <p:spPr bwMode="auto">
            <a:xfrm>
              <a:off x="-9456767" y="-979486"/>
              <a:ext cx="2195519" cy="2105020"/>
            </a:xfrm>
            <a:custGeom>
              <a:avLst/>
              <a:gdLst>
                <a:gd name="T0" fmla="*/ 817 w 1383"/>
                <a:gd name="T1" fmla="*/ 1326 h 1326"/>
                <a:gd name="T2" fmla="*/ 0 w 1383"/>
                <a:gd name="T3" fmla="*/ 0 h 1326"/>
                <a:gd name="T4" fmla="*/ 1383 w 1383"/>
                <a:gd name="T5" fmla="*/ 347 h 1326"/>
                <a:gd name="T6" fmla="*/ 817 w 1383"/>
                <a:gd name="T7" fmla="*/ 1326 h 1326"/>
              </a:gdLst>
              <a:ahLst/>
              <a:cxnLst>
                <a:cxn ang="0">
                  <a:pos x="T0" y="T1"/>
                </a:cxn>
                <a:cxn ang="0">
                  <a:pos x="T2" y="T3"/>
                </a:cxn>
                <a:cxn ang="0">
                  <a:pos x="T4" y="T5"/>
                </a:cxn>
                <a:cxn ang="0">
                  <a:pos x="T6" y="T7"/>
                </a:cxn>
              </a:cxnLst>
              <a:rect l="0" t="0" r="r" b="b"/>
              <a:pathLst>
                <a:path w="1383" h="1326">
                  <a:moveTo>
                    <a:pt x="817" y="1326"/>
                  </a:moveTo>
                  <a:lnTo>
                    <a:pt x="0" y="0"/>
                  </a:lnTo>
                  <a:lnTo>
                    <a:pt x="1383" y="347"/>
                  </a:lnTo>
                  <a:lnTo>
                    <a:pt x="817" y="132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74" name="Freeform 397"/>
            <p:cNvSpPr>
              <a:spLocks/>
            </p:cNvSpPr>
            <p:nvPr/>
          </p:nvSpPr>
          <p:spPr bwMode="auto">
            <a:xfrm>
              <a:off x="-8159775" y="-428625"/>
              <a:ext cx="898527" cy="1554160"/>
            </a:xfrm>
            <a:custGeom>
              <a:avLst/>
              <a:gdLst>
                <a:gd name="T0" fmla="*/ 0 w 566"/>
                <a:gd name="T1" fmla="*/ 979 h 979"/>
                <a:gd name="T2" fmla="*/ 0 w 566"/>
                <a:gd name="T3" fmla="*/ 979 h 979"/>
                <a:gd name="T4" fmla="*/ 0 w 566"/>
                <a:gd name="T5" fmla="*/ 979 h 979"/>
                <a:gd name="T6" fmla="*/ 566 w 566"/>
                <a:gd name="T7" fmla="*/ 0 h 979"/>
                <a:gd name="T8" fmla="*/ 566 w 566"/>
                <a:gd name="T9" fmla="*/ 0 h 979"/>
                <a:gd name="T10" fmla="*/ 0 w 566"/>
                <a:gd name="T11" fmla="*/ 979 h 979"/>
              </a:gdLst>
              <a:ahLst/>
              <a:cxnLst>
                <a:cxn ang="0">
                  <a:pos x="T0" y="T1"/>
                </a:cxn>
                <a:cxn ang="0">
                  <a:pos x="T2" y="T3"/>
                </a:cxn>
                <a:cxn ang="0">
                  <a:pos x="T4" y="T5"/>
                </a:cxn>
                <a:cxn ang="0">
                  <a:pos x="T6" y="T7"/>
                </a:cxn>
                <a:cxn ang="0">
                  <a:pos x="T8" y="T9"/>
                </a:cxn>
                <a:cxn ang="0">
                  <a:pos x="T10" y="T11"/>
                </a:cxn>
              </a:cxnLst>
              <a:rect l="0" t="0" r="r" b="b"/>
              <a:pathLst>
                <a:path w="566" h="979">
                  <a:moveTo>
                    <a:pt x="0" y="979"/>
                  </a:moveTo>
                  <a:lnTo>
                    <a:pt x="0" y="979"/>
                  </a:ln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75" name="Freeform 398"/>
            <p:cNvSpPr>
              <a:spLocks noEditPoints="1"/>
            </p:cNvSpPr>
            <p:nvPr/>
          </p:nvSpPr>
          <p:spPr bwMode="auto">
            <a:xfrm>
              <a:off x="-5526105" y="-1984372"/>
              <a:ext cx="2544771" cy="2641594"/>
            </a:xfrm>
            <a:custGeom>
              <a:avLst/>
              <a:gdLst>
                <a:gd name="T0" fmla="*/ 0 w 3339"/>
                <a:gd name="T1" fmla="*/ 3468 h 3468"/>
                <a:gd name="T2" fmla="*/ 0 w 3339"/>
                <a:gd name="T3" fmla="*/ 3468 h 3468"/>
                <a:gd name="T4" fmla="*/ 0 w 3339"/>
                <a:gd name="T5" fmla="*/ 3468 h 3468"/>
                <a:gd name="T6" fmla="*/ 0 w 3339"/>
                <a:gd name="T7" fmla="*/ 3468 h 3468"/>
                <a:gd name="T8" fmla="*/ 0 w 3339"/>
                <a:gd name="T9" fmla="*/ 3468 h 3468"/>
                <a:gd name="T10" fmla="*/ 0 w 3339"/>
                <a:gd name="T11" fmla="*/ 3468 h 3468"/>
                <a:gd name="T12" fmla="*/ 0 w 3339"/>
                <a:gd name="T13" fmla="*/ 3468 h 3468"/>
                <a:gd name="T14" fmla="*/ 0 w 3339"/>
                <a:gd name="T15" fmla="*/ 3468 h 3468"/>
                <a:gd name="T16" fmla="*/ 1258 w 3339"/>
                <a:gd name="T17" fmla="*/ 0 h 3468"/>
                <a:gd name="T18" fmla="*/ 3339 w 3339"/>
                <a:gd name="T19" fmla="*/ 2815 h 3468"/>
                <a:gd name="T20" fmla="*/ 0 w 3339"/>
                <a:gd name="T21" fmla="*/ 3468 h 3468"/>
                <a:gd name="T22" fmla="*/ 3339 w 3339"/>
                <a:gd name="T23" fmla="*/ 2815 h 3468"/>
                <a:gd name="T24" fmla="*/ 3339 w 3339"/>
                <a:gd name="T25" fmla="*/ 2815 h 3468"/>
                <a:gd name="T26" fmla="*/ 3339 w 3339"/>
                <a:gd name="T27" fmla="*/ 2815 h 3468"/>
                <a:gd name="T28" fmla="*/ 1258 w 3339"/>
                <a:gd name="T29" fmla="*/ 0 h 3468"/>
                <a:gd name="T30" fmla="*/ 1258 w 3339"/>
                <a:gd name="T31" fmla="*/ 0 h 3468"/>
                <a:gd name="T32" fmla="*/ 1258 w 3339"/>
                <a:gd name="T33" fmla="*/ 1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39" h="3468">
                  <a:moveTo>
                    <a:pt x="0" y="3468"/>
                  </a:moveTo>
                  <a:lnTo>
                    <a:pt x="0" y="3468"/>
                  </a:lnTo>
                  <a:lnTo>
                    <a:pt x="0" y="3468"/>
                  </a:lnTo>
                  <a:lnTo>
                    <a:pt x="0" y="3468"/>
                  </a:lnTo>
                  <a:lnTo>
                    <a:pt x="0" y="3468"/>
                  </a:lnTo>
                  <a:lnTo>
                    <a:pt x="0" y="3468"/>
                  </a:lnTo>
                  <a:lnTo>
                    <a:pt x="0" y="3468"/>
                  </a:lnTo>
                  <a:moveTo>
                    <a:pt x="0" y="3468"/>
                  </a:moveTo>
                  <a:lnTo>
                    <a:pt x="1258" y="0"/>
                  </a:lnTo>
                  <a:lnTo>
                    <a:pt x="3339" y="2815"/>
                  </a:lnTo>
                  <a:lnTo>
                    <a:pt x="0" y="3468"/>
                  </a:lnTo>
                  <a:moveTo>
                    <a:pt x="3339" y="2815"/>
                  </a:moveTo>
                  <a:lnTo>
                    <a:pt x="3339" y="2815"/>
                  </a:lnTo>
                  <a:lnTo>
                    <a:pt x="3339" y="2815"/>
                  </a:lnTo>
                  <a:moveTo>
                    <a:pt x="1258" y="0"/>
                  </a:moveTo>
                  <a:lnTo>
                    <a:pt x="1258" y="0"/>
                  </a:lnTo>
                  <a:lnTo>
                    <a:pt x="1258" y="1"/>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76" name="Freeform 399"/>
            <p:cNvSpPr>
              <a:spLocks/>
            </p:cNvSpPr>
            <p:nvPr/>
          </p:nvSpPr>
          <p:spPr bwMode="auto">
            <a:xfrm>
              <a:off x="-5465780" y="-3540120"/>
              <a:ext cx="1797056" cy="1555746"/>
            </a:xfrm>
            <a:custGeom>
              <a:avLst/>
              <a:gdLst>
                <a:gd name="T0" fmla="*/ 566 w 1132"/>
                <a:gd name="T1" fmla="*/ 980 h 980"/>
                <a:gd name="T2" fmla="*/ 566 w 1132"/>
                <a:gd name="T3" fmla="*/ 980 h 980"/>
                <a:gd name="T4" fmla="*/ 0 w 1132"/>
                <a:gd name="T5" fmla="*/ 0 h 980"/>
                <a:gd name="T6" fmla="*/ 0 w 1132"/>
                <a:gd name="T7" fmla="*/ 0 h 980"/>
                <a:gd name="T8" fmla="*/ 1132 w 1132"/>
                <a:gd name="T9" fmla="*/ 0 h 980"/>
                <a:gd name="T10" fmla="*/ 566 w 1132"/>
                <a:gd name="T11" fmla="*/ 980 h 980"/>
              </a:gdLst>
              <a:ahLst/>
              <a:cxnLst>
                <a:cxn ang="0">
                  <a:pos x="T0" y="T1"/>
                </a:cxn>
                <a:cxn ang="0">
                  <a:pos x="T2" y="T3"/>
                </a:cxn>
                <a:cxn ang="0">
                  <a:pos x="T4" y="T5"/>
                </a:cxn>
                <a:cxn ang="0">
                  <a:pos x="T6" y="T7"/>
                </a:cxn>
                <a:cxn ang="0">
                  <a:pos x="T8" y="T9"/>
                </a:cxn>
                <a:cxn ang="0">
                  <a:pos x="T10" y="T11"/>
                </a:cxn>
              </a:cxnLst>
              <a:rect l="0" t="0" r="r" b="b"/>
              <a:pathLst>
                <a:path w="1132" h="980">
                  <a:moveTo>
                    <a:pt x="566" y="980"/>
                  </a:moveTo>
                  <a:lnTo>
                    <a:pt x="566" y="980"/>
                  </a:lnTo>
                  <a:lnTo>
                    <a:pt x="0" y="0"/>
                  </a:lnTo>
                  <a:lnTo>
                    <a:pt x="0" y="0"/>
                  </a:lnTo>
                  <a:lnTo>
                    <a:pt x="1132" y="0"/>
                  </a:lnTo>
                  <a:lnTo>
                    <a:pt x="566"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77" name="Freeform 400"/>
            <p:cNvSpPr>
              <a:spLocks/>
            </p:cNvSpPr>
            <p:nvPr/>
          </p:nvSpPr>
          <p:spPr bwMode="auto">
            <a:xfrm>
              <a:off x="-5465780" y="-354012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99D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78" name="Rectangle 401"/>
            <p:cNvSpPr>
              <a:spLocks noChangeArrowheads="1"/>
            </p:cNvSpPr>
            <p:nvPr/>
          </p:nvSpPr>
          <p:spPr bwMode="auto">
            <a:xfrm>
              <a:off x="-5465780" y="-3540120"/>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79" name="Freeform 402"/>
            <p:cNvSpPr>
              <a:spLocks noEditPoints="1"/>
            </p:cNvSpPr>
            <p:nvPr/>
          </p:nvSpPr>
          <p:spPr bwMode="auto">
            <a:xfrm>
              <a:off x="-4567251" y="-1984372"/>
              <a:ext cx="1585918" cy="2144708"/>
            </a:xfrm>
            <a:custGeom>
              <a:avLst/>
              <a:gdLst>
                <a:gd name="T0" fmla="*/ 2081 w 2081"/>
                <a:gd name="T1" fmla="*/ 2815 h 2815"/>
                <a:gd name="T2" fmla="*/ 2081 w 2081"/>
                <a:gd name="T3" fmla="*/ 2815 h 2815"/>
                <a:gd name="T4" fmla="*/ 2081 w 2081"/>
                <a:gd name="T5" fmla="*/ 2815 h 2815"/>
                <a:gd name="T6" fmla="*/ 2081 w 2081"/>
                <a:gd name="T7" fmla="*/ 2815 h 2815"/>
                <a:gd name="T8" fmla="*/ 0 w 2081"/>
                <a:gd name="T9" fmla="*/ 0 h 2815"/>
                <a:gd name="T10" fmla="*/ 0 w 2081"/>
                <a:gd name="T11" fmla="*/ 0 h 2815"/>
                <a:gd name="T12" fmla="*/ 1627 w 2081"/>
                <a:gd name="T13" fmla="*/ 645 h 2815"/>
                <a:gd name="T14" fmla="*/ 2081 w 2081"/>
                <a:gd name="T15" fmla="*/ 2815 h 28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1" h="2815">
                  <a:moveTo>
                    <a:pt x="2081" y="2815"/>
                  </a:moveTo>
                  <a:lnTo>
                    <a:pt x="2081" y="2815"/>
                  </a:lnTo>
                  <a:lnTo>
                    <a:pt x="2081" y="2815"/>
                  </a:lnTo>
                  <a:moveTo>
                    <a:pt x="2081" y="2815"/>
                  </a:moveTo>
                  <a:lnTo>
                    <a:pt x="0" y="0"/>
                  </a:lnTo>
                  <a:lnTo>
                    <a:pt x="0" y="0"/>
                  </a:lnTo>
                  <a:lnTo>
                    <a:pt x="1627" y="645"/>
                  </a:lnTo>
                  <a:lnTo>
                    <a:pt x="2081" y="2815"/>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80" name="Freeform 403"/>
            <p:cNvSpPr>
              <a:spLocks/>
            </p:cNvSpPr>
            <p:nvPr/>
          </p:nvSpPr>
          <p:spPr bwMode="auto">
            <a:xfrm>
              <a:off x="-4567251" y="-1984372"/>
              <a:ext cx="1585918" cy="2144708"/>
            </a:xfrm>
            <a:custGeom>
              <a:avLst/>
              <a:gdLst>
                <a:gd name="T0" fmla="*/ 999 w 999"/>
                <a:gd name="T1" fmla="*/ 1351 h 1351"/>
                <a:gd name="T2" fmla="*/ 0 w 999"/>
                <a:gd name="T3" fmla="*/ 0 h 1351"/>
                <a:gd name="T4" fmla="*/ 0 w 999"/>
                <a:gd name="T5" fmla="*/ 0 h 1351"/>
                <a:gd name="T6" fmla="*/ 999 w 999"/>
                <a:gd name="T7" fmla="*/ 1351 h 1351"/>
                <a:gd name="T8" fmla="*/ 999 w 999"/>
                <a:gd name="T9" fmla="*/ 1351 h 1351"/>
                <a:gd name="T10" fmla="*/ 999 w 999"/>
                <a:gd name="T11" fmla="*/ 1351 h 1351"/>
              </a:gdLst>
              <a:ahLst/>
              <a:cxnLst>
                <a:cxn ang="0">
                  <a:pos x="T0" y="T1"/>
                </a:cxn>
                <a:cxn ang="0">
                  <a:pos x="T2" y="T3"/>
                </a:cxn>
                <a:cxn ang="0">
                  <a:pos x="T4" y="T5"/>
                </a:cxn>
                <a:cxn ang="0">
                  <a:pos x="T6" y="T7"/>
                </a:cxn>
                <a:cxn ang="0">
                  <a:pos x="T8" y="T9"/>
                </a:cxn>
                <a:cxn ang="0">
                  <a:pos x="T10" y="T11"/>
                </a:cxn>
              </a:cxnLst>
              <a:rect l="0" t="0" r="r" b="b"/>
              <a:pathLst>
                <a:path w="999" h="1351">
                  <a:moveTo>
                    <a:pt x="999" y="1351"/>
                  </a:moveTo>
                  <a:lnTo>
                    <a:pt x="0" y="0"/>
                  </a:lnTo>
                  <a:lnTo>
                    <a:pt x="0" y="0"/>
                  </a:lnTo>
                  <a:lnTo>
                    <a:pt x="999" y="1351"/>
                  </a:lnTo>
                  <a:lnTo>
                    <a:pt x="999" y="1351"/>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81" name="Rectangle 404"/>
            <p:cNvSpPr>
              <a:spLocks noChangeArrowheads="1"/>
            </p:cNvSpPr>
            <p:nvPr/>
          </p:nvSpPr>
          <p:spPr bwMode="auto">
            <a:xfrm>
              <a:off x="-4567251" y="-1984372"/>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82" name="Freeform 405"/>
            <p:cNvSpPr>
              <a:spLocks/>
            </p:cNvSpPr>
            <p:nvPr/>
          </p:nvSpPr>
          <p:spPr bwMode="auto">
            <a:xfrm>
              <a:off x="-5526105" y="-3540120"/>
              <a:ext cx="958852" cy="2135184"/>
            </a:xfrm>
            <a:custGeom>
              <a:avLst/>
              <a:gdLst>
                <a:gd name="T0" fmla="*/ 0 w 604"/>
                <a:gd name="T1" fmla="*/ 1345 h 1345"/>
                <a:gd name="T2" fmla="*/ 1 w 604"/>
                <a:gd name="T3" fmla="*/ 1294 h 1345"/>
                <a:gd name="T4" fmla="*/ 38 w 604"/>
                <a:gd name="T5" fmla="*/ 0 h 1345"/>
                <a:gd name="T6" fmla="*/ 38 w 604"/>
                <a:gd name="T7" fmla="*/ 0 h 1345"/>
                <a:gd name="T8" fmla="*/ 38 w 604"/>
                <a:gd name="T9" fmla="*/ 0 h 1345"/>
                <a:gd name="T10" fmla="*/ 604 w 604"/>
                <a:gd name="T11" fmla="*/ 980 h 1345"/>
                <a:gd name="T12" fmla="*/ 0 w 604"/>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604" h="1345">
                  <a:moveTo>
                    <a:pt x="0" y="1345"/>
                  </a:moveTo>
                  <a:lnTo>
                    <a:pt x="1" y="1294"/>
                  </a:lnTo>
                  <a:lnTo>
                    <a:pt x="38" y="0"/>
                  </a:lnTo>
                  <a:lnTo>
                    <a:pt x="38" y="0"/>
                  </a:lnTo>
                  <a:lnTo>
                    <a:pt x="38" y="0"/>
                  </a:lnTo>
                  <a:lnTo>
                    <a:pt x="604" y="980"/>
                  </a:lnTo>
                  <a:lnTo>
                    <a:pt x="0" y="134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83" name="Freeform 406"/>
            <p:cNvSpPr>
              <a:spLocks/>
            </p:cNvSpPr>
            <p:nvPr/>
          </p:nvSpPr>
          <p:spPr bwMode="auto">
            <a:xfrm>
              <a:off x="-4567251" y="-3540120"/>
              <a:ext cx="1239842" cy="2046285"/>
            </a:xfrm>
            <a:custGeom>
              <a:avLst/>
              <a:gdLst>
                <a:gd name="T0" fmla="*/ 781 w 781"/>
                <a:gd name="T1" fmla="*/ 1289 h 1289"/>
                <a:gd name="T2" fmla="*/ 0 w 781"/>
                <a:gd name="T3" fmla="*/ 980 h 1289"/>
                <a:gd name="T4" fmla="*/ 566 w 781"/>
                <a:gd name="T5" fmla="*/ 0 h 1289"/>
                <a:gd name="T6" fmla="*/ 716 w 781"/>
                <a:gd name="T7" fmla="*/ 902 h 1289"/>
                <a:gd name="T8" fmla="*/ 781 w 781"/>
                <a:gd name="T9" fmla="*/ 1289 h 1289"/>
              </a:gdLst>
              <a:ahLst/>
              <a:cxnLst>
                <a:cxn ang="0">
                  <a:pos x="T0" y="T1"/>
                </a:cxn>
                <a:cxn ang="0">
                  <a:pos x="T2" y="T3"/>
                </a:cxn>
                <a:cxn ang="0">
                  <a:pos x="T4" y="T5"/>
                </a:cxn>
                <a:cxn ang="0">
                  <a:pos x="T6" y="T7"/>
                </a:cxn>
                <a:cxn ang="0">
                  <a:pos x="T8" y="T9"/>
                </a:cxn>
              </a:cxnLst>
              <a:rect l="0" t="0" r="r" b="b"/>
              <a:pathLst>
                <a:path w="781" h="1289">
                  <a:moveTo>
                    <a:pt x="781" y="1289"/>
                  </a:moveTo>
                  <a:lnTo>
                    <a:pt x="0" y="980"/>
                  </a:lnTo>
                  <a:lnTo>
                    <a:pt x="566" y="0"/>
                  </a:lnTo>
                  <a:lnTo>
                    <a:pt x="716" y="902"/>
                  </a:lnTo>
                  <a:lnTo>
                    <a:pt x="781" y="128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84" name="Freeform 407"/>
            <p:cNvSpPr>
              <a:spLocks noEditPoints="1"/>
            </p:cNvSpPr>
            <p:nvPr/>
          </p:nvSpPr>
          <p:spPr bwMode="auto">
            <a:xfrm>
              <a:off x="-5526105" y="-1984372"/>
              <a:ext cx="958852" cy="2641594"/>
            </a:xfrm>
            <a:custGeom>
              <a:avLst/>
              <a:gdLst>
                <a:gd name="T0" fmla="*/ 0 w 1258"/>
                <a:gd name="T1" fmla="*/ 3467 h 3467"/>
                <a:gd name="T2" fmla="*/ 0 w 1258"/>
                <a:gd name="T3" fmla="*/ 3467 h 3467"/>
                <a:gd name="T4" fmla="*/ 0 w 1258"/>
                <a:gd name="T5" fmla="*/ 3467 h 3467"/>
                <a:gd name="T6" fmla="*/ 0 w 1258"/>
                <a:gd name="T7" fmla="*/ 3467 h 3467"/>
                <a:gd name="T8" fmla="*/ 0 w 1258"/>
                <a:gd name="T9" fmla="*/ 3467 h 3467"/>
                <a:gd name="T10" fmla="*/ 0 w 1258"/>
                <a:gd name="T11" fmla="*/ 760 h 3467"/>
                <a:gd name="T12" fmla="*/ 1258 w 1258"/>
                <a:gd name="T13" fmla="*/ 0 h 3467"/>
                <a:gd name="T14" fmla="*/ 0 w 1258"/>
                <a:gd name="T15" fmla="*/ 3467 h 3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8" h="3467">
                  <a:moveTo>
                    <a:pt x="0" y="3467"/>
                  </a:moveTo>
                  <a:lnTo>
                    <a:pt x="0" y="3467"/>
                  </a:lnTo>
                  <a:lnTo>
                    <a:pt x="0" y="3467"/>
                  </a:lnTo>
                  <a:lnTo>
                    <a:pt x="0" y="3467"/>
                  </a:lnTo>
                  <a:moveTo>
                    <a:pt x="0" y="3467"/>
                  </a:moveTo>
                  <a:lnTo>
                    <a:pt x="0" y="760"/>
                  </a:lnTo>
                  <a:lnTo>
                    <a:pt x="1258" y="0"/>
                  </a:lnTo>
                  <a:lnTo>
                    <a:pt x="0" y="3467"/>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85" name="Freeform 408"/>
            <p:cNvSpPr>
              <a:spLocks/>
            </p:cNvSpPr>
            <p:nvPr/>
          </p:nvSpPr>
          <p:spPr bwMode="auto">
            <a:xfrm>
              <a:off x="-5526105" y="-1984372"/>
              <a:ext cx="958852" cy="2641594"/>
            </a:xfrm>
            <a:custGeom>
              <a:avLst/>
              <a:gdLst>
                <a:gd name="T0" fmla="*/ 0 w 604"/>
                <a:gd name="T1" fmla="*/ 1664 h 1664"/>
                <a:gd name="T2" fmla="*/ 0 w 604"/>
                <a:gd name="T3" fmla="*/ 1664 h 1664"/>
                <a:gd name="T4" fmla="*/ 604 w 604"/>
                <a:gd name="T5" fmla="*/ 0 h 1664"/>
                <a:gd name="T6" fmla="*/ 604 w 604"/>
                <a:gd name="T7" fmla="*/ 0 h 1664"/>
                <a:gd name="T8" fmla="*/ 604 w 604"/>
                <a:gd name="T9" fmla="*/ 0 h 1664"/>
                <a:gd name="T10" fmla="*/ 0 w 604"/>
                <a:gd name="T11" fmla="*/ 1664 h 1664"/>
                <a:gd name="T12" fmla="*/ 0 w 604"/>
                <a:gd name="T13" fmla="*/ 1664 h 1664"/>
              </a:gdLst>
              <a:ahLst/>
              <a:cxnLst>
                <a:cxn ang="0">
                  <a:pos x="T0" y="T1"/>
                </a:cxn>
                <a:cxn ang="0">
                  <a:pos x="T2" y="T3"/>
                </a:cxn>
                <a:cxn ang="0">
                  <a:pos x="T4" y="T5"/>
                </a:cxn>
                <a:cxn ang="0">
                  <a:pos x="T6" y="T7"/>
                </a:cxn>
                <a:cxn ang="0">
                  <a:pos x="T8" y="T9"/>
                </a:cxn>
                <a:cxn ang="0">
                  <a:pos x="T10" y="T11"/>
                </a:cxn>
                <a:cxn ang="0">
                  <a:pos x="T12" y="T13"/>
                </a:cxn>
              </a:cxnLst>
              <a:rect l="0" t="0" r="r" b="b"/>
              <a:pathLst>
                <a:path w="604" h="1664">
                  <a:moveTo>
                    <a:pt x="0" y="1664"/>
                  </a:moveTo>
                  <a:lnTo>
                    <a:pt x="0" y="1664"/>
                  </a:lnTo>
                  <a:lnTo>
                    <a:pt x="604" y="0"/>
                  </a:lnTo>
                  <a:lnTo>
                    <a:pt x="604" y="0"/>
                  </a:lnTo>
                  <a:lnTo>
                    <a:pt x="604" y="0"/>
                  </a:lnTo>
                  <a:lnTo>
                    <a:pt x="0" y="1664"/>
                  </a:lnTo>
                  <a:lnTo>
                    <a:pt x="0" y="166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86" name="Freeform 409"/>
            <p:cNvSpPr>
              <a:spLocks/>
            </p:cNvSpPr>
            <p:nvPr/>
          </p:nvSpPr>
          <p:spPr bwMode="auto">
            <a:xfrm>
              <a:off x="-4567251" y="-198437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87" name="Freeform 410"/>
            <p:cNvSpPr>
              <a:spLocks noEditPoints="1"/>
            </p:cNvSpPr>
            <p:nvPr/>
          </p:nvSpPr>
          <p:spPr bwMode="auto">
            <a:xfrm>
              <a:off x="-8159775" y="2682869"/>
              <a:ext cx="1141417" cy="1914521"/>
            </a:xfrm>
            <a:custGeom>
              <a:avLst/>
              <a:gdLst>
                <a:gd name="T0" fmla="*/ 1498 w 1498"/>
                <a:gd name="T1" fmla="*/ 2514 h 2514"/>
                <a:gd name="T2" fmla="*/ 1 w 1498"/>
                <a:gd name="T3" fmla="*/ 2041 h 2514"/>
                <a:gd name="T4" fmla="*/ 0 w 1498"/>
                <a:gd name="T5" fmla="*/ 2041 h 2514"/>
                <a:gd name="T6" fmla="*/ 1 w 1498"/>
                <a:gd name="T7" fmla="*/ 2041 h 2514"/>
                <a:gd name="T8" fmla="*/ 1179 w 1498"/>
                <a:gd name="T9" fmla="*/ 0 h 2514"/>
                <a:gd name="T10" fmla="*/ 1179 w 1498"/>
                <a:gd name="T11" fmla="*/ 0 h 2514"/>
                <a:gd name="T12" fmla="*/ 1179 w 1498"/>
                <a:gd name="T13" fmla="*/ 0 h 2514"/>
                <a:gd name="T14" fmla="*/ 1179 w 1498"/>
                <a:gd name="T15" fmla="*/ 0 h 2514"/>
                <a:gd name="T16" fmla="*/ 1179 w 1498"/>
                <a:gd name="T17" fmla="*/ 0 h 2514"/>
                <a:gd name="T18" fmla="*/ 1234 w 1498"/>
                <a:gd name="T19" fmla="*/ 432 h 2514"/>
                <a:gd name="T20" fmla="*/ 1498 w 1498"/>
                <a:gd name="T21" fmla="*/ 2514 h 2514"/>
                <a:gd name="T22" fmla="*/ 1179 w 1498"/>
                <a:gd name="T23" fmla="*/ 0 h 2514"/>
                <a:gd name="T24" fmla="*/ 1179 w 1498"/>
                <a:gd name="T25" fmla="*/ 0 h 2514"/>
                <a:gd name="T26" fmla="*/ 1179 w 1498"/>
                <a:gd name="T27"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8" h="2514">
                  <a:moveTo>
                    <a:pt x="1498" y="2514"/>
                  </a:moveTo>
                  <a:lnTo>
                    <a:pt x="1" y="2041"/>
                  </a:lnTo>
                  <a:lnTo>
                    <a:pt x="0" y="2041"/>
                  </a:lnTo>
                  <a:lnTo>
                    <a:pt x="1" y="2041"/>
                  </a:lnTo>
                  <a:lnTo>
                    <a:pt x="1179" y="0"/>
                  </a:lnTo>
                  <a:lnTo>
                    <a:pt x="1179" y="0"/>
                  </a:lnTo>
                  <a:lnTo>
                    <a:pt x="1179" y="0"/>
                  </a:lnTo>
                  <a:lnTo>
                    <a:pt x="1179" y="0"/>
                  </a:lnTo>
                  <a:lnTo>
                    <a:pt x="1179" y="0"/>
                  </a:lnTo>
                  <a:lnTo>
                    <a:pt x="1234" y="432"/>
                  </a:lnTo>
                  <a:lnTo>
                    <a:pt x="1498" y="2514"/>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88" name="Freeform 411"/>
            <p:cNvSpPr>
              <a:spLocks/>
            </p:cNvSpPr>
            <p:nvPr/>
          </p:nvSpPr>
          <p:spPr bwMode="auto">
            <a:xfrm>
              <a:off x="-8159775" y="1125535"/>
              <a:ext cx="1795468" cy="1557335"/>
            </a:xfrm>
            <a:custGeom>
              <a:avLst/>
              <a:gdLst>
                <a:gd name="T0" fmla="*/ 566 w 1131"/>
                <a:gd name="T1" fmla="*/ 981 h 981"/>
                <a:gd name="T2" fmla="*/ 4 w 1131"/>
                <a:gd name="T3" fmla="*/ 7 h 981"/>
                <a:gd name="T4" fmla="*/ 0 w 1131"/>
                <a:gd name="T5" fmla="*/ 0 h 981"/>
                <a:gd name="T6" fmla="*/ 0 w 1131"/>
                <a:gd name="T7" fmla="*/ 0 h 981"/>
                <a:gd name="T8" fmla="*/ 0 w 1131"/>
                <a:gd name="T9" fmla="*/ 0 h 981"/>
                <a:gd name="T10" fmla="*/ 0 w 1131"/>
                <a:gd name="T11" fmla="*/ 0 h 981"/>
                <a:gd name="T12" fmla="*/ 1131 w 1131"/>
                <a:gd name="T13" fmla="*/ 0 h 981"/>
                <a:gd name="T14" fmla="*/ 566 w 1131"/>
                <a:gd name="T15" fmla="*/ 981 h 9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981">
                  <a:moveTo>
                    <a:pt x="566" y="981"/>
                  </a:moveTo>
                  <a:lnTo>
                    <a:pt x="4" y="7"/>
                  </a:lnTo>
                  <a:lnTo>
                    <a:pt x="0" y="0"/>
                  </a:lnTo>
                  <a:lnTo>
                    <a:pt x="0" y="0"/>
                  </a:lnTo>
                  <a:lnTo>
                    <a:pt x="0" y="0"/>
                  </a:lnTo>
                  <a:lnTo>
                    <a:pt x="0" y="0"/>
                  </a:lnTo>
                  <a:lnTo>
                    <a:pt x="1131" y="0"/>
                  </a:lnTo>
                  <a:lnTo>
                    <a:pt x="566" y="98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89" name="Freeform 412"/>
            <p:cNvSpPr>
              <a:spLocks noEditPoints="1"/>
            </p:cNvSpPr>
            <p:nvPr/>
          </p:nvSpPr>
          <p:spPr bwMode="auto">
            <a:xfrm>
              <a:off x="-7261246" y="2655882"/>
              <a:ext cx="1047754" cy="1941510"/>
            </a:xfrm>
            <a:custGeom>
              <a:avLst/>
              <a:gdLst>
                <a:gd name="T0" fmla="*/ 319 w 1375"/>
                <a:gd name="T1" fmla="*/ 2549 h 2549"/>
                <a:gd name="T2" fmla="*/ 55 w 1375"/>
                <a:gd name="T3" fmla="*/ 467 h 2549"/>
                <a:gd name="T4" fmla="*/ 0 w 1375"/>
                <a:gd name="T5" fmla="*/ 35 h 2549"/>
                <a:gd name="T6" fmla="*/ 1375 w 1375"/>
                <a:gd name="T7" fmla="*/ 0 h 2549"/>
                <a:gd name="T8" fmla="*/ 1375 w 1375"/>
                <a:gd name="T9" fmla="*/ 0 h 2549"/>
                <a:gd name="T10" fmla="*/ 319 w 1375"/>
                <a:gd name="T11" fmla="*/ 2549 h 2549"/>
                <a:gd name="T12" fmla="*/ 1375 w 1375"/>
                <a:gd name="T13" fmla="*/ 0 h 2549"/>
                <a:gd name="T14" fmla="*/ 1375 w 1375"/>
                <a:gd name="T15" fmla="*/ 0 h 2549"/>
                <a:gd name="T16" fmla="*/ 1375 w 1375"/>
                <a:gd name="T17" fmla="*/ 0 h 2549"/>
                <a:gd name="T18" fmla="*/ 1375 w 1375"/>
                <a:gd name="T19" fmla="*/ 0 h 2549"/>
                <a:gd name="T20" fmla="*/ 1375 w 1375"/>
                <a:gd name="T21" fmla="*/ 0 h 2549"/>
                <a:gd name="T22" fmla="*/ 1375 w 1375"/>
                <a:gd name="T23" fmla="*/ 0 h 2549"/>
                <a:gd name="T24" fmla="*/ 1375 w 1375"/>
                <a:gd name="T25" fmla="*/ 0 h 2549"/>
                <a:gd name="T26" fmla="*/ 1375 w 1375"/>
                <a:gd name="T27" fmla="*/ 0 h 2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5" h="2549">
                  <a:moveTo>
                    <a:pt x="319" y="2549"/>
                  </a:moveTo>
                  <a:lnTo>
                    <a:pt x="55" y="467"/>
                  </a:lnTo>
                  <a:lnTo>
                    <a:pt x="0" y="35"/>
                  </a:lnTo>
                  <a:lnTo>
                    <a:pt x="1375" y="0"/>
                  </a:lnTo>
                  <a:lnTo>
                    <a:pt x="1375" y="0"/>
                  </a:lnTo>
                  <a:lnTo>
                    <a:pt x="319" y="2549"/>
                  </a:lnTo>
                  <a:moveTo>
                    <a:pt x="1375" y="0"/>
                  </a:moveTo>
                  <a:lnTo>
                    <a:pt x="1375" y="0"/>
                  </a:lnTo>
                  <a:lnTo>
                    <a:pt x="1375" y="0"/>
                  </a:lnTo>
                  <a:lnTo>
                    <a:pt x="1375" y="0"/>
                  </a:lnTo>
                  <a:moveTo>
                    <a:pt x="1375" y="0"/>
                  </a:moveTo>
                  <a:lnTo>
                    <a:pt x="1375" y="0"/>
                  </a:lnTo>
                  <a:lnTo>
                    <a:pt x="1375" y="0"/>
                  </a:lnTo>
                  <a:lnTo>
                    <a:pt x="1375"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90" name="Freeform 413"/>
            <p:cNvSpPr>
              <a:spLocks noEditPoints="1"/>
            </p:cNvSpPr>
            <p:nvPr/>
          </p:nvSpPr>
          <p:spPr bwMode="auto">
            <a:xfrm>
              <a:off x="-9488517" y="1125535"/>
              <a:ext cx="2227269" cy="2085971"/>
            </a:xfrm>
            <a:custGeom>
              <a:avLst/>
              <a:gdLst>
                <a:gd name="T0" fmla="*/ 0 w 2922"/>
                <a:gd name="T1" fmla="*/ 2737 h 2737"/>
                <a:gd name="T2" fmla="*/ 0 w 2922"/>
                <a:gd name="T3" fmla="*/ 2737 h 2737"/>
                <a:gd name="T4" fmla="*/ 0 w 2922"/>
                <a:gd name="T5" fmla="*/ 2737 h 2737"/>
                <a:gd name="T6" fmla="*/ 0 w 2922"/>
                <a:gd name="T7" fmla="*/ 2737 h 2737"/>
                <a:gd name="T8" fmla="*/ 1744 w 2922"/>
                <a:gd name="T9" fmla="*/ 0 h 2737"/>
                <a:gd name="T10" fmla="*/ 1752 w 2922"/>
                <a:gd name="T11" fmla="*/ 14 h 2737"/>
                <a:gd name="T12" fmla="*/ 2922 w 2922"/>
                <a:gd name="T13" fmla="*/ 2042 h 2737"/>
                <a:gd name="T14" fmla="*/ 2922 w 2922"/>
                <a:gd name="T15" fmla="*/ 2042 h 2737"/>
                <a:gd name="T16" fmla="*/ 0 w 2922"/>
                <a:gd name="T17" fmla="*/ 2737 h 2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22" h="2737">
                  <a:moveTo>
                    <a:pt x="0" y="2737"/>
                  </a:moveTo>
                  <a:lnTo>
                    <a:pt x="0" y="2737"/>
                  </a:lnTo>
                  <a:lnTo>
                    <a:pt x="0" y="2737"/>
                  </a:lnTo>
                  <a:moveTo>
                    <a:pt x="0" y="2737"/>
                  </a:moveTo>
                  <a:lnTo>
                    <a:pt x="1744" y="0"/>
                  </a:lnTo>
                  <a:lnTo>
                    <a:pt x="1752" y="14"/>
                  </a:lnTo>
                  <a:lnTo>
                    <a:pt x="2922" y="2042"/>
                  </a:lnTo>
                  <a:lnTo>
                    <a:pt x="2922" y="2042"/>
                  </a:lnTo>
                  <a:lnTo>
                    <a:pt x="0" y="2737"/>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91" name="Freeform 414"/>
            <p:cNvSpPr>
              <a:spLocks/>
            </p:cNvSpPr>
            <p:nvPr/>
          </p:nvSpPr>
          <p:spPr bwMode="auto">
            <a:xfrm>
              <a:off x="-7261246" y="1125535"/>
              <a:ext cx="1047754" cy="1557335"/>
            </a:xfrm>
            <a:custGeom>
              <a:avLst/>
              <a:gdLst>
                <a:gd name="T0" fmla="*/ 0 w 660"/>
                <a:gd name="T1" fmla="*/ 981 h 981"/>
                <a:gd name="T2" fmla="*/ 0 w 660"/>
                <a:gd name="T3" fmla="*/ 981 h 981"/>
                <a:gd name="T4" fmla="*/ 565 w 660"/>
                <a:gd name="T5" fmla="*/ 0 h 981"/>
                <a:gd name="T6" fmla="*/ 565 w 660"/>
                <a:gd name="T7" fmla="*/ 0 h 981"/>
                <a:gd name="T8" fmla="*/ 565 w 660"/>
                <a:gd name="T9" fmla="*/ 0 h 981"/>
                <a:gd name="T10" fmla="*/ 660 w 660"/>
                <a:gd name="T11" fmla="*/ 963 h 981"/>
                <a:gd name="T12" fmla="*/ 660 w 660"/>
                <a:gd name="T13" fmla="*/ 963 h 981"/>
                <a:gd name="T14" fmla="*/ 660 w 660"/>
                <a:gd name="T15" fmla="*/ 964 h 981"/>
                <a:gd name="T16" fmla="*/ 660 w 660"/>
                <a:gd name="T17" fmla="*/ 964 h 981"/>
                <a:gd name="T18" fmla="*/ 0 w 660"/>
                <a:gd name="T19" fmla="*/ 981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0" h="981">
                  <a:moveTo>
                    <a:pt x="0" y="981"/>
                  </a:moveTo>
                  <a:lnTo>
                    <a:pt x="0" y="981"/>
                  </a:lnTo>
                  <a:lnTo>
                    <a:pt x="565" y="0"/>
                  </a:lnTo>
                  <a:lnTo>
                    <a:pt x="565" y="0"/>
                  </a:lnTo>
                  <a:lnTo>
                    <a:pt x="565" y="0"/>
                  </a:lnTo>
                  <a:lnTo>
                    <a:pt x="660" y="963"/>
                  </a:lnTo>
                  <a:lnTo>
                    <a:pt x="660" y="963"/>
                  </a:lnTo>
                  <a:lnTo>
                    <a:pt x="660" y="964"/>
                  </a:lnTo>
                  <a:lnTo>
                    <a:pt x="660" y="964"/>
                  </a:lnTo>
                  <a:lnTo>
                    <a:pt x="0"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92" name="Freeform 415"/>
            <p:cNvSpPr>
              <a:spLocks/>
            </p:cNvSpPr>
            <p:nvPr/>
          </p:nvSpPr>
          <p:spPr bwMode="auto">
            <a:xfrm>
              <a:off x="-9488517" y="2682869"/>
              <a:ext cx="2227269" cy="1554160"/>
            </a:xfrm>
            <a:custGeom>
              <a:avLst/>
              <a:gdLst>
                <a:gd name="T0" fmla="*/ 1744 w 2922"/>
                <a:gd name="T1" fmla="*/ 2041 h 2041"/>
                <a:gd name="T2" fmla="*/ 0 w 2922"/>
                <a:gd name="T3" fmla="*/ 695 h 2041"/>
                <a:gd name="T4" fmla="*/ 2922 w 2922"/>
                <a:gd name="T5" fmla="*/ 0 h 2041"/>
                <a:gd name="T6" fmla="*/ 1743 w 2922"/>
                <a:gd name="T7" fmla="*/ 2041 h 2041"/>
              </a:gdLst>
              <a:ahLst/>
              <a:cxnLst>
                <a:cxn ang="0">
                  <a:pos x="T0" y="T1"/>
                </a:cxn>
                <a:cxn ang="0">
                  <a:pos x="T2" y="T3"/>
                </a:cxn>
                <a:cxn ang="0">
                  <a:pos x="T4" y="T5"/>
                </a:cxn>
                <a:cxn ang="0">
                  <a:pos x="T6" y="T7"/>
                </a:cxn>
              </a:cxnLst>
              <a:rect l="0" t="0" r="r" b="b"/>
              <a:pathLst>
                <a:path w="2922" h="2041">
                  <a:moveTo>
                    <a:pt x="1744" y="2041"/>
                  </a:moveTo>
                  <a:lnTo>
                    <a:pt x="0" y="695"/>
                  </a:lnTo>
                  <a:lnTo>
                    <a:pt x="2922" y="0"/>
                  </a:lnTo>
                  <a:lnTo>
                    <a:pt x="1743" y="204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93" name="Freeform 416"/>
            <p:cNvSpPr>
              <a:spLocks/>
            </p:cNvSpPr>
            <p:nvPr/>
          </p:nvSpPr>
          <p:spPr bwMode="auto">
            <a:xfrm>
              <a:off x="-8159775" y="2682869"/>
              <a:ext cx="898527" cy="1554160"/>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94" name="Freeform 417"/>
            <p:cNvSpPr>
              <a:spLocks/>
            </p:cNvSpPr>
            <p:nvPr/>
          </p:nvSpPr>
          <p:spPr bwMode="auto">
            <a:xfrm>
              <a:off x="-9488517" y="2682869"/>
              <a:ext cx="2227269" cy="528636"/>
            </a:xfrm>
            <a:custGeom>
              <a:avLst/>
              <a:gdLst>
                <a:gd name="T0" fmla="*/ 0 w 1403"/>
                <a:gd name="T1" fmla="*/ 333 h 333"/>
                <a:gd name="T2" fmla="*/ 0 w 1403"/>
                <a:gd name="T3" fmla="*/ 333 h 333"/>
                <a:gd name="T4" fmla="*/ 1403 w 1403"/>
                <a:gd name="T5" fmla="*/ 0 h 333"/>
                <a:gd name="T6" fmla="*/ 1403 w 1403"/>
                <a:gd name="T7" fmla="*/ 0 h 333"/>
                <a:gd name="T8" fmla="*/ 0 w 1403"/>
                <a:gd name="T9" fmla="*/ 333 h 333"/>
              </a:gdLst>
              <a:ahLst/>
              <a:cxnLst>
                <a:cxn ang="0">
                  <a:pos x="T0" y="T1"/>
                </a:cxn>
                <a:cxn ang="0">
                  <a:pos x="T2" y="T3"/>
                </a:cxn>
                <a:cxn ang="0">
                  <a:pos x="T4" y="T5"/>
                </a:cxn>
                <a:cxn ang="0">
                  <a:pos x="T6" y="T7"/>
                </a:cxn>
                <a:cxn ang="0">
                  <a:pos x="T8" y="T9"/>
                </a:cxn>
              </a:cxnLst>
              <a:rect l="0" t="0" r="r" b="b"/>
              <a:pathLst>
                <a:path w="1403" h="333">
                  <a:moveTo>
                    <a:pt x="0" y="333"/>
                  </a:moveTo>
                  <a:lnTo>
                    <a:pt x="0" y="333"/>
                  </a:lnTo>
                  <a:lnTo>
                    <a:pt x="1403" y="0"/>
                  </a:lnTo>
                  <a:lnTo>
                    <a:pt x="1403" y="0"/>
                  </a:lnTo>
                  <a:lnTo>
                    <a:pt x="0" y="3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95" name="Freeform 418"/>
            <p:cNvSpPr>
              <a:spLocks noEditPoints="1"/>
            </p:cNvSpPr>
            <p:nvPr/>
          </p:nvSpPr>
          <p:spPr bwMode="auto">
            <a:xfrm>
              <a:off x="-6213494" y="1125535"/>
              <a:ext cx="1800231" cy="1987545"/>
            </a:xfrm>
            <a:custGeom>
              <a:avLst/>
              <a:gdLst>
                <a:gd name="T0" fmla="*/ 2364 w 2364"/>
                <a:gd name="T1" fmla="*/ 2608 h 2608"/>
                <a:gd name="T2" fmla="*/ 0 w 2364"/>
                <a:gd name="T3" fmla="*/ 2007 h 2608"/>
                <a:gd name="T4" fmla="*/ 0 w 2364"/>
                <a:gd name="T5" fmla="*/ 2006 h 2608"/>
                <a:gd name="T6" fmla="*/ 0 w 2364"/>
                <a:gd name="T7" fmla="*/ 2006 h 2608"/>
                <a:gd name="T8" fmla="*/ 0 w 2364"/>
                <a:gd name="T9" fmla="*/ 2006 h 2608"/>
                <a:gd name="T10" fmla="*/ 2161 w 2364"/>
                <a:gd name="T11" fmla="*/ 0 h 2608"/>
                <a:gd name="T12" fmla="*/ 2364 w 2364"/>
                <a:gd name="T13" fmla="*/ 2608 h 2608"/>
                <a:gd name="T14" fmla="*/ 2161 w 2364"/>
                <a:gd name="T15" fmla="*/ 0 h 2608"/>
                <a:gd name="T16" fmla="*/ 2161 w 2364"/>
                <a:gd name="T17" fmla="*/ 0 h 2608"/>
                <a:gd name="T18" fmla="*/ 2161 w 2364"/>
                <a:gd name="T19" fmla="*/ 0 h 2608"/>
                <a:gd name="T20" fmla="*/ 2161 w 2364"/>
                <a:gd name="T21" fmla="*/ 0 h 2608"/>
                <a:gd name="T22" fmla="*/ 2161 w 2364"/>
                <a:gd name="T23" fmla="*/ 0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64" h="2608">
                  <a:moveTo>
                    <a:pt x="2364" y="2608"/>
                  </a:moveTo>
                  <a:lnTo>
                    <a:pt x="0" y="2007"/>
                  </a:lnTo>
                  <a:lnTo>
                    <a:pt x="0" y="2006"/>
                  </a:lnTo>
                  <a:lnTo>
                    <a:pt x="0" y="2006"/>
                  </a:lnTo>
                  <a:lnTo>
                    <a:pt x="0" y="2006"/>
                  </a:lnTo>
                  <a:lnTo>
                    <a:pt x="2161" y="0"/>
                  </a:lnTo>
                  <a:lnTo>
                    <a:pt x="2364" y="2608"/>
                  </a:lnTo>
                  <a:moveTo>
                    <a:pt x="2161" y="0"/>
                  </a:moveTo>
                  <a:lnTo>
                    <a:pt x="2161" y="0"/>
                  </a:lnTo>
                  <a:lnTo>
                    <a:pt x="2161" y="0"/>
                  </a:lnTo>
                  <a:lnTo>
                    <a:pt x="2161" y="0"/>
                  </a:lnTo>
                  <a:lnTo>
                    <a:pt x="2161" y="0"/>
                  </a:lnTo>
                </a:path>
              </a:pathLst>
            </a:custGeom>
            <a:solidFill>
              <a:srgbClr val="59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96" name="Rectangle 419"/>
            <p:cNvSpPr>
              <a:spLocks noChangeArrowheads="1"/>
            </p:cNvSpPr>
            <p:nvPr/>
          </p:nvSpPr>
          <p:spPr bwMode="auto">
            <a:xfrm>
              <a:off x="-6213494" y="2654296"/>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97" name="Freeform 420"/>
            <p:cNvSpPr>
              <a:spLocks/>
            </p:cNvSpPr>
            <p:nvPr/>
          </p:nvSpPr>
          <p:spPr bwMode="auto">
            <a:xfrm>
              <a:off x="-5526105" y="160337"/>
              <a:ext cx="2544771" cy="965198"/>
            </a:xfrm>
            <a:custGeom>
              <a:avLst/>
              <a:gdLst>
                <a:gd name="T0" fmla="*/ 604 w 1603"/>
                <a:gd name="T1" fmla="*/ 608 h 608"/>
                <a:gd name="T2" fmla="*/ 62 w 1603"/>
                <a:gd name="T3" fmla="*/ 344 h 608"/>
                <a:gd name="T4" fmla="*/ 0 w 1603"/>
                <a:gd name="T5" fmla="*/ 313 h 608"/>
                <a:gd name="T6" fmla="*/ 0 w 1603"/>
                <a:gd name="T7" fmla="*/ 313 h 608"/>
                <a:gd name="T8" fmla="*/ 1603 w 1603"/>
                <a:gd name="T9" fmla="*/ 0 h 608"/>
                <a:gd name="T10" fmla="*/ 1508 w 1603"/>
                <a:gd name="T11" fmla="*/ 57 h 608"/>
                <a:gd name="T12" fmla="*/ 604 w 1603"/>
                <a:gd name="T13" fmla="*/ 608 h 608"/>
              </a:gdLst>
              <a:ahLst/>
              <a:cxnLst>
                <a:cxn ang="0">
                  <a:pos x="T0" y="T1"/>
                </a:cxn>
                <a:cxn ang="0">
                  <a:pos x="T2" y="T3"/>
                </a:cxn>
                <a:cxn ang="0">
                  <a:pos x="T4" y="T5"/>
                </a:cxn>
                <a:cxn ang="0">
                  <a:pos x="T6" y="T7"/>
                </a:cxn>
                <a:cxn ang="0">
                  <a:pos x="T8" y="T9"/>
                </a:cxn>
                <a:cxn ang="0">
                  <a:pos x="T10" y="T11"/>
                </a:cxn>
                <a:cxn ang="0">
                  <a:pos x="T12" y="T13"/>
                </a:cxn>
              </a:cxnLst>
              <a:rect l="0" t="0" r="r" b="b"/>
              <a:pathLst>
                <a:path w="1603" h="608">
                  <a:moveTo>
                    <a:pt x="604" y="608"/>
                  </a:moveTo>
                  <a:lnTo>
                    <a:pt x="62" y="344"/>
                  </a:lnTo>
                  <a:lnTo>
                    <a:pt x="0" y="313"/>
                  </a:lnTo>
                  <a:lnTo>
                    <a:pt x="0" y="313"/>
                  </a:lnTo>
                  <a:lnTo>
                    <a:pt x="1603" y="0"/>
                  </a:lnTo>
                  <a:lnTo>
                    <a:pt x="1508" y="57"/>
                  </a:lnTo>
                  <a:lnTo>
                    <a:pt x="604" y="608"/>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98" name="Freeform 421"/>
            <p:cNvSpPr>
              <a:spLocks/>
            </p:cNvSpPr>
            <p:nvPr/>
          </p:nvSpPr>
          <p:spPr bwMode="auto">
            <a:xfrm>
              <a:off x="-5526105" y="657224"/>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89C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199" name="Freeform 422"/>
            <p:cNvSpPr>
              <a:spLocks/>
            </p:cNvSpPr>
            <p:nvPr/>
          </p:nvSpPr>
          <p:spPr bwMode="auto">
            <a:xfrm>
              <a:off x="-4567251" y="1125535"/>
              <a:ext cx="1795468" cy="1987545"/>
            </a:xfrm>
            <a:custGeom>
              <a:avLst/>
              <a:gdLst>
                <a:gd name="T0" fmla="*/ 97 w 1131"/>
                <a:gd name="T1" fmla="*/ 1252 h 1252"/>
                <a:gd name="T2" fmla="*/ 97 w 1131"/>
                <a:gd name="T3" fmla="*/ 1252 h 1252"/>
                <a:gd name="T4" fmla="*/ 0 w 1131"/>
                <a:gd name="T5" fmla="*/ 0 h 1252"/>
                <a:gd name="T6" fmla="*/ 0 w 1131"/>
                <a:gd name="T7" fmla="*/ 0 h 1252"/>
                <a:gd name="T8" fmla="*/ 1131 w 1131"/>
                <a:gd name="T9" fmla="*/ 0 h 1252"/>
                <a:gd name="T10" fmla="*/ 97 w 1131"/>
                <a:gd name="T11" fmla="*/ 1252 h 1252"/>
                <a:gd name="T12" fmla="*/ 97 w 1131"/>
                <a:gd name="T13" fmla="*/ 1252 h 1252"/>
                <a:gd name="T14" fmla="*/ 97 w 1131"/>
                <a:gd name="T15" fmla="*/ 1252 h 1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1252">
                  <a:moveTo>
                    <a:pt x="97" y="1252"/>
                  </a:moveTo>
                  <a:lnTo>
                    <a:pt x="97" y="1252"/>
                  </a:lnTo>
                  <a:lnTo>
                    <a:pt x="0" y="0"/>
                  </a:lnTo>
                  <a:lnTo>
                    <a:pt x="0" y="0"/>
                  </a:lnTo>
                  <a:lnTo>
                    <a:pt x="1131" y="0"/>
                  </a:lnTo>
                  <a:lnTo>
                    <a:pt x="97" y="1252"/>
                  </a:lnTo>
                  <a:lnTo>
                    <a:pt x="97" y="1252"/>
                  </a:lnTo>
                  <a:lnTo>
                    <a:pt x="97" y="1252"/>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00" name="Freeform 423"/>
            <p:cNvSpPr>
              <a:spLocks/>
            </p:cNvSpPr>
            <p:nvPr/>
          </p:nvSpPr>
          <p:spPr bwMode="auto">
            <a:xfrm>
              <a:off x="-4567251" y="1125535"/>
              <a:ext cx="153988" cy="1987545"/>
            </a:xfrm>
            <a:custGeom>
              <a:avLst/>
              <a:gdLst>
                <a:gd name="T0" fmla="*/ 97 w 97"/>
                <a:gd name="T1" fmla="*/ 1252 h 1252"/>
                <a:gd name="T2" fmla="*/ 97 w 97"/>
                <a:gd name="T3" fmla="*/ 1252 h 1252"/>
                <a:gd name="T4" fmla="*/ 0 w 97"/>
                <a:gd name="T5" fmla="*/ 0 h 1252"/>
                <a:gd name="T6" fmla="*/ 0 w 97"/>
                <a:gd name="T7" fmla="*/ 0 h 1252"/>
                <a:gd name="T8" fmla="*/ 97 w 97"/>
                <a:gd name="T9" fmla="*/ 1252 h 1252"/>
              </a:gdLst>
              <a:ahLst/>
              <a:cxnLst>
                <a:cxn ang="0">
                  <a:pos x="T0" y="T1"/>
                </a:cxn>
                <a:cxn ang="0">
                  <a:pos x="T2" y="T3"/>
                </a:cxn>
                <a:cxn ang="0">
                  <a:pos x="T4" y="T5"/>
                </a:cxn>
                <a:cxn ang="0">
                  <a:pos x="T6" y="T7"/>
                </a:cxn>
                <a:cxn ang="0">
                  <a:pos x="T8" y="T9"/>
                </a:cxn>
              </a:cxnLst>
              <a:rect l="0" t="0" r="r" b="b"/>
              <a:pathLst>
                <a:path w="97" h="1252">
                  <a:moveTo>
                    <a:pt x="97" y="1252"/>
                  </a:moveTo>
                  <a:lnTo>
                    <a:pt x="97" y="1252"/>
                  </a:lnTo>
                  <a:lnTo>
                    <a:pt x="0" y="0"/>
                  </a:lnTo>
                  <a:lnTo>
                    <a:pt x="0" y="0"/>
                  </a:lnTo>
                  <a:lnTo>
                    <a:pt x="97" y="1252"/>
                  </a:lnTo>
                  <a:close/>
                </a:path>
              </a:pathLst>
            </a:custGeom>
            <a:solidFill>
              <a:srgbClr val="5BA2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01" name="Freeform 424"/>
            <p:cNvSpPr>
              <a:spLocks noEditPoints="1"/>
            </p:cNvSpPr>
            <p:nvPr/>
          </p:nvSpPr>
          <p:spPr bwMode="auto">
            <a:xfrm>
              <a:off x="-6364307" y="657224"/>
              <a:ext cx="1797056" cy="468312"/>
            </a:xfrm>
            <a:custGeom>
              <a:avLst/>
              <a:gdLst>
                <a:gd name="T0" fmla="*/ 0 w 2357"/>
                <a:gd name="T1" fmla="*/ 615 h 615"/>
                <a:gd name="T2" fmla="*/ 0 w 2357"/>
                <a:gd name="T3" fmla="*/ 615 h 615"/>
                <a:gd name="T4" fmla="*/ 0 w 2357"/>
                <a:gd name="T5" fmla="*/ 615 h 615"/>
                <a:gd name="T6" fmla="*/ 0 w 2357"/>
                <a:gd name="T7" fmla="*/ 615 h 615"/>
                <a:gd name="T8" fmla="*/ 0 w 2357"/>
                <a:gd name="T9" fmla="*/ 615 h 615"/>
                <a:gd name="T10" fmla="*/ 2357 w 2357"/>
                <a:gd name="T11" fmla="*/ 615 h 615"/>
                <a:gd name="T12" fmla="*/ 0 w 2357"/>
                <a:gd name="T13" fmla="*/ 615 h 615"/>
                <a:gd name="T14" fmla="*/ 833 w 2357"/>
                <a:gd name="T15" fmla="*/ 149 h 615"/>
                <a:gd name="T16" fmla="*/ 1099 w 2357"/>
                <a:gd name="T17" fmla="*/ 0 h 615"/>
                <a:gd name="T18" fmla="*/ 1228 w 2357"/>
                <a:gd name="T19" fmla="*/ 64 h 615"/>
                <a:gd name="T20" fmla="*/ 2357 w 2357"/>
                <a:gd name="T21" fmla="*/ 615 h 615"/>
                <a:gd name="T22" fmla="*/ 2357 w 2357"/>
                <a:gd name="T23"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7" h="615">
                  <a:moveTo>
                    <a:pt x="0" y="615"/>
                  </a:moveTo>
                  <a:lnTo>
                    <a:pt x="0" y="615"/>
                  </a:lnTo>
                  <a:lnTo>
                    <a:pt x="0" y="615"/>
                  </a:lnTo>
                  <a:lnTo>
                    <a:pt x="0" y="615"/>
                  </a:lnTo>
                  <a:lnTo>
                    <a:pt x="0" y="615"/>
                  </a:lnTo>
                  <a:moveTo>
                    <a:pt x="2357" y="615"/>
                  </a:moveTo>
                  <a:lnTo>
                    <a:pt x="0" y="615"/>
                  </a:lnTo>
                  <a:lnTo>
                    <a:pt x="833" y="149"/>
                  </a:lnTo>
                  <a:lnTo>
                    <a:pt x="1099" y="0"/>
                  </a:lnTo>
                  <a:lnTo>
                    <a:pt x="1228" y="64"/>
                  </a:lnTo>
                  <a:lnTo>
                    <a:pt x="2357" y="615"/>
                  </a:lnTo>
                  <a:lnTo>
                    <a:pt x="2357" y="615"/>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02" name="Freeform 425"/>
            <p:cNvSpPr>
              <a:spLocks/>
            </p:cNvSpPr>
            <p:nvPr/>
          </p:nvSpPr>
          <p:spPr bwMode="auto">
            <a:xfrm>
              <a:off x="-5729306" y="657224"/>
              <a:ext cx="203201" cy="114300"/>
            </a:xfrm>
            <a:custGeom>
              <a:avLst/>
              <a:gdLst>
                <a:gd name="T0" fmla="*/ 0 w 128"/>
                <a:gd name="T1" fmla="*/ 72 h 72"/>
                <a:gd name="T2" fmla="*/ 128 w 128"/>
                <a:gd name="T3" fmla="*/ 0 h 72"/>
                <a:gd name="T4" fmla="*/ 128 w 128"/>
                <a:gd name="T5" fmla="*/ 0 h 72"/>
                <a:gd name="T6" fmla="*/ 0 w 128"/>
                <a:gd name="T7" fmla="*/ 72 h 72"/>
              </a:gdLst>
              <a:ahLst/>
              <a:cxnLst>
                <a:cxn ang="0">
                  <a:pos x="T0" y="T1"/>
                </a:cxn>
                <a:cxn ang="0">
                  <a:pos x="T2" y="T3"/>
                </a:cxn>
                <a:cxn ang="0">
                  <a:pos x="T4" y="T5"/>
                </a:cxn>
                <a:cxn ang="0">
                  <a:pos x="T6" y="T7"/>
                </a:cxn>
              </a:cxnLst>
              <a:rect l="0" t="0" r="r" b="b"/>
              <a:pathLst>
                <a:path w="128" h="72">
                  <a:moveTo>
                    <a:pt x="0" y="72"/>
                  </a:moveTo>
                  <a:lnTo>
                    <a:pt x="128" y="0"/>
                  </a:lnTo>
                  <a:lnTo>
                    <a:pt x="128" y="0"/>
                  </a:lnTo>
                  <a:lnTo>
                    <a:pt x="0" y="72"/>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03" name="Freeform 426"/>
            <p:cNvSpPr>
              <a:spLocks/>
            </p:cNvSpPr>
            <p:nvPr/>
          </p:nvSpPr>
          <p:spPr bwMode="auto">
            <a:xfrm>
              <a:off x="-5526105" y="657224"/>
              <a:ext cx="98425" cy="49214"/>
            </a:xfrm>
            <a:custGeom>
              <a:avLst/>
              <a:gdLst>
                <a:gd name="T0" fmla="*/ 62 w 62"/>
                <a:gd name="T1" fmla="*/ 31 h 31"/>
                <a:gd name="T2" fmla="*/ 0 w 62"/>
                <a:gd name="T3" fmla="*/ 0 h 31"/>
                <a:gd name="T4" fmla="*/ 0 w 62"/>
                <a:gd name="T5" fmla="*/ 0 h 31"/>
                <a:gd name="T6" fmla="*/ 62 w 62"/>
                <a:gd name="T7" fmla="*/ 31 h 31"/>
              </a:gdLst>
              <a:ahLst/>
              <a:cxnLst>
                <a:cxn ang="0">
                  <a:pos x="T0" y="T1"/>
                </a:cxn>
                <a:cxn ang="0">
                  <a:pos x="T2" y="T3"/>
                </a:cxn>
                <a:cxn ang="0">
                  <a:pos x="T4" y="T5"/>
                </a:cxn>
                <a:cxn ang="0">
                  <a:pos x="T6" y="T7"/>
                </a:cxn>
              </a:cxnLst>
              <a:rect l="0" t="0" r="r" b="b"/>
              <a:pathLst>
                <a:path w="62" h="31">
                  <a:moveTo>
                    <a:pt x="62" y="31"/>
                  </a:moveTo>
                  <a:lnTo>
                    <a:pt x="0" y="0"/>
                  </a:lnTo>
                  <a:lnTo>
                    <a:pt x="0" y="0"/>
                  </a:lnTo>
                  <a:lnTo>
                    <a:pt x="62" y="31"/>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04" name="Rectangle 427"/>
            <p:cNvSpPr>
              <a:spLocks noChangeArrowheads="1"/>
            </p:cNvSpPr>
            <p:nvPr/>
          </p:nvSpPr>
          <p:spPr bwMode="auto">
            <a:xfrm>
              <a:off x="-5526105" y="657224"/>
              <a:ext cx="1588" cy="1588"/>
            </a:xfrm>
            <a:prstGeom prst="rect">
              <a:avLst/>
            </a:prstGeom>
            <a:solidFill>
              <a:srgbClr val="589CBB"/>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05" name="Freeform 428"/>
            <p:cNvSpPr>
              <a:spLocks/>
            </p:cNvSpPr>
            <p:nvPr/>
          </p:nvSpPr>
          <p:spPr bwMode="auto">
            <a:xfrm>
              <a:off x="-4567251" y="160337"/>
              <a:ext cx="1795468" cy="965198"/>
            </a:xfrm>
            <a:custGeom>
              <a:avLst/>
              <a:gdLst>
                <a:gd name="T0" fmla="*/ 0 w 1131"/>
                <a:gd name="T1" fmla="*/ 608 h 608"/>
                <a:gd name="T2" fmla="*/ 0 w 1131"/>
                <a:gd name="T3" fmla="*/ 608 h 608"/>
                <a:gd name="T4" fmla="*/ 904 w 1131"/>
                <a:gd name="T5" fmla="*/ 57 h 608"/>
                <a:gd name="T6" fmla="*/ 999 w 1131"/>
                <a:gd name="T7" fmla="*/ 0 h 608"/>
                <a:gd name="T8" fmla="*/ 999 w 1131"/>
                <a:gd name="T9" fmla="*/ 0 h 608"/>
                <a:gd name="T10" fmla="*/ 1077 w 1131"/>
                <a:gd name="T11" fmla="*/ 359 h 608"/>
                <a:gd name="T12" fmla="*/ 1131 w 1131"/>
                <a:gd name="T13" fmla="*/ 608 h 608"/>
                <a:gd name="T14" fmla="*/ 0 w 1131"/>
                <a:gd name="T15" fmla="*/ 608 h 6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608">
                  <a:moveTo>
                    <a:pt x="0" y="608"/>
                  </a:moveTo>
                  <a:lnTo>
                    <a:pt x="0" y="608"/>
                  </a:lnTo>
                  <a:lnTo>
                    <a:pt x="904" y="57"/>
                  </a:lnTo>
                  <a:lnTo>
                    <a:pt x="999" y="0"/>
                  </a:lnTo>
                  <a:lnTo>
                    <a:pt x="999" y="0"/>
                  </a:lnTo>
                  <a:lnTo>
                    <a:pt x="1077" y="359"/>
                  </a:lnTo>
                  <a:lnTo>
                    <a:pt x="1131" y="608"/>
                  </a:lnTo>
                  <a:lnTo>
                    <a:pt x="0" y="608"/>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06" name="Freeform 429"/>
            <p:cNvSpPr>
              <a:spLocks/>
            </p:cNvSpPr>
            <p:nvPr/>
          </p:nvSpPr>
          <p:spPr bwMode="auto">
            <a:xfrm>
              <a:off x="-3132147" y="160337"/>
              <a:ext cx="150813" cy="90488"/>
            </a:xfrm>
            <a:custGeom>
              <a:avLst/>
              <a:gdLst>
                <a:gd name="T0" fmla="*/ 0 w 95"/>
                <a:gd name="T1" fmla="*/ 57 h 57"/>
                <a:gd name="T2" fmla="*/ 95 w 95"/>
                <a:gd name="T3" fmla="*/ 0 h 57"/>
                <a:gd name="T4" fmla="*/ 95 w 95"/>
                <a:gd name="T5" fmla="*/ 0 h 57"/>
                <a:gd name="T6" fmla="*/ 0 w 95"/>
                <a:gd name="T7" fmla="*/ 57 h 57"/>
              </a:gdLst>
              <a:ahLst/>
              <a:cxnLst>
                <a:cxn ang="0">
                  <a:pos x="T0" y="T1"/>
                </a:cxn>
                <a:cxn ang="0">
                  <a:pos x="T2" y="T3"/>
                </a:cxn>
                <a:cxn ang="0">
                  <a:pos x="T4" y="T5"/>
                </a:cxn>
                <a:cxn ang="0">
                  <a:pos x="T6" y="T7"/>
                </a:cxn>
              </a:cxnLst>
              <a:rect l="0" t="0" r="r" b="b"/>
              <a:pathLst>
                <a:path w="95" h="57">
                  <a:moveTo>
                    <a:pt x="0" y="57"/>
                  </a:moveTo>
                  <a:lnTo>
                    <a:pt x="95" y="0"/>
                  </a:lnTo>
                  <a:lnTo>
                    <a:pt x="95" y="0"/>
                  </a:lnTo>
                  <a:lnTo>
                    <a:pt x="0" y="5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07" name="Freeform 430"/>
            <p:cNvSpPr>
              <a:spLocks noEditPoints="1"/>
            </p:cNvSpPr>
            <p:nvPr/>
          </p:nvSpPr>
          <p:spPr bwMode="auto">
            <a:xfrm>
              <a:off x="-6364307" y="1125535"/>
              <a:ext cx="1797056" cy="1528761"/>
            </a:xfrm>
            <a:custGeom>
              <a:avLst/>
              <a:gdLst>
                <a:gd name="T0" fmla="*/ 196 w 2357"/>
                <a:gd name="T1" fmla="*/ 2006 h 2006"/>
                <a:gd name="T2" fmla="*/ 0 w 2357"/>
                <a:gd name="T3" fmla="*/ 0 h 2006"/>
                <a:gd name="T4" fmla="*/ 2357 w 2357"/>
                <a:gd name="T5" fmla="*/ 0 h 2006"/>
                <a:gd name="T6" fmla="*/ 196 w 2357"/>
                <a:gd name="T7" fmla="*/ 2006 h 2006"/>
                <a:gd name="T8" fmla="*/ 2357 w 2357"/>
                <a:gd name="T9" fmla="*/ 0 h 2006"/>
                <a:gd name="T10" fmla="*/ 2357 w 2357"/>
                <a:gd name="T11" fmla="*/ 0 h 2006"/>
                <a:gd name="T12" fmla="*/ 2357 w 2357"/>
                <a:gd name="T13" fmla="*/ 0 h 2006"/>
                <a:gd name="T14" fmla="*/ 0 w 2357"/>
                <a:gd name="T15" fmla="*/ 0 h 2006"/>
                <a:gd name="T16" fmla="*/ 0 w 2357"/>
                <a:gd name="T17" fmla="*/ 0 h 2006"/>
                <a:gd name="T18" fmla="*/ 0 w 2357"/>
                <a:gd name="T19" fmla="*/ 0 h 2006"/>
                <a:gd name="T20" fmla="*/ 0 w 2357"/>
                <a:gd name="T21" fmla="*/ 0 h 2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7" h="2006">
                  <a:moveTo>
                    <a:pt x="196" y="2006"/>
                  </a:moveTo>
                  <a:lnTo>
                    <a:pt x="0" y="0"/>
                  </a:lnTo>
                  <a:lnTo>
                    <a:pt x="2357" y="0"/>
                  </a:lnTo>
                  <a:lnTo>
                    <a:pt x="196" y="2006"/>
                  </a:lnTo>
                  <a:moveTo>
                    <a:pt x="2357" y="0"/>
                  </a:moveTo>
                  <a:lnTo>
                    <a:pt x="2357" y="0"/>
                  </a:lnTo>
                  <a:lnTo>
                    <a:pt x="2357" y="0"/>
                  </a:lnTo>
                  <a:moveTo>
                    <a:pt x="0" y="0"/>
                  </a:moveTo>
                  <a:lnTo>
                    <a:pt x="0" y="0"/>
                  </a:lnTo>
                  <a:lnTo>
                    <a:pt x="0" y="0"/>
                  </a:ln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08" name="Freeform 431"/>
            <p:cNvSpPr>
              <a:spLocks/>
            </p:cNvSpPr>
            <p:nvPr/>
          </p:nvSpPr>
          <p:spPr bwMode="auto">
            <a:xfrm>
              <a:off x="-6213494" y="1125535"/>
              <a:ext cx="1646243" cy="1528761"/>
            </a:xfrm>
            <a:custGeom>
              <a:avLst/>
              <a:gdLst>
                <a:gd name="T0" fmla="*/ 0 w 1037"/>
                <a:gd name="T1" fmla="*/ 963 h 963"/>
                <a:gd name="T2" fmla="*/ 0 w 1037"/>
                <a:gd name="T3" fmla="*/ 963 h 963"/>
                <a:gd name="T4" fmla="*/ 1037 w 1037"/>
                <a:gd name="T5" fmla="*/ 0 h 963"/>
                <a:gd name="T6" fmla="*/ 1037 w 1037"/>
                <a:gd name="T7" fmla="*/ 0 h 963"/>
                <a:gd name="T8" fmla="*/ 1037 w 1037"/>
                <a:gd name="T9" fmla="*/ 0 h 963"/>
                <a:gd name="T10" fmla="*/ 1037 w 1037"/>
                <a:gd name="T11" fmla="*/ 0 h 963"/>
                <a:gd name="T12" fmla="*/ 0 w 1037"/>
                <a:gd name="T13" fmla="*/ 963 h 963"/>
              </a:gdLst>
              <a:ahLst/>
              <a:cxnLst>
                <a:cxn ang="0">
                  <a:pos x="T0" y="T1"/>
                </a:cxn>
                <a:cxn ang="0">
                  <a:pos x="T2" y="T3"/>
                </a:cxn>
                <a:cxn ang="0">
                  <a:pos x="T4" y="T5"/>
                </a:cxn>
                <a:cxn ang="0">
                  <a:pos x="T6" y="T7"/>
                </a:cxn>
                <a:cxn ang="0">
                  <a:pos x="T8" y="T9"/>
                </a:cxn>
                <a:cxn ang="0">
                  <a:pos x="T10" y="T11"/>
                </a:cxn>
                <a:cxn ang="0">
                  <a:pos x="T12" y="T13"/>
                </a:cxn>
              </a:cxnLst>
              <a:rect l="0" t="0" r="r" b="b"/>
              <a:pathLst>
                <a:path w="1037" h="963">
                  <a:moveTo>
                    <a:pt x="0" y="963"/>
                  </a:moveTo>
                  <a:lnTo>
                    <a:pt x="0" y="963"/>
                  </a:lnTo>
                  <a:lnTo>
                    <a:pt x="1037" y="0"/>
                  </a:lnTo>
                  <a:lnTo>
                    <a:pt x="1037" y="0"/>
                  </a:lnTo>
                  <a:lnTo>
                    <a:pt x="1037" y="0"/>
                  </a:lnTo>
                  <a:lnTo>
                    <a:pt x="1037" y="0"/>
                  </a:lnTo>
                  <a:lnTo>
                    <a:pt x="0" y="963"/>
                  </a:lnTo>
                  <a:close/>
                </a:path>
              </a:pathLst>
            </a:custGeom>
            <a:solidFill>
              <a:srgbClr val="5AA1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09" name="Freeform 432"/>
            <p:cNvSpPr>
              <a:spLocks noEditPoints="1"/>
            </p:cNvSpPr>
            <p:nvPr/>
          </p:nvSpPr>
          <p:spPr bwMode="auto">
            <a:xfrm>
              <a:off x="-8323288" y="5514965"/>
              <a:ext cx="1782768" cy="2144708"/>
            </a:xfrm>
            <a:custGeom>
              <a:avLst/>
              <a:gdLst>
                <a:gd name="T0" fmla="*/ 893 w 2339"/>
                <a:gd name="T1" fmla="*/ 2815 h 2815"/>
                <a:gd name="T2" fmla="*/ 0 w 2339"/>
                <a:gd name="T3" fmla="*/ 2815 h 2815"/>
                <a:gd name="T4" fmla="*/ 290 w 2339"/>
                <a:gd name="T5" fmla="*/ 1 h 2815"/>
                <a:gd name="T6" fmla="*/ 290 w 2339"/>
                <a:gd name="T7" fmla="*/ 0 h 2815"/>
                <a:gd name="T8" fmla="*/ 291 w 2339"/>
                <a:gd name="T9" fmla="*/ 1 h 2815"/>
                <a:gd name="T10" fmla="*/ 290 w 2339"/>
                <a:gd name="T11" fmla="*/ 1 h 2815"/>
                <a:gd name="T12" fmla="*/ 1731 w 2339"/>
                <a:gd name="T13" fmla="*/ 1291 h 2815"/>
                <a:gd name="T14" fmla="*/ 2339 w 2339"/>
                <a:gd name="T15" fmla="*/ 1834 h 2815"/>
                <a:gd name="T16" fmla="*/ 893 w 2339"/>
                <a:gd name="T17" fmla="*/ 2815 h 2815"/>
                <a:gd name="T18" fmla="*/ 291 w 2339"/>
                <a:gd name="T19" fmla="*/ 1 h 2815"/>
                <a:gd name="T20" fmla="*/ 290 w 2339"/>
                <a:gd name="T21" fmla="*/ 1 h 2815"/>
                <a:gd name="T22" fmla="*/ 291 w 2339"/>
                <a:gd name="T23" fmla="*/ 1 h 2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39" h="2815">
                  <a:moveTo>
                    <a:pt x="893" y="2815"/>
                  </a:moveTo>
                  <a:lnTo>
                    <a:pt x="0" y="2815"/>
                  </a:lnTo>
                  <a:lnTo>
                    <a:pt x="290" y="1"/>
                  </a:lnTo>
                  <a:lnTo>
                    <a:pt x="290" y="0"/>
                  </a:lnTo>
                  <a:lnTo>
                    <a:pt x="291" y="1"/>
                  </a:lnTo>
                  <a:lnTo>
                    <a:pt x="290" y="1"/>
                  </a:lnTo>
                  <a:lnTo>
                    <a:pt x="1731" y="1291"/>
                  </a:lnTo>
                  <a:lnTo>
                    <a:pt x="2339" y="1834"/>
                  </a:lnTo>
                  <a:lnTo>
                    <a:pt x="893" y="2815"/>
                  </a:lnTo>
                  <a:moveTo>
                    <a:pt x="291" y="1"/>
                  </a:moveTo>
                  <a:lnTo>
                    <a:pt x="290" y="1"/>
                  </a:lnTo>
                  <a:lnTo>
                    <a:pt x="29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10" name="Freeform 433"/>
            <p:cNvSpPr>
              <a:spLocks/>
            </p:cNvSpPr>
            <p:nvPr/>
          </p:nvSpPr>
          <p:spPr bwMode="auto">
            <a:xfrm>
              <a:off x="-8159775" y="4237029"/>
              <a:ext cx="1141417" cy="1277936"/>
            </a:xfrm>
            <a:custGeom>
              <a:avLst/>
              <a:gdLst>
                <a:gd name="T0" fmla="*/ 36 w 719"/>
                <a:gd name="T1" fmla="*/ 805 h 805"/>
                <a:gd name="T2" fmla="*/ 36 w 719"/>
                <a:gd name="T3" fmla="*/ 805 h 805"/>
                <a:gd name="T4" fmla="*/ 32 w 719"/>
                <a:gd name="T5" fmla="*/ 713 h 805"/>
                <a:gd name="T6" fmla="*/ 0 w 719"/>
                <a:gd name="T7" fmla="*/ 1 h 805"/>
                <a:gd name="T8" fmla="*/ 0 w 719"/>
                <a:gd name="T9" fmla="*/ 1 h 805"/>
                <a:gd name="T10" fmla="*/ 0 w 719"/>
                <a:gd name="T11" fmla="*/ 0 h 805"/>
                <a:gd name="T12" fmla="*/ 0 w 719"/>
                <a:gd name="T13" fmla="*/ 0 h 805"/>
                <a:gd name="T14" fmla="*/ 719 w 719"/>
                <a:gd name="T15" fmla="*/ 227 h 805"/>
                <a:gd name="T16" fmla="*/ 36 w 719"/>
                <a:gd name="T17" fmla="*/ 805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9" h="805">
                  <a:moveTo>
                    <a:pt x="36" y="805"/>
                  </a:moveTo>
                  <a:lnTo>
                    <a:pt x="36" y="805"/>
                  </a:lnTo>
                  <a:lnTo>
                    <a:pt x="32" y="713"/>
                  </a:lnTo>
                  <a:lnTo>
                    <a:pt x="0" y="1"/>
                  </a:lnTo>
                  <a:lnTo>
                    <a:pt x="0" y="1"/>
                  </a:lnTo>
                  <a:lnTo>
                    <a:pt x="0" y="0"/>
                  </a:lnTo>
                  <a:lnTo>
                    <a:pt x="0" y="0"/>
                  </a:lnTo>
                  <a:lnTo>
                    <a:pt x="719" y="227"/>
                  </a:lnTo>
                  <a:lnTo>
                    <a:pt x="36" y="80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11" name="Freeform 434"/>
            <p:cNvSpPr>
              <a:spLocks/>
            </p:cNvSpPr>
            <p:nvPr/>
          </p:nvSpPr>
          <p:spPr bwMode="auto">
            <a:xfrm>
              <a:off x="-8101037" y="5514965"/>
              <a:ext cx="2635258" cy="1396997"/>
            </a:xfrm>
            <a:custGeom>
              <a:avLst/>
              <a:gdLst>
                <a:gd name="T0" fmla="*/ 983 w 1660"/>
                <a:gd name="T1" fmla="*/ 880 h 880"/>
                <a:gd name="T2" fmla="*/ 691 w 1660"/>
                <a:gd name="T3" fmla="*/ 619 h 880"/>
                <a:gd name="T4" fmla="*/ 0 w 1660"/>
                <a:gd name="T5" fmla="*/ 0 h 880"/>
                <a:gd name="T6" fmla="*/ 1660 w 1660"/>
                <a:gd name="T7" fmla="*/ 175 h 880"/>
                <a:gd name="T8" fmla="*/ 1660 w 1660"/>
                <a:gd name="T9" fmla="*/ 175 h 880"/>
                <a:gd name="T10" fmla="*/ 1660 w 1660"/>
                <a:gd name="T11" fmla="*/ 175 h 880"/>
                <a:gd name="T12" fmla="*/ 1660 w 1660"/>
                <a:gd name="T13" fmla="*/ 175 h 880"/>
                <a:gd name="T14" fmla="*/ 983 w 1660"/>
                <a:gd name="T15" fmla="*/ 880 h 8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0" h="880">
                  <a:moveTo>
                    <a:pt x="983" y="880"/>
                  </a:moveTo>
                  <a:lnTo>
                    <a:pt x="691" y="619"/>
                  </a:lnTo>
                  <a:lnTo>
                    <a:pt x="0" y="0"/>
                  </a:lnTo>
                  <a:lnTo>
                    <a:pt x="1660" y="175"/>
                  </a:lnTo>
                  <a:lnTo>
                    <a:pt x="1660" y="175"/>
                  </a:lnTo>
                  <a:lnTo>
                    <a:pt x="1660" y="175"/>
                  </a:lnTo>
                  <a:lnTo>
                    <a:pt x="1660" y="175"/>
                  </a:lnTo>
                  <a:lnTo>
                    <a:pt x="983" y="8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12" name="Freeform 435"/>
            <p:cNvSpPr>
              <a:spLocks/>
            </p:cNvSpPr>
            <p:nvPr/>
          </p:nvSpPr>
          <p:spPr bwMode="auto">
            <a:xfrm>
              <a:off x="-8102625" y="5514965"/>
              <a:ext cx="1098553" cy="982661"/>
            </a:xfrm>
            <a:custGeom>
              <a:avLst/>
              <a:gdLst>
                <a:gd name="T0" fmla="*/ 692 w 692"/>
                <a:gd name="T1" fmla="*/ 619 h 619"/>
                <a:gd name="T2" fmla="*/ 0 w 692"/>
                <a:gd name="T3" fmla="*/ 0 h 619"/>
                <a:gd name="T4" fmla="*/ 1 w 692"/>
                <a:gd name="T5" fmla="*/ 0 h 619"/>
                <a:gd name="T6" fmla="*/ 692 w 692"/>
                <a:gd name="T7" fmla="*/ 619 h 619"/>
              </a:gdLst>
              <a:ahLst/>
              <a:cxnLst>
                <a:cxn ang="0">
                  <a:pos x="T0" y="T1"/>
                </a:cxn>
                <a:cxn ang="0">
                  <a:pos x="T2" y="T3"/>
                </a:cxn>
                <a:cxn ang="0">
                  <a:pos x="T4" y="T5"/>
                </a:cxn>
                <a:cxn ang="0">
                  <a:pos x="T6" y="T7"/>
                </a:cxn>
              </a:cxnLst>
              <a:rect l="0" t="0" r="r" b="b"/>
              <a:pathLst>
                <a:path w="692" h="619">
                  <a:moveTo>
                    <a:pt x="692" y="619"/>
                  </a:moveTo>
                  <a:lnTo>
                    <a:pt x="0" y="0"/>
                  </a:lnTo>
                  <a:lnTo>
                    <a:pt x="1" y="0"/>
                  </a:lnTo>
                  <a:lnTo>
                    <a:pt x="692" y="61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13" name="Freeform 436"/>
            <p:cNvSpPr>
              <a:spLocks noEditPoints="1"/>
            </p:cNvSpPr>
            <p:nvPr/>
          </p:nvSpPr>
          <p:spPr bwMode="auto">
            <a:xfrm>
              <a:off x="-9909204" y="4238617"/>
              <a:ext cx="1806580" cy="2339971"/>
            </a:xfrm>
            <a:custGeom>
              <a:avLst/>
              <a:gdLst>
                <a:gd name="T0" fmla="*/ 0 w 2371"/>
                <a:gd name="T1" fmla="*/ 3072 h 3072"/>
                <a:gd name="T2" fmla="*/ 0 w 2371"/>
                <a:gd name="T3" fmla="*/ 3072 h 3072"/>
                <a:gd name="T4" fmla="*/ 0 w 2371"/>
                <a:gd name="T5" fmla="*/ 3072 h 3072"/>
                <a:gd name="T6" fmla="*/ 0 w 2371"/>
                <a:gd name="T7" fmla="*/ 3072 h 3072"/>
                <a:gd name="T8" fmla="*/ 2296 w 2371"/>
                <a:gd name="T9" fmla="*/ 0 h 3072"/>
                <a:gd name="T10" fmla="*/ 2363 w 2371"/>
                <a:gd name="T11" fmla="*/ 1484 h 3072"/>
                <a:gd name="T12" fmla="*/ 2371 w 2371"/>
                <a:gd name="T13" fmla="*/ 1676 h 3072"/>
                <a:gd name="T14" fmla="*/ 2371 w 2371"/>
                <a:gd name="T15" fmla="*/ 1676 h 3072"/>
                <a:gd name="T16" fmla="*/ 0 w 2371"/>
                <a:gd name="T17" fmla="*/ 3072 h 3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1" h="3072">
                  <a:moveTo>
                    <a:pt x="0" y="3072"/>
                  </a:moveTo>
                  <a:lnTo>
                    <a:pt x="0" y="3072"/>
                  </a:lnTo>
                  <a:lnTo>
                    <a:pt x="0" y="3072"/>
                  </a:lnTo>
                  <a:moveTo>
                    <a:pt x="0" y="3072"/>
                  </a:moveTo>
                  <a:lnTo>
                    <a:pt x="2296" y="0"/>
                  </a:lnTo>
                  <a:lnTo>
                    <a:pt x="2363" y="1484"/>
                  </a:lnTo>
                  <a:lnTo>
                    <a:pt x="2371" y="1676"/>
                  </a:lnTo>
                  <a:lnTo>
                    <a:pt x="2371" y="1676"/>
                  </a:lnTo>
                  <a:lnTo>
                    <a:pt x="0" y="3072"/>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14" name="Freeform 437"/>
            <p:cNvSpPr>
              <a:spLocks/>
            </p:cNvSpPr>
            <p:nvPr/>
          </p:nvSpPr>
          <p:spPr bwMode="auto">
            <a:xfrm>
              <a:off x="-8102625" y="551496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15" name="Freeform 438"/>
            <p:cNvSpPr>
              <a:spLocks/>
            </p:cNvSpPr>
            <p:nvPr/>
          </p:nvSpPr>
          <p:spPr bwMode="auto">
            <a:xfrm>
              <a:off x="-8159775" y="4238617"/>
              <a:ext cx="50800" cy="1130298"/>
            </a:xfrm>
            <a:custGeom>
              <a:avLst/>
              <a:gdLst>
                <a:gd name="T0" fmla="*/ 32 w 32"/>
                <a:gd name="T1" fmla="*/ 712 h 712"/>
                <a:gd name="T2" fmla="*/ 0 w 32"/>
                <a:gd name="T3" fmla="*/ 0 h 712"/>
                <a:gd name="T4" fmla="*/ 0 w 32"/>
                <a:gd name="T5" fmla="*/ 0 h 712"/>
                <a:gd name="T6" fmla="*/ 32 w 32"/>
                <a:gd name="T7" fmla="*/ 712 h 712"/>
              </a:gdLst>
              <a:ahLst/>
              <a:cxnLst>
                <a:cxn ang="0">
                  <a:pos x="T0" y="T1"/>
                </a:cxn>
                <a:cxn ang="0">
                  <a:pos x="T2" y="T3"/>
                </a:cxn>
                <a:cxn ang="0">
                  <a:pos x="T4" y="T5"/>
                </a:cxn>
                <a:cxn ang="0">
                  <a:pos x="T6" y="T7"/>
                </a:cxn>
              </a:cxnLst>
              <a:rect l="0" t="0" r="r" b="b"/>
              <a:pathLst>
                <a:path w="32" h="712">
                  <a:moveTo>
                    <a:pt x="32" y="712"/>
                  </a:moveTo>
                  <a:lnTo>
                    <a:pt x="0" y="0"/>
                  </a:lnTo>
                  <a:lnTo>
                    <a:pt x="0" y="0"/>
                  </a:lnTo>
                  <a:lnTo>
                    <a:pt x="32" y="71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16" name="Freeform 439"/>
            <p:cNvSpPr>
              <a:spLocks/>
            </p:cNvSpPr>
            <p:nvPr/>
          </p:nvSpPr>
          <p:spPr bwMode="auto">
            <a:xfrm>
              <a:off x="-8101037" y="4597390"/>
              <a:ext cx="2635258" cy="1195385"/>
            </a:xfrm>
            <a:custGeom>
              <a:avLst/>
              <a:gdLst>
                <a:gd name="T0" fmla="*/ 1660 w 1660"/>
                <a:gd name="T1" fmla="*/ 753 h 753"/>
                <a:gd name="T2" fmla="*/ 0 w 1660"/>
                <a:gd name="T3" fmla="*/ 578 h 753"/>
                <a:gd name="T4" fmla="*/ 0 w 1660"/>
                <a:gd name="T5" fmla="*/ 578 h 753"/>
                <a:gd name="T6" fmla="*/ 682 w 1660"/>
                <a:gd name="T7" fmla="*/ 0 h 753"/>
                <a:gd name="T8" fmla="*/ 1660 w 1660"/>
                <a:gd name="T9" fmla="*/ 753 h 753"/>
                <a:gd name="T10" fmla="*/ 1660 w 1660"/>
                <a:gd name="T11" fmla="*/ 753 h 753"/>
              </a:gdLst>
              <a:ahLst/>
              <a:cxnLst>
                <a:cxn ang="0">
                  <a:pos x="T0" y="T1"/>
                </a:cxn>
                <a:cxn ang="0">
                  <a:pos x="T2" y="T3"/>
                </a:cxn>
                <a:cxn ang="0">
                  <a:pos x="T4" y="T5"/>
                </a:cxn>
                <a:cxn ang="0">
                  <a:pos x="T6" y="T7"/>
                </a:cxn>
                <a:cxn ang="0">
                  <a:pos x="T8" y="T9"/>
                </a:cxn>
                <a:cxn ang="0">
                  <a:pos x="T10" y="T11"/>
                </a:cxn>
              </a:cxnLst>
              <a:rect l="0" t="0" r="r" b="b"/>
              <a:pathLst>
                <a:path w="1660" h="753">
                  <a:moveTo>
                    <a:pt x="1660" y="753"/>
                  </a:moveTo>
                  <a:lnTo>
                    <a:pt x="0" y="578"/>
                  </a:lnTo>
                  <a:lnTo>
                    <a:pt x="0" y="578"/>
                  </a:lnTo>
                  <a:lnTo>
                    <a:pt x="682" y="0"/>
                  </a:lnTo>
                  <a:lnTo>
                    <a:pt x="1660" y="753"/>
                  </a:lnTo>
                  <a:lnTo>
                    <a:pt x="1660" y="753"/>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17" name="Freeform 440"/>
            <p:cNvSpPr>
              <a:spLocks/>
            </p:cNvSpPr>
            <p:nvPr/>
          </p:nvSpPr>
          <p:spPr bwMode="auto">
            <a:xfrm>
              <a:off x="-8102625" y="5514965"/>
              <a:ext cx="1588"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18" name="Freeform 441"/>
            <p:cNvSpPr>
              <a:spLocks/>
            </p:cNvSpPr>
            <p:nvPr/>
          </p:nvSpPr>
          <p:spPr bwMode="auto">
            <a:xfrm>
              <a:off x="-9909204" y="5514965"/>
              <a:ext cx="1806580" cy="2144708"/>
            </a:xfrm>
            <a:custGeom>
              <a:avLst/>
              <a:gdLst>
                <a:gd name="T0" fmla="*/ 999 w 1138"/>
                <a:gd name="T1" fmla="*/ 1351 h 1351"/>
                <a:gd name="T2" fmla="*/ 662 w 1138"/>
                <a:gd name="T3" fmla="*/ 1351 h 1351"/>
                <a:gd name="T4" fmla="*/ 0 w 1138"/>
                <a:gd name="T5" fmla="*/ 670 h 1351"/>
                <a:gd name="T6" fmla="*/ 0 w 1138"/>
                <a:gd name="T7" fmla="*/ 670 h 1351"/>
                <a:gd name="T8" fmla="*/ 1138 w 1138"/>
                <a:gd name="T9" fmla="*/ 0 h 1351"/>
                <a:gd name="T10" fmla="*/ 999 w 1138"/>
                <a:gd name="T11" fmla="*/ 1351 h 1351"/>
              </a:gdLst>
              <a:ahLst/>
              <a:cxnLst>
                <a:cxn ang="0">
                  <a:pos x="T0" y="T1"/>
                </a:cxn>
                <a:cxn ang="0">
                  <a:pos x="T2" y="T3"/>
                </a:cxn>
                <a:cxn ang="0">
                  <a:pos x="T4" y="T5"/>
                </a:cxn>
                <a:cxn ang="0">
                  <a:pos x="T6" y="T7"/>
                </a:cxn>
                <a:cxn ang="0">
                  <a:pos x="T8" y="T9"/>
                </a:cxn>
                <a:cxn ang="0">
                  <a:pos x="T10" y="T11"/>
                </a:cxn>
              </a:cxnLst>
              <a:rect l="0" t="0" r="r" b="b"/>
              <a:pathLst>
                <a:path w="1138" h="1351">
                  <a:moveTo>
                    <a:pt x="999" y="1351"/>
                  </a:moveTo>
                  <a:lnTo>
                    <a:pt x="662" y="1351"/>
                  </a:lnTo>
                  <a:lnTo>
                    <a:pt x="0" y="670"/>
                  </a:lnTo>
                  <a:lnTo>
                    <a:pt x="0" y="670"/>
                  </a:lnTo>
                  <a:lnTo>
                    <a:pt x="1138" y="0"/>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19" name="Freeform 442"/>
            <p:cNvSpPr>
              <a:spLocks/>
            </p:cNvSpPr>
            <p:nvPr/>
          </p:nvSpPr>
          <p:spPr bwMode="auto">
            <a:xfrm>
              <a:off x="-5465780" y="4816465"/>
              <a:ext cx="1250954" cy="1479547"/>
            </a:xfrm>
            <a:custGeom>
              <a:avLst/>
              <a:gdLst>
                <a:gd name="T0" fmla="*/ 788 w 788"/>
                <a:gd name="T1" fmla="*/ 932 h 932"/>
                <a:gd name="T2" fmla="*/ 0 w 788"/>
                <a:gd name="T3" fmla="*/ 615 h 932"/>
                <a:gd name="T4" fmla="*/ 0 w 788"/>
                <a:gd name="T5" fmla="*/ 615 h 932"/>
                <a:gd name="T6" fmla="*/ 0 w 788"/>
                <a:gd name="T7" fmla="*/ 615 h 932"/>
                <a:gd name="T8" fmla="*/ 498 w 788"/>
                <a:gd name="T9" fmla="*/ 0 h 932"/>
                <a:gd name="T10" fmla="*/ 788 w 788"/>
                <a:gd name="T11" fmla="*/ 932 h 932"/>
              </a:gdLst>
              <a:ahLst/>
              <a:cxnLst>
                <a:cxn ang="0">
                  <a:pos x="T0" y="T1"/>
                </a:cxn>
                <a:cxn ang="0">
                  <a:pos x="T2" y="T3"/>
                </a:cxn>
                <a:cxn ang="0">
                  <a:pos x="T4" y="T5"/>
                </a:cxn>
                <a:cxn ang="0">
                  <a:pos x="T6" y="T7"/>
                </a:cxn>
                <a:cxn ang="0">
                  <a:pos x="T8" y="T9"/>
                </a:cxn>
                <a:cxn ang="0">
                  <a:pos x="T10" y="T11"/>
                </a:cxn>
              </a:cxnLst>
              <a:rect l="0" t="0" r="r" b="b"/>
              <a:pathLst>
                <a:path w="788" h="932">
                  <a:moveTo>
                    <a:pt x="788" y="932"/>
                  </a:moveTo>
                  <a:lnTo>
                    <a:pt x="0" y="615"/>
                  </a:lnTo>
                  <a:lnTo>
                    <a:pt x="0" y="615"/>
                  </a:lnTo>
                  <a:lnTo>
                    <a:pt x="0" y="615"/>
                  </a:lnTo>
                  <a:lnTo>
                    <a:pt x="498" y="0"/>
                  </a:lnTo>
                  <a:lnTo>
                    <a:pt x="788"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20" name="Freeform 443"/>
            <p:cNvSpPr>
              <a:spLocks/>
            </p:cNvSpPr>
            <p:nvPr/>
          </p:nvSpPr>
          <p:spPr bwMode="auto">
            <a:xfrm>
              <a:off x="-6213494" y="2655882"/>
              <a:ext cx="1800231" cy="2160583"/>
            </a:xfrm>
            <a:custGeom>
              <a:avLst/>
              <a:gdLst>
                <a:gd name="T0" fmla="*/ 969 w 1134"/>
                <a:gd name="T1" fmla="*/ 1361 h 1361"/>
                <a:gd name="T2" fmla="*/ 969 w 1134"/>
                <a:gd name="T3" fmla="*/ 1361 h 1361"/>
                <a:gd name="T4" fmla="*/ 0 w 1134"/>
                <a:gd name="T5" fmla="*/ 0 h 1361"/>
                <a:gd name="T6" fmla="*/ 0 w 1134"/>
                <a:gd name="T7" fmla="*/ 0 h 1361"/>
                <a:gd name="T8" fmla="*/ 1134 w 1134"/>
                <a:gd name="T9" fmla="*/ 288 h 1361"/>
                <a:gd name="T10" fmla="*/ 969 w 1134"/>
                <a:gd name="T11" fmla="*/ 1361 h 1361"/>
              </a:gdLst>
              <a:ahLst/>
              <a:cxnLst>
                <a:cxn ang="0">
                  <a:pos x="T0" y="T1"/>
                </a:cxn>
                <a:cxn ang="0">
                  <a:pos x="T2" y="T3"/>
                </a:cxn>
                <a:cxn ang="0">
                  <a:pos x="T4" y="T5"/>
                </a:cxn>
                <a:cxn ang="0">
                  <a:pos x="T6" y="T7"/>
                </a:cxn>
                <a:cxn ang="0">
                  <a:pos x="T8" y="T9"/>
                </a:cxn>
                <a:cxn ang="0">
                  <a:pos x="T10" y="T11"/>
                </a:cxn>
              </a:cxnLst>
              <a:rect l="0" t="0" r="r" b="b"/>
              <a:pathLst>
                <a:path w="1134" h="1361">
                  <a:moveTo>
                    <a:pt x="969" y="1361"/>
                  </a:moveTo>
                  <a:lnTo>
                    <a:pt x="969" y="1361"/>
                  </a:lnTo>
                  <a:lnTo>
                    <a:pt x="0" y="0"/>
                  </a:lnTo>
                  <a:lnTo>
                    <a:pt x="0" y="0"/>
                  </a:lnTo>
                  <a:lnTo>
                    <a:pt x="1134" y="288"/>
                  </a:lnTo>
                  <a:lnTo>
                    <a:pt x="969" y="1361"/>
                  </a:lnTo>
                  <a:close/>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21" name="Rectangle 444"/>
            <p:cNvSpPr>
              <a:spLocks noChangeArrowheads="1"/>
            </p:cNvSpPr>
            <p:nvPr/>
          </p:nvSpPr>
          <p:spPr bwMode="auto">
            <a:xfrm>
              <a:off x="-6213494" y="2655882"/>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22" name="Rectangle 445"/>
            <p:cNvSpPr>
              <a:spLocks noChangeArrowheads="1"/>
            </p:cNvSpPr>
            <p:nvPr/>
          </p:nvSpPr>
          <p:spPr bwMode="auto">
            <a:xfrm>
              <a:off x="-6213494" y="2655882"/>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23" name="Freeform 446"/>
            <p:cNvSpPr>
              <a:spLocks/>
            </p:cNvSpPr>
            <p:nvPr/>
          </p:nvSpPr>
          <p:spPr bwMode="auto">
            <a:xfrm>
              <a:off x="-4675202" y="4237029"/>
              <a:ext cx="1903418" cy="2058983"/>
            </a:xfrm>
            <a:custGeom>
              <a:avLst/>
              <a:gdLst>
                <a:gd name="T0" fmla="*/ 290 w 1199"/>
                <a:gd name="T1" fmla="*/ 1297 h 1297"/>
                <a:gd name="T2" fmla="*/ 290 w 1199"/>
                <a:gd name="T3" fmla="*/ 1297 h 1297"/>
                <a:gd name="T4" fmla="*/ 0 w 1199"/>
                <a:gd name="T5" fmla="*/ 365 h 1297"/>
                <a:gd name="T6" fmla="*/ 0 w 1199"/>
                <a:gd name="T7" fmla="*/ 365 h 1297"/>
                <a:gd name="T8" fmla="*/ 0 w 1199"/>
                <a:gd name="T9" fmla="*/ 365 h 1297"/>
                <a:gd name="T10" fmla="*/ 0 w 1199"/>
                <a:gd name="T11" fmla="*/ 365 h 1297"/>
                <a:gd name="T12" fmla="*/ 1199 w 1199"/>
                <a:gd name="T13" fmla="*/ 0 h 1297"/>
                <a:gd name="T14" fmla="*/ 290 w 1199"/>
                <a:gd name="T15" fmla="*/ 1297 h 1297"/>
                <a:gd name="T16" fmla="*/ 290 w 1199"/>
                <a:gd name="T17" fmla="*/ 1297 h 1297"/>
                <a:gd name="T18" fmla="*/ 290 w 1199"/>
                <a:gd name="T19" fmla="*/ 129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9" h="1297">
                  <a:moveTo>
                    <a:pt x="290" y="1297"/>
                  </a:moveTo>
                  <a:lnTo>
                    <a:pt x="290" y="1297"/>
                  </a:lnTo>
                  <a:lnTo>
                    <a:pt x="0" y="365"/>
                  </a:lnTo>
                  <a:lnTo>
                    <a:pt x="0" y="365"/>
                  </a:lnTo>
                  <a:lnTo>
                    <a:pt x="0" y="365"/>
                  </a:lnTo>
                  <a:lnTo>
                    <a:pt x="0" y="365"/>
                  </a:lnTo>
                  <a:lnTo>
                    <a:pt x="1199" y="0"/>
                  </a:lnTo>
                  <a:lnTo>
                    <a:pt x="290" y="1297"/>
                  </a:lnTo>
                  <a:lnTo>
                    <a:pt x="290" y="1297"/>
                  </a:lnTo>
                  <a:lnTo>
                    <a:pt x="290" y="1297"/>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24" name="Freeform 447"/>
            <p:cNvSpPr>
              <a:spLocks/>
            </p:cNvSpPr>
            <p:nvPr/>
          </p:nvSpPr>
          <p:spPr bwMode="auto">
            <a:xfrm>
              <a:off x="-4675202" y="4816465"/>
              <a:ext cx="460376" cy="1479547"/>
            </a:xfrm>
            <a:custGeom>
              <a:avLst/>
              <a:gdLst>
                <a:gd name="T0" fmla="*/ 290 w 290"/>
                <a:gd name="T1" fmla="*/ 932 h 932"/>
                <a:gd name="T2" fmla="*/ 290 w 290"/>
                <a:gd name="T3" fmla="*/ 932 h 932"/>
                <a:gd name="T4" fmla="*/ 0 w 290"/>
                <a:gd name="T5" fmla="*/ 0 h 932"/>
                <a:gd name="T6" fmla="*/ 0 w 290"/>
                <a:gd name="T7" fmla="*/ 0 h 932"/>
                <a:gd name="T8" fmla="*/ 290 w 290"/>
                <a:gd name="T9" fmla="*/ 932 h 932"/>
              </a:gdLst>
              <a:ahLst/>
              <a:cxnLst>
                <a:cxn ang="0">
                  <a:pos x="T0" y="T1"/>
                </a:cxn>
                <a:cxn ang="0">
                  <a:pos x="T2" y="T3"/>
                </a:cxn>
                <a:cxn ang="0">
                  <a:pos x="T4" y="T5"/>
                </a:cxn>
                <a:cxn ang="0">
                  <a:pos x="T6" y="T7"/>
                </a:cxn>
                <a:cxn ang="0">
                  <a:pos x="T8" y="T9"/>
                </a:cxn>
              </a:cxnLst>
              <a:rect l="0" t="0" r="r" b="b"/>
              <a:pathLst>
                <a:path w="290" h="932">
                  <a:moveTo>
                    <a:pt x="290" y="932"/>
                  </a:moveTo>
                  <a:lnTo>
                    <a:pt x="290" y="932"/>
                  </a:lnTo>
                  <a:lnTo>
                    <a:pt x="0" y="0"/>
                  </a:lnTo>
                  <a:lnTo>
                    <a:pt x="0" y="0"/>
                  </a:lnTo>
                  <a:lnTo>
                    <a:pt x="290"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25" name="Freeform 448"/>
            <p:cNvSpPr>
              <a:spLocks/>
            </p:cNvSpPr>
            <p:nvPr/>
          </p:nvSpPr>
          <p:spPr bwMode="auto">
            <a:xfrm>
              <a:off x="-7018359" y="2655882"/>
              <a:ext cx="2343157" cy="2160583"/>
            </a:xfrm>
            <a:custGeom>
              <a:avLst/>
              <a:gdLst>
                <a:gd name="T0" fmla="*/ 1476 w 1476"/>
                <a:gd name="T1" fmla="*/ 1361 h 1361"/>
                <a:gd name="T2" fmla="*/ 0 w 1476"/>
                <a:gd name="T3" fmla="*/ 1223 h 1361"/>
                <a:gd name="T4" fmla="*/ 507 w 1476"/>
                <a:gd name="T5" fmla="*/ 0 h 1361"/>
                <a:gd name="T6" fmla="*/ 1476 w 1476"/>
                <a:gd name="T7" fmla="*/ 1361 h 1361"/>
              </a:gdLst>
              <a:ahLst/>
              <a:cxnLst>
                <a:cxn ang="0">
                  <a:pos x="T0" y="T1"/>
                </a:cxn>
                <a:cxn ang="0">
                  <a:pos x="T2" y="T3"/>
                </a:cxn>
                <a:cxn ang="0">
                  <a:pos x="T4" y="T5"/>
                </a:cxn>
                <a:cxn ang="0">
                  <a:pos x="T6" y="T7"/>
                </a:cxn>
              </a:cxnLst>
              <a:rect l="0" t="0" r="r" b="b"/>
              <a:pathLst>
                <a:path w="1476" h="1361">
                  <a:moveTo>
                    <a:pt x="1476" y="1361"/>
                  </a:moveTo>
                  <a:lnTo>
                    <a:pt x="0" y="1223"/>
                  </a:lnTo>
                  <a:lnTo>
                    <a:pt x="507" y="0"/>
                  </a:lnTo>
                  <a:lnTo>
                    <a:pt x="1476" y="136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26" name="Freeform 449"/>
            <p:cNvSpPr>
              <a:spLocks/>
            </p:cNvSpPr>
            <p:nvPr/>
          </p:nvSpPr>
          <p:spPr bwMode="auto">
            <a:xfrm>
              <a:off x="-7018359" y="2655882"/>
              <a:ext cx="804865" cy="1941510"/>
            </a:xfrm>
            <a:custGeom>
              <a:avLst/>
              <a:gdLst>
                <a:gd name="T0" fmla="*/ 0 w 507"/>
                <a:gd name="T1" fmla="*/ 1223 h 1223"/>
                <a:gd name="T2" fmla="*/ 507 w 507"/>
                <a:gd name="T3" fmla="*/ 0 h 1223"/>
                <a:gd name="T4" fmla="*/ 507 w 507"/>
                <a:gd name="T5" fmla="*/ 0 h 1223"/>
                <a:gd name="T6" fmla="*/ 0 w 507"/>
                <a:gd name="T7" fmla="*/ 1223 h 1223"/>
              </a:gdLst>
              <a:ahLst/>
              <a:cxnLst>
                <a:cxn ang="0">
                  <a:pos x="T0" y="T1"/>
                </a:cxn>
                <a:cxn ang="0">
                  <a:pos x="T2" y="T3"/>
                </a:cxn>
                <a:cxn ang="0">
                  <a:pos x="T4" y="T5"/>
                </a:cxn>
                <a:cxn ang="0">
                  <a:pos x="T6" y="T7"/>
                </a:cxn>
              </a:cxnLst>
              <a:rect l="0" t="0" r="r" b="b"/>
              <a:pathLst>
                <a:path w="507" h="1223">
                  <a:moveTo>
                    <a:pt x="0" y="1223"/>
                  </a:moveTo>
                  <a:lnTo>
                    <a:pt x="507" y="0"/>
                  </a:lnTo>
                  <a:lnTo>
                    <a:pt x="507" y="0"/>
                  </a:lnTo>
                  <a:lnTo>
                    <a:pt x="0" y="122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27" name="Rectangle 450"/>
            <p:cNvSpPr>
              <a:spLocks noChangeArrowheads="1"/>
            </p:cNvSpPr>
            <p:nvPr/>
          </p:nvSpPr>
          <p:spPr bwMode="auto">
            <a:xfrm>
              <a:off x="-6213494" y="2655882"/>
              <a:ext cx="1588" cy="1588"/>
            </a:xfrm>
            <a:prstGeom prst="rect">
              <a:avLst/>
            </a:prstGeom>
            <a:solidFill>
              <a:srgbClr val="5698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28" name="Freeform 451"/>
            <p:cNvSpPr>
              <a:spLocks/>
            </p:cNvSpPr>
            <p:nvPr/>
          </p:nvSpPr>
          <p:spPr bwMode="auto">
            <a:xfrm>
              <a:off x="-6213494" y="2655882"/>
              <a:ext cx="1538292" cy="2160583"/>
            </a:xfrm>
            <a:custGeom>
              <a:avLst/>
              <a:gdLst>
                <a:gd name="T0" fmla="*/ 969 w 969"/>
                <a:gd name="T1" fmla="*/ 1361 h 1361"/>
                <a:gd name="T2" fmla="*/ 969 w 969"/>
                <a:gd name="T3" fmla="*/ 1361 h 1361"/>
                <a:gd name="T4" fmla="*/ 0 w 969"/>
                <a:gd name="T5" fmla="*/ 0 h 1361"/>
                <a:gd name="T6" fmla="*/ 0 w 969"/>
                <a:gd name="T7" fmla="*/ 0 h 1361"/>
                <a:gd name="T8" fmla="*/ 969 w 969"/>
                <a:gd name="T9" fmla="*/ 1361 h 1361"/>
              </a:gdLst>
              <a:ahLst/>
              <a:cxnLst>
                <a:cxn ang="0">
                  <a:pos x="T0" y="T1"/>
                </a:cxn>
                <a:cxn ang="0">
                  <a:pos x="T2" y="T3"/>
                </a:cxn>
                <a:cxn ang="0">
                  <a:pos x="T4" y="T5"/>
                </a:cxn>
                <a:cxn ang="0">
                  <a:pos x="T6" y="T7"/>
                </a:cxn>
                <a:cxn ang="0">
                  <a:pos x="T8" y="T9"/>
                </a:cxn>
              </a:cxnLst>
              <a:rect l="0" t="0" r="r" b="b"/>
              <a:pathLst>
                <a:path w="969" h="1361">
                  <a:moveTo>
                    <a:pt x="969" y="1361"/>
                  </a:moveTo>
                  <a:lnTo>
                    <a:pt x="969" y="1361"/>
                  </a:lnTo>
                  <a:lnTo>
                    <a:pt x="0" y="0"/>
                  </a:lnTo>
                  <a:lnTo>
                    <a:pt x="0" y="0"/>
                  </a:lnTo>
                  <a:lnTo>
                    <a:pt x="969" y="1361"/>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29" name="Freeform 452"/>
            <p:cNvSpPr>
              <a:spLocks/>
            </p:cNvSpPr>
            <p:nvPr/>
          </p:nvSpPr>
          <p:spPr bwMode="auto">
            <a:xfrm>
              <a:off x="-6213494" y="2655882"/>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30" name="Freeform 453"/>
            <p:cNvSpPr>
              <a:spLocks/>
            </p:cNvSpPr>
            <p:nvPr/>
          </p:nvSpPr>
          <p:spPr bwMode="auto">
            <a:xfrm>
              <a:off x="-4675202" y="3113080"/>
              <a:ext cx="1903418" cy="1703385"/>
            </a:xfrm>
            <a:custGeom>
              <a:avLst/>
              <a:gdLst>
                <a:gd name="T0" fmla="*/ 0 w 1199"/>
                <a:gd name="T1" fmla="*/ 1073 h 1073"/>
                <a:gd name="T2" fmla="*/ 165 w 1199"/>
                <a:gd name="T3" fmla="*/ 0 h 1073"/>
                <a:gd name="T4" fmla="*/ 1199 w 1199"/>
                <a:gd name="T5" fmla="*/ 708 h 1073"/>
                <a:gd name="T6" fmla="*/ 0 w 1199"/>
                <a:gd name="T7" fmla="*/ 1073 h 1073"/>
              </a:gdLst>
              <a:ahLst/>
              <a:cxnLst>
                <a:cxn ang="0">
                  <a:pos x="T0" y="T1"/>
                </a:cxn>
                <a:cxn ang="0">
                  <a:pos x="T2" y="T3"/>
                </a:cxn>
                <a:cxn ang="0">
                  <a:pos x="T4" y="T5"/>
                </a:cxn>
                <a:cxn ang="0">
                  <a:pos x="T6" y="T7"/>
                </a:cxn>
              </a:cxnLst>
              <a:rect l="0" t="0" r="r" b="b"/>
              <a:pathLst>
                <a:path w="1199" h="1073">
                  <a:moveTo>
                    <a:pt x="0" y="1073"/>
                  </a:moveTo>
                  <a:lnTo>
                    <a:pt x="165" y="0"/>
                  </a:lnTo>
                  <a:lnTo>
                    <a:pt x="1199" y="708"/>
                  </a:lnTo>
                  <a:lnTo>
                    <a:pt x="0" y="1073"/>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31" name="Freeform 454"/>
            <p:cNvSpPr>
              <a:spLocks/>
            </p:cNvSpPr>
            <p:nvPr/>
          </p:nvSpPr>
          <p:spPr bwMode="auto">
            <a:xfrm>
              <a:off x="-7018359" y="4597390"/>
              <a:ext cx="2343157" cy="1195385"/>
            </a:xfrm>
            <a:custGeom>
              <a:avLst/>
              <a:gdLst>
                <a:gd name="T0" fmla="*/ 978 w 1476"/>
                <a:gd name="T1" fmla="*/ 753 h 753"/>
                <a:gd name="T2" fmla="*/ 978 w 1476"/>
                <a:gd name="T3" fmla="*/ 753 h 753"/>
                <a:gd name="T4" fmla="*/ 0 w 1476"/>
                <a:gd name="T5" fmla="*/ 0 h 753"/>
                <a:gd name="T6" fmla="*/ 1476 w 1476"/>
                <a:gd name="T7" fmla="*/ 138 h 753"/>
                <a:gd name="T8" fmla="*/ 978 w 1476"/>
                <a:gd name="T9" fmla="*/ 753 h 753"/>
              </a:gdLst>
              <a:ahLst/>
              <a:cxnLst>
                <a:cxn ang="0">
                  <a:pos x="T0" y="T1"/>
                </a:cxn>
                <a:cxn ang="0">
                  <a:pos x="T2" y="T3"/>
                </a:cxn>
                <a:cxn ang="0">
                  <a:pos x="T4" y="T5"/>
                </a:cxn>
                <a:cxn ang="0">
                  <a:pos x="T6" y="T7"/>
                </a:cxn>
                <a:cxn ang="0">
                  <a:pos x="T8" y="T9"/>
                </a:cxn>
              </a:cxnLst>
              <a:rect l="0" t="0" r="r" b="b"/>
              <a:pathLst>
                <a:path w="1476" h="753">
                  <a:moveTo>
                    <a:pt x="978" y="753"/>
                  </a:moveTo>
                  <a:lnTo>
                    <a:pt x="978" y="753"/>
                  </a:lnTo>
                  <a:lnTo>
                    <a:pt x="0" y="0"/>
                  </a:lnTo>
                  <a:lnTo>
                    <a:pt x="1476" y="138"/>
                  </a:lnTo>
                  <a:lnTo>
                    <a:pt x="978" y="7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32" name="Line 455"/>
            <p:cNvSpPr>
              <a:spLocks noChangeShapeType="1"/>
            </p:cNvSpPr>
            <p:nvPr/>
          </p:nvSpPr>
          <p:spPr bwMode="auto">
            <a:xfrm>
              <a:off x="-7643835" y="7659671"/>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33" name="Freeform 456"/>
            <p:cNvSpPr>
              <a:spLocks/>
            </p:cNvSpPr>
            <p:nvPr/>
          </p:nvSpPr>
          <p:spPr bwMode="auto">
            <a:xfrm>
              <a:off x="-7643835" y="6911962"/>
              <a:ext cx="1103316" cy="747711"/>
            </a:xfrm>
            <a:custGeom>
              <a:avLst/>
              <a:gdLst>
                <a:gd name="T0" fmla="*/ 0 w 695"/>
                <a:gd name="T1" fmla="*/ 471 h 471"/>
                <a:gd name="T2" fmla="*/ 0 w 695"/>
                <a:gd name="T3" fmla="*/ 471 h 471"/>
                <a:gd name="T4" fmla="*/ 695 w 695"/>
                <a:gd name="T5" fmla="*/ 0 h 471"/>
                <a:gd name="T6" fmla="*/ 0 w 695"/>
                <a:gd name="T7" fmla="*/ 471 h 471"/>
              </a:gdLst>
              <a:ahLst/>
              <a:cxnLst>
                <a:cxn ang="0">
                  <a:pos x="T0" y="T1"/>
                </a:cxn>
                <a:cxn ang="0">
                  <a:pos x="T2" y="T3"/>
                </a:cxn>
                <a:cxn ang="0">
                  <a:pos x="T4" y="T5"/>
                </a:cxn>
                <a:cxn ang="0">
                  <a:pos x="T6" y="T7"/>
                </a:cxn>
              </a:cxnLst>
              <a:rect l="0" t="0" r="r" b="b"/>
              <a:pathLst>
                <a:path w="695" h="471">
                  <a:moveTo>
                    <a:pt x="0" y="471"/>
                  </a:moveTo>
                  <a:lnTo>
                    <a:pt x="0" y="471"/>
                  </a:lnTo>
                  <a:lnTo>
                    <a:pt x="695" y="0"/>
                  </a:lnTo>
                  <a:lnTo>
                    <a:pt x="0" y="47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34" name="Freeform 457"/>
            <p:cNvSpPr>
              <a:spLocks/>
            </p:cNvSpPr>
            <p:nvPr/>
          </p:nvSpPr>
          <p:spPr bwMode="auto">
            <a:xfrm>
              <a:off x="-5465780" y="5792776"/>
              <a:ext cx="1524004" cy="1866896"/>
            </a:xfrm>
            <a:custGeom>
              <a:avLst/>
              <a:gdLst>
                <a:gd name="T0" fmla="*/ 960 w 960"/>
                <a:gd name="T1" fmla="*/ 1176 h 1176"/>
                <a:gd name="T2" fmla="*/ 823 w 960"/>
                <a:gd name="T3" fmla="*/ 1176 h 1176"/>
                <a:gd name="T4" fmla="*/ 0 w 960"/>
                <a:gd name="T5" fmla="*/ 0 h 1176"/>
                <a:gd name="T6" fmla="*/ 788 w 960"/>
                <a:gd name="T7" fmla="*/ 317 h 1176"/>
                <a:gd name="T8" fmla="*/ 960 w 960"/>
                <a:gd name="T9" fmla="*/ 1176 h 1176"/>
              </a:gdLst>
              <a:ahLst/>
              <a:cxnLst>
                <a:cxn ang="0">
                  <a:pos x="T0" y="T1"/>
                </a:cxn>
                <a:cxn ang="0">
                  <a:pos x="T2" y="T3"/>
                </a:cxn>
                <a:cxn ang="0">
                  <a:pos x="T4" y="T5"/>
                </a:cxn>
                <a:cxn ang="0">
                  <a:pos x="T6" y="T7"/>
                </a:cxn>
                <a:cxn ang="0">
                  <a:pos x="T8" y="T9"/>
                </a:cxn>
              </a:cxnLst>
              <a:rect l="0" t="0" r="r" b="b"/>
              <a:pathLst>
                <a:path w="960" h="1176">
                  <a:moveTo>
                    <a:pt x="960" y="1176"/>
                  </a:moveTo>
                  <a:lnTo>
                    <a:pt x="823" y="1176"/>
                  </a:lnTo>
                  <a:lnTo>
                    <a:pt x="0" y="0"/>
                  </a:lnTo>
                  <a:lnTo>
                    <a:pt x="788" y="317"/>
                  </a:lnTo>
                  <a:lnTo>
                    <a:pt x="960" y="117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35" name="Rectangle 458"/>
            <p:cNvSpPr>
              <a:spLocks noChangeArrowheads="1"/>
            </p:cNvSpPr>
            <p:nvPr/>
          </p:nvSpPr>
          <p:spPr bwMode="auto">
            <a:xfrm>
              <a:off x="-5465780" y="5792776"/>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36" name="Freeform 459"/>
            <p:cNvSpPr>
              <a:spLocks/>
            </p:cNvSpPr>
            <p:nvPr/>
          </p:nvSpPr>
          <p:spPr bwMode="auto">
            <a:xfrm>
              <a:off x="-6540519" y="5792776"/>
              <a:ext cx="2381257" cy="1866896"/>
            </a:xfrm>
            <a:custGeom>
              <a:avLst/>
              <a:gdLst>
                <a:gd name="T0" fmla="*/ 1500 w 1500"/>
                <a:gd name="T1" fmla="*/ 1176 h 1176"/>
                <a:gd name="T2" fmla="*/ 1072 w 1500"/>
                <a:gd name="T3" fmla="*/ 1176 h 1176"/>
                <a:gd name="T4" fmla="*/ 0 w 1500"/>
                <a:gd name="T5" fmla="*/ 705 h 1176"/>
                <a:gd name="T6" fmla="*/ 677 w 1500"/>
                <a:gd name="T7" fmla="*/ 0 h 1176"/>
                <a:gd name="T8" fmla="*/ 677 w 1500"/>
                <a:gd name="T9" fmla="*/ 0 h 1176"/>
                <a:gd name="T10" fmla="*/ 1500 w 1500"/>
                <a:gd name="T11" fmla="*/ 1176 h 1176"/>
              </a:gdLst>
              <a:ahLst/>
              <a:cxnLst>
                <a:cxn ang="0">
                  <a:pos x="T0" y="T1"/>
                </a:cxn>
                <a:cxn ang="0">
                  <a:pos x="T2" y="T3"/>
                </a:cxn>
                <a:cxn ang="0">
                  <a:pos x="T4" y="T5"/>
                </a:cxn>
                <a:cxn ang="0">
                  <a:pos x="T6" y="T7"/>
                </a:cxn>
                <a:cxn ang="0">
                  <a:pos x="T8" y="T9"/>
                </a:cxn>
                <a:cxn ang="0">
                  <a:pos x="T10" y="T11"/>
                </a:cxn>
              </a:cxnLst>
              <a:rect l="0" t="0" r="r" b="b"/>
              <a:pathLst>
                <a:path w="1500" h="1176">
                  <a:moveTo>
                    <a:pt x="1500" y="1176"/>
                  </a:moveTo>
                  <a:lnTo>
                    <a:pt x="1072" y="1176"/>
                  </a:lnTo>
                  <a:lnTo>
                    <a:pt x="0" y="705"/>
                  </a:lnTo>
                  <a:lnTo>
                    <a:pt x="677" y="0"/>
                  </a:lnTo>
                  <a:lnTo>
                    <a:pt x="677" y="0"/>
                  </a:lnTo>
                  <a:lnTo>
                    <a:pt x="150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37" name="Freeform 460"/>
            <p:cNvSpPr>
              <a:spLocks/>
            </p:cNvSpPr>
            <p:nvPr/>
          </p:nvSpPr>
          <p:spPr bwMode="auto">
            <a:xfrm>
              <a:off x="-4214825" y="6296013"/>
              <a:ext cx="1620842" cy="1363660"/>
            </a:xfrm>
            <a:custGeom>
              <a:avLst/>
              <a:gdLst>
                <a:gd name="T0" fmla="*/ 1021 w 1021"/>
                <a:gd name="T1" fmla="*/ 859 h 859"/>
                <a:gd name="T2" fmla="*/ 172 w 1021"/>
                <a:gd name="T3" fmla="*/ 859 h 859"/>
                <a:gd name="T4" fmla="*/ 0 w 1021"/>
                <a:gd name="T5" fmla="*/ 0 h 859"/>
                <a:gd name="T6" fmla="*/ 1021 w 1021"/>
                <a:gd name="T7" fmla="*/ 859 h 859"/>
              </a:gdLst>
              <a:ahLst/>
              <a:cxnLst>
                <a:cxn ang="0">
                  <a:pos x="T0" y="T1"/>
                </a:cxn>
                <a:cxn ang="0">
                  <a:pos x="T2" y="T3"/>
                </a:cxn>
                <a:cxn ang="0">
                  <a:pos x="T4" y="T5"/>
                </a:cxn>
                <a:cxn ang="0">
                  <a:pos x="T6" y="T7"/>
                </a:cxn>
              </a:cxnLst>
              <a:rect l="0" t="0" r="r" b="b"/>
              <a:pathLst>
                <a:path w="1021" h="859">
                  <a:moveTo>
                    <a:pt x="1021" y="859"/>
                  </a:moveTo>
                  <a:lnTo>
                    <a:pt x="172" y="859"/>
                  </a:lnTo>
                  <a:lnTo>
                    <a:pt x="0" y="0"/>
                  </a:lnTo>
                  <a:lnTo>
                    <a:pt x="1021" y="8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38" name="Freeform 461"/>
            <p:cNvSpPr>
              <a:spLocks/>
            </p:cNvSpPr>
            <p:nvPr/>
          </p:nvSpPr>
          <p:spPr bwMode="auto">
            <a:xfrm>
              <a:off x="-6540519" y="6911962"/>
              <a:ext cx="1701805" cy="747711"/>
            </a:xfrm>
            <a:custGeom>
              <a:avLst/>
              <a:gdLst>
                <a:gd name="T0" fmla="*/ 1072 w 1072"/>
                <a:gd name="T1" fmla="*/ 471 h 471"/>
                <a:gd name="T2" fmla="*/ 254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254" y="471"/>
                  </a:lnTo>
                  <a:lnTo>
                    <a:pt x="0" y="0"/>
                  </a:lnTo>
                  <a:lnTo>
                    <a:pt x="1072" y="471"/>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39" name="Line 462"/>
            <p:cNvSpPr>
              <a:spLocks noChangeShapeType="1"/>
            </p:cNvSpPr>
            <p:nvPr/>
          </p:nvSpPr>
          <p:spPr bwMode="auto">
            <a:xfrm>
              <a:off x="-6137293" y="7659671"/>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40" name="Freeform 463"/>
            <p:cNvSpPr>
              <a:spLocks/>
            </p:cNvSpPr>
            <p:nvPr/>
          </p:nvSpPr>
          <p:spPr bwMode="auto">
            <a:xfrm>
              <a:off x="-6540519" y="6911962"/>
              <a:ext cx="403226" cy="747711"/>
            </a:xfrm>
            <a:custGeom>
              <a:avLst/>
              <a:gdLst>
                <a:gd name="T0" fmla="*/ 254 w 254"/>
                <a:gd name="T1" fmla="*/ 471 h 471"/>
                <a:gd name="T2" fmla="*/ 254 w 254"/>
                <a:gd name="T3" fmla="*/ 471 h 471"/>
                <a:gd name="T4" fmla="*/ 0 w 254"/>
                <a:gd name="T5" fmla="*/ 0 h 471"/>
                <a:gd name="T6" fmla="*/ 254 w 254"/>
                <a:gd name="T7" fmla="*/ 471 h 471"/>
              </a:gdLst>
              <a:ahLst/>
              <a:cxnLst>
                <a:cxn ang="0">
                  <a:pos x="T0" y="T1"/>
                </a:cxn>
                <a:cxn ang="0">
                  <a:pos x="T2" y="T3"/>
                </a:cxn>
                <a:cxn ang="0">
                  <a:pos x="T4" y="T5"/>
                </a:cxn>
                <a:cxn ang="0">
                  <a:pos x="T6" y="T7"/>
                </a:cxn>
              </a:cxnLst>
              <a:rect l="0" t="0" r="r" b="b"/>
              <a:pathLst>
                <a:path w="254" h="471">
                  <a:moveTo>
                    <a:pt x="254" y="471"/>
                  </a:moveTo>
                  <a:lnTo>
                    <a:pt x="254" y="471"/>
                  </a:lnTo>
                  <a:lnTo>
                    <a:pt x="0" y="0"/>
                  </a:lnTo>
                  <a:lnTo>
                    <a:pt x="254" y="471"/>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41" name="Freeform 464"/>
            <p:cNvSpPr>
              <a:spLocks/>
            </p:cNvSpPr>
            <p:nvPr/>
          </p:nvSpPr>
          <p:spPr bwMode="auto">
            <a:xfrm>
              <a:off x="-6540519" y="6911962"/>
              <a:ext cx="1701805" cy="747711"/>
            </a:xfrm>
            <a:custGeom>
              <a:avLst/>
              <a:gdLst>
                <a:gd name="T0" fmla="*/ 1072 w 1072"/>
                <a:gd name="T1" fmla="*/ 471 h 471"/>
                <a:gd name="T2" fmla="*/ 1072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1072" y="471"/>
                  </a:lnTo>
                  <a:lnTo>
                    <a:pt x="0" y="0"/>
                  </a:lnTo>
                  <a:lnTo>
                    <a:pt x="1072" y="47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42" name="Freeform 465"/>
            <p:cNvSpPr>
              <a:spLocks/>
            </p:cNvSpPr>
            <p:nvPr/>
          </p:nvSpPr>
          <p:spPr bwMode="auto">
            <a:xfrm>
              <a:off x="-3327410" y="-3540120"/>
              <a:ext cx="2473332" cy="2046285"/>
            </a:xfrm>
            <a:custGeom>
              <a:avLst/>
              <a:gdLst>
                <a:gd name="T0" fmla="*/ 0 w 1558"/>
                <a:gd name="T1" fmla="*/ 1289 h 1289"/>
                <a:gd name="T2" fmla="*/ 916 w 1558"/>
                <a:gd name="T3" fmla="*/ 0 h 1289"/>
                <a:gd name="T4" fmla="*/ 1558 w 1558"/>
                <a:gd name="T5" fmla="*/ 541 h 1289"/>
                <a:gd name="T6" fmla="*/ 1558 w 1558"/>
                <a:gd name="T7" fmla="*/ 890 h 1289"/>
                <a:gd name="T8" fmla="*/ 0 w 1558"/>
                <a:gd name="T9" fmla="*/ 1289 h 1289"/>
              </a:gdLst>
              <a:ahLst/>
              <a:cxnLst>
                <a:cxn ang="0">
                  <a:pos x="T0" y="T1"/>
                </a:cxn>
                <a:cxn ang="0">
                  <a:pos x="T2" y="T3"/>
                </a:cxn>
                <a:cxn ang="0">
                  <a:pos x="T4" y="T5"/>
                </a:cxn>
                <a:cxn ang="0">
                  <a:pos x="T6" y="T7"/>
                </a:cxn>
                <a:cxn ang="0">
                  <a:pos x="T8" y="T9"/>
                </a:cxn>
              </a:cxnLst>
              <a:rect l="0" t="0" r="r" b="b"/>
              <a:pathLst>
                <a:path w="1558" h="1289">
                  <a:moveTo>
                    <a:pt x="0" y="1289"/>
                  </a:moveTo>
                  <a:lnTo>
                    <a:pt x="916" y="0"/>
                  </a:lnTo>
                  <a:lnTo>
                    <a:pt x="1558" y="541"/>
                  </a:lnTo>
                  <a:lnTo>
                    <a:pt x="1558" y="890"/>
                  </a:lnTo>
                  <a:lnTo>
                    <a:pt x="0" y="128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43" name="Freeform 466"/>
            <p:cNvSpPr>
              <a:spLocks/>
            </p:cNvSpPr>
            <p:nvPr/>
          </p:nvSpPr>
          <p:spPr bwMode="auto">
            <a:xfrm>
              <a:off x="-2697171" y="-4110030"/>
              <a:ext cx="1154116" cy="569912"/>
            </a:xfrm>
            <a:custGeom>
              <a:avLst/>
              <a:gdLst>
                <a:gd name="T0" fmla="*/ 519 w 727"/>
                <a:gd name="T1" fmla="*/ 359 h 359"/>
                <a:gd name="T2" fmla="*/ 519 w 727"/>
                <a:gd name="T3" fmla="*/ 359 h 359"/>
                <a:gd name="T4" fmla="*/ 0 w 727"/>
                <a:gd name="T5" fmla="*/ 0 h 359"/>
                <a:gd name="T6" fmla="*/ 727 w 727"/>
                <a:gd name="T7" fmla="*/ 0 h 359"/>
                <a:gd name="T8" fmla="*/ 519 w 727"/>
                <a:gd name="T9" fmla="*/ 359 h 359"/>
              </a:gdLst>
              <a:ahLst/>
              <a:cxnLst>
                <a:cxn ang="0">
                  <a:pos x="T0" y="T1"/>
                </a:cxn>
                <a:cxn ang="0">
                  <a:pos x="T2" y="T3"/>
                </a:cxn>
                <a:cxn ang="0">
                  <a:pos x="T4" y="T5"/>
                </a:cxn>
                <a:cxn ang="0">
                  <a:pos x="T6" y="T7"/>
                </a:cxn>
                <a:cxn ang="0">
                  <a:pos x="T8" y="T9"/>
                </a:cxn>
              </a:cxnLst>
              <a:rect l="0" t="0" r="r" b="b"/>
              <a:pathLst>
                <a:path w="727" h="359">
                  <a:moveTo>
                    <a:pt x="519" y="359"/>
                  </a:moveTo>
                  <a:lnTo>
                    <a:pt x="519" y="359"/>
                  </a:lnTo>
                  <a:lnTo>
                    <a:pt x="0" y="0"/>
                  </a:lnTo>
                  <a:lnTo>
                    <a:pt x="727" y="0"/>
                  </a:lnTo>
                  <a:lnTo>
                    <a:pt x="519"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44" name="Freeform 467"/>
            <p:cNvSpPr>
              <a:spLocks/>
            </p:cNvSpPr>
            <p:nvPr/>
          </p:nvSpPr>
          <p:spPr bwMode="auto">
            <a:xfrm>
              <a:off x="-1873256" y="-3540120"/>
              <a:ext cx="1019179" cy="858837"/>
            </a:xfrm>
            <a:custGeom>
              <a:avLst/>
              <a:gdLst>
                <a:gd name="T0" fmla="*/ 642 w 642"/>
                <a:gd name="T1" fmla="*/ 541 h 541"/>
                <a:gd name="T2" fmla="*/ 0 w 642"/>
                <a:gd name="T3" fmla="*/ 0 h 541"/>
                <a:gd name="T4" fmla="*/ 642 w 642"/>
                <a:gd name="T5" fmla="*/ 0 h 541"/>
                <a:gd name="T6" fmla="*/ 642 w 642"/>
                <a:gd name="T7" fmla="*/ 541 h 541"/>
              </a:gdLst>
              <a:ahLst/>
              <a:cxnLst>
                <a:cxn ang="0">
                  <a:pos x="T0" y="T1"/>
                </a:cxn>
                <a:cxn ang="0">
                  <a:pos x="T2" y="T3"/>
                </a:cxn>
                <a:cxn ang="0">
                  <a:pos x="T4" y="T5"/>
                </a:cxn>
                <a:cxn ang="0">
                  <a:pos x="T6" y="T7"/>
                </a:cxn>
              </a:cxnLst>
              <a:rect l="0" t="0" r="r" b="b"/>
              <a:pathLst>
                <a:path w="642" h="541">
                  <a:moveTo>
                    <a:pt x="642" y="541"/>
                  </a:moveTo>
                  <a:lnTo>
                    <a:pt x="0" y="0"/>
                  </a:lnTo>
                  <a:lnTo>
                    <a:pt x="642" y="0"/>
                  </a:lnTo>
                  <a:lnTo>
                    <a:pt x="642" y="541"/>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45" name="Freeform 468"/>
            <p:cNvSpPr>
              <a:spLocks/>
            </p:cNvSpPr>
            <p:nvPr/>
          </p:nvSpPr>
          <p:spPr bwMode="auto">
            <a:xfrm>
              <a:off x="-3668724" y="-4110030"/>
              <a:ext cx="1795468" cy="569912"/>
            </a:xfrm>
            <a:custGeom>
              <a:avLst/>
              <a:gdLst>
                <a:gd name="T0" fmla="*/ 1131 w 1131"/>
                <a:gd name="T1" fmla="*/ 359 h 359"/>
                <a:gd name="T2" fmla="*/ 0 w 1131"/>
                <a:gd name="T3" fmla="*/ 359 h 359"/>
                <a:gd name="T4" fmla="*/ 285 w 1131"/>
                <a:gd name="T5" fmla="*/ 0 h 359"/>
                <a:gd name="T6" fmla="*/ 612 w 1131"/>
                <a:gd name="T7" fmla="*/ 0 h 359"/>
                <a:gd name="T8" fmla="*/ 1131 w 1131"/>
                <a:gd name="T9" fmla="*/ 359 h 359"/>
              </a:gdLst>
              <a:ahLst/>
              <a:cxnLst>
                <a:cxn ang="0">
                  <a:pos x="T0" y="T1"/>
                </a:cxn>
                <a:cxn ang="0">
                  <a:pos x="T2" y="T3"/>
                </a:cxn>
                <a:cxn ang="0">
                  <a:pos x="T4" y="T5"/>
                </a:cxn>
                <a:cxn ang="0">
                  <a:pos x="T6" y="T7"/>
                </a:cxn>
                <a:cxn ang="0">
                  <a:pos x="T8" y="T9"/>
                </a:cxn>
              </a:cxnLst>
              <a:rect l="0" t="0" r="r" b="b"/>
              <a:pathLst>
                <a:path w="1131" h="359">
                  <a:moveTo>
                    <a:pt x="1131" y="359"/>
                  </a:moveTo>
                  <a:lnTo>
                    <a:pt x="0" y="359"/>
                  </a:lnTo>
                  <a:lnTo>
                    <a:pt x="285" y="0"/>
                  </a:lnTo>
                  <a:lnTo>
                    <a:pt x="612" y="0"/>
                  </a:lnTo>
                  <a:lnTo>
                    <a:pt x="1131"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46" name="Freeform 469"/>
            <p:cNvSpPr>
              <a:spLocks/>
            </p:cNvSpPr>
            <p:nvPr/>
          </p:nvSpPr>
          <p:spPr bwMode="auto">
            <a:xfrm>
              <a:off x="-1873256" y="-4110030"/>
              <a:ext cx="1019179" cy="569912"/>
            </a:xfrm>
            <a:custGeom>
              <a:avLst/>
              <a:gdLst>
                <a:gd name="T0" fmla="*/ 642 w 642"/>
                <a:gd name="T1" fmla="*/ 359 h 359"/>
                <a:gd name="T2" fmla="*/ 0 w 642"/>
                <a:gd name="T3" fmla="*/ 359 h 359"/>
                <a:gd name="T4" fmla="*/ 208 w 642"/>
                <a:gd name="T5" fmla="*/ 0 h 359"/>
                <a:gd name="T6" fmla="*/ 642 w 642"/>
                <a:gd name="T7" fmla="*/ 0 h 359"/>
                <a:gd name="T8" fmla="*/ 642 w 642"/>
                <a:gd name="T9" fmla="*/ 359 h 359"/>
              </a:gdLst>
              <a:ahLst/>
              <a:cxnLst>
                <a:cxn ang="0">
                  <a:pos x="T0" y="T1"/>
                </a:cxn>
                <a:cxn ang="0">
                  <a:pos x="T2" y="T3"/>
                </a:cxn>
                <a:cxn ang="0">
                  <a:pos x="T4" y="T5"/>
                </a:cxn>
                <a:cxn ang="0">
                  <a:pos x="T6" y="T7"/>
                </a:cxn>
                <a:cxn ang="0">
                  <a:pos x="T8" y="T9"/>
                </a:cxn>
              </a:cxnLst>
              <a:rect l="0" t="0" r="r" b="b"/>
              <a:pathLst>
                <a:path w="642" h="359">
                  <a:moveTo>
                    <a:pt x="642" y="359"/>
                  </a:moveTo>
                  <a:lnTo>
                    <a:pt x="0" y="359"/>
                  </a:lnTo>
                  <a:lnTo>
                    <a:pt x="208" y="0"/>
                  </a:lnTo>
                  <a:lnTo>
                    <a:pt x="642" y="0"/>
                  </a:lnTo>
                  <a:lnTo>
                    <a:pt x="642"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47" name="Freeform 470"/>
            <p:cNvSpPr>
              <a:spLocks/>
            </p:cNvSpPr>
            <p:nvPr/>
          </p:nvSpPr>
          <p:spPr bwMode="auto">
            <a:xfrm>
              <a:off x="-3668724" y="-3540120"/>
              <a:ext cx="1795468" cy="2046285"/>
            </a:xfrm>
            <a:custGeom>
              <a:avLst/>
              <a:gdLst>
                <a:gd name="T0" fmla="*/ 215 w 1131"/>
                <a:gd name="T1" fmla="*/ 1289 h 1289"/>
                <a:gd name="T2" fmla="*/ 150 w 1131"/>
                <a:gd name="T3" fmla="*/ 902 h 1289"/>
                <a:gd name="T4" fmla="*/ 0 w 1131"/>
                <a:gd name="T5" fmla="*/ 0 h 1289"/>
                <a:gd name="T6" fmla="*/ 0 w 1131"/>
                <a:gd name="T7" fmla="*/ 0 h 1289"/>
                <a:gd name="T8" fmla="*/ 0 w 1131"/>
                <a:gd name="T9" fmla="*/ 0 h 1289"/>
                <a:gd name="T10" fmla="*/ 1131 w 1131"/>
                <a:gd name="T11" fmla="*/ 0 h 1289"/>
                <a:gd name="T12" fmla="*/ 215 w 1131"/>
                <a:gd name="T13" fmla="*/ 1289 h 1289"/>
              </a:gdLst>
              <a:ahLst/>
              <a:cxnLst>
                <a:cxn ang="0">
                  <a:pos x="T0" y="T1"/>
                </a:cxn>
                <a:cxn ang="0">
                  <a:pos x="T2" y="T3"/>
                </a:cxn>
                <a:cxn ang="0">
                  <a:pos x="T4" y="T5"/>
                </a:cxn>
                <a:cxn ang="0">
                  <a:pos x="T6" y="T7"/>
                </a:cxn>
                <a:cxn ang="0">
                  <a:pos x="T8" y="T9"/>
                </a:cxn>
                <a:cxn ang="0">
                  <a:pos x="T10" y="T11"/>
                </a:cxn>
                <a:cxn ang="0">
                  <a:pos x="T12" y="T13"/>
                </a:cxn>
              </a:cxnLst>
              <a:rect l="0" t="0" r="r" b="b"/>
              <a:pathLst>
                <a:path w="1131" h="1289">
                  <a:moveTo>
                    <a:pt x="215" y="1289"/>
                  </a:moveTo>
                  <a:lnTo>
                    <a:pt x="150" y="902"/>
                  </a:lnTo>
                  <a:lnTo>
                    <a:pt x="0" y="0"/>
                  </a:lnTo>
                  <a:lnTo>
                    <a:pt x="0" y="0"/>
                  </a:lnTo>
                  <a:lnTo>
                    <a:pt x="0" y="0"/>
                  </a:lnTo>
                  <a:lnTo>
                    <a:pt x="1131" y="0"/>
                  </a:lnTo>
                  <a:lnTo>
                    <a:pt x="215" y="128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48" name="Freeform 471"/>
            <p:cNvSpPr>
              <a:spLocks/>
            </p:cNvSpPr>
            <p:nvPr/>
          </p:nvSpPr>
          <p:spPr bwMode="auto">
            <a:xfrm>
              <a:off x="-3668724" y="-354012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49" name="Freeform 472"/>
            <p:cNvSpPr>
              <a:spLocks/>
            </p:cNvSpPr>
            <p:nvPr/>
          </p:nvSpPr>
          <p:spPr bwMode="auto">
            <a:xfrm>
              <a:off x="-3668724" y="-3540120"/>
              <a:ext cx="238125" cy="1431922"/>
            </a:xfrm>
            <a:custGeom>
              <a:avLst/>
              <a:gdLst>
                <a:gd name="T0" fmla="*/ 150 w 150"/>
                <a:gd name="T1" fmla="*/ 902 h 902"/>
                <a:gd name="T2" fmla="*/ 0 w 150"/>
                <a:gd name="T3" fmla="*/ 0 h 902"/>
                <a:gd name="T4" fmla="*/ 0 w 150"/>
                <a:gd name="T5" fmla="*/ 0 h 902"/>
                <a:gd name="T6" fmla="*/ 150 w 150"/>
                <a:gd name="T7" fmla="*/ 902 h 902"/>
              </a:gdLst>
              <a:ahLst/>
              <a:cxnLst>
                <a:cxn ang="0">
                  <a:pos x="T0" y="T1"/>
                </a:cxn>
                <a:cxn ang="0">
                  <a:pos x="T2" y="T3"/>
                </a:cxn>
                <a:cxn ang="0">
                  <a:pos x="T4" y="T5"/>
                </a:cxn>
                <a:cxn ang="0">
                  <a:pos x="T6" y="T7"/>
                </a:cxn>
              </a:cxnLst>
              <a:rect l="0" t="0" r="r" b="b"/>
              <a:pathLst>
                <a:path w="150" h="902">
                  <a:moveTo>
                    <a:pt x="150" y="902"/>
                  </a:moveTo>
                  <a:lnTo>
                    <a:pt x="0" y="0"/>
                  </a:lnTo>
                  <a:lnTo>
                    <a:pt x="0" y="0"/>
                  </a:lnTo>
                  <a:lnTo>
                    <a:pt x="150" y="902"/>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50" name="Freeform 473"/>
            <p:cNvSpPr>
              <a:spLocks/>
            </p:cNvSpPr>
            <p:nvPr/>
          </p:nvSpPr>
          <p:spPr bwMode="auto">
            <a:xfrm>
              <a:off x="-2771783" y="-428626"/>
              <a:ext cx="1917706" cy="2205034"/>
            </a:xfrm>
            <a:custGeom>
              <a:avLst/>
              <a:gdLst>
                <a:gd name="T0" fmla="*/ 1208 w 1208"/>
                <a:gd name="T1" fmla="*/ 1389 h 1389"/>
                <a:gd name="T2" fmla="*/ 0 w 1208"/>
                <a:gd name="T3" fmla="*/ 979 h 1389"/>
                <a:gd name="T4" fmla="*/ 566 w 1208"/>
                <a:gd name="T5" fmla="*/ 0 h 1389"/>
                <a:gd name="T6" fmla="*/ 566 w 1208"/>
                <a:gd name="T7" fmla="*/ 0 h 1389"/>
                <a:gd name="T8" fmla="*/ 566 w 1208"/>
                <a:gd name="T9" fmla="*/ 0 h 1389"/>
                <a:gd name="T10" fmla="*/ 566 w 1208"/>
                <a:gd name="T11" fmla="*/ 0 h 1389"/>
                <a:gd name="T12" fmla="*/ 566 w 1208"/>
                <a:gd name="T13" fmla="*/ 0 h 1389"/>
                <a:gd name="T14" fmla="*/ 1104 w 1208"/>
                <a:gd name="T15" fmla="*/ 901 h 1389"/>
                <a:gd name="T16" fmla="*/ 1208 w 1208"/>
                <a:gd name="T17" fmla="*/ 1075 h 1389"/>
                <a:gd name="T18" fmla="*/ 1208 w 1208"/>
                <a:gd name="T19" fmla="*/ 1389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8" h="1389">
                  <a:moveTo>
                    <a:pt x="1208" y="1389"/>
                  </a:moveTo>
                  <a:lnTo>
                    <a:pt x="0" y="979"/>
                  </a:lnTo>
                  <a:lnTo>
                    <a:pt x="566" y="0"/>
                  </a:lnTo>
                  <a:lnTo>
                    <a:pt x="566" y="0"/>
                  </a:lnTo>
                  <a:lnTo>
                    <a:pt x="566" y="0"/>
                  </a:lnTo>
                  <a:lnTo>
                    <a:pt x="566" y="0"/>
                  </a:lnTo>
                  <a:lnTo>
                    <a:pt x="566" y="0"/>
                  </a:lnTo>
                  <a:lnTo>
                    <a:pt x="1104" y="901"/>
                  </a:lnTo>
                  <a:lnTo>
                    <a:pt x="1208" y="1075"/>
                  </a:lnTo>
                  <a:lnTo>
                    <a:pt x="1208" y="138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51" name="Freeform 474"/>
            <p:cNvSpPr>
              <a:spLocks/>
            </p:cNvSpPr>
            <p:nvPr/>
          </p:nvSpPr>
          <p:spPr bwMode="auto">
            <a:xfrm>
              <a:off x="-3327410" y="-2127248"/>
              <a:ext cx="2473332" cy="1698622"/>
            </a:xfrm>
            <a:custGeom>
              <a:avLst/>
              <a:gdLst>
                <a:gd name="T0" fmla="*/ 916 w 1558"/>
                <a:gd name="T1" fmla="*/ 1070 h 1070"/>
                <a:gd name="T2" fmla="*/ 916 w 1558"/>
                <a:gd name="T3" fmla="*/ 1070 h 1070"/>
                <a:gd name="T4" fmla="*/ 0 w 1558"/>
                <a:gd name="T5" fmla="*/ 399 h 1070"/>
                <a:gd name="T6" fmla="*/ 1558 w 1558"/>
                <a:gd name="T7" fmla="*/ 0 h 1070"/>
                <a:gd name="T8" fmla="*/ 1558 w 1558"/>
                <a:gd name="T9" fmla="*/ 299 h 1070"/>
                <a:gd name="T10" fmla="*/ 1515 w 1558"/>
                <a:gd name="T11" fmla="*/ 350 h 1070"/>
                <a:gd name="T12" fmla="*/ 916 w 1558"/>
                <a:gd name="T13" fmla="*/ 1070 h 1070"/>
              </a:gdLst>
              <a:ahLst/>
              <a:cxnLst>
                <a:cxn ang="0">
                  <a:pos x="T0" y="T1"/>
                </a:cxn>
                <a:cxn ang="0">
                  <a:pos x="T2" y="T3"/>
                </a:cxn>
                <a:cxn ang="0">
                  <a:pos x="T4" y="T5"/>
                </a:cxn>
                <a:cxn ang="0">
                  <a:pos x="T6" y="T7"/>
                </a:cxn>
                <a:cxn ang="0">
                  <a:pos x="T8" y="T9"/>
                </a:cxn>
                <a:cxn ang="0">
                  <a:pos x="T10" y="T11"/>
                </a:cxn>
                <a:cxn ang="0">
                  <a:pos x="T12" y="T13"/>
                </a:cxn>
              </a:cxnLst>
              <a:rect l="0" t="0" r="r" b="b"/>
              <a:pathLst>
                <a:path w="1558" h="1070">
                  <a:moveTo>
                    <a:pt x="916" y="1070"/>
                  </a:moveTo>
                  <a:lnTo>
                    <a:pt x="916" y="1070"/>
                  </a:lnTo>
                  <a:lnTo>
                    <a:pt x="0" y="399"/>
                  </a:lnTo>
                  <a:lnTo>
                    <a:pt x="1558" y="0"/>
                  </a:lnTo>
                  <a:lnTo>
                    <a:pt x="1558" y="299"/>
                  </a:lnTo>
                  <a:lnTo>
                    <a:pt x="1515" y="350"/>
                  </a:lnTo>
                  <a:lnTo>
                    <a:pt x="916" y="107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52" name="Freeform 475"/>
            <p:cNvSpPr>
              <a:spLocks/>
            </p:cNvSpPr>
            <p:nvPr/>
          </p:nvSpPr>
          <p:spPr bwMode="auto">
            <a:xfrm>
              <a:off x="-1873256" y="-428626"/>
              <a:ext cx="1019179" cy="1706560"/>
            </a:xfrm>
            <a:custGeom>
              <a:avLst/>
              <a:gdLst>
                <a:gd name="T0" fmla="*/ 642 w 642"/>
                <a:gd name="T1" fmla="*/ 1075 h 1075"/>
                <a:gd name="T2" fmla="*/ 538 w 642"/>
                <a:gd name="T3" fmla="*/ 901 h 1075"/>
                <a:gd name="T4" fmla="*/ 0 w 642"/>
                <a:gd name="T5" fmla="*/ 0 h 1075"/>
                <a:gd name="T6" fmla="*/ 642 w 642"/>
                <a:gd name="T7" fmla="*/ 193 h 1075"/>
                <a:gd name="T8" fmla="*/ 642 w 642"/>
                <a:gd name="T9" fmla="*/ 1075 h 1075"/>
              </a:gdLst>
              <a:ahLst/>
              <a:cxnLst>
                <a:cxn ang="0">
                  <a:pos x="T0" y="T1"/>
                </a:cxn>
                <a:cxn ang="0">
                  <a:pos x="T2" y="T3"/>
                </a:cxn>
                <a:cxn ang="0">
                  <a:pos x="T4" y="T5"/>
                </a:cxn>
                <a:cxn ang="0">
                  <a:pos x="T6" y="T7"/>
                </a:cxn>
                <a:cxn ang="0">
                  <a:pos x="T8" y="T9"/>
                </a:cxn>
              </a:cxnLst>
              <a:rect l="0" t="0" r="r" b="b"/>
              <a:pathLst>
                <a:path w="642" h="1075">
                  <a:moveTo>
                    <a:pt x="642" y="1075"/>
                  </a:moveTo>
                  <a:lnTo>
                    <a:pt x="538" y="901"/>
                  </a:lnTo>
                  <a:lnTo>
                    <a:pt x="0" y="0"/>
                  </a:lnTo>
                  <a:lnTo>
                    <a:pt x="642" y="193"/>
                  </a:lnTo>
                  <a:lnTo>
                    <a:pt x="642" y="107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53" name="Freeform 476"/>
            <p:cNvSpPr>
              <a:spLocks/>
            </p:cNvSpPr>
            <p:nvPr/>
          </p:nvSpPr>
          <p:spPr bwMode="auto">
            <a:xfrm>
              <a:off x="-3327410" y="-1493836"/>
              <a:ext cx="1454155" cy="1654172"/>
            </a:xfrm>
            <a:custGeom>
              <a:avLst/>
              <a:gdLst>
                <a:gd name="T0" fmla="*/ 218 w 916"/>
                <a:gd name="T1" fmla="*/ 1042 h 1042"/>
                <a:gd name="T2" fmla="*/ 218 w 916"/>
                <a:gd name="T3" fmla="*/ 1042 h 1042"/>
                <a:gd name="T4" fmla="*/ 0 w 916"/>
                <a:gd name="T5" fmla="*/ 0 h 1042"/>
                <a:gd name="T6" fmla="*/ 916 w 916"/>
                <a:gd name="T7" fmla="*/ 671 h 1042"/>
                <a:gd name="T8" fmla="*/ 916 w 916"/>
                <a:gd name="T9" fmla="*/ 671 h 1042"/>
                <a:gd name="T10" fmla="*/ 218 w 916"/>
                <a:gd name="T11" fmla="*/ 1042 h 1042"/>
              </a:gdLst>
              <a:ahLst/>
              <a:cxnLst>
                <a:cxn ang="0">
                  <a:pos x="T0" y="T1"/>
                </a:cxn>
                <a:cxn ang="0">
                  <a:pos x="T2" y="T3"/>
                </a:cxn>
                <a:cxn ang="0">
                  <a:pos x="T4" y="T5"/>
                </a:cxn>
                <a:cxn ang="0">
                  <a:pos x="T6" y="T7"/>
                </a:cxn>
                <a:cxn ang="0">
                  <a:pos x="T8" y="T9"/>
                </a:cxn>
                <a:cxn ang="0">
                  <a:pos x="T10" y="T11"/>
                </a:cxn>
              </a:cxnLst>
              <a:rect l="0" t="0" r="r" b="b"/>
              <a:pathLst>
                <a:path w="916" h="1042">
                  <a:moveTo>
                    <a:pt x="218" y="1042"/>
                  </a:moveTo>
                  <a:lnTo>
                    <a:pt x="218" y="1042"/>
                  </a:lnTo>
                  <a:lnTo>
                    <a:pt x="0" y="0"/>
                  </a:lnTo>
                  <a:lnTo>
                    <a:pt x="916" y="671"/>
                  </a:lnTo>
                  <a:lnTo>
                    <a:pt x="916" y="671"/>
                  </a:lnTo>
                  <a:lnTo>
                    <a:pt x="218" y="10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54" name="Freeform 477"/>
            <p:cNvSpPr>
              <a:spLocks/>
            </p:cNvSpPr>
            <p:nvPr/>
          </p:nvSpPr>
          <p:spPr bwMode="auto">
            <a:xfrm>
              <a:off x="-1873256" y="-1652585"/>
              <a:ext cx="1019179" cy="1530347"/>
            </a:xfrm>
            <a:custGeom>
              <a:avLst/>
              <a:gdLst>
                <a:gd name="T0" fmla="*/ 642 w 642"/>
                <a:gd name="T1" fmla="*/ 964 h 964"/>
                <a:gd name="T2" fmla="*/ 0 w 642"/>
                <a:gd name="T3" fmla="*/ 771 h 964"/>
                <a:gd name="T4" fmla="*/ 0 w 642"/>
                <a:gd name="T5" fmla="*/ 771 h 964"/>
                <a:gd name="T6" fmla="*/ 599 w 642"/>
                <a:gd name="T7" fmla="*/ 51 h 964"/>
                <a:gd name="T8" fmla="*/ 642 w 642"/>
                <a:gd name="T9" fmla="*/ 0 h 964"/>
                <a:gd name="T10" fmla="*/ 642 w 642"/>
                <a:gd name="T11" fmla="*/ 964 h 964"/>
              </a:gdLst>
              <a:ahLst/>
              <a:cxnLst>
                <a:cxn ang="0">
                  <a:pos x="T0" y="T1"/>
                </a:cxn>
                <a:cxn ang="0">
                  <a:pos x="T2" y="T3"/>
                </a:cxn>
                <a:cxn ang="0">
                  <a:pos x="T4" y="T5"/>
                </a:cxn>
                <a:cxn ang="0">
                  <a:pos x="T6" y="T7"/>
                </a:cxn>
                <a:cxn ang="0">
                  <a:pos x="T8" y="T9"/>
                </a:cxn>
                <a:cxn ang="0">
                  <a:pos x="T10" y="T11"/>
                </a:cxn>
              </a:cxnLst>
              <a:rect l="0" t="0" r="r" b="b"/>
              <a:pathLst>
                <a:path w="642" h="964">
                  <a:moveTo>
                    <a:pt x="642" y="964"/>
                  </a:moveTo>
                  <a:lnTo>
                    <a:pt x="0" y="771"/>
                  </a:lnTo>
                  <a:lnTo>
                    <a:pt x="0" y="771"/>
                  </a:lnTo>
                  <a:lnTo>
                    <a:pt x="599" y="51"/>
                  </a:lnTo>
                  <a:lnTo>
                    <a:pt x="642" y="0"/>
                  </a:lnTo>
                  <a:lnTo>
                    <a:pt x="642" y="964"/>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55" name="Freeform 478"/>
            <p:cNvSpPr>
              <a:spLocks/>
            </p:cNvSpPr>
            <p:nvPr/>
          </p:nvSpPr>
          <p:spPr bwMode="auto">
            <a:xfrm>
              <a:off x="-922340" y="-1652585"/>
              <a:ext cx="68263" cy="80962"/>
            </a:xfrm>
            <a:custGeom>
              <a:avLst/>
              <a:gdLst>
                <a:gd name="T0" fmla="*/ 0 w 43"/>
                <a:gd name="T1" fmla="*/ 51 h 51"/>
                <a:gd name="T2" fmla="*/ 43 w 43"/>
                <a:gd name="T3" fmla="*/ 0 h 51"/>
                <a:gd name="T4" fmla="*/ 43 w 43"/>
                <a:gd name="T5" fmla="*/ 0 h 51"/>
                <a:gd name="T6" fmla="*/ 0 w 43"/>
                <a:gd name="T7" fmla="*/ 51 h 51"/>
              </a:gdLst>
              <a:ahLst/>
              <a:cxnLst>
                <a:cxn ang="0">
                  <a:pos x="T0" y="T1"/>
                </a:cxn>
                <a:cxn ang="0">
                  <a:pos x="T2" y="T3"/>
                </a:cxn>
                <a:cxn ang="0">
                  <a:pos x="T4" y="T5"/>
                </a:cxn>
                <a:cxn ang="0">
                  <a:pos x="T6" y="T7"/>
                </a:cxn>
              </a:cxnLst>
              <a:rect l="0" t="0" r="r" b="b"/>
              <a:pathLst>
                <a:path w="43" h="51">
                  <a:moveTo>
                    <a:pt x="0" y="51"/>
                  </a:moveTo>
                  <a:lnTo>
                    <a:pt x="43" y="0"/>
                  </a:lnTo>
                  <a:lnTo>
                    <a:pt x="43" y="0"/>
                  </a:lnTo>
                  <a:lnTo>
                    <a:pt x="0" y="51"/>
                  </a:lnTo>
                  <a:close/>
                </a:path>
              </a:pathLst>
            </a:custGeom>
            <a:solidFill>
              <a:srgbClr val="5A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56" name="Freeform 479"/>
            <p:cNvSpPr>
              <a:spLocks/>
            </p:cNvSpPr>
            <p:nvPr/>
          </p:nvSpPr>
          <p:spPr bwMode="auto">
            <a:xfrm>
              <a:off x="-2981334" y="-428626"/>
              <a:ext cx="1108079" cy="1554160"/>
            </a:xfrm>
            <a:custGeom>
              <a:avLst/>
              <a:gdLst>
                <a:gd name="T0" fmla="*/ 132 w 698"/>
                <a:gd name="T1" fmla="*/ 979 h 979"/>
                <a:gd name="T2" fmla="*/ 78 w 698"/>
                <a:gd name="T3" fmla="*/ 730 h 979"/>
                <a:gd name="T4" fmla="*/ 0 w 698"/>
                <a:gd name="T5" fmla="*/ 371 h 979"/>
                <a:gd name="T6" fmla="*/ 0 w 698"/>
                <a:gd name="T7" fmla="*/ 371 h 979"/>
                <a:gd name="T8" fmla="*/ 698 w 698"/>
                <a:gd name="T9" fmla="*/ 0 h 979"/>
                <a:gd name="T10" fmla="*/ 132 w 698"/>
                <a:gd name="T11" fmla="*/ 979 h 979"/>
              </a:gdLst>
              <a:ahLst/>
              <a:cxnLst>
                <a:cxn ang="0">
                  <a:pos x="T0" y="T1"/>
                </a:cxn>
                <a:cxn ang="0">
                  <a:pos x="T2" y="T3"/>
                </a:cxn>
                <a:cxn ang="0">
                  <a:pos x="T4" y="T5"/>
                </a:cxn>
                <a:cxn ang="0">
                  <a:pos x="T6" y="T7"/>
                </a:cxn>
                <a:cxn ang="0">
                  <a:pos x="T8" y="T9"/>
                </a:cxn>
                <a:cxn ang="0">
                  <a:pos x="T10" y="T11"/>
                </a:cxn>
              </a:cxnLst>
              <a:rect l="0" t="0" r="r" b="b"/>
              <a:pathLst>
                <a:path w="698" h="979">
                  <a:moveTo>
                    <a:pt x="132" y="979"/>
                  </a:moveTo>
                  <a:lnTo>
                    <a:pt x="78" y="730"/>
                  </a:lnTo>
                  <a:lnTo>
                    <a:pt x="0" y="371"/>
                  </a:lnTo>
                  <a:lnTo>
                    <a:pt x="0" y="371"/>
                  </a:lnTo>
                  <a:lnTo>
                    <a:pt x="698" y="0"/>
                  </a:lnTo>
                  <a:lnTo>
                    <a:pt x="132" y="97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57" name="Freeform 480"/>
            <p:cNvSpPr>
              <a:spLocks/>
            </p:cNvSpPr>
            <p:nvPr/>
          </p:nvSpPr>
          <p:spPr bwMode="auto">
            <a:xfrm>
              <a:off x="-2981334" y="160336"/>
              <a:ext cx="123825" cy="569912"/>
            </a:xfrm>
            <a:custGeom>
              <a:avLst/>
              <a:gdLst>
                <a:gd name="T0" fmla="*/ 78 w 78"/>
                <a:gd name="T1" fmla="*/ 359 h 359"/>
                <a:gd name="T2" fmla="*/ 0 w 78"/>
                <a:gd name="T3" fmla="*/ 0 h 359"/>
                <a:gd name="T4" fmla="*/ 0 w 78"/>
                <a:gd name="T5" fmla="*/ 0 h 359"/>
                <a:gd name="T6" fmla="*/ 78 w 78"/>
                <a:gd name="T7" fmla="*/ 359 h 359"/>
              </a:gdLst>
              <a:ahLst/>
              <a:cxnLst>
                <a:cxn ang="0">
                  <a:pos x="T0" y="T1"/>
                </a:cxn>
                <a:cxn ang="0">
                  <a:pos x="T2" y="T3"/>
                </a:cxn>
                <a:cxn ang="0">
                  <a:pos x="T4" y="T5"/>
                </a:cxn>
                <a:cxn ang="0">
                  <a:pos x="T6" y="T7"/>
                </a:cxn>
              </a:cxnLst>
              <a:rect l="0" t="0" r="r" b="b"/>
              <a:pathLst>
                <a:path w="78" h="359">
                  <a:moveTo>
                    <a:pt x="78" y="359"/>
                  </a:moveTo>
                  <a:lnTo>
                    <a:pt x="0" y="0"/>
                  </a:lnTo>
                  <a:lnTo>
                    <a:pt x="0" y="0"/>
                  </a:lnTo>
                  <a:lnTo>
                    <a:pt x="78" y="359"/>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58" name="Freeform 481"/>
            <p:cNvSpPr>
              <a:spLocks/>
            </p:cNvSpPr>
            <p:nvPr/>
          </p:nvSpPr>
          <p:spPr bwMode="auto">
            <a:xfrm>
              <a:off x="-2771783" y="-428626"/>
              <a:ext cx="898527" cy="1554160"/>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59" name="Freeform 482"/>
            <p:cNvSpPr>
              <a:spLocks noEditPoints="1"/>
            </p:cNvSpPr>
            <p:nvPr/>
          </p:nvSpPr>
          <p:spPr bwMode="auto">
            <a:xfrm>
              <a:off x="-2771783" y="2682869"/>
              <a:ext cx="898527" cy="2232021"/>
            </a:xfrm>
            <a:custGeom>
              <a:avLst/>
              <a:gdLst>
                <a:gd name="T0" fmla="*/ 940 w 1179"/>
                <a:gd name="T1" fmla="*/ 2930 h 2930"/>
                <a:gd name="T2" fmla="*/ 0 w 1179"/>
                <a:gd name="T3" fmla="*/ 2041 h 2930"/>
                <a:gd name="T4" fmla="*/ 1179 w 1179"/>
                <a:gd name="T5" fmla="*/ 0 h 2930"/>
                <a:gd name="T6" fmla="*/ 940 w 1179"/>
                <a:gd name="T7" fmla="*/ 2930 h 2930"/>
                <a:gd name="T8" fmla="*/ 1179 w 1179"/>
                <a:gd name="T9" fmla="*/ 0 h 2930"/>
                <a:gd name="T10" fmla="*/ 1179 w 1179"/>
                <a:gd name="T11" fmla="*/ 0 h 2930"/>
              </a:gdLst>
              <a:ahLst/>
              <a:cxnLst>
                <a:cxn ang="0">
                  <a:pos x="T0" y="T1"/>
                </a:cxn>
                <a:cxn ang="0">
                  <a:pos x="T2" y="T3"/>
                </a:cxn>
                <a:cxn ang="0">
                  <a:pos x="T4" y="T5"/>
                </a:cxn>
                <a:cxn ang="0">
                  <a:pos x="T6" y="T7"/>
                </a:cxn>
                <a:cxn ang="0">
                  <a:pos x="T8" y="T9"/>
                </a:cxn>
                <a:cxn ang="0">
                  <a:pos x="T10" y="T11"/>
                </a:cxn>
              </a:cxnLst>
              <a:rect l="0" t="0" r="r" b="b"/>
              <a:pathLst>
                <a:path w="1179" h="2930">
                  <a:moveTo>
                    <a:pt x="940" y="2930"/>
                  </a:moveTo>
                  <a:lnTo>
                    <a:pt x="0" y="2041"/>
                  </a:lnTo>
                  <a:lnTo>
                    <a:pt x="1179" y="0"/>
                  </a:lnTo>
                  <a:lnTo>
                    <a:pt x="940" y="2930"/>
                  </a:lnTo>
                  <a:moveTo>
                    <a:pt x="1179" y="0"/>
                  </a:moveTo>
                  <a:lnTo>
                    <a:pt x="1179"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60" name="Freeform 483"/>
            <p:cNvSpPr>
              <a:spLocks/>
            </p:cNvSpPr>
            <p:nvPr/>
          </p:nvSpPr>
          <p:spPr bwMode="auto">
            <a:xfrm>
              <a:off x="-2771783" y="1125534"/>
              <a:ext cx="1917706" cy="1557335"/>
            </a:xfrm>
            <a:custGeom>
              <a:avLst/>
              <a:gdLst>
                <a:gd name="T0" fmla="*/ 566 w 1208"/>
                <a:gd name="T1" fmla="*/ 981 h 981"/>
                <a:gd name="T2" fmla="*/ 566 w 1208"/>
                <a:gd name="T3" fmla="*/ 981 h 981"/>
                <a:gd name="T4" fmla="*/ 0 w 1208"/>
                <a:gd name="T5" fmla="*/ 0 h 981"/>
                <a:gd name="T6" fmla="*/ 1208 w 1208"/>
                <a:gd name="T7" fmla="*/ 410 h 981"/>
                <a:gd name="T8" fmla="*/ 1208 w 1208"/>
                <a:gd name="T9" fmla="*/ 621 h 981"/>
                <a:gd name="T10" fmla="*/ 933 w 1208"/>
                <a:gd name="T11" fmla="*/ 775 h 981"/>
                <a:gd name="T12" fmla="*/ 566 w 1208"/>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208" h="981">
                  <a:moveTo>
                    <a:pt x="566" y="981"/>
                  </a:moveTo>
                  <a:lnTo>
                    <a:pt x="566" y="981"/>
                  </a:lnTo>
                  <a:lnTo>
                    <a:pt x="0" y="0"/>
                  </a:lnTo>
                  <a:lnTo>
                    <a:pt x="1208" y="410"/>
                  </a:lnTo>
                  <a:lnTo>
                    <a:pt x="1208" y="621"/>
                  </a:lnTo>
                  <a:lnTo>
                    <a:pt x="933" y="775"/>
                  </a:lnTo>
                  <a:lnTo>
                    <a:pt x="566"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61" name="Freeform 484"/>
            <p:cNvSpPr>
              <a:spLocks/>
            </p:cNvSpPr>
            <p:nvPr/>
          </p:nvSpPr>
          <p:spPr bwMode="auto">
            <a:xfrm>
              <a:off x="-2054231" y="2682869"/>
              <a:ext cx="1200154" cy="2232021"/>
            </a:xfrm>
            <a:custGeom>
              <a:avLst/>
              <a:gdLst>
                <a:gd name="T0" fmla="*/ 0 w 756"/>
                <a:gd name="T1" fmla="*/ 1406 h 1406"/>
                <a:gd name="T2" fmla="*/ 114 w 756"/>
                <a:gd name="T3" fmla="*/ 0 h 1406"/>
                <a:gd name="T4" fmla="*/ 756 w 756"/>
                <a:gd name="T5" fmla="*/ 0 h 1406"/>
                <a:gd name="T6" fmla="*/ 756 w 756"/>
                <a:gd name="T7" fmla="*/ 553 h 1406"/>
                <a:gd name="T8" fmla="*/ 0 w 756"/>
                <a:gd name="T9" fmla="*/ 1406 h 1406"/>
              </a:gdLst>
              <a:ahLst/>
              <a:cxnLst>
                <a:cxn ang="0">
                  <a:pos x="T0" y="T1"/>
                </a:cxn>
                <a:cxn ang="0">
                  <a:pos x="T2" y="T3"/>
                </a:cxn>
                <a:cxn ang="0">
                  <a:pos x="T4" y="T5"/>
                </a:cxn>
                <a:cxn ang="0">
                  <a:pos x="T6" y="T7"/>
                </a:cxn>
                <a:cxn ang="0">
                  <a:pos x="T8" y="T9"/>
                </a:cxn>
              </a:cxnLst>
              <a:rect l="0" t="0" r="r" b="b"/>
              <a:pathLst>
                <a:path w="756" h="1406">
                  <a:moveTo>
                    <a:pt x="0" y="1406"/>
                  </a:moveTo>
                  <a:lnTo>
                    <a:pt x="114" y="0"/>
                  </a:lnTo>
                  <a:lnTo>
                    <a:pt x="756" y="0"/>
                  </a:lnTo>
                  <a:lnTo>
                    <a:pt x="756" y="553"/>
                  </a:lnTo>
                  <a:lnTo>
                    <a:pt x="0" y="140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62" name="Freeform 485"/>
            <p:cNvSpPr>
              <a:spLocks noEditPoints="1"/>
            </p:cNvSpPr>
            <p:nvPr/>
          </p:nvSpPr>
          <p:spPr bwMode="auto">
            <a:xfrm>
              <a:off x="-4413263" y="1125534"/>
              <a:ext cx="2540007" cy="1987546"/>
            </a:xfrm>
            <a:custGeom>
              <a:avLst/>
              <a:gdLst>
                <a:gd name="T0" fmla="*/ 0 w 3333"/>
                <a:gd name="T1" fmla="*/ 2608 h 2608"/>
                <a:gd name="T2" fmla="*/ 0 w 3333"/>
                <a:gd name="T3" fmla="*/ 2608 h 2608"/>
                <a:gd name="T4" fmla="*/ 0 w 3333"/>
                <a:gd name="T5" fmla="*/ 2608 h 2608"/>
                <a:gd name="T6" fmla="*/ 0 w 3333"/>
                <a:gd name="T7" fmla="*/ 2608 h 2608"/>
                <a:gd name="T8" fmla="*/ 0 w 3333"/>
                <a:gd name="T9" fmla="*/ 2608 h 2608"/>
                <a:gd name="T10" fmla="*/ 2154 w 3333"/>
                <a:gd name="T11" fmla="*/ 0 h 2608"/>
                <a:gd name="T12" fmla="*/ 3333 w 3333"/>
                <a:gd name="T13" fmla="*/ 2042 h 2608"/>
                <a:gd name="T14" fmla="*/ 3333 w 3333"/>
                <a:gd name="T15" fmla="*/ 2042 h 2608"/>
                <a:gd name="T16" fmla="*/ 0 w 3333"/>
                <a:gd name="T17" fmla="*/ 2608 h 2608"/>
                <a:gd name="T18" fmla="*/ 3333 w 3333"/>
                <a:gd name="T19" fmla="*/ 2042 h 2608"/>
                <a:gd name="T20" fmla="*/ 3333 w 3333"/>
                <a:gd name="T21" fmla="*/ 2042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33" h="2608">
                  <a:moveTo>
                    <a:pt x="0" y="2608"/>
                  </a:moveTo>
                  <a:lnTo>
                    <a:pt x="0" y="2608"/>
                  </a:lnTo>
                  <a:lnTo>
                    <a:pt x="0" y="2608"/>
                  </a:lnTo>
                  <a:lnTo>
                    <a:pt x="0" y="2608"/>
                  </a:lnTo>
                  <a:moveTo>
                    <a:pt x="0" y="2608"/>
                  </a:moveTo>
                  <a:lnTo>
                    <a:pt x="2154" y="0"/>
                  </a:lnTo>
                  <a:lnTo>
                    <a:pt x="3333" y="2042"/>
                  </a:lnTo>
                  <a:lnTo>
                    <a:pt x="3333" y="2042"/>
                  </a:lnTo>
                  <a:lnTo>
                    <a:pt x="0" y="2608"/>
                  </a:lnTo>
                  <a:moveTo>
                    <a:pt x="3333" y="2042"/>
                  </a:moveTo>
                  <a:lnTo>
                    <a:pt x="3333" y="2042"/>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63" name="Freeform 486"/>
            <p:cNvSpPr>
              <a:spLocks/>
            </p:cNvSpPr>
            <p:nvPr/>
          </p:nvSpPr>
          <p:spPr bwMode="auto">
            <a:xfrm>
              <a:off x="-1873256" y="2111370"/>
              <a:ext cx="1019179" cy="571499"/>
            </a:xfrm>
            <a:custGeom>
              <a:avLst/>
              <a:gdLst>
                <a:gd name="T0" fmla="*/ 0 w 642"/>
                <a:gd name="T1" fmla="*/ 360 h 360"/>
                <a:gd name="T2" fmla="*/ 0 w 642"/>
                <a:gd name="T3" fmla="*/ 360 h 360"/>
                <a:gd name="T4" fmla="*/ 367 w 642"/>
                <a:gd name="T5" fmla="*/ 154 h 360"/>
                <a:gd name="T6" fmla="*/ 642 w 642"/>
                <a:gd name="T7" fmla="*/ 0 h 360"/>
                <a:gd name="T8" fmla="*/ 642 w 642"/>
                <a:gd name="T9" fmla="*/ 360 h 360"/>
                <a:gd name="T10" fmla="*/ 0 w 642"/>
                <a:gd name="T11" fmla="*/ 360 h 360"/>
              </a:gdLst>
              <a:ahLst/>
              <a:cxnLst>
                <a:cxn ang="0">
                  <a:pos x="T0" y="T1"/>
                </a:cxn>
                <a:cxn ang="0">
                  <a:pos x="T2" y="T3"/>
                </a:cxn>
                <a:cxn ang="0">
                  <a:pos x="T4" y="T5"/>
                </a:cxn>
                <a:cxn ang="0">
                  <a:pos x="T6" y="T7"/>
                </a:cxn>
                <a:cxn ang="0">
                  <a:pos x="T8" y="T9"/>
                </a:cxn>
                <a:cxn ang="0">
                  <a:pos x="T10" y="T11"/>
                </a:cxn>
              </a:cxnLst>
              <a:rect l="0" t="0" r="r" b="b"/>
              <a:pathLst>
                <a:path w="642" h="360">
                  <a:moveTo>
                    <a:pt x="0" y="360"/>
                  </a:moveTo>
                  <a:lnTo>
                    <a:pt x="0" y="360"/>
                  </a:lnTo>
                  <a:lnTo>
                    <a:pt x="367" y="154"/>
                  </a:lnTo>
                  <a:lnTo>
                    <a:pt x="642" y="0"/>
                  </a:lnTo>
                  <a:lnTo>
                    <a:pt x="642" y="360"/>
                  </a:lnTo>
                  <a:lnTo>
                    <a:pt x="0" y="36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64" name="Freeform 487"/>
            <p:cNvSpPr>
              <a:spLocks/>
            </p:cNvSpPr>
            <p:nvPr/>
          </p:nvSpPr>
          <p:spPr bwMode="auto">
            <a:xfrm>
              <a:off x="-1290642" y="2111370"/>
              <a:ext cx="436564" cy="244474"/>
            </a:xfrm>
            <a:custGeom>
              <a:avLst/>
              <a:gdLst>
                <a:gd name="T0" fmla="*/ 0 w 275"/>
                <a:gd name="T1" fmla="*/ 154 h 154"/>
                <a:gd name="T2" fmla="*/ 275 w 275"/>
                <a:gd name="T3" fmla="*/ 0 h 154"/>
                <a:gd name="T4" fmla="*/ 275 w 275"/>
                <a:gd name="T5" fmla="*/ 0 h 154"/>
                <a:gd name="T6" fmla="*/ 0 w 275"/>
                <a:gd name="T7" fmla="*/ 154 h 154"/>
              </a:gdLst>
              <a:ahLst/>
              <a:cxnLst>
                <a:cxn ang="0">
                  <a:pos x="T0" y="T1"/>
                </a:cxn>
                <a:cxn ang="0">
                  <a:pos x="T2" y="T3"/>
                </a:cxn>
                <a:cxn ang="0">
                  <a:pos x="T4" y="T5"/>
                </a:cxn>
                <a:cxn ang="0">
                  <a:pos x="T6" y="T7"/>
                </a:cxn>
              </a:cxnLst>
              <a:rect l="0" t="0" r="r" b="b"/>
              <a:pathLst>
                <a:path w="275" h="154">
                  <a:moveTo>
                    <a:pt x="0" y="154"/>
                  </a:moveTo>
                  <a:lnTo>
                    <a:pt x="275" y="0"/>
                  </a:lnTo>
                  <a:lnTo>
                    <a:pt x="275" y="0"/>
                  </a:lnTo>
                  <a:lnTo>
                    <a:pt x="0" y="15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65" name="Freeform 488"/>
            <p:cNvSpPr>
              <a:spLocks/>
            </p:cNvSpPr>
            <p:nvPr/>
          </p:nvSpPr>
          <p:spPr bwMode="auto">
            <a:xfrm>
              <a:off x="-4413263" y="2682869"/>
              <a:ext cx="2540006" cy="1554160"/>
            </a:xfrm>
            <a:custGeom>
              <a:avLst/>
              <a:gdLst>
                <a:gd name="T0" fmla="*/ 1034 w 1600"/>
                <a:gd name="T1" fmla="*/ 979 h 979"/>
                <a:gd name="T2" fmla="*/ 0 w 1600"/>
                <a:gd name="T3" fmla="*/ 271 h 979"/>
                <a:gd name="T4" fmla="*/ 0 w 1600"/>
                <a:gd name="T5" fmla="*/ 271 h 979"/>
                <a:gd name="T6" fmla="*/ 1600 w 1600"/>
                <a:gd name="T7" fmla="*/ 0 h 979"/>
                <a:gd name="T8" fmla="*/ 1034 w 1600"/>
                <a:gd name="T9" fmla="*/ 979 h 979"/>
              </a:gdLst>
              <a:ahLst/>
              <a:cxnLst>
                <a:cxn ang="0">
                  <a:pos x="T0" y="T1"/>
                </a:cxn>
                <a:cxn ang="0">
                  <a:pos x="T2" y="T3"/>
                </a:cxn>
                <a:cxn ang="0">
                  <a:pos x="T4" y="T5"/>
                </a:cxn>
                <a:cxn ang="0">
                  <a:pos x="T6" y="T7"/>
                </a:cxn>
                <a:cxn ang="0">
                  <a:pos x="T8" y="T9"/>
                </a:cxn>
              </a:cxnLst>
              <a:rect l="0" t="0" r="r" b="b"/>
              <a:pathLst>
                <a:path w="1600" h="979">
                  <a:moveTo>
                    <a:pt x="1034" y="979"/>
                  </a:moveTo>
                  <a:lnTo>
                    <a:pt x="0" y="271"/>
                  </a:lnTo>
                  <a:lnTo>
                    <a:pt x="0" y="271"/>
                  </a:lnTo>
                  <a:lnTo>
                    <a:pt x="1600" y="0"/>
                  </a:lnTo>
                  <a:lnTo>
                    <a:pt x="1034"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66" name="Freeform 489"/>
            <p:cNvSpPr>
              <a:spLocks noEditPoints="1"/>
            </p:cNvSpPr>
            <p:nvPr/>
          </p:nvSpPr>
          <p:spPr bwMode="auto">
            <a:xfrm>
              <a:off x="-2438407" y="5792775"/>
              <a:ext cx="1517654" cy="1866896"/>
            </a:xfrm>
            <a:custGeom>
              <a:avLst/>
              <a:gdLst>
                <a:gd name="T0" fmla="*/ 184 w 1992"/>
                <a:gd name="T1" fmla="*/ 2449 h 2449"/>
                <a:gd name="T2" fmla="*/ 0 w 1992"/>
                <a:gd name="T3" fmla="*/ 2449 h 2449"/>
                <a:gd name="T4" fmla="*/ 742 w 1992"/>
                <a:gd name="T5" fmla="*/ 0 h 2449"/>
                <a:gd name="T6" fmla="*/ 1342 w 1992"/>
                <a:gd name="T7" fmla="*/ 650 h 2449"/>
                <a:gd name="T8" fmla="*/ 1992 w 1992"/>
                <a:gd name="T9" fmla="*/ 1354 h 2449"/>
                <a:gd name="T10" fmla="*/ 184 w 1992"/>
                <a:gd name="T11" fmla="*/ 2449 h 2449"/>
                <a:gd name="T12" fmla="*/ 742 w 1992"/>
                <a:gd name="T13" fmla="*/ 0 h 2449"/>
                <a:gd name="T14" fmla="*/ 742 w 1992"/>
                <a:gd name="T15" fmla="*/ 0 h 2449"/>
                <a:gd name="T16" fmla="*/ 742 w 1992"/>
                <a:gd name="T17" fmla="*/ 0 h 2449"/>
                <a:gd name="T18" fmla="*/ 742 w 1992"/>
                <a:gd name="T19" fmla="*/ 0 h 2449"/>
                <a:gd name="T20" fmla="*/ 742 w 1992"/>
                <a:gd name="T21" fmla="*/ 0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2" h="2449">
                  <a:moveTo>
                    <a:pt x="184" y="2449"/>
                  </a:moveTo>
                  <a:lnTo>
                    <a:pt x="0" y="2449"/>
                  </a:lnTo>
                  <a:lnTo>
                    <a:pt x="742" y="0"/>
                  </a:lnTo>
                  <a:lnTo>
                    <a:pt x="1342" y="650"/>
                  </a:lnTo>
                  <a:lnTo>
                    <a:pt x="1992" y="1354"/>
                  </a:lnTo>
                  <a:lnTo>
                    <a:pt x="184" y="2449"/>
                  </a:lnTo>
                  <a:moveTo>
                    <a:pt x="742" y="0"/>
                  </a:moveTo>
                  <a:lnTo>
                    <a:pt x="742" y="0"/>
                  </a:lnTo>
                  <a:moveTo>
                    <a:pt x="742" y="0"/>
                  </a:moveTo>
                  <a:lnTo>
                    <a:pt x="742" y="0"/>
                  </a:lnTo>
                  <a:lnTo>
                    <a:pt x="742"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67" name="Freeform 490"/>
            <p:cNvSpPr>
              <a:spLocks/>
            </p:cNvSpPr>
            <p:nvPr/>
          </p:nvSpPr>
          <p:spPr bwMode="auto">
            <a:xfrm>
              <a:off x="-2771783" y="4237029"/>
              <a:ext cx="898527" cy="1555746"/>
            </a:xfrm>
            <a:custGeom>
              <a:avLst/>
              <a:gdLst>
                <a:gd name="T0" fmla="*/ 566 w 566"/>
                <a:gd name="T1" fmla="*/ 980 h 980"/>
                <a:gd name="T2" fmla="*/ 0 w 566"/>
                <a:gd name="T3" fmla="*/ 0 h 980"/>
                <a:gd name="T4" fmla="*/ 452 w 566"/>
                <a:gd name="T5" fmla="*/ 427 h 980"/>
                <a:gd name="T6" fmla="*/ 547 w 566"/>
                <a:gd name="T7" fmla="*/ 885 h 980"/>
                <a:gd name="T8" fmla="*/ 566 w 566"/>
                <a:gd name="T9" fmla="*/ 980 h 980"/>
              </a:gdLst>
              <a:ahLst/>
              <a:cxnLst>
                <a:cxn ang="0">
                  <a:pos x="T0" y="T1"/>
                </a:cxn>
                <a:cxn ang="0">
                  <a:pos x="T2" y="T3"/>
                </a:cxn>
                <a:cxn ang="0">
                  <a:pos x="T4" y="T5"/>
                </a:cxn>
                <a:cxn ang="0">
                  <a:pos x="T6" y="T7"/>
                </a:cxn>
                <a:cxn ang="0">
                  <a:pos x="T8" y="T9"/>
                </a:cxn>
              </a:cxnLst>
              <a:rect l="0" t="0" r="r" b="b"/>
              <a:pathLst>
                <a:path w="566" h="980">
                  <a:moveTo>
                    <a:pt x="566" y="980"/>
                  </a:moveTo>
                  <a:lnTo>
                    <a:pt x="0" y="0"/>
                  </a:lnTo>
                  <a:lnTo>
                    <a:pt x="452" y="427"/>
                  </a:lnTo>
                  <a:lnTo>
                    <a:pt x="547" y="88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68" name="Freeform 491"/>
            <p:cNvSpPr>
              <a:spLocks/>
            </p:cNvSpPr>
            <p:nvPr/>
          </p:nvSpPr>
          <p:spPr bwMode="auto">
            <a:xfrm>
              <a:off x="-1873256" y="5792775"/>
              <a:ext cx="1019178" cy="1031873"/>
            </a:xfrm>
            <a:custGeom>
              <a:avLst/>
              <a:gdLst>
                <a:gd name="T0" fmla="*/ 600 w 642"/>
                <a:gd name="T1" fmla="*/ 650 h 650"/>
                <a:gd name="T2" fmla="*/ 288 w 642"/>
                <a:gd name="T3" fmla="*/ 312 h 650"/>
                <a:gd name="T4" fmla="*/ 0 w 642"/>
                <a:gd name="T5" fmla="*/ 0 h 650"/>
                <a:gd name="T6" fmla="*/ 642 w 642"/>
                <a:gd name="T7" fmla="*/ 0 h 650"/>
                <a:gd name="T8" fmla="*/ 642 w 642"/>
                <a:gd name="T9" fmla="*/ 600 h 650"/>
                <a:gd name="T10" fmla="*/ 600 w 642"/>
                <a:gd name="T11" fmla="*/ 650 h 650"/>
              </a:gdLst>
              <a:ahLst/>
              <a:cxnLst>
                <a:cxn ang="0">
                  <a:pos x="T0" y="T1"/>
                </a:cxn>
                <a:cxn ang="0">
                  <a:pos x="T2" y="T3"/>
                </a:cxn>
                <a:cxn ang="0">
                  <a:pos x="T4" y="T5"/>
                </a:cxn>
                <a:cxn ang="0">
                  <a:pos x="T6" y="T7"/>
                </a:cxn>
                <a:cxn ang="0">
                  <a:pos x="T8" y="T9"/>
                </a:cxn>
                <a:cxn ang="0">
                  <a:pos x="T10" y="T11"/>
                </a:cxn>
              </a:cxnLst>
              <a:rect l="0" t="0" r="r" b="b"/>
              <a:pathLst>
                <a:path w="642" h="650">
                  <a:moveTo>
                    <a:pt x="600" y="650"/>
                  </a:moveTo>
                  <a:lnTo>
                    <a:pt x="288" y="312"/>
                  </a:lnTo>
                  <a:lnTo>
                    <a:pt x="0" y="0"/>
                  </a:lnTo>
                  <a:lnTo>
                    <a:pt x="642" y="0"/>
                  </a:lnTo>
                  <a:lnTo>
                    <a:pt x="642" y="600"/>
                  </a:lnTo>
                  <a:lnTo>
                    <a:pt x="600" y="650"/>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69" name="Freeform 492"/>
            <p:cNvSpPr>
              <a:spLocks noEditPoints="1"/>
            </p:cNvSpPr>
            <p:nvPr/>
          </p:nvSpPr>
          <p:spPr bwMode="auto">
            <a:xfrm>
              <a:off x="-4214825" y="4237029"/>
              <a:ext cx="2341569" cy="2058983"/>
            </a:xfrm>
            <a:custGeom>
              <a:avLst/>
              <a:gdLst>
                <a:gd name="T0" fmla="*/ 0 w 3073"/>
                <a:gd name="T1" fmla="*/ 2701 h 2701"/>
                <a:gd name="T2" fmla="*/ 0 w 3073"/>
                <a:gd name="T3" fmla="*/ 2701 h 2701"/>
                <a:gd name="T4" fmla="*/ 0 w 3073"/>
                <a:gd name="T5" fmla="*/ 2701 h 2701"/>
                <a:gd name="T6" fmla="*/ 0 w 3073"/>
                <a:gd name="T7" fmla="*/ 2701 h 2701"/>
                <a:gd name="T8" fmla="*/ 0 w 3073"/>
                <a:gd name="T9" fmla="*/ 2701 h 2701"/>
                <a:gd name="T10" fmla="*/ 1894 w 3073"/>
                <a:gd name="T11" fmla="*/ 0 h 2701"/>
                <a:gd name="T12" fmla="*/ 3073 w 3073"/>
                <a:gd name="T13" fmla="*/ 2042 h 2701"/>
                <a:gd name="T14" fmla="*/ 3073 w 3073"/>
                <a:gd name="T15" fmla="*/ 2042 h 2701"/>
                <a:gd name="T16" fmla="*/ 0 w 3073"/>
                <a:gd name="T17" fmla="*/ 2701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701">
                  <a:moveTo>
                    <a:pt x="0" y="2701"/>
                  </a:moveTo>
                  <a:lnTo>
                    <a:pt x="0" y="2701"/>
                  </a:lnTo>
                  <a:lnTo>
                    <a:pt x="0" y="2701"/>
                  </a:lnTo>
                  <a:lnTo>
                    <a:pt x="0" y="2701"/>
                  </a:lnTo>
                  <a:moveTo>
                    <a:pt x="0" y="2701"/>
                  </a:moveTo>
                  <a:lnTo>
                    <a:pt x="1894" y="0"/>
                  </a:lnTo>
                  <a:lnTo>
                    <a:pt x="3073" y="2042"/>
                  </a:lnTo>
                  <a:lnTo>
                    <a:pt x="3073" y="2042"/>
                  </a:lnTo>
                  <a:lnTo>
                    <a:pt x="0" y="270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70" name="Freeform 493"/>
            <p:cNvSpPr>
              <a:spLocks/>
            </p:cNvSpPr>
            <p:nvPr/>
          </p:nvSpPr>
          <p:spPr bwMode="auto">
            <a:xfrm>
              <a:off x="-2054231" y="4914890"/>
              <a:ext cx="1200154" cy="877887"/>
            </a:xfrm>
            <a:custGeom>
              <a:avLst/>
              <a:gdLst>
                <a:gd name="T0" fmla="*/ 114 w 756"/>
                <a:gd name="T1" fmla="*/ 553 h 553"/>
                <a:gd name="T2" fmla="*/ 114 w 756"/>
                <a:gd name="T3" fmla="*/ 553 h 553"/>
                <a:gd name="T4" fmla="*/ 114 w 756"/>
                <a:gd name="T5" fmla="*/ 553 h 553"/>
                <a:gd name="T6" fmla="*/ 95 w 756"/>
                <a:gd name="T7" fmla="*/ 458 h 553"/>
                <a:gd name="T8" fmla="*/ 0 w 756"/>
                <a:gd name="T9" fmla="*/ 0 h 553"/>
                <a:gd name="T10" fmla="*/ 756 w 756"/>
                <a:gd name="T11" fmla="*/ 336 h 553"/>
                <a:gd name="T12" fmla="*/ 756 w 756"/>
                <a:gd name="T13" fmla="*/ 553 h 553"/>
                <a:gd name="T14" fmla="*/ 114 w 756"/>
                <a:gd name="T15" fmla="*/ 553 h 5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6" h="553">
                  <a:moveTo>
                    <a:pt x="114" y="553"/>
                  </a:moveTo>
                  <a:lnTo>
                    <a:pt x="114" y="553"/>
                  </a:lnTo>
                  <a:lnTo>
                    <a:pt x="114" y="553"/>
                  </a:lnTo>
                  <a:lnTo>
                    <a:pt x="95" y="458"/>
                  </a:lnTo>
                  <a:lnTo>
                    <a:pt x="0" y="0"/>
                  </a:lnTo>
                  <a:lnTo>
                    <a:pt x="756" y="336"/>
                  </a:lnTo>
                  <a:lnTo>
                    <a:pt x="756" y="553"/>
                  </a:lnTo>
                  <a:lnTo>
                    <a:pt x="114" y="5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71" name="Freeform 494"/>
            <p:cNvSpPr>
              <a:spLocks noEditPoints="1"/>
            </p:cNvSpPr>
            <p:nvPr/>
          </p:nvSpPr>
          <p:spPr bwMode="auto">
            <a:xfrm>
              <a:off x="-4214825" y="5792775"/>
              <a:ext cx="2341569" cy="1866896"/>
            </a:xfrm>
            <a:custGeom>
              <a:avLst/>
              <a:gdLst>
                <a:gd name="T0" fmla="*/ 2331 w 3073"/>
                <a:gd name="T1" fmla="*/ 2449 h 2449"/>
                <a:gd name="T2" fmla="*/ 2127 w 3073"/>
                <a:gd name="T3" fmla="*/ 2449 h 2449"/>
                <a:gd name="T4" fmla="*/ 0 w 3073"/>
                <a:gd name="T5" fmla="*/ 659 h 2449"/>
                <a:gd name="T6" fmla="*/ 3073 w 3073"/>
                <a:gd name="T7" fmla="*/ 0 h 2449"/>
                <a:gd name="T8" fmla="*/ 2331 w 3073"/>
                <a:gd name="T9" fmla="*/ 2449 h 2449"/>
                <a:gd name="T10" fmla="*/ 0 w 3073"/>
                <a:gd name="T11" fmla="*/ 659 h 2449"/>
                <a:gd name="T12" fmla="*/ 0 w 3073"/>
                <a:gd name="T13" fmla="*/ 659 h 2449"/>
                <a:gd name="T14" fmla="*/ 0 w 3073"/>
                <a:gd name="T15" fmla="*/ 659 h 2449"/>
                <a:gd name="T16" fmla="*/ 0 w 3073"/>
                <a:gd name="T17" fmla="*/ 659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449">
                  <a:moveTo>
                    <a:pt x="2331" y="2449"/>
                  </a:moveTo>
                  <a:lnTo>
                    <a:pt x="2127" y="2449"/>
                  </a:lnTo>
                  <a:lnTo>
                    <a:pt x="0" y="659"/>
                  </a:lnTo>
                  <a:lnTo>
                    <a:pt x="3073" y="0"/>
                  </a:lnTo>
                  <a:lnTo>
                    <a:pt x="2331" y="2449"/>
                  </a:lnTo>
                  <a:moveTo>
                    <a:pt x="0" y="659"/>
                  </a:moveTo>
                  <a:lnTo>
                    <a:pt x="0" y="659"/>
                  </a:lnTo>
                  <a:lnTo>
                    <a:pt x="0" y="659"/>
                  </a:lnTo>
                  <a:lnTo>
                    <a:pt x="0" y="659"/>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72" name="Rectangle 495"/>
            <p:cNvSpPr>
              <a:spLocks noChangeArrowheads="1"/>
            </p:cNvSpPr>
            <p:nvPr/>
          </p:nvSpPr>
          <p:spPr bwMode="auto">
            <a:xfrm>
              <a:off x="-4214825" y="6296012"/>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73" name="Freeform 496"/>
            <p:cNvSpPr>
              <a:spLocks/>
            </p:cNvSpPr>
            <p:nvPr/>
          </p:nvSpPr>
          <p:spPr bwMode="auto">
            <a:xfrm>
              <a:off x="-2438407" y="5792775"/>
              <a:ext cx="565152" cy="1866896"/>
            </a:xfrm>
            <a:custGeom>
              <a:avLst/>
              <a:gdLst>
                <a:gd name="T0" fmla="*/ 0 w 356"/>
                <a:gd name="T1" fmla="*/ 1176 h 1176"/>
                <a:gd name="T2" fmla="*/ 0 w 356"/>
                <a:gd name="T3" fmla="*/ 1176 h 1176"/>
                <a:gd name="T4" fmla="*/ 356 w 356"/>
                <a:gd name="T5" fmla="*/ 0 h 1176"/>
                <a:gd name="T6" fmla="*/ 356 w 356"/>
                <a:gd name="T7" fmla="*/ 0 h 1176"/>
                <a:gd name="T8" fmla="*/ 0 w 356"/>
                <a:gd name="T9" fmla="*/ 1176 h 1176"/>
              </a:gdLst>
              <a:ahLst/>
              <a:cxnLst>
                <a:cxn ang="0">
                  <a:pos x="T0" y="T1"/>
                </a:cxn>
                <a:cxn ang="0">
                  <a:pos x="T2" y="T3"/>
                </a:cxn>
                <a:cxn ang="0">
                  <a:pos x="T4" y="T5"/>
                </a:cxn>
                <a:cxn ang="0">
                  <a:pos x="T6" y="T7"/>
                </a:cxn>
                <a:cxn ang="0">
                  <a:pos x="T8" y="T9"/>
                </a:cxn>
              </a:cxnLst>
              <a:rect l="0" t="0" r="r" b="b"/>
              <a:pathLst>
                <a:path w="356" h="1176">
                  <a:moveTo>
                    <a:pt x="0" y="1176"/>
                  </a:moveTo>
                  <a:lnTo>
                    <a:pt x="0" y="1176"/>
                  </a:lnTo>
                  <a:lnTo>
                    <a:pt x="356" y="0"/>
                  </a:lnTo>
                  <a:lnTo>
                    <a:pt x="356" y="0"/>
                  </a:lnTo>
                  <a:lnTo>
                    <a:pt x="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74" name="Freeform 497"/>
            <p:cNvSpPr>
              <a:spLocks/>
            </p:cNvSpPr>
            <p:nvPr/>
          </p:nvSpPr>
          <p:spPr bwMode="auto">
            <a:xfrm>
              <a:off x="-4214825" y="5792775"/>
              <a:ext cx="2341569" cy="503237"/>
            </a:xfrm>
            <a:custGeom>
              <a:avLst/>
              <a:gdLst>
                <a:gd name="T0" fmla="*/ 0 w 1475"/>
                <a:gd name="T1" fmla="*/ 317 h 317"/>
                <a:gd name="T2" fmla="*/ 0 w 1475"/>
                <a:gd name="T3" fmla="*/ 317 h 317"/>
                <a:gd name="T4" fmla="*/ 0 w 1475"/>
                <a:gd name="T5" fmla="*/ 317 h 317"/>
                <a:gd name="T6" fmla="*/ 1475 w 1475"/>
                <a:gd name="T7" fmla="*/ 0 h 317"/>
                <a:gd name="T8" fmla="*/ 1475 w 1475"/>
                <a:gd name="T9" fmla="*/ 0 h 317"/>
                <a:gd name="T10" fmla="*/ 0 w 1475"/>
                <a:gd name="T11" fmla="*/ 317 h 317"/>
              </a:gdLst>
              <a:ahLst/>
              <a:cxnLst>
                <a:cxn ang="0">
                  <a:pos x="T0" y="T1"/>
                </a:cxn>
                <a:cxn ang="0">
                  <a:pos x="T2" y="T3"/>
                </a:cxn>
                <a:cxn ang="0">
                  <a:pos x="T4" y="T5"/>
                </a:cxn>
                <a:cxn ang="0">
                  <a:pos x="T6" y="T7"/>
                </a:cxn>
                <a:cxn ang="0">
                  <a:pos x="T8" y="T9"/>
                </a:cxn>
                <a:cxn ang="0">
                  <a:pos x="T10" y="T11"/>
                </a:cxn>
              </a:cxnLst>
              <a:rect l="0" t="0" r="r" b="b"/>
              <a:pathLst>
                <a:path w="1475" h="317">
                  <a:moveTo>
                    <a:pt x="0" y="317"/>
                  </a:moveTo>
                  <a:lnTo>
                    <a:pt x="0" y="317"/>
                  </a:lnTo>
                  <a:lnTo>
                    <a:pt x="0" y="317"/>
                  </a:lnTo>
                  <a:lnTo>
                    <a:pt x="1475" y="0"/>
                  </a:lnTo>
                  <a:lnTo>
                    <a:pt x="1475" y="0"/>
                  </a:lnTo>
                  <a:lnTo>
                    <a:pt x="0" y="317"/>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75" name="Freeform 498"/>
            <p:cNvSpPr>
              <a:spLocks/>
            </p:cNvSpPr>
            <p:nvPr/>
          </p:nvSpPr>
          <p:spPr bwMode="auto">
            <a:xfrm>
              <a:off x="-2054231" y="3560754"/>
              <a:ext cx="1200153" cy="1354135"/>
            </a:xfrm>
            <a:custGeom>
              <a:avLst/>
              <a:gdLst>
                <a:gd name="T0" fmla="*/ 0 w 756"/>
                <a:gd name="T1" fmla="*/ 853 h 853"/>
                <a:gd name="T2" fmla="*/ 0 w 756"/>
                <a:gd name="T3" fmla="*/ 853 h 853"/>
                <a:gd name="T4" fmla="*/ 756 w 756"/>
                <a:gd name="T5" fmla="*/ 0 h 853"/>
                <a:gd name="T6" fmla="*/ 756 w 756"/>
                <a:gd name="T7" fmla="*/ 675 h 853"/>
                <a:gd name="T8" fmla="*/ 0 w 756"/>
                <a:gd name="T9" fmla="*/ 853 h 853"/>
              </a:gdLst>
              <a:ahLst/>
              <a:cxnLst>
                <a:cxn ang="0">
                  <a:pos x="T0" y="T1"/>
                </a:cxn>
                <a:cxn ang="0">
                  <a:pos x="T2" y="T3"/>
                </a:cxn>
                <a:cxn ang="0">
                  <a:pos x="T4" y="T5"/>
                </a:cxn>
                <a:cxn ang="0">
                  <a:pos x="T6" y="T7"/>
                </a:cxn>
                <a:cxn ang="0">
                  <a:pos x="T8" y="T9"/>
                </a:cxn>
              </a:cxnLst>
              <a:rect l="0" t="0" r="r" b="b"/>
              <a:pathLst>
                <a:path w="756" h="853">
                  <a:moveTo>
                    <a:pt x="0" y="853"/>
                  </a:moveTo>
                  <a:lnTo>
                    <a:pt x="0" y="853"/>
                  </a:lnTo>
                  <a:lnTo>
                    <a:pt x="756" y="0"/>
                  </a:lnTo>
                  <a:lnTo>
                    <a:pt x="756" y="675"/>
                  </a:lnTo>
                  <a:lnTo>
                    <a:pt x="0" y="853"/>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76" name="Freeform 499"/>
            <p:cNvSpPr>
              <a:spLocks/>
            </p:cNvSpPr>
            <p:nvPr/>
          </p:nvSpPr>
          <p:spPr bwMode="auto">
            <a:xfrm>
              <a:off x="-2054231" y="3560754"/>
              <a:ext cx="1200153" cy="1354134"/>
            </a:xfrm>
            <a:custGeom>
              <a:avLst/>
              <a:gdLst>
                <a:gd name="T0" fmla="*/ 0 w 756"/>
                <a:gd name="T1" fmla="*/ 853 h 853"/>
                <a:gd name="T2" fmla="*/ 756 w 756"/>
                <a:gd name="T3" fmla="*/ 0 h 853"/>
                <a:gd name="T4" fmla="*/ 756 w 756"/>
                <a:gd name="T5" fmla="*/ 0 h 853"/>
                <a:gd name="T6" fmla="*/ 0 w 756"/>
                <a:gd name="T7" fmla="*/ 853 h 853"/>
              </a:gdLst>
              <a:ahLst/>
              <a:cxnLst>
                <a:cxn ang="0">
                  <a:pos x="T0" y="T1"/>
                </a:cxn>
                <a:cxn ang="0">
                  <a:pos x="T2" y="T3"/>
                </a:cxn>
                <a:cxn ang="0">
                  <a:pos x="T4" y="T5"/>
                </a:cxn>
                <a:cxn ang="0">
                  <a:pos x="T6" y="T7"/>
                </a:cxn>
              </a:cxnLst>
              <a:rect l="0" t="0" r="r" b="b"/>
              <a:pathLst>
                <a:path w="756" h="853">
                  <a:moveTo>
                    <a:pt x="0" y="853"/>
                  </a:moveTo>
                  <a:lnTo>
                    <a:pt x="756" y="0"/>
                  </a:lnTo>
                  <a:lnTo>
                    <a:pt x="756" y="0"/>
                  </a:lnTo>
                  <a:lnTo>
                    <a:pt x="0" y="853"/>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77" name="Freeform 500"/>
            <p:cNvSpPr>
              <a:spLocks/>
            </p:cNvSpPr>
            <p:nvPr/>
          </p:nvSpPr>
          <p:spPr bwMode="auto">
            <a:xfrm>
              <a:off x="-2054231" y="4632315"/>
              <a:ext cx="1200153" cy="815973"/>
            </a:xfrm>
            <a:custGeom>
              <a:avLst/>
              <a:gdLst>
                <a:gd name="T0" fmla="*/ 756 w 756"/>
                <a:gd name="T1" fmla="*/ 514 h 514"/>
                <a:gd name="T2" fmla="*/ 0 w 756"/>
                <a:gd name="T3" fmla="*/ 178 h 514"/>
                <a:gd name="T4" fmla="*/ 756 w 756"/>
                <a:gd name="T5" fmla="*/ 0 h 514"/>
                <a:gd name="T6" fmla="*/ 756 w 756"/>
                <a:gd name="T7" fmla="*/ 514 h 514"/>
              </a:gdLst>
              <a:ahLst/>
              <a:cxnLst>
                <a:cxn ang="0">
                  <a:pos x="T0" y="T1"/>
                </a:cxn>
                <a:cxn ang="0">
                  <a:pos x="T2" y="T3"/>
                </a:cxn>
                <a:cxn ang="0">
                  <a:pos x="T4" y="T5"/>
                </a:cxn>
                <a:cxn ang="0">
                  <a:pos x="T6" y="T7"/>
                </a:cxn>
              </a:cxnLst>
              <a:rect l="0" t="0" r="r" b="b"/>
              <a:pathLst>
                <a:path w="756" h="514">
                  <a:moveTo>
                    <a:pt x="756" y="514"/>
                  </a:moveTo>
                  <a:lnTo>
                    <a:pt x="0" y="178"/>
                  </a:lnTo>
                  <a:lnTo>
                    <a:pt x="756" y="0"/>
                  </a:lnTo>
                  <a:lnTo>
                    <a:pt x="756" y="514"/>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78" name="Freeform 501"/>
            <p:cNvSpPr>
              <a:spLocks/>
            </p:cNvSpPr>
            <p:nvPr/>
          </p:nvSpPr>
          <p:spPr bwMode="auto">
            <a:xfrm>
              <a:off x="-2298706" y="6824647"/>
              <a:ext cx="1377953" cy="835022"/>
            </a:xfrm>
            <a:custGeom>
              <a:avLst/>
              <a:gdLst>
                <a:gd name="T0" fmla="*/ 661 w 868"/>
                <a:gd name="T1" fmla="*/ 526 h 526"/>
                <a:gd name="T2" fmla="*/ 0 w 868"/>
                <a:gd name="T3" fmla="*/ 526 h 526"/>
                <a:gd name="T4" fmla="*/ 868 w 868"/>
                <a:gd name="T5" fmla="*/ 0 h 526"/>
                <a:gd name="T6" fmla="*/ 661 w 868"/>
                <a:gd name="T7" fmla="*/ 526 h 526"/>
              </a:gdLst>
              <a:ahLst/>
              <a:cxnLst>
                <a:cxn ang="0">
                  <a:pos x="T0" y="T1"/>
                </a:cxn>
                <a:cxn ang="0">
                  <a:pos x="T2" y="T3"/>
                </a:cxn>
                <a:cxn ang="0">
                  <a:pos x="T4" y="T5"/>
                </a:cxn>
                <a:cxn ang="0">
                  <a:pos x="T6" y="T7"/>
                </a:cxn>
              </a:cxnLst>
              <a:rect l="0" t="0" r="r" b="b"/>
              <a:pathLst>
                <a:path w="868" h="526">
                  <a:moveTo>
                    <a:pt x="661" y="526"/>
                  </a:moveTo>
                  <a:lnTo>
                    <a:pt x="0" y="526"/>
                  </a:lnTo>
                  <a:lnTo>
                    <a:pt x="868" y="0"/>
                  </a:lnTo>
                  <a:lnTo>
                    <a:pt x="661" y="526"/>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79" name="Freeform 502"/>
            <p:cNvSpPr>
              <a:spLocks/>
            </p:cNvSpPr>
            <p:nvPr/>
          </p:nvSpPr>
          <p:spPr bwMode="auto">
            <a:xfrm>
              <a:off x="-1249367" y="6824645"/>
              <a:ext cx="395289" cy="835022"/>
            </a:xfrm>
            <a:custGeom>
              <a:avLst/>
              <a:gdLst>
                <a:gd name="T0" fmla="*/ 249 w 249"/>
                <a:gd name="T1" fmla="*/ 526 h 526"/>
                <a:gd name="T2" fmla="*/ 0 w 249"/>
                <a:gd name="T3" fmla="*/ 526 h 526"/>
                <a:gd name="T4" fmla="*/ 207 w 249"/>
                <a:gd name="T5" fmla="*/ 0 h 526"/>
                <a:gd name="T6" fmla="*/ 249 w 249"/>
                <a:gd name="T7" fmla="*/ 166 h 526"/>
                <a:gd name="T8" fmla="*/ 249 w 249"/>
                <a:gd name="T9" fmla="*/ 526 h 526"/>
              </a:gdLst>
              <a:ahLst/>
              <a:cxnLst>
                <a:cxn ang="0">
                  <a:pos x="T0" y="T1"/>
                </a:cxn>
                <a:cxn ang="0">
                  <a:pos x="T2" y="T3"/>
                </a:cxn>
                <a:cxn ang="0">
                  <a:pos x="T4" y="T5"/>
                </a:cxn>
                <a:cxn ang="0">
                  <a:pos x="T6" y="T7"/>
                </a:cxn>
                <a:cxn ang="0">
                  <a:pos x="T8" y="T9"/>
                </a:cxn>
              </a:cxnLst>
              <a:rect l="0" t="0" r="r" b="b"/>
              <a:pathLst>
                <a:path w="249" h="526">
                  <a:moveTo>
                    <a:pt x="249" y="526"/>
                  </a:moveTo>
                  <a:lnTo>
                    <a:pt x="0" y="526"/>
                  </a:lnTo>
                  <a:lnTo>
                    <a:pt x="207" y="0"/>
                  </a:lnTo>
                  <a:lnTo>
                    <a:pt x="249" y="166"/>
                  </a:lnTo>
                  <a:lnTo>
                    <a:pt x="249" y="52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80" name="Freeform 503"/>
            <p:cNvSpPr>
              <a:spLocks/>
            </p:cNvSpPr>
            <p:nvPr/>
          </p:nvSpPr>
          <p:spPr bwMode="auto">
            <a:xfrm>
              <a:off x="-920755" y="6745278"/>
              <a:ext cx="66675" cy="79376"/>
            </a:xfrm>
            <a:custGeom>
              <a:avLst/>
              <a:gdLst>
                <a:gd name="T0" fmla="*/ 0 w 42"/>
                <a:gd name="T1" fmla="*/ 50 h 50"/>
                <a:gd name="T2" fmla="*/ 0 w 42"/>
                <a:gd name="T3" fmla="*/ 50 h 50"/>
                <a:gd name="T4" fmla="*/ 42 w 42"/>
                <a:gd name="T5" fmla="*/ 0 h 50"/>
                <a:gd name="T6" fmla="*/ 42 w 42"/>
                <a:gd name="T7" fmla="*/ 47 h 50"/>
                <a:gd name="T8" fmla="*/ 0 w 42"/>
                <a:gd name="T9" fmla="*/ 50 h 50"/>
              </a:gdLst>
              <a:ahLst/>
              <a:cxnLst>
                <a:cxn ang="0">
                  <a:pos x="T0" y="T1"/>
                </a:cxn>
                <a:cxn ang="0">
                  <a:pos x="T2" y="T3"/>
                </a:cxn>
                <a:cxn ang="0">
                  <a:pos x="T4" y="T5"/>
                </a:cxn>
                <a:cxn ang="0">
                  <a:pos x="T6" y="T7"/>
                </a:cxn>
                <a:cxn ang="0">
                  <a:pos x="T8" y="T9"/>
                </a:cxn>
              </a:cxnLst>
              <a:rect l="0" t="0" r="r" b="b"/>
              <a:pathLst>
                <a:path w="42" h="50">
                  <a:moveTo>
                    <a:pt x="0" y="50"/>
                  </a:moveTo>
                  <a:lnTo>
                    <a:pt x="0" y="50"/>
                  </a:lnTo>
                  <a:lnTo>
                    <a:pt x="42" y="0"/>
                  </a:lnTo>
                  <a:lnTo>
                    <a:pt x="42" y="47"/>
                  </a:lnTo>
                  <a:lnTo>
                    <a:pt x="0" y="5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81" name="Freeform 504"/>
            <p:cNvSpPr>
              <a:spLocks/>
            </p:cNvSpPr>
            <p:nvPr/>
          </p:nvSpPr>
          <p:spPr bwMode="auto">
            <a:xfrm>
              <a:off x="-920750" y="6819899"/>
              <a:ext cx="66675" cy="268287"/>
            </a:xfrm>
            <a:custGeom>
              <a:avLst/>
              <a:gdLst>
                <a:gd name="T0" fmla="*/ 42 w 42"/>
                <a:gd name="T1" fmla="*/ 169 h 169"/>
                <a:gd name="T2" fmla="*/ 0 w 42"/>
                <a:gd name="T3" fmla="*/ 3 h 169"/>
                <a:gd name="T4" fmla="*/ 42 w 42"/>
                <a:gd name="T5" fmla="*/ 0 h 169"/>
                <a:gd name="T6" fmla="*/ 42 w 42"/>
                <a:gd name="T7" fmla="*/ 169 h 169"/>
              </a:gdLst>
              <a:ahLst/>
              <a:cxnLst>
                <a:cxn ang="0">
                  <a:pos x="T0" y="T1"/>
                </a:cxn>
                <a:cxn ang="0">
                  <a:pos x="T2" y="T3"/>
                </a:cxn>
                <a:cxn ang="0">
                  <a:pos x="T4" y="T5"/>
                </a:cxn>
                <a:cxn ang="0">
                  <a:pos x="T6" y="T7"/>
                </a:cxn>
              </a:cxnLst>
              <a:rect l="0" t="0" r="r" b="b"/>
              <a:pathLst>
                <a:path w="42" h="169">
                  <a:moveTo>
                    <a:pt x="42" y="169"/>
                  </a:moveTo>
                  <a:lnTo>
                    <a:pt x="0" y="3"/>
                  </a:lnTo>
                  <a:lnTo>
                    <a:pt x="42" y="0"/>
                  </a:lnTo>
                  <a:lnTo>
                    <a:pt x="42" y="16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grpSp>
      <p:sp>
        <p:nvSpPr>
          <p:cNvPr id="58" name="AutoShape 303"/>
          <p:cNvSpPr>
            <a:spLocks noChangeArrowheads="1" noTextEdit="1"/>
          </p:cNvSpPr>
          <p:nvPr/>
        </p:nvSpPr>
        <p:spPr bwMode="auto">
          <a:xfrm>
            <a:off x="0" y="-1"/>
            <a:ext cx="8961438" cy="6721475"/>
          </a:xfrm>
          <a:prstGeom prst="rect">
            <a:avLst/>
          </a:prstGeom>
          <a:solidFill>
            <a:schemeClr val="accent4">
              <a:alpha val="83000"/>
            </a:schemeClr>
          </a:solidFill>
          <a:ln>
            <a:noFill/>
          </a:ln>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楷体" panose="02010609060101010101" pitchFamily="49" charset="-122"/>
            </a:endParaRPr>
          </a:p>
        </p:txBody>
      </p:sp>
      <p:sp>
        <p:nvSpPr>
          <p:cNvPr id="2" name="Title 1"/>
          <p:cNvSpPr>
            <a:spLocks noGrp="1"/>
          </p:cNvSpPr>
          <p:nvPr>
            <p:ph type="title"/>
          </p:nvPr>
        </p:nvSpPr>
        <p:spPr>
          <a:xfrm>
            <a:off x="119062" y="230188"/>
            <a:ext cx="8723312"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zh-CN" dirty="0">
                <a:solidFill>
                  <a:schemeClr val="bg1"/>
                </a:solidFill>
                <a:latin typeface="+mn-lt"/>
                <a:ea typeface="楷体" panose="02010609060101010101" pitchFamily="49" charset="-122"/>
                <a:cs typeface="SimSun"/>
              </a:rPr>
              <a:t>深度学习 - 模型训练和部署</a:t>
            </a:r>
          </a:p>
        </p:txBody>
      </p:sp>
      <p:sp>
        <p:nvSpPr>
          <p:cNvPr id="289" name="SlideLogoText"/>
          <p:cNvSpPr>
            <a:spLocks noChangeArrowheads="1"/>
          </p:cNvSpPr>
          <p:nvPr>
            <p:custDataLst>
              <p:tags r:id="rId1"/>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zh-CN" sz="800" dirty="0">
                <a:solidFill>
                  <a:srgbClr val="FFFFFF"/>
                </a:solidFill>
                <a:latin typeface="+mn-lt"/>
                <a:ea typeface="楷体" panose="02010609060101010101" pitchFamily="49" charset="-122"/>
                <a:cs typeface="SimSun"/>
              </a:rPr>
              <a:t>McKinsey &amp; Company</a:t>
            </a:r>
          </a:p>
        </p:txBody>
      </p:sp>
      <p:sp>
        <p:nvSpPr>
          <p:cNvPr id="282" name="Slide Number"/>
          <p:cNvSpPr txBox="1">
            <a:spLocks/>
          </p:cNvSpPr>
          <p:nvPr/>
        </p:nvSpPr>
        <p:spPr bwMode="auto">
          <a:xfrm>
            <a:off x="8564563" y="6508272"/>
            <a:ext cx="115416"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r>
              <a:rPr lang="zh-CN" sz="800" dirty="0">
                <a:solidFill>
                  <a:srgbClr val="FFFFFF"/>
                </a:solidFill>
                <a:ea typeface="楷体" panose="02010609060101010101" pitchFamily="49" charset="-122"/>
                <a:cs typeface="SimSun"/>
              </a:rPr>
              <a:t>45</a:t>
            </a:r>
          </a:p>
        </p:txBody>
      </p:sp>
      <p:sp>
        <p:nvSpPr>
          <p:cNvPr id="291" name="Rectangle 290"/>
          <p:cNvSpPr>
            <a:spLocks/>
          </p:cNvSpPr>
          <p:nvPr/>
        </p:nvSpPr>
        <p:spPr>
          <a:xfrm>
            <a:off x="2415225" y="3339621"/>
            <a:ext cx="1043796" cy="2553419"/>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grpSp>
        <p:nvGrpSpPr>
          <p:cNvPr id="292" name="Group 291"/>
          <p:cNvGrpSpPr/>
          <p:nvPr/>
        </p:nvGrpSpPr>
        <p:grpSpPr>
          <a:xfrm>
            <a:off x="2480464" y="3664324"/>
            <a:ext cx="909565" cy="1561540"/>
            <a:chOff x="2622430" y="3499224"/>
            <a:chExt cx="909565" cy="1561540"/>
          </a:xfrm>
        </p:grpSpPr>
        <p:sp>
          <p:nvSpPr>
            <p:cNvPr id="429" name="Oval 428"/>
            <p:cNvSpPr/>
            <p:nvPr/>
          </p:nvSpPr>
          <p:spPr>
            <a:xfrm>
              <a:off x="2622430" y="3499224"/>
              <a:ext cx="57959" cy="57959"/>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430" name="Oval 429"/>
            <p:cNvSpPr/>
            <p:nvPr/>
          </p:nvSpPr>
          <p:spPr>
            <a:xfrm>
              <a:off x="2913149" y="3499224"/>
              <a:ext cx="57959" cy="57959"/>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431" name="Oval 430"/>
            <p:cNvSpPr/>
            <p:nvPr/>
          </p:nvSpPr>
          <p:spPr>
            <a:xfrm>
              <a:off x="3183317" y="3499224"/>
              <a:ext cx="57959" cy="57959"/>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432" name="Oval 431"/>
            <p:cNvSpPr/>
            <p:nvPr/>
          </p:nvSpPr>
          <p:spPr>
            <a:xfrm>
              <a:off x="3474036" y="3499224"/>
              <a:ext cx="57959" cy="57959"/>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433" name="Oval 432"/>
            <p:cNvSpPr/>
            <p:nvPr/>
          </p:nvSpPr>
          <p:spPr>
            <a:xfrm>
              <a:off x="3317427" y="3975475"/>
              <a:ext cx="101227" cy="101227"/>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434" name="Oval 433"/>
            <p:cNvSpPr/>
            <p:nvPr/>
          </p:nvSpPr>
          <p:spPr>
            <a:xfrm>
              <a:off x="3049562" y="4002276"/>
              <a:ext cx="53600" cy="53600"/>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435" name="Oval 434"/>
            <p:cNvSpPr/>
            <p:nvPr/>
          </p:nvSpPr>
          <p:spPr>
            <a:xfrm>
              <a:off x="2767338" y="4002276"/>
              <a:ext cx="53600" cy="53600"/>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436" name="Oval 435"/>
            <p:cNvSpPr/>
            <p:nvPr/>
          </p:nvSpPr>
          <p:spPr>
            <a:xfrm>
              <a:off x="2767338" y="4511863"/>
              <a:ext cx="53600" cy="53600"/>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437" name="Oval 436"/>
            <p:cNvSpPr/>
            <p:nvPr/>
          </p:nvSpPr>
          <p:spPr>
            <a:xfrm>
              <a:off x="3049562" y="4511863"/>
              <a:ext cx="53600" cy="53600"/>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438" name="Oval 437"/>
            <p:cNvSpPr/>
            <p:nvPr/>
          </p:nvSpPr>
          <p:spPr>
            <a:xfrm>
              <a:off x="3330544" y="4511863"/>
              <a:ext cx="53600" cy="53600"/>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439" name="Oval 438"/>
            <p:cNvSpPr/>
            <p:nvPr/>
          </p:nvSpPr>
          <p:spPr>
            <a:xfrm>
              <a:off x="3192220" y="5007164"/>
              <a:ext cx="53600" cy="53600"/>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440" name="Oval 439"/>
            <p:cNvSpPr/>
            <p:nvPr/>
          </p:nvSpPr>
          <p:spPr>
            <a:xfrm>
              <a:off x="2917508" y="5007164"/>
              <a:ext cx="53600" cy="53600"/>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grpSp>
          <p:nvGrpSpPr>
            <p:cNvPr id="441" name="Group 440"/>
            <p:cNvGrpSpPr/>
            <p:nvPr/>
          </p:nvGrpSpPr>
          <p:grpSpPr>
            <a:xfrm>
              <a:off x="2667000" y="3538538"/>
              <a:ext cx="823913" cy="1490662"/>
              <a:chOff x="2667000" y="3538538"/>
              <a:chExt cx="823913" cy="1490662"/>
            </a:xfrm>
          </p:grpSpPr>
          <p:sp>
            <p:nvSpPr>
              <p:cNvPr id="442" name="Freeform 441"/>
              <p:cNvSpPr/>
              <p:nvPr/>
            </p:nvSpPr>
            <p:spPr>
              <a:xfrm>
                <a:off x="2667000" y="3538538"/>
                <a:ext cx="661988" cy="481012"/>
              </a:xfrm>
              <a:custGeom>
                <a:avLst/>
                <a:gdLst>
                  <a:gd name="connsiteX0" fmla="*/ 119063 w 661988"/>
                  <a:gd name="connsiteY0" fmla="*/ 466725 h 481012"/>
                  <a:gd name="connsiteX1" fmla="*/ 0 w 661988"/>
                  <a:gd name="connsiteY1" fmla="*/ 0 h 481012"/>
                  <a:gd name="connsiteX2" fmla="*/ 661988 w 661988"/>
                  <a:gd name="connsiteY2" fmla="*/ 471487 h 481012"/>
                  <a:gd name="connsiteX3" fmla="*/ 304800 w 661988"/>
                  <a:gd name="connsiteY3" fmla="*/ 14287 h 481012"/>
                  <a:gd name="connsiteX4" fmla="*/ 419100 w 661988"/>
                  <a:gd name="connsiteY4" fmla="*/ 481012 h 481012"/>
                  <a:gd name="connsiteX5" fmla="*/ 4763 w 661988"/>
                  <a:gd name="connsiteY5" fmla="*/ 33337 h 481012"/>
                  <a:gd name="connsiteX6" fmla="*/ 4763 w 661988"/>
                  <a:gd name="connsiteY6" fmla="*/ 14287 h 48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988" h="481012">
                    <a:moveTo>
                      <a:pt x="119063" y="466725"/>
                    </a:moveTo>
                    <a:lnTo>
                      <a:pt x="0" y="0"/>
                    </a:lnTo>
                    <a:lnTo>
                      <a:pt x="661988" y="471487"/>
                    </a:lnTo>
                    <a:lnTo>
                      <a:pt x="304800" y="14287"/>
                    </a:lnTo>
                    <a:lnTo>
                      <a:pt x="419100" y="481012"/>
                    </a:lnTo>
                    <a:lnTo>
                      <a:pt x="4763" y="33337"/>
                    </a:lnTo>
                    <a:lnTo>
                      <a:pt x="4763" y="14287"/>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43" name="Freeform 442"/>
              <p:cNvSpPr/>
              <p:nvPr/>
            </p:nvSpPr>
            <p:spPr>
              <a:xfrm>
                <a:off x="2790825" y="3557588"/>
                <a:ext cx="147638" cy="442912"/>
              </a:xfrm>
              <a:custGeom>
                <a:avLst/>
                <a:gdLst>
                  <a:gd name="connsiteX0" fmla="*/ 0 w 147638"/>
                  <a:gd name="connsiteY0" fmla="*/ 442912 h 442912"/>
                  <a:gd name="connsiteX1" fmla="*/ 147638 w 147638"/>
                  <a:gd name="connsiteY1" fmla="*/ 0 h 442912"/>
                </a:gdLst>
                <a:ahLst/>
                <a:cxnLst>
                  <a:cxn ang="0">
                    <a:pos x="connsiteX0" y="connsiteY0"/>
                  </a:cxn>
                  <a:cxn ang="0">
                    <a:pos x="connsiteX1" y="connsiteY1"/>
                  </a:cxn>
                </a:cxnLst>
                <a:rect l="l" t="t" r="r" b="b"/>
                <a:pathLst>
                  <a:path w="147638" h="442912">
                    <a:moveTo>
                      <a:pt x="0" y="442912"/>
                    </a:moveTo>
                    <a:lnTo>
                      <a:pt x="147638" y="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44" name="Freeform 443"/>
              <p:cNvSpPr/>
              <p:nvPr/>
            </p:nvSpPr>
            <p:spPr>
              <a:xfrm>
                <a:off x="2805113" y="3557588"/>
                <a:ext cx="547687" cy="442912"/>
              </a:xfrm>
              <a:custGeom>
                <a:avLst/>
                <a:gdLst>
                  <a:gd name="connsiteX0" fmla="*/ 0 w 547687"/>
                  <a:gd name="connsiteY0" fmla="*/ 442912 h 442912"/>
                  <a:gd name="connsiteX1" fmla="*/ 400050 w 547687"/>
                  <a:gd name="connsiteY1" fmla="*/ 0 h 442912"/>
                  <a:gd name="connsiteX2" fmla="*/ 547687 w 547687"/>
                  <a:gd name="connsiteY2" fmla="*/ 423862 h 442912"/>
                </a:gdLst>
                <a:ahLst/>
                <a:cxnLst>
                  <a:cxn ang="0">
                    <a:pos x="connsiteX0" y="connsiteY0"/>
                  </a:cxn>
                  <a:cxn ang="0">
                    <a:pos x="connsiteX1" y="connsiteY1"/>
                  </a:cxn>
                  <a:cxn ang="0">
                    <a:pos x="connsiteX2" y="connsiteY2"/>
                  </a:cxn>
                </a:cxnLst>
                <a:rect l="l" t="t" r="r" b="b"/>
                <a:pathLst>
                  <a:path w="547687" h="442912">
                    <a:moveTo>
                      <a:pt x="0" y="442912"/>
                    </a:moveTo>
                    <a:lnTo>
                      <a:pt x="400050" y="0"/>
                    </a:lnTo>
                    <a:lnTo>
                      <a:pt x="547687" y="423862"/>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45" name="Freeform 444"/>
              <p:cNvSpPr/>
              <p:nvPr/>
            </p:nvSpPr>
            <p:spPr>
              <a:xfrm>
                <a:off x="2786063" y="3552825"/>
                <a:ext cx="704850" cy="442913"/>
              </a:xfrm>
              <a:custGeom>
                <a:avLst/>
                <a:gdLst>
                  <a:gd name="connsiteX0" fmla="*/ 0 w 704850"/>
                  <a:gd name="connsiteY0" fmla="*/ 442913 h 442913"/>
                  <a:gd name="connsiteX1" fmla="*/ 704850 w 704850"/>
                  <a:gd name="connsiteY1" fmla="*/ 0 h 442913"/>
                  <a:gd name="connsiteX2" fmla="*/ 585787 w 704850"/>
                  <a:gd name="connsiteY2" fmla="*/ 414338 h 442913"/>
                </a:gdLst>
                <a:ahLst/>
                <a:cxnLst>
                  <a:cxn ang="0">
                    <a:pos x="connsiteX0" y="connsiteY0"/>
                  </a:cxn>
                  <a:cxn ang="0">
                    <a:pos x="connsiteX1" y="connsiteY1"/>
                  </a:cxn>
                  <a:cxn ang="0">
                    <a:pos x="connsiteX2" y="connsiteY2"/>
                  </a:cxn>
                </a:cxnLst>
                <a:rect l="l" t="t" r="r" b="b"/>
                <a:pathLst>
                  <a:path w="704850" h="442913">
                    <a:moveTo>
                      <a:pt x="0" y="442913"/>
                    </a:moveTo>
                    <a:lnTo>
                      <a:pt x="704850" y="0"/>
                    </a:lnTo>
                    <a:lnTo>
                      <a:pt x="585787" y="414338"/>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46" name="Freeform 445"/>
              <p:cNvSpPr/>
              <p:nvPr/>
            </p:nvSpPr>
            <p:spPr>
              <a:xfrm>
                <a:off x="3100388" y="3548063"/>
                <a:ext cx="385762" cy="452437"/>
              </a:xfrm>
              <a:custGeom>
                <a:avLst/>
                <a:gdLst>
                  <a:gd name="connsiteX0" fmla="*/ 0 w 385762"/>
                  <a:gd name="connsiteY0" fmla="*/ 452437 h 452437"/>
                  <a:gd name="connsiteX1" fmla="*/ 385762 w 385762"/>
                  <a:gd name="connsiteY1" fmla="*/ 0 h 452437"/>
                </a:gdLst>
                <a:ahLst/>
                <a:cxnLst>
                  <a:cxn ang="0">
                    <a:pos x="connsiteX0" y="connsiteY0"/>
                  </a:cxn>
                  <a:cxn ang="0">
                    <a:pos x="connsiteX1" y="connsiteY1"/>
                  </a:cxn>
                </a:cxnLst>
                <a:rect l="l" t="t" r="r" b="b"/>
                <a:pathLst>
                  <a:path w="385762" h="452437">
                    <a:moveTo>
                      <a:pt x="0" y="452437"/>
                    </a:moveTo>
                    <a:lnTo>
                      <a:pt x="385762" y="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47" name="Freeform 446"/>
              <p:cNvSpPr/>
              <p:nvPr/>
            </p:nvSpPr>
            <p:spPr>
              <a:xfrm>
                <a:off x="2809875" y="4025900"/>
                <a:ext cx="561975" cy="498475"/>
              </a:xfrm>
              <a:custGeom>
                <a:avLst/>
                <a:gdLst>
                  <a:gd name="connsiteX0" fmla="*/ 0 w 561975"/>
                  <a:gd name="connsiteY0" fmla="*/ 0 h 498475"/>
                  <a:gd name="connsiteX1" fmla="*/ 561975 w 561975"/>
                  <a:gd name="connsiteY1" fmla="*/ 498475 h 498475"/>
                  <a:gd name="connsiteX2" fmla="*/ 552450 w 561975"/>
                  <a:gd name="connsiteY2" fmla="*/ 47625 h 498475"/>
                  <a:gd name="connsiteX3" fmla="*/ 539750 w 561975"/>
                  <a:gd name="connsiteY3" fmla="*/ 41275 h 498475"/>
                  <a:gd name="connsiteX4" fmla="*/ 279400 w 561975"/>
                  <a:gd name="connsiteY4" fmla="*/ 485775 h 498475"/>
                  <a:gd name="connsiteX5" fmla="*/ 266700 w 561975"/>
                  <a:gd name="connsiteY5" fmla="*/ 25400 h 498475"/>
                  <a:gd name="connsiteX6" fmla="*/ 542925 w 561975"/>
                  <a:gd name="connsiteY6" fmla="*/ 488950 h 49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1975" h="498475">
                    <a:moveTo>
                      <a:pt x="0" y="0"/>
                    </a:moveTo>
                    <a:lnTo>
                      <a:pt x="561975" y="498475"/>
                    </a:lnTo>
                    <a:lnTo>
                      <a:pt x="552450" y="47625"/>
                    </a:lnTo>
                    <a:lnTo>
                      <a:pt x="539750" y="41275"/>
                    </a:lnTo>
                    <a:lnTo>
                      <a:pt x="279400" y="485775"/>
                    </a:lnTo>
                    <a:lnTo>
                      <a:pt x="266700" y="25400"/>
                    </a:lnTo>
                    <a:lnTo>
                      <a:pt x="542925" y="48895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48" name="Freeform 447"/>
              <p:cNvSpPr/>
              <p:nvPr/>
            </p:nvSpPr>
            <p:spPr>
              <a:xfrm>
                <a:off x="2784475" y="4054475"/>
                <a:ext cx="276225" cy="463550"/>
              </a:xfrm>
              <a:custGeom>
                <a:avLst/>
                <a:gdLst>
                  <a:gd name="connsiteX0" fmla="*/ 0 w 276225"/>
                  <a:gd name="connsiteY0" fmla="*/ 457200 h 463550"/>
                  <a:gd name="connsiteX1" fmla="*/ 19050 w 276225"/>
                  <a:gd name="connsiteY1" fmla="*/ 0 h 463550"/>
                  <a:gd name="connsiteX2" fmla="*/ 276225 w 276225"/>
                  <a:gd name="connsiteY2" fmla="*/ 463550 h 463550"/>
                </a:gdLst>
                <a:ahLst/>
                <a:cxnLst>
                  <a:cxn ang="0">
                    <a:pos x="connsiteX0" y="connsiteY0"/>
                  </a:cxn>
                  <a:cxn ang="0">
                    <a:pos x="connsiteX1" y="connsiteY1"/>
                  </a:cxn>
                  <a:cxn ang="0">
                    <a:pos x="connsiteX2" y="connsiteY2"/>
                  </a:cxn>
                </a:cxnLst>
                <a:rect l="l" t="t" r="r" b="b"/>
                <a:pathLst>
                  <a:path w="276225" h="463550">
                    <a:moveTo>
                      <a:pt x="0" y="457200"/>
                    </a:moveTo>
                    <a:lnTo>
                      <a:pt x="19050" y="0"/>
                    </a:lnTo>
                    <a:lnTo>
                      <a:pt x="276225" y="46355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49" name="Freeform 448"/>
              <p:cNvSpPr/>
              <p:nvPr/>
            </p:nvSpPr>
            <p:spPr>
              <a:xfrm>
                <a:off x="2778125" y="4057650"/>
                <a:ext cx="292100" cy="460375"/>
              </a:xfrm>
              <a:custGeom>
                <a:avLst/>
                <a:gdLst>
                  <a:gd name="connsiteX0" fmla="*/ 0 w 292100"/>
                  <a:gd name="connsiteY0" fmla="*/ 460375 h 460375"/>
                  <a:gd name="connsiteX1" fmla="*/ 292100 w 292100"/>
                  <a:gd name="connsiteY1" fmla="*/ 0 h 460375"/>
                </a:gdLst>
                <a:ahLst/>
                <a:cxnLst>
                  <a:cxn ang="0">
                    <a:pos x="connsiteX0" y="connsiteY0"/>
                  </a:cxn>
                  <a:cxn ang="0">
                    <a:pos x="connsiteX1" y="connsiteY1"/>
                  </a:cxn>
                </a:cxnLst>
                <a:rect l="l" t="t" r="r" b="b"/>
                <a:pathLst>
                  <a:path w="292100" h="460375">
                    <a:moveTo>
                      <a:pt x="0" y="460375"/>
                    </a:moveTo>
                    <a:lnTo>
                      <a:pt x="292100" y="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50" name="Freeform 449"/>
              <p:cNvSpPr/>
              <p:nvPr/>
            </p:nvSpPr>
            <p:spPr>
              <a:xfrm>
                <a:off x="2790825" y="4070350"/>
                <a:ext cx="552450" cy="444500"/>
              </a:xfrm>
              <a:custGeom>
                <a:avLst/>
                <a:gdLst>
                  <a:gd name="connsiteX0" fmla="*/ 0 w 552450"/>
                  <a:gd name="connsiteY0" fmla="*/ 444500 h 444500"/>
                  <a:gd name="connsiteX1" fmla="*/ 552450 w 552450"/>
                  <a:gd name="connsiteY1" fmla="*/ 0 h 444500"/>
                </a:gdLst>
                <a:ahLst/>
                <a:cxnLst>
                  <a:cxn ang="0">
                    <a:pos x="connsiteX0" y="connsiteY0"/>
                  </a:cxn>
                  <a:cxn ang="0">
                    <a:pos x="connsiteX1" y="connsiteY1"/>
                  </a:cxn>
                </a:cxnLst>
                <a:rect l="l" t="t" r="r" b="b"/>
                <a:pathLst>
                  <a:path w="552450" h="444500">
                    <a:moveTo>
                      <a:pt x="0" y="444500"/>
                    </a:moveTo>
                    <a:lnTo>
                      <a:pt x="552450" y="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51" name="Freeform 450"/>
              <p:cNvSpPr/>
              <p:nvPr/>
            </p:nvSpPr>
            <p:spPr>
              <a:xfrm>
                <a:off x="2800350" y="4552950"/>
                <a:ext cx="528638" cy="476250"/>
              </a:xfrm>
              <a:custGeom>
                <a:avLst/>
                <a:gdLst>
                  <a:gd name="connsiteX0" fmla="*/ 528638 w 528638"/>
                  <a:gd name="connsiteY0" fmla="*/ 9525 h 476250"/>
                  <a:gd name="connsiteX1" fmla="*/ 147638 w 528638"/>
                  <a:gd name="connsiteY1" fmla="*/ 476250 h 476250"/>
                  <a:gd name="connsiteX2" fmla="*/ 0 w 528638"/>
                  <a:gd name="connsiteY2" fmla="*/ 4763 h 476250"/>
                  <a:gd name="connsiteX3" fmla="*/ 400050 w 528638"/>
                  <a:gd name="connsiteY3" fmla="*/ 452438 h 476250"/>
                  <a:gd name="connsiteX4" fmla="*/ 290513 w 528638"/>
                  <a:gd name="connsiteY4" fmla="*/ 0 h 476250"/>
                  <a:gd name="connsiteX5" fmla="*/ 147638 w 528638"/>
                  <a:gd name="connsiteY5" fmla="*/ 466725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8638" h="476250">
                    <a:moveTo>
                      <a:pt x="528638" y="9525"/>
                    </a:moveTo>
                    <a:lnTo>
                      <a:pt x="147638" y="476250"/>
                    </a:lnTo>
                    <a:lnTo>
                      <a:pt x="0" y="4763"/>
                    </a:lnTo>
                    <a:lnTo>
                      <a:pt x="400050" y="452438"/>
                    </a:lnTo>
                    <a:lnTo>
                      <a:pt x="290513" y="0"/>
                    </a:lnTo>
                    <a:lnTo>
                      <a:pt x="147638" y="466725"/>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52" name="Freeform 451"/>
              <p:cNvSpPr/>
              <p:nvPr/>
            </p:nvSpPr>
            <p:spPr>
              <a:xfrm>
                <a:off x="3205163" y="4572000"/>
                <a:ext cx="123825" cy="428625"/>
              </a:xfrm>
              <a:custGeom>
                <a:avLst/>
                <a:gdLst>
                  <a:gd name="connsiteX0" fmla="*/ 0 w 123825"/>
                  <a:gd name="connsiteY0" fmla="*/ 428625 h 428625"/>
                  <a:gd name="connsiteX1" fmla="*/ 123825 w 123825"/>
                  <a:gd name="connsiteY1" fmla="*/ 0 h 428625"/>
                </a:gdLst>
                <a:ahLst/>
                <a:cxnLst>
                  <a:cxn ang="0">
                    <a:pos x="connsiteX0" y="connsiteY0"/>
                  </a:cxn>
                  <a:cxn ang="0">
                    <a:pos x="connsiteX1" y="connsiteY1"/>
                  </a:cxn>
                </a:cxnLst>
                <a:rect l="l" t="t" r="r" b="b"/>
                <a:pathLst>
                  <a:path w="123825" h="428625">
                    <a:moveTo>
                      <a:pt x="0" y="428625"/>
                    </a:moveTo>
                    <a:lnTo>
                      <a:pt x="123825" y="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grpSp>
      </p:grpSp>
      <p:grpSp>
        <p:nvGrpSpPr>
          <p:cNvPr id="293" name="Group 292"/>
          <p:cNvGrpSpPr/>
          <p:nvPr/>
        </p:nvGrpSpPr>
        <p:grpSpPr>
          <a:xfrm>
            <a:off x="245075" y="3674185"/>
            <a:ext cx="891035" cy="1496303"/>
            <a:chOff x="387041" y="3509085"/>
            <a:chExt cx="891035" cy="1496303"/>
          </a:xfrm>
        </p:grpSpPr>
        <p:sp>
          <p:nvSpPr>
            <p:cNvPr id="405" name="Oval 404"/>
            <p:cNvSpPr>
              <a:spLocks/>
            </p:cNvSpPr>
            <p:nvPr/>
          </p:nvSpPr>
          <p:spPr>
            <a:xfrm>
              <a:off x="387041" y="3509085"/>
              <a:ext cx="75979" cy="75979"/>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406" name="Oval 405"/>
            <p:cNvSpPr>
              <a:spLocks/>
            </p:cNvSpPr>
            <p:nvPr/>
          </p:nvSpPr>
          <p:spPr>
            <a:xfrm>
              <a:off x="683689" y="3509085"/>
              <a:ext cx="75979" cy="75979"/>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407" name="Oval 406"/>
            <p:cNvSpPr>
              <a:spLocks/>
            </p:cNvSpPr>
            <p:nvPr/>
          </p:nvSpPr>
          <p:spPr>
            <a:xfrm>
              <a:off x="931962" y="3509085"/>
              <a:ext cx="75979" cy="75979"/>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408" name="Oval 407"/>
            <p:cNvSpPr>
              <a:spLocks/>
            </p:cNvSpPr>
            <p:nvPr/>
          </p:nvSpPr>
          <p:spPr>
            <a:xfrm>
              <a:off x="1202097" y="3509085"/>
              <a:ext cx="75979" cy="75979"/>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grpSp>
          <p:nvGrpSpPr>
            <p:cNvPr id="409" name="Group 408"/>
            <p:cNvGrpSpPr/>
            <p:nvPr/>
          </p:nvGrpSpPr>
          <p:grpSpPr>
            <a:xfrm>
              <a:off x="464294" y="3558514"/>
              <a:ext cx="753234" cy="1362785"/>
              <a:chOff x="2667000" y="3538538"/>
              <a:chExt cx="823913" cy="1490662"/>
            </a:xfrm>
          </p:grpSpPr>
          <p:sp>
            <p:nvSpPr>
              <p:cNvPr id="418" name="Freeform 417"/>
              <p:cNvSpPr/>
              <p:nvPr/>
            </p:nvSpPr>
            <p:spPr>
              <a:xfrm>
                <a:off x="2667000" y="3538538"/>
                <a:ext cx="661988" cy="481012"/>
              </a:xfrm>
              <a:custGeom>
                <a:avLst/>
                <a:gdLst>
                  <a:gd name="connsiteX0" fmla="*/ 119063 w 661988"/>
                  <a:gd name="connsiteY0" fmla="*/ 466725 h 481012"/>
                  <a:gd name="connsiteX1" fmla="*/ 0 w 661988"/>
                  <a:gd name="connsiteY1" fmla="*/ 0 h 481012"/>
                  <a:gd name="connsiteX2" fmla="*/ 661988 w 661988"/>
                  <a:gd name="connsiteY2" fmla="*/ 471487 h 481012"/>
                  <a:gd name="connsiteX3" fmla="*/ 304800 w 661988"/>
                  <a:gd name="connsiteY3" fmla="*/ 14287 h 481012"/>
                  <a:gd name="connsiteX4" fmla="*/ 419100 w 661988"/>
                  <a:gd name="connsiteY4" fmla="*/ 481012 h 481012"/>
                  <a:gd name="connsiteX5" fmla="*/ 4763 w 661988"/>
                  <a:gd name="connsiteY5" fmla="*/ 33337 h 481012"/>
                  <a:gd name="connsiteX6" fmla="*/ 4763 w 661988"/>
                  <a:gd name="connsiteY6" fmla="*/ 14287 h 48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988" h="481012">
                    <a:moveTo>
                      <a:pt x="119063" y="466725"/>
                    </a:moveTo>
                    <a:lnTo>
                      <a:pt x="0" y="0"/>
                    </a:lnTo>
                    <a:lnTo>
                      <a:pt x="661988" y="471487"/>
                    </a:lnTo>
                    <a:lnTo>
                      <a:pt x="304800" y="14287"/>
                    </a:lnTo>
                    <a:lnTo>
                      <a:pt x="419100" y="481012"/>
                    </a:lnTo>
                    <a:lnTo>
                      <a:pt x="4763" y="33337"/>
                    </a:lnTo>
                    <a:lnTo>
                      <a:pt x="4763" y="14287"/>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19" name="Freeform 418"/>
              <p:cNvSpPr/>
              <p:nvPr/>
            </p:nvSpPr>
            <p:spPr>
              <a:xfrm>
                <a:off x="2790825" y="3557588"/>
                <a:ext cx="147638" cy="442912"/>
              </a:xfrm>
              <a:custGeom>
                <a:avLst/>
                <a:gdLst>
                  <a:gd name="connsiteX0" fmla="*/ 0 w 147638"/>
                  <a:gd name="connsiteY0" fmla="*/ 442912 h 442912"/>
                  <a:gd name="connsiteX1" fmla="*/ 147638 w 147638"/>
                  <a:gd name="connsiteY1" fmla="*/ 0 h 442912"/>
                </a:gdLst>
                <a:ahLst/>
                <a:cxnLst>
                  <a:cxn ang="0">
                    <a:pos x="connsiteX0" y="connsiteY0"/>
                  </a:cxn>
                  <a:cxn ang="0">
                    <a:pos x="connsiteX1" y="connsiteY1"/>
                  </a:cxn>
                </a:cxnLst>
                <a:rect l="l" t="t" r="r" b="b"/>
                <a:pathLst>
                  <a:path w="147638" h="442912">
                    <a:moveTo>
                      <a:pt x="0" y="442912"/>
                    </a:moveTo>
                    <a:lnTo>
                      <a:pt x="147638" y="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20" name="Freeform 419"/>
              <p:cNvSpPr/>
              <p:nvPr/>
            </p:nvSpPr>
            <p:spPr>
              <a:xfrm>
                <a:off x="2805113" y="3557588"/>
                <a:ext cx="547687" cy="442912"/>
              </a:xfrm>
              <a:custGeom>
                <a:avLst/>
                <a:gdLst>
                  <a:gd name="connsiteX0" fmla="*/ 0 w 547687"/>
                  <a:gd name="connsiteY0" fmla="*/ 442912 h 442912"/>
                  <a:gd name="connsiteX1" fmla="*/ 400050 w 547687"/>
                  <a:gd name="connsiteY1" fmla="*/ 0 h 442912"/>
                  <a:gd name="connsiteX2" fmla="*/ 547687 w 547687"/>
                  <a:gd name="connsiteY2" fmla="*/ 423862 h 442912"/>
                </a:gdLst>
                <a:ahLst/>
                <a:cxnLst>
                  <a:cxn ang="0">
                    <a:pos x="connsiteX0" y="connsiteY0"/>
                  </a:cxn>
                  <a:cxn ang="0">
                    <a:pos x="connsiteX1" y="connsiteY1"/>
                  </a:cxn>
                  <a:cxn ang="0">
                    <a:pos x="connsiteX2" y="connsiteY2"/>
                  </a:cxn>
                </a:cxnLst>
                <a:rect l="l" t="t" r="r" b="b"/>
                <a:pathLst>
                  <a:path w="547687" h="442912">
                    <a:moveTo>
                      <a:pt x="0" y="442912"/>
                    </a:moveTo>
                    <a:lnTo>
                      <a:pt x="400050" y="0"/>
                    </a:lnTo>
                    <a:lnTo>
                      <a:pt x="547687" y="423862"/>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21" name="Freeform 420"/>
              <p:cNvSpPr/>
              <p:nvPr/>
            </p:nvSpPr>
            <p:spPr>
              <a:xfrm>
                <a:off x="2786063" y="3552825"/>
                <a:ext cx="704850" cy="442913"/>
              </a:xfrm>
              <a:custGeom>
                <a:avLst/>
                <a:gdLst>
                  <a:gd name="connsiteX0" fmla="*/ 0 w 704850"/>
                  <a:gd name="connsiteY0" fmla="*/ 442913 h 442913"/>
                  <a:gd name="connsiteX1" fmla="*/ 704850 w 704850"/>
                  <a:gd name="connsiteY1" fmla="*/ 0 h 442913"/>
                  <a:gd name="connsiteX2" fmla="*/ 585787 w 704850"/>
                  <a:gd name="connsiteY2" fmla="*/ 414338 h 442913"/>
                </a:gdLst>
                <a:ahLst/>
                <a:cxnLst>
                  <a:cxn ang="0">
                    <a:pos x="connsiteX0" y="connsiteY0"/>
                  </a:cxn>
                  <a:cxn ang="0">
                    <a:pos x="connsiteX1" y="connsiteY1"/>
                  </a:cxn>
                  <a:cxn ang="0">
                    <a:pos x="connsiteX2" y="connsiteY2"/>
                  </a:cxn>
                </a:cxnLst>
                <a:rect l="l" t="t" r="r" b="b"/>
                <a:pathLst>
                  <a:path w="704850" h="442913">
                    <a:moveTo>
                      <a:pt x="0" y="442913"/>
                    </a:moveTo>
                    <a:lnTo>
                      <a:pt x="704850" y="0"/>
                    </a:lnTo>
                    <a:lnTo>
                      <a:pt x="585787" y="414338"/>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22" name="Freeform 421"/>
              <p:cNvSpPr/>
              <p:nvPr/>
            </p:nvSpPr>
            <p:spPr>
              <a:xfrm>
                <a:off x="3100388" y="3548063"/>
                <a:ext cx="385762" cy="452437"/>
              </a:xfrm>
              <a:custGeom>
                <a:avLst/>
                <a:gdLst>
                  <a:gd name="connsiteX0" fmla="*/ 0 w 385762"/>
                  <a:gd name="connsiteY0" fmla="*/ 452437 h 452437"/>
                  <a:gd name="connsiteX1" fmla="*/ 385762 w 385762"/>
                  <a:gd name="connsiteY1" fmla="*/ 0 h 452437"/>
                </a:gdLst>
                <a:ahLst/>
                <a:cxnLst>
                  <a:cxn ang="0">
                    <a:pos x="connsiteX0" y="connsiteY0"/>
                  </a:cxn>
                  <a:cxn ang="0">
                    <a:pos x="connsiteX1" y="connsiteY1"/>
                  </a:cxn>
                </a:cxnLst>
                <a:rect l="l" t="t" r="r" b="b"/>
                <a:pathLst>
                  <a:path w="385762" h="452437">
                    <a:moveTo>
                      <a:pt x="0" y="452437"/>
                    </a:moveTo>
                    <a:lnTo>
                      <a:pt x="385762" y="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23" name="Freeform 422"/>
              <p:cNvSpPr/>
              <p:nvPr/>
            </p:nvSpPr>
            <p:spPr>
              <a:xfrm>
                <a:off x="2809875" y="4025900"/>
                <a:ext cx="561975" cy="498475"/>
              </a:xfrm>
              <a:custGeom>
                <a:avLst/>
                <a:gdLst>
                  <a:gd name="connsiteX0" fmla="*/ 0 w 561975"/>
                  <a:gd name="connsiteY0" fmla="*/ 0 h 498475"/>
                  <a:gd name="connsiteX1" fmla="*/ 561975 w 561975"/>
                  <a:gd name="connsiteY1" fmla="*/ 498475 h 498475"/>
                  <a:gd name="connsiteX2" fmla="*/ 552450 w 561975"/>
                  <a:gd name="connsiteY2" fmla="*/ 47625 h 498475"/>
                  <a:gd name="connsiteX3" fmla="*/ 539750 w 561975"/>
                  <a:gd name="connsiteY3" fmla="*/ 41275 h 498475"/>
                  <a:gd name="connsiteX4" fmla="*/ 279400 w 561975"/>
                  <a:gd name="connsiteY4" fmla="*/ 485775 h 498475"/>
                  <a:gd name="connsiteX5" fmla="*/ 266700 w 561975"/>
                  <a:gd name="connsiteY5" fmla="*/ 25400 h 498475"/>
                  <a:gd name="connsiteX6" fmla="*/ 542925 w 561975"/>
                  <a:gd name="connsiteY6" fmla="*/ 488950 h 49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1975" h="498475">
                    <a:moveTo>
                      <a:pt x="0" y="0"/>
                    </a:moveTo>
                    <a:lnTo>
                      <a:pt x="561975" y="498475"/>
                    </a:lnTo>
                    <a:lnTo>
                      <a:pt x="552450" y="47625"/>
                    </a:lnTo>
                    <a:lnTo>
                      <a:pt x="539750" y="41275"/>
                    </a:lnTo>
                    <a:lnTo>
                      <a:pt x="279400" y="485775"/>
                    </a:lnTo>
                    <a:lnTo>
                      <a:pt x="266700" y="25400"/>
                    </a:lnTo>
                    <a:lnTo>
                      <a:pt x="542925" y="48895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24" name="Freeform 423"/>
              <p:cNvSpPr/>
              <p:nvPr/>
            </p:nvSpPr>
            <p:spPr>
              <a:xfrm>
                <a:off x="2784475" y="4054475"/>
                <a:ext cx="276225" cy="463550"/>
              </a:xfrm>
              <a:custGeom>
                <a:avLst/>
                <a:gdLst>
                  <a:gd name="connsiteX0" fmla="*/ 0 w 276225"/>
                  <a:gd name="connsiteY0" fmla="*/ 457200 h 463550"/>
                  <a:gd name="connsiteX1" fmla="*/ 19050 w 276225"/>
                  <a:gd name="connsiteY1" fmla="*/ 0 h 463550"/>
                  <a:gd name="connsiteX2" fmla="*/ 276225 w 276225"/>
                  <a:gd name="connsiteY2" fmla="*/ 463550 h 463550"/>
                </a:gdLst>
                <a:ahLst/>
                <a:cxnLst>
                  <a:cxn ang="0">
                    <a:pos x="connsiteX0" y="connsiteY0"/>
                  </a:cxn>
                  <a:cxn ang="0">
                    <a:pos x="connsiteX1" y="connsiteY1"/>
                  </a:cxn>
                  <a:cxn ang="0">
                    <a:pos x="connsiteX2" y="connsiteY2"/>
                  </a:cxn>
                </a:cxnLst>
                <a:rect l="l" t="t" r="r" b="b"/>
                <a:pathLst>
                  <a:path w="276225" h="463550">
                    <a:moveTo>
                      <a:pt x="0" y="457200"/>
                    </a:moveTo>
                    <a:lnTo>
                      <a:pt x="19050" y="0"/>
                    </a:lnTo>
                    <a:lnTo>
                      <a:pt x="276225" y="46355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25" name="Freeform 424"/>
              <p:cNvSpPr/>
              <p:nvPr/>
            </p:nvSpPr>
            <p:spPr>
              <a:xfrm>
                <a:off x="2778125" y="4057650"/>
                <a:ext cx="292100" cy="460375"/>
              </a:xfrm>
              <a:custGeom>
                <a:avLst/>
                <a:gdLst>
                  <a:gd name="connsiteX0" fmla="*/ 0 w 292100"/>
                  <a:gd name="connsiteY0" fmla="*/ 460375 h 460375"/>
                  <a:gd name="connsiteX1" fmla="*/ 292100 w 292100"/>
                  <a:gd name="connsiteY1" fmla="*/ 0 h 460375"/>
                </a:gdLst>
                <a:ahLst/>
                <a:cxnLst>
                  <a:cxn ang="0">
                    <a:pos x="connsiteX0" y="connsiteY0"/>
                  </a:cxn>
                  <a:cxn ang="0">
                    <a:pos x="connsiteX1" y="connsiteY1"/>
                  </a:cxn>
                </a:cxnLst>
                <a:rect l="l" t="t" r="r" b="b"/>
                <a:pathLst>
                  <a:path w="292100" h="460375">
                    <a:moveTo>
                      <a:pt x="0" y="460375"/>
                    </a:moveTo>
                    <a:lnTo>
                      <a:pt x="292100" y="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26" name="Freeform 425"/>
              <p:cNvSpPr/>
              <p:nvPr/>
            </p:nvSpPr>
            <p:spPr>
              <a:xfrm>
                <a:off x="2790825" y="4070350"/>
                <a:ext cx="552450" cy="444500"/>
              </a:xfrm>
              <a:custGeom>
                <a:avLst/>
                <a:gdLst>
                  <a:gd name="connsiteX0" fmla="*/ 0 w 552450"/>
                  <a:gd name="connsiteY0" fmla="*/ 444500 h 444500"/>
                  <a:gd name="connsiteX1" fmla="*/ 552450 w 552450"/>
                  <a:gd name="connsiteY1" fmla="*/ 0 h 444500"/>
                </a:gdLst>
                <a:ahLst/>
                <a:cxnLst>
                  <a:cxn ang="0">
                    <a:pos x="connsiteX0" y="connsiteY0"/>
                  </a:cxn>
                  <a:cxn ang="0">
                    <a:pos x="connsiteX1" y="connsiteY1"/>
                  </a:cxn>
                </a:cxnLst>
                <a:rect l="l" t="t" r="r" b="b"/>
                <a:pathLst>
                  <a:path w="552450" h="444500">
                    <a:moveTo>
                      <a:pt x="0" y="444500"/>
                    </a:moveTo>
                    <a:lnTo>
                      <a:pt x="552450" y="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27" name="Freeform 426"/>
              <p:cNvSpPr/>
              <p:nvPr/>
            </p:nvSpPr>
            <p:spPr>
              <a:xfrm>
                <a:off x="2800350" y="4552950"/>
                <a:ext cx="528638" cy="476250"/>
              </a:xfrm>
              <a:custGeom>
                <a:avLst/>
                <a:gdLst>
                  <a:gd name="connsiteX0" fmla="*/ 528638 w 528638"/>
                  <a:gd name="connsiteY0" fmla="*/ 9525 h 476250"/>
                  <a:gd name="connsiteX1" fmla="*/ 147638 w 528638"/>
                  <a:gd name="connsiteY1" fmla="*/ 476250 h 476250"/>
                  <a:gd name="connsiteX2" fmla="*/ 0 w 528638"/>
                  <a:gd name="connsiteY2" fmla="*/ 4763 h 476250"/>
                  <a:gd name="connsiteX3" fmla="*/ 400050 w 528638"/>
                  <a:gd name="connsiteY3" fmla="*/ 452438 h 476250"/>
                  <a:gd name="connsiteX4" fmla="*/ 290513 w 528638"/>
                  <a:gd name="connsiteY4" fmla="*/ 0 h 476250"/>
                  <a:gd name="connsiteX5" fmla="*/ 147638 w 528638"/>
                  <a:gd name="connsiteY5" fmla="*/ 466725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8638" h="476250">
                    <a:moveTo>
                      <a:pt x="528638" y="9525"/>
                    </a:moveTo>
                    <a:lnTo>
                      <a:pt x="147638" y="476250"/>
                    </a:lnTo>
                    <a:lnTo>
                      <a:pt x="0" y="4763"/>
                    </a:lnTo>
                    <a:lnTo>
                      <a:pt x="400050" y="452438"/>
                    </a:lnTo>
                    <a:lnTo>
                      <a:pt x="290513" y="0"/>
                    </a:lnTo>
                    <a:lnTo>
                      <a:pt x="147638" y="466725"/>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28" name="Freeform 427"/>
              <p:cNvSpPr/>
              <p:nvPr/>
            </p:nvSpPr>
            <p:spPr>
              <a:xfrm>
                <a:off x="3205163" y="4572000"/>
                <a:ext cx="123825" cy="428625"/>
              </a:xfrm>
              <a:custGeom>
                <a:avLst/>
                <a:gdLst>
                  <a:gd name="connsiteX0" fmla="*/ 0 w 123825"/>
                  <a:gd name="connsiteY0" fmla="*/ 428625 h 428625"/>
                  <a:gd name="connsiteX1" fmla="*/ 123825 w 123825"/>
                  <a:gd name="connsiteY1" fmla="*/ 0 h 428625"/>
                </a:gdLst>
                <a:ahLst/>
                <a:cxnLst>
                  <a:cxn ang="0">
                    <a:pos x="connsiteX0" y="connsiteY0"/>
                  </a:cxn>
                  <a:cxn ang="0">
                    <a:pos x="connsiteX1" y="connsiteY1"/>
                  </a:cxn>
                </a:cxnLst>
                <a:rect l="l" t="t" r="r" b="b"/>
                <a:pathLst>
                  <a:path w="123825" h="428625">
                    <a:moveTo>
                      <a:pt x="0" y="428625"/>
                    </a:moveTo>
                    <a:lnTo>
                      <a:pt x="123825" y="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grpSp>
        <p:sp>
          <p:nvSpPr>
            <p:cNvPr id="410" name="Oval 409"/>
            <p:cNvSpPr>
              <a:spLocks/>
            </p:cNvSpPr>
            <p:nvPr/>
          </p:nvSpPr>
          <p:spPr>
            <a:xfrm>
              <a:off x="1062589" y="3961667"/>
              <a:ext cx="75979" cy="75979"/>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411" name="Oval 410"/>
            <p:cNvSpPr>
              <a:spLocks/>
            </p:cNvSpPr>
            <p:nvPr/>
          </p:nvSpPr>
          <p:spPr>
            <a:xfrm>
              <a:off x="536947" y="3956260"/>
              <a:ext cx="75979" cy="75979"/>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412" name="Oval 411"/>
            <p:cNvSpPr>
              <a:spLocks/>
            </p:cNvSpPr>
            <p:nvPr/>
          </p:nvSpPr>
          <p:spPr>
            <a:xfrm>
              <a:off x="540988" y="4442976"/>
              <a:ext cx="75979" cy="75979"/>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413" name="Oval 412"/>
            <p:cNvSpPr>
              <a:spLocks/>
            </p:cNvSpPr>
            <p:nvPr/>
          </p:nvSpPr>
          <p:spPr>
            <a:xfrm>
              <a:off x="1048499" y="4465330"/>
              <a:ext cx="75979" cy="75979"/>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414" name="Oval 413"/>
            <p:cNvSpPr>
              <a:spLocks/>
            </p:cNvSpPr>
            <p:nvPr/>
          </p:nvSpPr>
          <p:spPr>
            <a:xfrm>
              <a:off x="814039" y="4443989"/>
              <a:ext cx="75979" cy="75979"/>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415" name="Oval 414"/>
            <p:cNvSpPr/>
            <p:nvPr/>
          </p:nvSpPr>
          <p:spPr>
            <a:xfrm>
              <a:off x="912370" y="4872040"/>
              <a:ext cx="133348" cy="133348"/>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416" name="Oval 415"/>
            <p:cNvSpPr/>
            <p:nvPr/>
          </p:nvSpPr>
          <p:spPr>
            <a:xfrm>
              <a:off x="680173" y="4879938"/>
              <a:ext cx="94163" cy="94163"/>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417" name="Oval 416"/>
            <p:cNvSpPr>
              <a:spLocks/>
            </p:cNvSpPr>
            <p:nvPr/>
          </p:nvSpPr>
          <p:spPr>
            <a:xfrm>
              <a:off x="798966" y="3964970"/>
              <a:ext cx="75979" cy="75979"/>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grpSp>
      <p:grpSp>
        <p:nvGrpSpPr>
          <p:cNvPr id="294" name="Group 293"/>
          <p:cNvGrpSpPr/>
          <p:nvPr/>
        </p:nvGrpSpPr>
        <p:grpSpPr>
          <a:xfrm>
            <a:off x="4384177" y="3585976"/>
            <a:ext cx="982981" cy="1700303"/>
            <a:chOff x="4526143" y="3420876"/>
            <a:chExt cx="982981" cy="1700303"/>
          </a:xfrm>
        </p:grpSpPr>
        <p:grpSp>
          <p:nvGrpSpPr>
            <p:cNvPr id="381" name="Group 380"/>
            <p:cNvGrpSpPr/>
            <p:nvPr/>
          </p:nvGrpSpPr>
          <p:grpSpPr>
            <a:xfrm>
              <a:off x="4618981" y="3538538"/>
              <a:ext cx="823913" cy="1490662"/>
              <a:chOff x="2667000" y="3538538"/>
              <a:chExt cx="823913" cy="1490662"/>
            </a:xfrm>
          </p:grpSpPr>
          <p:sp>
            <p:nvSpPr>
              <p:cNvPr id="394" name="Freeform 393"/>
              <p:cNvSpPr/>
              <p:nvPr/>
            </p:nvSpPr>
            <p:spPr>
              <a:xfrm>
                <a:off x="2667000" y="3538538"/>
                <a:ext cx="661988" cy="481012"/>
              </a:xfrm>
              <a:custGeom>
                <a:avLst/>
                <a:gdLst>
                  <a:gd name="connsiteX0" fmla="*/ 119063 w 661988"/>
                  <a:gd name="connsiteY0" fmla="*/ 466725 h 481012"/>
                  <a:gd name="connsiteX1" fmla="*/ 0 w 661988"/>
                  <a:gd name="connsiteY1" fmla="*/ 0 h 481012"/>
                  <a:gd name="connsiteX2" fmla="*/ 661988 w 661988"/>
                  <a:gd name="connsiteY2" fmla="*/ 471487 h 481012"/>
                  <a:gd name="connsiteX3" fmla="*/ 304800 w 661988"/>
                  <a:gd name="connsiteY3" fmla="*/ 14287 h 481012"/>
                  <a:gd name="connsiteX4" fmla="*/ 419100 w 661988"/>
                  <a:gd name="connsiteY4" fmla="*/ 481012 h 481012"/>
                  <a:gd name="connsiteX5" fmla="*/ 4763 w 661988"/>
                  <a:gd name="connsiteY5" fmla="*/ 33337 h 481012"/>
                  <a:gd name="connsiteX6" fmla="*/ 4763 w 661988"/>
                  <a:gd name="connsiteY6" fmla="*/ 14287 h 48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988" h="481012">
                    <a:moveTo>
                      <a:pt x="119063" y="466725"/>
                    </a:moveTo>
                    <a:lnTo>
                      <a:pt x="0" y="0"/>
                    </a:lnTo>
                    <a:lnTo>
                      <a:pt x="661988" y="471487"/>
                    </a:lnTo>
                    <a:lnTo>
                      <a:pt x="304800" y="14287"/>
                    </a:lnTo>
                    <a:lnTo>
                      <a:pt x="419100" y="481012"/>
                    </a:lnTo>
                    <a:lnTo>
                      <a:pt x="4763" y="33337"/>
                    </a:lnTo>
                    <a:lnTo>
                      <a:pt x="4763" y="14287"/>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395" name="Freeform 394"/>
              <p:cNvSpPr/>
              <p:nvPr/>
            </p:nvSpPr>
            <p:spPr>
              <a:xfrm>
                <a:off x="2790825" y="3557588"/>
                <a:ext cx="147638" cy="442912"/>
              </a:xfrm>
              <a:custGeom>
                <a:avLst/>
                <a:gdLst>
                  <a:gd name="connsiteX0" fmla="*/ 0 w 147638"/>
                  <a:gd name="connsiteY0" fmla="*/ 442912 h 442912"/>
                  <a:gd name="connsiteX1" fmla="*/ 147638 w 147638"/>
                  <a:gd name="connsiteY1" fmla="*/ 0 h 442912"/>
                </a:gdLst>
                <a:ahLst/>
                <a:cxnLst>
                  <a:cxn ang="0">
                    <a:pos x="connsiteX0" y="connsiteY0"/>
                  </a:cxn>
                  <a:cxn ang="0">
                    <a:pos x="connsiteX1" y="connsiteY1"/>
                  </a:cxn>
                </a:cxnLst>
                <a:rect l="l" t="t" r="r" b="b"/>
                <a:pathLst>
                  <a:path w="147638" h="442912">
                    <a:moveTo>
                      <a:pt x="0" y="442912"/>
                    </a:moveTo>
                    <a:lnTo>
                      <a:pt x="147638" y="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396" name="Freeform 395"/>
              <p:cNvSpPr/>
              <p:nvPr/>
            </p:nvSpPr>
            <p:spPr>
              <a:xfrm>
                <a:off x="2805113" y="3557588"/>
                <a:ext cx="547687" cy="442912"/>
              </a:xfrm>
              <a:custGeom>
                <a:avLst/>
                <a:gdLst>
                  <a:gd name="connsiteX0" fmla="*/ 0 w 547687"/>
                  <a:gd name="connsiteY0" fmla="*/ 442912 h 442912"/>
                  <a:gd name="connsiteX1" fmla="*/ 400050 w 547687"/>
                  <a:gd name="connsiteY1" fmla="*/ 0 h 442912"/>
                  <a:gd name="connsiteX2" fmla="*/ 547687 w 547687"/>
                  <a:gd name="connsiteY2" fmla="*/ 423862 h 442912"/>
                </a:gdLst>
                <a:ahLst/>
                <a:cxnLst>
                  <a:cxn ang="0">
                    <a:pos x="connsiteX0" y="connsiteY0"/>
                  </a:cxn>
                  <a:cxn ang="0">
                    <a:pos x="connsiteX1" y="connsiteY1"/>
                  </a:cxn>
                  <a:cxn ang="0">
                    <a:pos x="connsiteX2" y="connsiteY2"/>
                  </a:cxn>
                </a:cxnLst>
                <a:rect l="l" t="t" r="r" b="b"/>
                <a:pathLst>
                  <a:path w="547687" h="442912">
                    <a:moveTo>
                      <a:pt x="0" y="442912"/>
                    </a:moveTo>
                    <a:lnTo>
                      <a:pt x="400050" y="0"/>
                    </a:lnTo>
                    <a:lnTo>
                      <a:pt x="547687" y="423862"/>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397" name="Freeform 396"/>
              <p:cNvSpPr/>
              <p:nvPr/>
            </p:nvSpPr>
            <p:spPr>
              <a:xfrm>
                <a:off x="2786063" y="3552825"/>
                <a:ext cx="704850" cy="442913"/>
              </a:xfrm>
              <a:custGeom>
                <a:avLst/>
                <a:gdLst>
                  <a:gd name="connsiteX0" fmla="*/ 0 w 704850"/>
                  <a:gd name="connsiteY0" fmla="*/ 442913 h 442913"/>
                  <a:gd name="connsiteX1" fmla="*/ 704850 w 704850"/>
                  <a:gd name="connsiteY1" fmla="*/ 0 h 442913"/>
                  <a:gd name="connsiteX2" fmla="*/ 585787 w 704850"/>
                  <a:gd name="connsiteY2" fmla="*/ 414338 h 442913"/>
                </a:gdLst>
                <a:ahLst/>
                <a:cxnLst>
                  <a:cxn ang="0">
                    <a:pos x="connsiteX0" y="connsiteY0"/>
                  </a:cxn>
                  <a:cxn ang="0">
                    <a:pos x="connsiteX1" y="connsiteY1"/>
                  </a:cxn>
                  <a:cxn ang="0">
                    <a:pos x="connsiteX2" y="connsiteY2"/>
                  </a:cxn>
                </a:cxnLst>
                <a:rect l="l" t="t" r="r" b="b"/>
                <a:pathLst>
                  <a:path w="704850" h="442913">
                    <a:moveTo>
                      <a:pt x="0" y="442913"/>
                    </a:moveTo>
                    <a:lnTo>
                      <a:pt x="704850" y="0"/>
                    </a:lnTo>
                    <a:lnTo>
                      <a:pt x="585787" y="414338"/>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398" name="Freeform 397"/>
              <p:cNvSpPr/>
              <p:nvPr/>
            </p:nvSpPr>
            <p:spPr>
              <a:xfrm>
                <a:off x="3100388" y="3548063"/>
                <a:ext cx="385762" cy="452437"/>
              </a:xfrm>
              <a:custGeom>
                <a:avLst/>
                <a:gdLst>
                  <a:gd name="connsiteX0" fmla="*/ 0 w 385762"/>
                  <a:gd name="connsiteY0" fmla="*/ 452437 h 452437"/>
                  <a:gd name="connsiteX1" fmla="*/ 385762 w 385762"/>
                  <a:gd name="connsiteY1" fmla="*/ 0 h 452437"/>
                </a:gdLst>
                <a:ahLst/>
                <a:cxnLst>
                  <a:cxn ang="0">
                    <a:pos x="connsiteX0" y="connsiteY0"/>
                  </a:cxn>
                  <a:cxn ang="0">
                    <a:pos x="connsiteX1" y="connsiteY1"/>
                  </a:cxn>
                </a:cxnLst>
                <a:rect l="l" t="t" r="r" b="b"/>
                <a:pathLst>
                  <a:path w="385762" h="452437">
                    <a:moveTo>
                      <a:pt x="0" y="452437"/>
                    </a:moveTo>
                    <a:lnTo>
                      <a:pt x="385762" y="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399" name="Freeform 398"/>
              <p:cNvSpPr/>
              <p:nvPr/>
            </p:nvSpPr>
            <p:spPr>
              <a:xfrm>
                <a:off x="2809875" y="4025900"/>
                <a:ext cx="561975" cy="498475"/>
              </a:xfrm>
              <a:custGeom>
                <a:avLst/>
                <a:gdLst>
                  <a:gd name="connsiteX0" fmla="*/ 0 w 561975"/>
                  <a:gd name="connsiteY0" fmla="*/ 0 h 498475"/>
                  <a:gd name="connsiteX1" fmla="*/ 561975 w 561975"/>
                  <a:gd name="connsiteY1" fmla="*/ 498475 h 498475"/>
                  <a:gd name="connsiteX2" fmla="*/ 552450 w 561975"/>
                  <a:gd name="connsiteY2" fmla="*/ 47625 h 498475"/>
                  <a:gd name="connsiteX3" fmla="*/ 539750 w 561975"/>
                  <a:gd name="connsiteY3" fmla="*/ 41275 h 498475"/>
                  <a:gd name="connsiteX4" fmla="*/ 279400 w 561975"/>
                  <a:gd name="connsiteY4" fmla="*/ 485775 h 498475"/>
                  <a:gd name="connsiteX5" fmla="*/ 266700 w 561975"/>
                  <a:gd name="connsiteY5" fmla="*/ 25400 h 498475"/>
                  <a:gd name="connsiteX6" fmla="*/ 542925 w 561975"/>
                  <a:gd name="connsiteY6" fmla="*/ 488950 h 49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1975" h="498475">
                    <a:moveTo>
                      <a:pt x="0" y="0"/>
                    </a:moveTo>
                    <a:lnTo>
                      <a:pt x="561975" y="498475"/>
                    </a:lnTo>
                    <a:lnTo>
                      <a:pt x="552450" y="47625"/>
                    </a:lnTo>
                    <a:lnTo>
                      <a:pt x="539750" y="41275"/>
                    </a:lnTo>
                    <a:lnTo>
                      <a:pt x="279400" y="485775"/>
                    </a:lnTo>
                    <a:lnTo>
                      <a:pt x="266700" y="25400"/>
                    </a:lnTo>
                    <a:lnTo>
                      <a:pt x="542925" y="48895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00" name="Freeform 399"/>
              <p:cNvSpPr/>
              <p:nvPr/>
            </p:nvSpPr>
            <p:spPr>
              <a:xfrm>
                <a:off x="2784475" y="4054475"/>
                <a:ext cx="276225" cy="463550"/>
              </a:xfrm>
              <a:custGeom>
                <a:avLst/>
                <a:gdLst>
                  <a:gd name="connsiteX0" fmla="*/ 0 w 276225"/>
                  <a:gd name="connsiteY0" fmla="*/ 457200 h 463550"/>
                  <a:gd name="connsiteX1" fmla="*/ 19050 w 276225"/>
                  <a:gd name="connsiteY1" fmla="*/ 0 h 463550"/>
                  <a:gd name="connsiteX2" fmla="*/ 276225 w 276225"/>
                  <a:gd name="connsiteY2" fmla="*/ 463550 h 463550"/>
                </a:gdLst>
                <a:ahLst/>
                <a:cxnLst>
                  <a:cxn ang="0">
                    <a:pos x="connsiteX0" y="connsiteY0"/>
                  </a:cxn>
                  <a:cxn ang="0">
                    <a:pos x="connsiteX1" y="connsiteY1"/>
                  </a:cxn>
                  <a:cxn ang="0">
                    <a:pos x="connsiteX2" y="connsiteY2"/>
                  </a:cxn>
                </a:cxnLst>
                <a:rect l="l" t="t" r="r" b="b"/>
                <a:pathLst>
                  <a:path w="276225" h="463550">
                    <a:moveTo>
                      <a:pt x="0" y="457200"/>
                    </a:moveTo>
                    <a:lnTo>
                      <a:pt x="19050" y="0"/>
                    </a:lnTo>
                    <a:lnTo>
                      <a:pt x="276225" y="46355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01" name="Freeform 400"/>
              <p:cNvSpPr/>
              <p:nvPr/>
            </p:nvSpPr>
            <p:spPr>
              <a:xfrm>
                <a:off x="2778125" y="4057650"/>
                <a:ext cx="292100" cy="460375"/>
              </a:xfrm>
              <a:custGeom>
                <a:avLst/>
                <a:gdLst>
                  <a:gd name="connsiteX0" fmla="*/ 0 w 292100"/>
                  <a:gd name="connsiteY0" fmla="*/ 460375 h 460375"/>
                  <a:gd name="connsiteX1" fmla="*/ 292100 w 292100"/>
                  <a:gd name="connsiteY1" fmla="*/ 0 h 460375"/>
                </a:gdLst>
                <a:ahLst/>
                <a:cxnLst>
                  <a:cxn ang="0">
                    <a:pos x="connsiteX0" y="connsiteY0"/>
                  </a:cxn>
                  <a:cxn ang="0">
                    <a:pos x="connsiteX1" y="connsiteY1"/>
                  </a:cxn>
                </a:cxnLst>
                <a:rect l="l" t="t" r="r" b="b"/>
                <a:pathLst>
                  <a:path w="292100" h="460375">
                    <a:moveTo>
                      <a:pt x="0" y="460375"/>
                    </a:moveTo>
                    <a:lnTo>
                      <a:pt x="292100" y="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02" name="Freeform 401"/>
              <p:cNvSpPr/>
              <p:nvPr/>
            </p:nvSpPr>
            <p:spPr>
              <a:xfrm>
                <a:off x="2790825" y="4070350"/>
                <a:ext cx="552450" cy="444500"/>
              </a:xfrm>
              <a:custGeom>
                <a:avLst/>
                <a:gdLst>
                  <a:gd name="connsiteX0" fmla="*/ 0 w 552450"/>
                  <a:gd name="connsiteY0" fmla="*/ 444500 h 444500"/>
                  <a:gd name="connsiteX1" fmla="*/ 552450 w 552450"/>
                  <a:gd name="connsiteY1" fmla="*/ 0 h 444500"/>
                </a:gdLst>
                <a:ahLst/>
                <a:cxnLst>
                  <a:cxn ang="0">
                    <a:pos x="connsiteX0" y="connsiteY0"/>
                  </a:cxn>
                  <a:cxn ang="0">
                    <a:pos x="connsiteX1" y="connsiteY1"/>
                  </a:cxn>
                </a:cxnLst>
                <a:rect l="l" t="t" r="r" b="b"/>
                <a:pathLst>
                  <a:path w="552450" h="444500">
                    <a:moveTo>
                      <a:pt x="0" y="444500"/>
                    </a:moveTo>
                    <a:lnTo>
                      <a:pt x="552450" y="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03" name="Freeform 402"/>
              <p:cNvSpPr/>
              <p:nvPr/>
            </p:nvSpPr>
            <p:spPr>
              <a:xfrm>
                <a:off x="2800350" y="4552950"/>
                <a:ext cx="528638" cy="476250"/>
              </a:xfrm>
              <a:custGeom>
                <a:avLst/>
                <a:gdLst>
                  <a:gd name="connsiteX0" fmla="*/ 528638 w 528638"/>
                  <a:gd name="connsiteY0" fmla="*/ 9525 h 476250"/>
                  <a:gd name="connsiteX1" fmla="*/ 147638 w 528638"/>
                  <a:gd name="connsiteY1" fmla="*/ 476250 h 476250"/>
                  <a:gd name="connsiteX2" fmla="*/ 0 w 528638"/>
                  <a:gd name="connsiteY2" fmla="*/ 4763 h 476250"/>
                  <a:gd name="connsiteX3" fmla="*/ 400050 w 528638"/>
                  <a:gd name="connsiteY3" fmla="*/ 452438 h 476250"/>
                  <a:gd name="connsiteX4" fmla="*/ 290513 w 528638"/>
                  <a:gd name="connsiteY4" fmla="*/ 0 h 476250"/>
                  <a:gd name="connsiteX5" fmla="*/ 147638 w 528638"/>
                  <a:gd name="connsiteY5" fmla="*/ 466725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8638" h="476250">
                    <a:moveTo>
                      <a:pt x="528638" y="9525"/>
                    </a:moveTo>
                    <a:lnTo>
                      <a:pt x="147638" y="476250"/>
                    </a:lnTo>
                    <a:lnTo>
                      <a:pt x="0" y="4763"/>
                    </a:lnTo>
                    <a:lnTo>
                      <a:pt x="400050" y="452438"/>
                    </a:lnTo>
                    <a:lnTo>
                      <a:pt x="290513" y="0"/>
                    </a:lnTo>
                    <a:lnTo>
                      <a:pt x="147638" y="466725"/>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404" name="Freeform 403"/>
              <p:cNvSpPr/>
              <p:nvPr/>
            </p:nvSpPr>
            <p:spPr>
              <a:xfrm>
                <a:off x="3205163" y="4572000"/>
                <a:ext cx="123825" cy="428625"/>
              </a:xfrm>
              <a:custGeom>
                <a:avLst/>
                <a:gdLst>
                  <a:gd name="connsiteX0" fmla="*/ 0 w 123825"/>
                  <a:gd name="connsiteY0" fmla="*/ 428625 h 428625"/>
                  <a:gd name="connsiteX1" fmla="*/ 123825 w 123825"/>
                  <a:gd name="connsiteY1" fmla="*/ 0 h 428625"/>
                </a:gdLst>
                <a:ahLst/>
                <a:cxnLst>
                  <a:cxn ang="0">
                    <a:pos x="connsiteX0" y="connsiteY0"/>
                  </a:cxn>
                  <a:cxn ang="0">
                    <a:pos x="connsiteX1" y="connsiteY1"/>
                  </a:cxn>
                </a:cxnLst>
                <a:rect l="l" t="t" r="r" b="b"/>
                <a:pathLst>
                  <a:path w="123825" h="428625">
                    <a:moveTo>
                      <a:pt x="0" y="428625"/>
                    </a:moveTo>
                    <a:lnTo>
                      <a:pt x="123825" y="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grpSp>
        <p:sp>
          <p:nvSpPr>
            <p:cNvPr id="382" name="Oval 381"/>
            <p:cNvSpPr/>
            <p:nvPr/>
          </p:nvSpPr>
          <p:spPr>
            <a:xfrm>
              <a:off x="5245437" y="3944331"/>
              <a:ext cx="163138" cy="163138"/>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83" name="Oval 382"/>
            <p:cNvSpPr/>
            <p:nvPr/>
          </p:nvSpPr>
          <p:spPr>
            <a:xfrm>
              <a:off x="4698450" y="3973606"/>
              <a:ext cx="117287" cy="117287"/>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84" name="Oval 383"/>
            <p:cNvSpPr/>
            <p:nvPr/>
          </p:nvSpPr>
          <p:spPr>
            <a:xfrm>
              <a:off x="4681528" y="4450707"/>
              <a:ext cx="161935" cy="161935"/>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85" name="Oval 384"/>
            <p:cNvSpPr/>
            <p:nvPr/>
          </p:nvSpPr>
          <p:spPr>
            <a:xfrm>
              <a:off x="5263600" y="4473669"/>
              <a:ext cx="126812" cy="126812"/>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86" name="Oval 385"/>
            <p:cNvSpPr/>
            <p:nvPr/>
          </p:nvSpPr>
          <p:spPr>
            <a:xfrm>
              <a:off x="5001543" y="4507100"/>
              <a:ext cx="88618" cy="88618"/>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87" name="Oval 386"/>
            <p:cNvSpPr/>
            <p:nvPr/>
          </p:nvSpPr>
          <p:spPr>
            <a:xfrm>
              <a:off x="5109102" y="4975318"/>
              <a:ext cx="145861" cy="145861"/>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88" name="Oval 387"/>
            <p:cNvSpPr/>
            <p:nvPr/>
          </p:nvSpPr>
          <p:spPr>
            <a:xfrm>
              <a:off x="4855117" y="4983957"/>
              <a:ext cx="102999" cy="102999"/>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89" name="Oval 388"/>
            <p:cNvSpPr/>
            <p:nvPr/>
          </p:nvSpPr>
          <p:spPr>
            <a:xfrm>
              <a:off x="4985056" y="3983132"/>
              <a:ext cx="108620" cy="108620"/>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90" name="Oval 389"/>
            <p:cNvSpPr/>
            <p:nvPr/>
          </p:nvSpPr>
          <p:spPr>
            <a:xfrm>
              <a:off x="4526143" y="3420876"/>
              <a:ext cx="188089" cy="188089"/>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91" name="Oval 390"/>
            <p:cNvSpPr>
              <a:spLocks/>
            </p:cNvSpPr>
            <p:nvPr/>
          </p:nvSpPr>
          <p:spPr>
            <a:xfrm>
              <a:off x="4850628" y="3484471"/>
              <a:ext cx="83108" cy="83108"/>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92" name="Oval 391"/>
            <p:cNvSpPr/>
            <p:nvPr/>
          </p:nvSpPr>
          <p:spPr>
            <a:xfrm>
              <a:off x="5130531" y="3473459"/>
              <a:ext cx="98690" cy="98690"/>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93" name="Oval 392"/>
            <p:cNvSpPr>
              <a:spLocks/>
            </p:cNvSpPr>
            <p:nvPr/>
          </p:nvSpPr>
          <p:spPr>
            <a:xfrm>
              <a:off x="5426016" y="3484471"/>
              <a:ext cx="83108" cy="83108"/>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grpSp>
      <p:cxnSp>
        <p:nvCxnSpPr>
          <p:cNvPr id="295" name="Straight Arrow Connector 294"/>
          <p:cNvCxnSpPr/>
          <p:nvPr/>
        </p:nvCxnSpPr>
        <p:spPr>
          <a:xfrm>
            <a:off x="2517063" y="3429793"/>
            <a:ext cx="0" cy="19208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96" name="Straight Arrow Connector 295"/>
          <p:cNvCxnSpPr/>
          <p:nvPr/>
        </p:nvCxnSpPr>
        <p:spPr>
          <a:xfrm>
            <a:off x="2780621" y="3429793"/>
            <a:ext cx="0" cy="19208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97" name="Straight Arrow Connector 296"/>
          <p:cNvCxnSpPr/>
          <p:nvPr/>
        </p:nvCxnSpPr>
        <p:spPr>
          <a:xfrm>
            <a:off x="3070330" y="3429793"/>
            <a:ext cx="0" cy="19208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98" name="Straight Arrow Connector 297"/>
          <p:cNvCxnSpPr/>
          <p:nvPr/>
        </p:nvCxnSpPr>
        <p:spPr>
          <a:xfrm>
            <a:off x="3351586" y="3429793"/>
            <a:ext cx="0" cy="19208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99" name="Straight Arrow Connector 298"/>
          <p:cNvCxnSpPr/>
          <p:nvPr/>
        </p:nvCxnSpPr>
        <p:spPr>
          <a:xfrm>
            <a:off x="2788526" y="5286279"/>
            <a:ext cx="0" cy="19208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00" name="Straight Arrow Connector 299"/>
          <p:cNvCxnSpPr/>
          <p:nvPr/>
        </p:nvCxnSpPr>
        <p:spPr>
          <a:xfrm>
            <a:off x="3077054" y="5286279"/>
            <a:ext cx="0" cy="19208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01" name="TextBox 300"/>
          <p:cNvSpPr txBox="1">
            <a:spLocks/>
          </p:cNvSpPr>
          <p:nvPr/>
        </p:nvSpPr>
        <p:spPr>
          <a:xfrm>
            <a:off x="2637747" y="5509706"/>
            <a:ext cx="277353" cy="172089"/>
          </a:xfrm>
          <a:prstGeom prst="rect">
            <a:avLst/>
          </a:prstGeom>
          <a:noFill/>
          <a:ln w="3175">
            <a:solidFill>
              <a:schemeClr val="bg1"/>
            </a:solidFill>
          </a:ln>
        </p:spPr>
        <p:txBody>
          <a:bodyPr vert="horz" wrap="none" lIns="72009" tIns="72009" rIns="72009" bIns="72009"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zh-CN" sz="800" dirty="0">
                <a:solidFill>
                  <a:srgbClr val="FFFFFF"/>
                </a:solidFill>
                <a:ea typeface="楷体" panose="02010609060101010101" pitchFamily="49" charset="-122"/>
                <a:cs typeface="SimSun"/>
              </a:rPr>
              <a:t>狗</a:t>
            </a:r>
          </a:p>
        </p:txBody>
      </p:sp>
      <p:sp>
        <p:nvSpPr>
          <p:cNvPr id="302" name="TextBox 301"/>
          <p:cNvSpPr txBox="1">
            <a:spLocks/>
          </p:cNvSpPr>
          <p:nvPr/>
        </p:nvSpPr>
        <p:spPr>
          <a:xfrm>
            <a:off x="2944727" y="5509706"/>
            <a:ext cx="277353" cy="172089"/>
          </a:xfrm>
          <a:prstGeom prst="rect">
            <a:avLst/>
          </a:prstGeom>
          <a:noFill/>
          <a:ln w="3175">
            <a:solidFill>
              <a:schemeClr val="bg1"/>
            </a:solidFill>
          </a:ln>
        </p:spPr>
        <p:txBody>
          <a:bodyPr vert="horz" wrap="none" lIns="72009" tIns="72009" rIns="72009" bIns="72009"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zh-CN" sz="800" dirty="0">
                <a:solidFill>
                  <a:srgbClr val="FFFFFF"/>
                </a:solidFill>
                <a:ea typeface="楷体" panose="02010609060101010101" pitchFamily="49" charset="-122"/>
                <a:cs typeface="SimSun"/>
              </a:rPr>
              <a:t>猫</a:t>
            </a:r>
          </a:p>
        </p:txBody>
      </p:sp>
      <p:sp>
        <p:nvSpPr>
          <p:cNvPr id="303" name="Oval 302"/>
          <p:cNvSpPr/>
          <p:nvPr/>
        </p:nvSpPr>
        <p:spPr>
          <a:xfrm>
            <a:off x="6351399" y="2156424"/>
            <a:ext cx="1026544" cy="1026544"/>
          </a:xfrm>
          <a:prstGeom prst="ellipse">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70" name="Rectangle 369"/>
          <p:cNvSpPr/>
          <p:nvPr/>
        </p:nvSpPr>
        <p:spPr>
          <a:xfrm>
            <a:off x="6671796" y="2858589"/>
            <a:ext cx="312056" cy="195035"/>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71" name="Freeform 854"/>
          <p:cNvSpPr>
            <a:spLocks/>
          </p:cNvSpPr>
          <p:nvPr/>
        </p:nvSpPr>
        <p:spPr bwMode="auto">
          <a:xfrm>
            <a:off x="6671796" y="2915850"/>
            <a:ext cx="206295" cy="137774"/>
          </a:xfrm>
          <a:custGeom>
            <a:avLst/>
            <a:gdLst>
              <a:gd name="T0" fmla="*/ 260 w 563"/>
              <a:gd name="T1" fmla="*/ 15 h 376"/>
              <a:gd name="T2" fmla="*/ 258 w 563"/>
              <a:gd name="T3" fmla="*/ 62 h 376"/>
              <a:gd name="T4" fmla="*/ 264 w 563"/>
              <a:gd name="T5" fmla="*/ 86 h 376"/>
              <a:gd name="T6" fmla="*/ 270 w 563"/>
              <a:gd name="T7" fmla="*/ 100 h 376"/>
              <a:gd name="T8" fmla="*/ 305 w 563"/>
              <a:gd name="T9" fmla="*/ 74 h 376"/>
              <a:gd name="T10" fmla="*/ 388 w 563"/>
              <a:gd name="T11" fmla="*/ 53 h 376"/>
              <a:gd name="T12" fmla="*/ 486 w 563"/>
              <a:gd name="T13" fmla="*/ 101 h 376"/>
              <a:gd name="T14" fmla="*/ 558 w 563"/>
              <a:gd name="T15" fmla="*/ 206 h 376"/>
              <a:gd name="T16" fmla="*/ 559 w 563"/>
              <a:gd name="T17" fmla="*/ 275 h 376"/>
              <a:gd name="T18" fmla="*/ 528 w 563"/>
              <a:gd name="T19" fmla="*/ 320 h 376"/>
              <a:gd name="T20" fmla="*/ 447 w 563"/>
              <a:gd name="T21" fmla="*/ 338 h 376"/>
              <a:gd name="T22" fmla="*/ 360 w 563"/>
              <a:gd name="T23" fmla="*/ 342 h 376"/>
              <a:gd name="T24" fmla="*/ 327 w 563"/>
              <a:gd name="T25" fmla="*/ 350 h 376"/>
              <a:gd name="T26" fmla="*/ 313 w 563"/>
              <a:gd name="T27" fmla="*/ 338 h 376"/>
              <a:gd name="T28" fmla="*/ 350 w 563"/>
              <a:gd name="T29" fmla="*/ 302 h 376"/>
              <a:gd name="T30" fmla="*/ 437 w 563"/>
              <a:gd name="T31" fmla="*/ 299 h 376"/>
              <a:gd name="T32" fmla="*/ 483 w 563"/>
              <a:gd name="T33" fmla="*/ 284 h 376"/>
              <a:gd name="T34" fmla="*/ 501 w 563"/>
              <a:gd name="T35" fmla="*/ 254 h 376"/>
              <a:gd name="T36" fmla="*/ 496 w 563"/>
              <a:gd name="T37" fmla="*/ 255 h 376"/>
              <a:gd name="T38" fmla="*/ 485 w 563"/>
              <a:gd name="T39" fmla="*/ 261 h 376"/>
              <a:gd name="T40" fmla="*/ 449 w 563"/>
              <a:gd name="T41" fmla="*/ 277 h 376"/>
              <a:gd name="T42" fmla="*/ 369 w 563"/>
              <a:gd name="T43" fmla="*/ 278 h 376"/>
              <a:gd name="T44" fmla="*/ 292 w 563"/>
              <a:gd name="T45" fmla="*/ 296 h 376"/>
              <a:gd name="T46" fmla="*/ 249 w 563"/>
              <a:gd name="T47" fmla="*/ 320 h 376"/>
              <a:gd name="T48" fmla="*/ 209 w 563"/>
              <a:gd name="T49" fmla="*/ 341 h 376"/>
              <a:gd name="T50" fmla="*/ 134 w 563"/>
              <a:gd name="T51" fmla="*/ 369 h 376"/>
              <a:gd name="T52" fmla="*/ 90 w 563"/>
              <a:gd name="T53" fmla="*/ 367 h 376"/>
              <a:gd name="T54" fmla="*/ 88 w 563"/>
              <a:gd name="T55" fmla="*/ 346 h 376"/>
              <a:gd name="T56" fmla="*/ 104 w 563"/>
              <a:gd name="T57" fmla="*/ 340 h 376"/>
              <a:gd name="T58" fmla="*/ 186 w 563"/>
              <a:gd name="T59" fmla="*/ 301 h 376"/>
              <a:gd name="T60" fmla="*/ 147 w 563"/>
              <a:gd name="T61" fmla="*/ 296 h 376"/>
              <a:gd name="T62" fmla="*/ 96 w 563"/>
              <a:gd name="T63" fmla="*/ 318 h 376"/>
              <a:gd name="T64" fmla="*/ 20 w 563"/>
              <a:gd name="T65" fmla="*/ 341 h 376"/>
              <a:gd name="T66" fmla="*/ 0 w 563"/>
              <a:gd name="T67" fmla="*/ 319 h 376"/>
              <a:gd name="T68" fmla="*/ 10 w 563"/>
              <a:gd name="T69" fmla="*/ 309 h 376"/>
              <a:gd name="T70" fmla="*/ 55 w 563"/>
              <a:gd name="T71" fmla="*/ 295 h 376"/>
              <a:gd name="T72" fmla="*/ 109 w 563"/>
              <a:gd name="T73" fmla="*/ 263 h 376"/>
              <a:gd name="T74" fmla="*/ 113 w 563"/>
              <a:gd name="T75" fmla="*/ 201 h 376"/>
              <a:gd name="T76" fmla="*/ 152 w 563"/>
              <a:gd name="T77" fmla="*/ 206 h 376"/>
              <a:gd name="T78" fmla="*/ 163 w 563"/>
              <a:gd name="T79" fmla="*/ 220 h 376"/>
              <a:gd name="T80" fmla="*/ 181 w 563"/>
              <a:gd name="T81" fmla="*/ 215 h 376"/>
              <a:gd name="T82" fmla="*/ 181 w 563"/>
              <a:gd name="T83" fmla="*/ 197 h 376"/>
              <a:gd name="T84" fmla="*/ 167 w 563"/>
              <a:gd name="T85" fmla="*/ 191 h 376"/>
              <a:gd name="T86" fmla="*/ 125 w 563"/>
              <a:gd name="T87" fmla="*/ 168 h 376"/>
              <a:gd name="T88" fmla="*/ 95 w 563"/>
              <a:gd name="T89" fmla="*/ 100 h 376"/>
              <a:gd name="T90" fmla="*/ 100 w 563"/>
              <a:gd name="T91" fmla="*/ 66 h 376"/>
              <a:gd name="T92" fmla="*/ 97 w 563"/>
              <a:gd name="T93" fmla="*/ 28 h 376"/>
              <a:gd name="T94" fmla="*/ 105 w 563"/>
              <a:gd name="T95" fmla="*/ 0 h 376"/>
              <a:gd name="T96" fmla="*/ 142 w 563"/>
              <a:gd name="T97" fmla="*/ 21 h 376"/>
              <a:gd name="T98" fmla="*/ 168 w 563"/>
              <a:gd name="T99" fmla="*/ 27 h 376"/>
              <a:gd name="T100" fmla="*/ 208 w 563"/>
              <a:gd name="T101" fmla="*/ 28 h 376"/>
              <a:gd name="T102" fmla="*/ 233 w 563"/>
              <a:gd name="T103" fmla="*/ 9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3" h="376">
                <a:moveTo>
                  <a:pt x="252" y="0"/>
                </a:moveTo>
                <a:lnTo>
                  <a:pt x="258" y="0"/>
                </a:lnTo>
                <a:lnTo>
                  <a:pt x="259" y="6"/>
                </a:lnTo>
                <a:lnTo>
                  <a:pt x="260" y="15"/>
                </a:lnTo>
                <a:lnTo>
                  <a:pt x="260" y="28"/>
                </a:lnTo>
                <a:lnTo>
                  <a:pt x="259" y="42"/>
                </a:lnTo>
                <a:lnTo>
                  <a:pt x="259" y="53"/>
                </a:lnTo>
                <a:lnTo>
                  <a:pt x="258" y="62"/>
                </a:lnTo>
                <a:lnTo>
                  <a:pt x="258" y="66"/>
                </a:lnTo>
                <a:lnTo>
                  <a:pt x="259" y="69"/>
                </a:lnTo>
                <a:lnTo>
                  <a:pt x="261" y="75"/>
                </a:lnTo>
                <a:lnTo>
                  <a:pt x="264" y="86"/>
                </a:lnTo>
                <a:lnTo>
                  <a:pt x="267" y="98"/>
                </a:lnTo>
                <a:lnTo>
                  <a:pt x="268" y="98"/>
                </a:lnTo>
                <a:lnTo>
                  <a:pt x="270" y="100"/>
                </a:lnTo>
                <a:lnTo>
                  <a:pt x="270" y="100"/>
                </a:lnTo>
                <a:lnTo>
                  <a:pt x="273" y="97"/>
                </a:lnTo>
                <a:lnTo>
                  <a:pt x="279" y="91"/>
                </a:lnTo>
                <a:lnTo>
                  <a:pt x="291" y="83"/>
                </a:lnTo>
                <a:lnTo>
                  <a:pt x="305" y="74"/>
                </a:lnTo>
                <a:lnTo>
                  <a:pt x="322" y="65"/>
                </a:lnTo>
                <a:lnTo>
                  <a:pt x="342" y="57"/>
                </a:lnTo>
                <a:lnTo>
                  <a:pt x="364" y="53"/>
                </a:lnTo>
                <a:lnTo>
                  <a:pt x="388" y="53"/>
                </a:lnTo>
                <a:lnTo>
                  <a:pt x="412" y="57"/>
                </a:lnTo>
                <a:lnTo>
                  <a:pt x="436" y="68"/>
                </a:lnTo>
                <a:lnTo>
                  <a:pt x="462" y="83"/>
                </a:lnTo>
                <a:lnTo>
                  <a:pt x="486" y="101"/>
                </a:lnTo>
                <a:lnTo>
                  <a:pt x="509" y="124"/>
                </a:lnTo>
                <a:lnTo>
                  <a:pt x="530" y="150"/>
                </a:lnTo>
                <a:lnTo>
                  <a:pt x="546" y="177"/>
                </a:lnTo>
                <a:lnTo>
                  <a:pt x="558" y="206"/>
                </a:lnTo>
                <a:lnTo>
                  <a:pt x="563" y="237"/>
                </a:lnTo>
                <a:lnTo>
                  <a:pt x="563" y="254"/>
                </a:lnTo>
                <a:lnTo>
                  <a:pt x="560" y="265"/>
                </a:lnTo>
                <a:lnTo>
                  <a:pt x="559" y="275"/>
                </a:lnTo>
                <a:lnTo>
                  <a:pt x="555" y="287"/>
                </a:lnTo>
                <a:lnTo>
                  <a:pt x="549" y="299"/>
                </a:lnTo>
                <a:lnTo>
                  <a:pt x="540" y="310"/>
                </a:lnTo>
                <a:lnTo>
                  <a:pt x="528" y="320"/>
                </a:lnTo>
                <a:lnTo>
                  <a:pt x="514" y="329"/>
                </a:lnTo>
                <a:lnTo>
                  <a:pt x="495" y="336"/>
                </a:lnTo>
                <a:lnTo>
                  <a:pt x="473" y="338"/>
                </a:lnTo>
                <a:lnTo>
                  <a:pt x="447" y="338"/>
                </a:lnTo>
                <a:lnTo>
                  <a:pt x="424" y="337"/>
                </a:lnTo>
                <a:lnTo>
                  <a:pt x="403" y="337"/>
                </a:lnTo>
                <a:lnTo>
                  <a:pt x="381" y="338"/>
                </a:lnTo>
                <a:lnTo>
                  <a:pt x="360" y="342"/>
                </a:lnTo>
                <a:lnTo>
                  <a:pt x="340" y="349"/>
                </a:lnTo>
                <a:lnTo>
                  <a:pt x="336" y="350"/>
                </a:lnTo>
                <a:lnTo>
                  <a:pt x="332" y="350"/>
                </a:lnTo>
                <a:lnTo>
                  <a:pt x="327" y="350"/>
                </a:lnTo>
                <a:lnTo>
                  <a:pt x="323" y="349"/>
                </a:lnTo>
                <a:lnTo>
                  <a:pt x="319" y="346"/>
                </a:lnTo>
                <a:lnTo>
                  <a:pt x="315" y="342"/>
                </a:lnTo>
                <a:lnTo>
                  <a:pt x="313" y="338"/>
                </a:lnTo>
                <a:lnTo>
                  <a:pt x="311" y="328"/>
                </a:lnTo>
                <a:lnTo>
                  <a:pt x="317" y="318"/>
                </a:lnTo>
                <a:lnTo>
                  <a:pt x="326" y="311"/>
                </a:lnTo>
                <a:lnTo>
                  <a:pt x="350" y="302"/>
                </a:lnTo>
                <a:lnTo>
                  <a:pt x="374" y="299"/>
                </a:lnTo>
                <a:lnTo>
                  <a:pt x="400" y="297"/>
                </a:lnTo>
                <a:lnTo>
                  <a:pt x="428" y="299"/>
                </a:lnTo>
                <a:lnTo>
                  <a:pt x="437" y="299"/>
                </a:lnTo>
                <a:lnTo>
                  <a:pt x="447" y="297"/>
                </a:lnTo>
                <a:lnTo>
                  <a:pt x="472" y="292"/>
                </a:lnTo>
                <a:lnTo>
                  <a:pt x="478" y="288"/>
                </a:lnTo>
                <a:lnTo>
                  <a:pt x="483" y="284"/>
                </a:lnTo>
                <a:lnTo>
                  <a:pt x="492" y="275"/>
                </a:lnTo>
                <a:lnTo>
                  <a:pt x="498" y="266"/>
                </a:lnTo>
                <a:lnTo>
                  <a:pt x="500" y="259"/>
                </a:lnTo>
                <a:lnTo>
                  <a:pt x="501" y="254"/>
                </a:lnTo>
                <a:lnTo>
                  <a:pt x="501" y="254"/>
                </a:lnTo>
                <a:lnTo>
                  <a:pt x="500" y="254"/>
                </a:lnTo>
                <a:lnTo>
                  <a:pt x="499" y="254"/>
                </a:lnTo>
                <a:lnTo>
                  <a:pt x="496" y="255"/>
                </a:lnTo>
                <a:lnTo>
                  <a:pt x="492" y="256"/>
                </a:lnTo>
                <a:lnTo>
                  <a:pt x="490" y="259"/>
                </a:lnTo>
                <a:lnTo>
                  <a:pt x="487" y="260"/>
                </a:lnTo>
                <a:lnTo>
                  <a:pt x="485" y="261"/>
                </a:lnTo>
                <a:lnTo>
                  <a:pt x="480" y="266"/>
                </a:lnTo>
                <a:lnTo>
                  <a:pt x="469" y="272"/>
                </a:lnTo>
                <a:lnTo>
                  <a:pt x="459" y="275"/>
                </a:lnTo>
                <a:lnTo>
                  <a:pt x="449" y="277"/>
                </a:lnTo>
                <a:lnTo>
                  <a:pt x="433" y="277"/>
                </a:lnTo>
                <a:lnTo>
                  <a:pt x="418" y="277"/>
                </a:lnTo>
                <a:lnTo>
                  <a:pt x="403" y="275"/>
                </a:lnTo>
                <a:lnTo>
                  <a:pt x="369" y="278"/>
                </a:lnTo>
                <a:lnTo>
                  <a:pt x="340" y="281"/>
                </a:lnTo>
                <a:lnTo>
                  <a:pt x="318" y="286"/>
                </a:lnTo>
                <a:lnTo>
                  <a:pt x="303" y="291"/>
                </a:lnTo>
                <a:lnTo>
                  <a:pt x="292" y="296"/>
                </a:lnTo>
                <a:lnTo>
                  <a:pt x="279" y="302"/>
                </a:lnTo>
                <a:lnTo>
                  <a:pt x="267" y="310"/>
                </a:lnTo>
                <a:lnTo>
                  <a:pt x="255" y="317"/>
                </a:lnTo>
                <a:lnTo>
                  <a:pt x="249" y="320"/>
                </a:lnTo>
                <a:lnTo>
                  <a:pt x="243" y="323"/>
                </a:lnTo>
                <a:lnTo>
                  <a:pt x="235" y="328"/>
                </a:lnTo>
                <a:lnTo>
                  <a:pt x="223" y="333"/>
                </a:lnTo>
                <a:lnTo>
                  <a:pt x="209" y="341"/>
                </a:lnTo>
                <a:lnTo>
                  <a:pt x="192" y="349"/>
                </a:lnTo>
                <a:lnTo>
                  <a:pt x="177" y="355"/>
                </a:lnTo>
                <a:lnTo>
                  <a:pt x="160" y="360"/>
                </a:lnTo>
                <a:lnTo>
                  <a:pt x="134" y="369"/>
                </a:lnTo>
                <a:lnTo>
                  <a:pt x="109" y="376"/>
                </a:lnTo>
                <a:lnTo>
                  <a:pt x="106" y="376"/>
                </a:lnTo>
                <a:lnTo>
                  <a:pt x="96" y="373"/>
                </a:lnTo>
                <a:lnTo>
                  <a:pt x="90" y="367"/>
                </a:lnTo>
                <a:lnTo>
                  <a:pt x="86" y="356"/>
                </a:lnTo>
                <a:lnTo>
                  <a:pt x="86" y="352"/>
                </a:lnTo>
                <a:lnTo>
                  <a:pt x="87" y="349"/>
                </a:lnTo>
                <a:lnTo>
                  <a:pt x="88" y="346"/>
                </a:lnTo>
                <a:lnTo>
                  <a:pt x="92" y="343"/>
                </a:lnTo>
                <a:lnTo>
                  <a:pt x="95" y="342"/>
                </a:lnTo>
                <a:lnTo>
                  <a:pt x="100" y="341"/>
                </a:lnTo>
                <a:lnTo>
                  <a:pt x="104" y="340"/>
                </a:lnTo>
                <a:lnTo>
                  <a:pt x="124" y="334"/>
                </a:lnTo>
                <a:lnTo>
                  <a:pt x="145" y="325"/>
                </a:lnTo>
                <a:lnTo>
                  <a:pt x="165" y="314"/>
                </a:lnTo>
                <a:lnTo>
                  <a:pt x="186" y="301"/>
                </a:lnTo>
                <a:lnTo>
                  <a:pt x="179" y="296"/>
                </a:lnTo>
                <a:lnTo>
                  <a:pt x="170" y="293"/>
                </a:lnTo>
                <a:lnTo>
                  <a:pt x="159" y="293"/>
                </a:lnTo>
                <a:lnTo>
                  <a:pt x="147" y="296"/>
                </a:lnTo>
                <a:lnTo>
                  <a:pt x="140" y="300"/>
                </a:lnTo>
                <a:lnTo>
                  <a:pt x="128" y="305"/>
                </a:lnTo>
                <a:lnTo>
                  <a:pt x="113" y="311"/>
                </a:lnTo>
                <a:lnTo>
                  <a:pt x="96" y="318"/>
                </a:lnTo>
                <a:lnTo>
                  <a:pt x="78" y="324"/>
                </a:lnTo>
                <a:lnTo>
                  <a:pt x="50" y="336"/>
                </a:lnTo>
                <a:lnTo>
                  <a:pt x="23" y="341"/>
                </a:lnTo>
                <a:lnTo>
                  <a:pt x="20" y="341"/>
                </a:lnTo>
                <a:lnTo>
                  <a:pt x="10" y="338"/>
                </a:lnTo>
                <a:lnTo>
                  <a:pt x="4" y="332"/>
                </a:lnTo>
                <a:lnTo>
                  <a:pt x="0" y="323"/>
                </a:lnTo>
                <a:lnTo>
                  <a:pt x="0" y="319"/>
                </a:lnTo>
                <a:lnTo>
                  <a:pt x="1" y="315"/>
                </a:lnTo>
                <a:lnTo>
                  <a:pt x="4" y="313"/>
                </a:lnTo>
                <a:lnTo>
                  <a:pt x="6" y="310"/>
                </a:lnTo>
                <a:lnTo>
                  <a:pt x="10" y="309"/>
                </a:lnTo>
                <a:lnTo>
                  <a:pt x="15" y="308"/>
                </a:lnTo>
                <a:lnTo>
                  <a:pt x="19" y="306"/>
                </a:lnTo>
                <a:lnTo>
                  <a:pt x="37" y="302"/>
                </a:lnTo>
                <a:lnTo>
                  <a:pt x="55" y="295"/>
                </a:lnTo>
                <a:lnTo>
                  <a:pt x="74" y="284"/>
                </a:lnTo>
                <a:lnTo>
                  <a:pt x="92" y="273"/>
                </a:lnTo>
                <a:lnTo>
                  <a:pt x="109" y="263"/>
                </a:lnTo>
                <a:lnTo>
                  <a:pt x="109" y="263"/>
                </a:lnTo>
                <a:lnTo>
                  <a:pt x="111" y="254"/>
                </a:lnTo>
                <a:lnTo>
                  <a:pt x="113" y="241"/>
                </a:lnTo>
                <a:lnTo>
                  <a:pt x="113" y="223"/>
                </a:lnTo>
                <a:lnTo>
                  <a:pt x="113" y="201"/>
                </a:lnTo>
                <a:lnTo>
                  <a:pt x="113" y="177"/>
                </a:lnTo>
                <a:lnTo>
                  <a:pt x="131" y="189"/>
                </a:lnTo>
                <a:lnTo>
                  <a:pt x="154" y="202"/>
                </a:lnTo>
                <a:lnTo>
                  <a:pt x="152" y="206"/>
                </a:lnTo>
                <a:lnTo>
                  <a:pt x="154" y="210"/>
                </a:lnTo>
                <a:lnTo>
                  <a:pt x="156" y="215"/>
                </a:lnTo>
                <a:lnTo>
                  <a:pt x="159" y="218"/>
                </a:lnTo>
                <a:lnTo>
                  <a:pt x="163" y="220"/>
                </a:lnTo>
                <a:lnTo>
                  <a:pt x="168" y="220"/>
                </a:lnTo>
                <a:lnTo>
                  <a:pt x="173" y="220"/>
                </a:lnTo>
                <a:lnTo>
                  <a:pt x="177" y="218"/>
                </a:lnTo>
                <a:lnTo>
                  <a:pt x="181" y="215"/>
                </a:lnTo>
                <a:lnTo>
                  <a:pt x="182" y="210"/>
                </a:lnTo>
                <a:lnTo>
                  <a:pt x="183" y="206"/>
                </a:lnTo>
                <a:lnTo>
                  <a:pt x="182" y="201"/>
                </a:lnTo>
                <a:lnTo>
                  <a:pt x="181" y="197"/>
                </a:lnTo>
                <a:lnTo>
                  <a:pt x="177" y="193"/>
                </a:lnTo>
                <a:lnTo>
                  <a:pt x="173" y="192"/>
                </a:lnTo>
                <a:lnTo>
                  <a:pt x="168" y="191"/>
                </a:lnTo>
                <a:lnTo>
                  <a:pt x="167" y="191"/>
                </a:lnTo>
                <a:lnTo>
                  <a:pt x="167" y="191"/>
                </a:lnTo>
                <a:lnTo>
                  <a:pt x="163" y="189"/>
                </a:lnTo>
                <a:lnTo>
                  <a:pt x="142" y="179"/>
                </a:lnTo>
                <a:lnTo>
                  <a:pt x="125" y="168"/>
                </a:lnTo>
                <a:lnTo>
                  <a:pt x="114" y="155"/>
                </a:lnTo>
                <a:lnTo>
                  <a:pt x="102" y="136"/>
                </a:lnTo>
                <a:lnTo>
                  <a:pt x="97" y="116"/>
                </a:lnTo>
                <a:lnTo>
                  <a:pt x="95" y="100"/>
                </a:lnTo>
                <a:lnTo>
                  <a:pt x="96" y="84"/>
                </a:lnTo>
                <a:lnTo>
                  <a:pt x="99" y="74"/>
                </a:lnTo>
                <a:lnTo>
                  <a:pt x="100" y="70"/>
                </a:lnTo>
                <a:lnTo>
                  <a:pt x="100" y="66"/>
                </a:lnTo>
                <a:lnTo>
                  <a:pt x="99" y="62"/>
                </a:lnTo>
                <a:lnTo>
                  <a:pt x="99" y="53"/>
                </a:lnTo>
                <a:lnTo>
                  <a:pt x="97" y="42"/>
                </a:lnTo>
                <a:lnTo>
                  <a:pt x="97" y="28"/>
                </a:lnTo>
                <a:lnTo>
                  <a:pt x="97" y="15"/>
                </a:lnTo>
                <a:lnTo>
                  <a:pt x="97" y="6"/>
                </a:lnTo>
                <a:lnTo>
                  <a:pt x="100" y="0"/>
                </a:lnTo>
                <a:lnTo>
                  <a:pt x="105" y="0"/>
                </a:lnTo>
                <a:lnTo>
                  <a:pt x="113" y="2"/>
                </a:lnTo>
                <a:lnTo>
                  <a:pt x="123" y="9"/>
                </a:lnTo>
                <a:lnTo>
                  <a:pt x="133" y="15"/>
                </a:lnTo>
                <a:lnTo>
                  <a:pt x="142" y="21"/>
                </a:lnTo>
                <a:lnTo>
                  <a:pt x="147" y="28"/>
                </a:lnTo>
                <a:lnTo>
                  <a:pt x="150" y="28"/>
                </a:lnTo>
                <a:lnTo>
                  <a:pt x="158" y="27"/>
                </a:lnTo>
                <a:lnTo>
                  <a:pt x="168" y="27"/>
                </a:lnTo>
                <a:lnTo>
                  <a:pt x="179" y="25"/>
                </a:lnTo>
                <a:lnTo>
                  <a:pt x="191" y="27"/>
                </a:lnTo>
                <a:lnTo>
                  <a:pt x="200" y="27"/>
                </a:lnTo>
                <a:lnTo>
                  <a:pt x="208" y="28"/>
                </a:lnTo>
                <a:lnTo>
                  <a:pt x="210" y="28"/>
                </a:lnTo>
                <a:lnTo>
                  <a:pt x="215" y="21"/>
                </a:lnTo>
                <a:lnTo>
                  <a:pt x="223" y="15"/>
                </a:lnTo>
                <a:lnTo>
                  <a:pt x="233" y="9"/>
                </a:lnTo>
                <a:lnTo>
                  <a:pt x="243" y="2"/>
                </a:lnTo>
                <a:lnTo>
                  <a:pt x="25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mn-lt"/>
              <a:ea typeface="楷体" panose="02010609060101010101" pitchFamily="49" charset="-122"/>
            </a:endParaRPr>
          </a:p>
        </p:txBody>
      </p:sp>
      <p:grpSp>
        <p:nvGrpSpPr>
          <p:cNvPr id="372" name="Group 371"/>
          <p:cNvGrpSpPr/>
          <p:nvPr/>
        </p:nvGrpSpPr>
        <p:grpSpPr>
          <a:xfrm>
            <a:off x="6919068" y="2781552"/>
            <a:ext cx="235328" cy="170749"/>
            <a:chOff x="1611313" y="5183188"/>
            <a:chExt cx="1023937" cy="742950"/>
          </a:xfrm>
          <a:solidFill>
            <a:schemeClr val="bg1"/>
          </a:solidFill>
        </p:grpSpPr>
        <p:sp>
          <p:nvSpPr>
            <p:cNvPr id="373" name="Freeform 136"/>
            <p:cNvSpPr>
              <a:spLocks/>
            </p:cNvSpPr>
            <p:nvPr/>
          </p:nvSpPr>
          <p:spPr bwMode="auto">
            <a:xfrm>
              <a:off x="1611313" y="5270501"/>
              <a:ext cx="1023937" cy="207963"/>
            </a:xfrm>
            <a:custGeom>
              <a:avLst/>
              <a:gdLst>
                <a:gd name="T0" fmla="*/ 379 w 645"/>
                <a:gd name="T1" fmla="*/ 61 h 131"/>
                <a:gd name="T2" fmla="*/ 379 w 645"/>
                <a:gd name="T3" fmla="*/ 61 h 131"/>
                <a:gd name="T4" fmla="*/ 398 w 645"/>
                <a:gd name="T5" fmla="*/ 63 h 131"/>
                <a:gd name="T6" fmla="*/ 416 w 645"/>
                <a:gd name="T7" fmla="*/ 66 h 131"/>
                <a:gd name="T8" fmla="*/ 434 w 645"/>
                <a:gd name="T9" fmla="*/ 72 h 131"/>
                <a:gd name="T10" fmla="*/ 450 w 645"/>
                <a:gd name="T11" fmla="*/ 81 h 131"/>
                <a:gd name="T12" fmla="*/ 464 w 645"/>
                <a:gd name="T13" fmla="*/ 90 h 131"/>
                <a:gd name="T14" fmla="*/ 477 w 645"/>
                <a:gd name="T15" fmla="*/ 103 h 131"/>
                <a:gd name="T16" fmla="*/ 490 w 645"/>
                <a:gd name="T17" fmla="*/ 116 h 131"/>
                <a:gd name="T18" fmla="*/ 500 w 645"/>
                <a:gd name="T19" fmla="*/ 131 h 131"/>
                <a:gd name="T20" fmla="*/ 645 w 645"/>
                <a:gd name="T21" fmla="*/ 131 h 131"/>
                <a:gd name="T22" fmla="*/ 645 w 645"/>
                <a:gd name="T23" fmla="*/ 53 h 131"/>
                <a:gd name="T24" fmla="*/ 645 w 645"/>
                <a:gd name="T25" fmla="*/ 53 h 131"/>
                <a:gd name="T26" fmla="*/ 643 w 645"/>
                <a:gd name="T27" fmla="*/ 42 h 131"/>
                <a:gd name="T28" fmla="*/ 640 w 645"/>
                <a:gd name="T29" fmla="*/ 32 h 131"/>
                <a:gd name="T30" fmla="*/ 635 w 645"/>
                <a:gd name="T31" fmla="*/ 22 h 131"/>
                <a:gd name="T32" fmla="*/ 629 w 645"/>
                <a:gd name="T33" fmla="*/ 16 h 131"/>
                <a:gd name="T34" fmla="*/ 622 w 645"/>
                <a:gd name="T35" fmla="*/ 10 h 131"/>
                <a:gd name="T36" fmla="*/ 613 w 645"/>
                <a:gd name="T37" fmla="*/ 5 h 131"/>
                <a:gd name="T38" fmla="*/ 603 w 645"/>
                <a:gd name="T39" fmla="*/ 1 h 131"/>
                <a:gd name="T40" fmla="*/ 592 w 645"/>
                <a:gd name="T41" fmla="*/ 0 h 131"/>
                <a:gd name="T42" fmla="*/ 52 w 645"/>
                <a:gd name="T43" fmla="*/ 0 h 131"/>
                <a:gd name="T44" fmla="*/ 52 w 645"/>
                <a:gd name="T45" fmla="*/ 0 h 131"/>
                <a:gd name="T46" fmla="*/ 42 w 645"/>
                <a:gd name="T47" fmla="*/ 1 h 131"/>
                <a:gd name="T48" fmla="*/ 32 w 645"/>
                <a:gd name="T49" fmla="*/ 5 h 131"/>
                <a:gd name="T50" fmla="*/ 23 w 645"/>
                <a:gd name="T51" fmla="*/ 10 h 131"/>
                <a:gd name="T52" fmla="*/ 15 w 645"/>
                <a:gd name="T53" fmla="*/ 16 h 131"/>
                <a:gd name="T54" fmla="*/ 10 w 645"/>
                <a:gd name="T55" fmla="*/ 22 h 131"/>
                <a:gd name="T56" fmla="*/ 5 w 645"/>
                <a:gd name="T57" fmla="*/ 32 h 131"/>
                <a:gd name="T58" fmla="*/ 2 w 645"/>
                <a:gd name="T59" fmla="*/ 42 h 131"/>
                <a:gd name="T60" fmla="*/ 0 w 645"/>
                <a:gd name="T61" fmla="*/ 53 h 131"/>
                <a:gd name="T62" fmla="*/ 0 w 645"/>
                <a:gd name="T63" fmla="*/ 131 h 131"/>
                <a:gd name="T64" fmla="*/ 260 w 645"/>
                <a:gd name="T65" fmla="*/ 131 h 131"/>
                <a:gd name="T66" fmla="*/ 260 w 645"/>
                <a:gd name="T67" fmla="*/ 131 h 131"/>
                <a:gd name="T68" fmla="*/ 269 w 645"/>
                <a:gd name="T69" fmla="*/ 116 h 131"/>
                <a:gd name="T70" fmla="*/ 281 w 645"/>
                <a:gd name="T71" fmla="*/ 103 h 131"/>
                <a:gd name="T72" fmla="*/ 295 w 645"/>
                <a:gd name="T73" fmla="*/ 90 h 131"/>
                <a:gd name="T74" fmla="*/ 310 w 645"/>
                <a:gd name="T75" fmla="*/ 81 h 131"/>
                <a:gd name="T76" fmla="*/ 326 w 645"/>
                <a:gd name="T77" fmla="*/ 72 h 131"/>
                <a:gd name="T78" fmla="*/ 342 w 645"/>
                <a:gd name="T79" fmla="*/ 66 h 131"/>
                <a:gd name="T80" fmla="*/ 361 w 645"/>
                <a:gd name="T81" fmla="*/ 63 h 131"/>
                <a:gd name="T82" fmla="*/ 379 w 645"/>
                <a:gd name="T83" fmla="*/ 6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5" h="131">
                  <a:moveTo>
                    <a:pt x="379" y="61"/>
                  </a:moveTo>
                  <a:lnTo>
                    <a:pt x="379" y="61"/>
                  </a:lnTo>
                  <a:lnTo>
                    <a:pt x="398" y="63"/>
                  </a:lnTo>
                  <a:lnTo>
                    <a:pt x="416" y="66"/>
                  </a:lnTo>
                  <a:lnTo>
                    <a:pt x="434" y="72"/>
                  </a:lnTo>
                  <a:lnTo>
                    <a:pt x="450" y="81"/>
                  </a:lnTo>
                  <a:lnTo>
                    <a:pt x="464" y="90"/>
                  </a:lnTo>
                  <a:lnTo>
                    <a:pt x="477" y="103"/>
                  </a:lnTo>
                  <a:lnTo>
                    <a:pt x="490" y="116"/>
                  </a:lnTo>
                  <a:lnTo>
                    <a:pt x="500" y="131"/>
                  </a:lnTo>
                  <a:lnTo>
                    <a:pt x="645" y="131"/>
                  </a:lnTo>
                  <a:lnTo>
                    <a:pt x="645" y="53"/>
                  </a:lnTo>
                  <a:lnTo>
                    <a:pt x="645" y="53"/>
                  </a:lnTo>
                  <a:lnTo>
                    <a:pt x="643" y="42"/>
                  </a:lnTo>
                  <a:lnTo>
                    <a:pt x="640" y="32"/>
                  </a:lnTo>
                  <a:lnTo>
                    <a:pt x="635" y="22"/>
                  </a:lnTo>
                  <a:lnTo>
                    <a:pt x="629" y="16"/>
                  </a:lnTo>
                  <a:lnTo>
                    <a:pt x="622" y="10"/>
                  </a:lnTo>
                  <a:lnTo>
                    <a:pt x="613" y="5"/>
                  </a:lnTo>
                  <a:lnTo>
                    <a:pt x="603" y="1"/>
                  </a:lnTo>
                  <a:lnTo>
                    <a:pt x="592" y="0"/>
                  </a:lnTo>
                  <a:lnTo>
                    <a:pt x="52" y="0"/>
                  </a:lnTo>
                  <a:lnTo>
                    <a:pt x="52" y="0"/>
                  </a:lnTo>
                  <a:lnTo>
                    <a:pt x="42" y="1"/>
                  </a:lnTo>
                  <a:lnTo>
                    <a:pt x="32" y="5"/>
                  </a:lnTo>
                  <a:lnTo>
                    <a:pt x="23" y="10"/>
                  </a:lnTo>
                  <a:lnTo>
                    <a:pt x="15" y="16"/>
                  </a:lnTo>
                  <a:lnTo>
                    <a:pt x="10" y="22"/>
                  </a:lnTo>
                  <a:lnTo>
                    <a:pt x="5" y="32"/>
                  </a:lnTo>
                  <a:lnTo>
                    <a:pt x="2" y="42"/>
                  </a:lnTo>
                  <a:lnTo>
                    <a:pt x="0" y="53"/>
                  </a:lnTo>
                  <a:lnTo>
                    <a:pt x="0" y="131"/>
                  </a:lnTo>
                  <a:lnTo>
                    <a:pt x="260" y="131"/>
                  </a:lnTo>
                  <a:lnTo>
                    <a:pt x="260" y="131"/>
                  </a:lnTo>
                  <a:lnTo>
                    <a:pt x="269" y="116"/>
                  </a:lnTo>
                  <a:lnTo>
                    <a:pt x="281" y="103"/>
                  </a:lnTo>
                  <a:lnTo>
                    <a:pt x="295" y="90"/>
                  </a:lnTo>
                  <a:lnTo>
                    <a:pt x="310" y="81"/>
                  </a:lnTo>
                  <a:lnTo>
                    <a:pt x="326" y="72"/>
                  </a:lnTo>
                  <a:lnTo>
                    <a:pt x="342" y="66"/>
                  </a:lnTo>
                  <a:lnTo>
                    <a:pt x="361" y="63"/>
                  </a:lnTo>
                  <a:lnTo>
                    <a:pt x="379" y="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mn-lt"/>
                <a:ea typeface="楷体" panose="02010609060101010101" pitchFamily="49" charset="-122"/>
              </a:endParaRPr>
            </a:p>
          </p:txBody>
        </p:sp>
        <p:sp>
          <p:nvSpPr>
            <p:cNvPr id="374" name="Freeform 137"/>
            <p:cNvSpPr>
              <a:spLocks/>
            </p:cNvSpPr>
            <p:nvPr/>
          </p:nvSpPr>
          <p:spPr bwMode="auto">
            <a:xfrm>
              <a:off x="1611313" y="5270501"/>
              <a:ext cx="1023937" cy="207963"/>
            </a:xfrm>
            <a:custGeom>
              <a:avLst/>
              <a:gdLst>
                <a:gd name="T0" fmla="*/ 379 w 645"/>
                <a:gd name="T1" fmla="*/ 61 h 131"/>
                <a:gd name="T2" fmla="*/ 379 w 645"/>
                <a:gd name="T3" fmla="*/ 61 h 131"/>
                <a:gd name="T4" fmla="*/ 398 w 645"/>
                <a:gd name="T5" fmla="*/ 63 h 131"/>
                <a:gd name="T6" fmla="*/ 416 w 645"/>
                <a:gd name="T7" fmla="*/ 66 h 131"/>
                <a:gd name="T8" fmla="*/ 434 w 645"/>
                <a:gd name="T9" fmla="*/ 72 h 131"/>
                <a:gd name="T10" fmla="*/ 450 w 645"/>
                <a:gd name="T11" fmla="*/ 81 h 131"/>
                <a:gd name="T12" fmla="*/ 464 w 645"/>
                <a:gd name="T13" fmla="*/ 90 h 131"/>
                <a:gd name="T14" fmla="*/ 477 w 645"/>
                <a:gd name="T15" fmla="*/ 103 h 131"/>
                <a:gd name="T16" fmla="*/ 490 w 645"/>
                <a:gd name="T17" fmla="*/ 116 h 131"/>
                <a:gd name="T18" fmla="*/ 500 w 645"/>
                <a:gd name="T19" fmla="*/ 131 h 131"/>
                <a:gd name="T20" fmla="*/ 645 w 645"/>
                <a:gd name="T21" fmla="*/ 131 h 131"/>
                <a:gd name="T22" fmla="*/ 645 w 645"/>
                <a:gd name="T23" fmla="*/ 53 h 131"/>
                <a:gd name="T24" fmla="*/ 645 w 645"/>
                <a:gd name="T25" fmla="*/ 53 h 131"/>
                <a:gd name="T26" fmla="*/ 643 w 645"/>
                <a:gd name="T27" fmla="*/ 42 h 131"/>
                <a:gd name="T28" fmla="*/ 640 w 645"/>
                <a:gd name="T29" fmla="*/ 32 h 131"/>
                <a:gd name="T30" fmla="*/ 635 w 645"/>
                <a:gd name="T31" fmla="*/ 22 h 131"/>
                <a:gd name="T32" fmla="*/ 629 w 645"/>
                <a:gd name="T33" fmla="*/ 16 h 131"/>
                <a:gd name="T34" fmla="*/ 622 w 645"/>
                <a:gd name="T35" fmla="*/ 10 h 131"/>
                <a:gd name="T36" fmla="*/ 613 w 645"/>
                <a:gd name="T37" fmla="*/ 5 h 131"/>
                <a:gd name="T38" fmla="*/ 603 w 645"/>
                <a:gd name="T39" fmla="*/ 1 h 131"/>
                <a:gd name="T40" fmla="*/ 592 w 645"/>
                <a:gd name="T41" fmla="*/ 0 h 131"/>
                <a:gd name="T42" fmla="*/ 52 w 645"/>
                <a:gd name="T43" fmla="*/ 0 h 131"/>
                <a:gd name="T44" fmla="*/ 52 w 645"/>
                <a:gd name="T45" fmla="*/ 0 h 131"/>
                <a:gd name="T46" fmla="*/ 42 w 645"/>
                <a:gd name="T47" fmla="*/ 1 h 131"/>
                <a:gd name="T48" fmla="*/ 32 w 645"/>
                <a:gd name="T49" fmla="*/ 5 h 131"/>
                <a:gd name="T50" fmla="*/ 23 w 645"/>
                <a:gd name="T51" fmla="*/ 10 h 131"/>
                <a:gd name="T52" fmla="*/ 15 w 645"/>
                <a:gd name="T53" fmla="*/ 16 h 131"/>
                <a:gd name="T54" fmla="*/ 10 w 645"/>
                <a:gd name="T55" fmla="*/ 22 h 131"/>
                <a:gd name="T56" fmla="*/ 5 w 645"/>
                <a:gd name="T57" fmla="*/ 32 h 131"/>
                <a:gd name="T58" fmla="*/ 2 w 645"/>
                <a:gd name="T59" fmla="*/ 42 h 131"/>
                <a:gd name="T60" fmla="*/ 0 w 645"/>
                <a:gd name="T61" fmla="*/ 53 h 131"/>
                <a:gd name="T62" fmla="*/ 0 w 645"/>
                <a:gd name="T63" fmla="*/ 131 h 131"/>
                <a:gd name="T64" fmla="*/ 260 w 645"/>
                <a:gd name="T65" fmla="*/ 131 h 131"/>
                <a:gd name="T66" fmla="*/ 260 w 645"/>
                <a:gd name="T67" fmla="*/ 131 h 131"/>
                <a:gd name="T68" fmla="*/ 269 w 645"/>
                <a:gd name="T69" fmla="*/ 116 h 131"/>
                <a:gd name="T70" fmla="*/ 281 w 645"/>
                <a:gd name="T71" fmla="*/ 103 h 131"/>
                <a:gd name="T72" fmla="*/ 295 w 645"/>
                <a:gd name="T73" fmla="*/ 90 h 131"/>
                <a:gd name="T74" fmla="*/ 310 w 645"/>
                <a:gd name="T75" fmla="*/ 81 h 131"/>
                <a:gd name="T76" fmla="*/ 326 w 645"/>
                <a:gd name="T77" fmla="*/ 72 h 131"/>
                <a:gd name="T78" fmla="*/ 342 w 645"/>
                <a:gd name="T79" fmla="*/ 66 h 131"/>
                <a:gd name="T80" fmla="*/ 361 w 645"/>
                <a:gd name="T81" fmla="*/ 63 h 131"/>
                <a:gd name="T82" fmla="*/ 379 w 645"/>
                <a:gd name="T83" fmla="*/ 6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5" h="131">
                  <a:moveTo>
                    <a:pt x="379" y="61"/>
                  </a:moveTo>
                  <a:lnTo>
                    <a:pt x="379" y="61"/>
                  </a:lnTo>
                  <a:lnTo>
                    <a:pt x="398" y="63"/>
                  </a:lnTo>
                  <a:lnTo>
                    <a:pt x="416" y="66"/>
                  </a:lnTo>
                  <a:lnTo>
                    <a:pt x="434" y="72"/>
                  </a:lnTo>
                  <a:lnTo>
                    <a:pt x="450" y="81"/>
                  </a:lnTo>
                  <a:lnTo>
                    <a:pt x="464" y="90"/>
                  </a:lnTo>
                  <a:lnTo>
                    <a:pt x="477" y="103"/>
                  </a:lnTo>
                  <a:lnTo>
                    <a:pt x="490" y="116"/>
                  </a:lnTo>
                  <a:lnTo>
                    <a:pt x="500" y="131"/>
                  </a:lnTo>
                  <a:lnTo>
                    <a:pt x="645" y="131"/>
                  </a:lnTo>
                  <a:lnTo>
                    <a:pt x="645" y="53"/>
                  </a:lnTo>
                  <a:lnTo>
                    <a:pt x="645" y="53"/>
                  </a:lnTo>
                  <a:lnTo>
                    <a:pt x="643" y="42"/>
                  </a:lnTo>
                  <a:lnTo>
                    <a:pt x="640" y="32"/>
                  </a:lnTo>
                  <a:lnTo>
                    <a:pt x="635" y="22"/>
                  </a:lnTo>
                  <a:lnTo>
                    <a:pt x="629" y="16"/>
                  </a:lnTo>
                  <a:lnTo>
                    <a:pt x="622" y="10"/>
                  </a:lnTo>
                  <a:lnTo>
                    <a:pt x="613" y="5"/>
                  </a:lnTo>
                  <a:lnTo>
                    <a:pt x="603" y="1"/>
                  </a:lnTo>
                  <a:lnTo>
                    <a:pt x="592" y="0"/>
                  </a:lnTo>
                  <a:lnTo>
                    <a:pt x="52" y="0"/>
                  </a:lnTo>
                  <a:lnTo>
                    <a:pt x="52" y="0"/>
                  </a:lnTo>
                  <a:lnTo>
                    <a:pt x="42" y="1"/>
                  </a:lnTo>
                  <a:lnTo>
                    <a:pt x="32" y="5"/>
                  </a:lnTo>
                  <a:lnTo>
                    <a:pt x="23" y="10"/>
                  </a:lnTo>
                  <a:lnTo>
                    <a:pt x="15" y="16"/>
                  </a:lnTo>
                  <a:lnTo>
                    <a:pt x="10" y="22"/>
                  </a:lnTo>
                  <a:lnTo>
                    <a:pt x="5" y="32"/>
                  </a:lnTo>
                  <a:lnTo>
                    <a:pt x="2" y="42"/>
                  </a:lnTo>
                  <a:lnTo>
                    <a:pt x="0" y="53"/>
                  </a:lnTo>
                  <a:lnTo>
                    <a:pt x="0" y="131"/>
                  </a:lnTo>
                  <a:lnTo>
                    <a:pt x="260" y="131"/>
                  </a:lnTo>
                  <a:lnTo>
                    <a:pt x="260" y="131"/>
                  </a:lnTo>
                  <a:lnTo>
                    <a:pt x="269" y="116"/>
                  </a:lnTo>
                  <a:lnTo>
                    <a:pt x="281" y="103"/>
                  </a:lnTo>
                  <a:lnTo>
                    <a:pt x="295" y="90"/>
                  </a:lnTo>
                  <a:lnTo>
                    <a:pt x="310" y="81"/>
                  </a:lnTo>
                  <a:lnTo>
                    <a:pt x="326" y="72"/>
                  </a:lnTo>
                  <a:lnTo>
                    <a:pt x="342" y="66"/>
                  </a:lnTo>
                  <a:lnTo>
                    <a:pt x="361" y="63"/>
                  </a:lnTo>
                  <a:lnTo>
                    <a:pt x="379" y="6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mn-lt"/>
                <a:ea typeface="楷体" panose="02010609060101010101" pitchFamily="49" charset="-122"/>
              </a:endParaRPr>
            </a:p>
          </p:txBody>
        </p:sp>
        <p:sp>
          <p:nvSpPr>
            <p:cNvPr id="375" name="Freeform 138"/>
            <p:cNvSpPr>
              <a:spLocks/>
            </p:cNvSpPr>
            <p:nvPr/>
          </p:nvSpPr>
          <p:spPr bwMode="auto">
            <a:xfrm>
              <a:off x="1741488" y="5229226"/>
              <a:ext cx="92075" cy="28575"/>
            </a:xfrm>
            <a:custGeom>
              <a:avLst/>
              <a:gdLst>
                <a:gd name="T0" fmla="*/ 53 w 58"/>
                <a:gd name="T1" fmla="*/ 0 h 18"/>
                <a:gd name="T2" fmla="*/ 5 w 58"/>
                <a:gd name="T3" fmla="*/ 0 h 18"/>
                <a:gd name="T4" fmla="*/ 0 w 58"/>
                <a:gd name="T5" fmla="*/ 18 h 18"/>
                <a:gd name="T6" fmla="*/ 58 w 58"/>
                <a:gd name="T7" fmla="*/ 18 h 18"/>
                <a:gd name="T8" fmla="*/ 53 w 58"/>
                <a:gd name="T9" fmla="*/ 0 h 18"/>
              </a:gdLst>
              <a:ahLst/>
              <a:cxnLst>
                <a:cxn ang="0">
                  <a:pos x="T0" y="T1"/>
                </a:cxn>
                <a:cxn ang="0">
                  <a:pos x="T2" y="T3"/>
                </a:cxn>
                <a:cxn ang="0">
                  <a:pos x="T4" y="T5"/>
                </a:cxn>
                <a:cxn ang="0">
                  <a:pos x="T6" y="T7"/>
                </a:cxn>
                <a:cxn ang="0">
                  <a:pos x="T8" y="T9"/>
                </a:cxn>
              </a:cxnLst>
              <a:rect l="0" t="0" r="r" b="b"/>
              <a:pathLst>
                <a:path w="58" h="18">
                  <a:moveTo>
                    <a:pt x="53" y="0"/>
                  </a:moveTo>
                  <a:lnTo>
                    <a:pt x="5" y="0"/>
                  </a:lnTo>
                  <a:lnTo>
                    <a:pt x="0" y="18"/>
                  </a:lnTo>
                  <a:lnTo>
                    <a:pt x="58" y="18"/>
                  </a:lnTo>
                  <a:lnTo>
                    <a:pt x="5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mn-lt"/>
                <a:ea typeface="楷体" panose="02010609060101010101" pitchFamily="49" charset="-122"/>
              </a:endParaRPr>
            </a:p>
          </p:txBody>
        </p:sp>
        <p:sp>
          <p:nvSpPr>
            <p:cNvPr id="376" name="Freeform 139"/>
            <p:cNvSpPr>
              <a:spLocks/>
            </p:cNvSpPr>
            <p:nvPr/>
          </p:nvSpPr>
          <p:spPr bwMode="auto">
            <a:xfrm>
              <a:off x="2393950" y="5216526"/>
              <a:ext cx="136525" cy="41275"/>
            </a:xfrm>
            <a:custGeom>
              <a:avLst/>
              <a:gdLst>
                <a:gd name="T0" fmla="*/ 76 w 86"/>
                <a:gd name="T1" fmla="*/ 0 h 26"/>
                <a:gd name="T2" fmla="*/ 12 w 86"/>
                <a:gd name="T3" fmla="*/ 0 h 26"/>
                <a:gd name="T4" fmla="*/ 0 w 86"/>
                <a:gd name="T5" fmla="*/ 26 h 26"/>
                <a:gd name="T6" fmla="*/ 86 w 86"/>
                <a:gd name="T7" fmla="*/ 26 h 26"/>
                <a:gd name="T8" fmla="*/ 76 w 86"/>
                <a:gd name="T9" fmla="*/ 0 h 26"/>
              </a:gdLst>
              <a:ahLst/>
              <a:cxnLst>
                <a:cxn ang="0">
                  <a:pos x="T0" y="T1"/>
                </a:cxn>
                <a:cxn ang="0">
                  <a:pos x="T2" y="T3"/>
                </a:cxn>
                <a:cxn ang="0">
                  <a:pos x="T4" y="T5"/>
                </a:cxn>
                <a:cxn ang="0">
                  <a:pos x="T6" y="T7"/>
                </a:cxn>
                <a:cxn ang="0">
                  <a:pos x="T8" y="T9"/>
                </a:cxn>
              </a:cxnLst>
              <a:rect l="0" t="0" r="r" b="b"/>
              <a:pathLst>
                <a:path w="86" h="26">
                  <a:moveTo>
                    <a:pt x="76" y="0"/>
                  </a:moveTo>
                  <a:lnTo>
                    <a:pt x="12" y="0"/>
                  </a:lnTo>
                  <a:lnTo>
                    <a:pt x="0" y="26"/>
                  </a:lnTo>
                  <a:lnTo>
                    <a:pt x="86" y="26"/>
                  </a:lnTo>
                  <a:lnTo>
                    <a:pt x="7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mn-lt"/>
                <a:ea typeface="楷体" panose="02010609060101010101" pitchFamily="49" charset="-122"/>
              </a:endParaRPr>
            </a:p>
          </p:txBody>
        </p:sp>
        <p:sp>
          <p:nvSpPr>
            <p:cNvPr id="377" name="Freeform 140"/>
            <p:cNvSpPr>
              <a:spLocks noEditPoints="1"/>
            </p:cNvSpPr>
            <p:nvPr/>
          </p:nvSpPr>
          <p:spPr bwMode="auto">
            <a:xfrm>
              <a:off x="1949450" y="5183188"/>
              <a:ext cx="342900" cy="76200"/>
            </a:xfrm>
            <a:custGeom>
              <a:avLst/>
              <a:gdLst>
                <a:gd name="T0" fmla="*/ 137 w 216"/>
                <a:gd name="T1" fmla="*/ 39 h 48"/>
                <a:gd name="T2" fmla="*/ 80 w 216"/>
                <a:gd name="T3" fmla="*/ 39 h 48"/>
                <a:gd name="T4" fmla="*/ 80 w 216"/>
                <a:gd name="T5" fmla="*/ 11 h 48"/>
                <a:gd name="T6" fmla="*/ 137 w 216"/>
                <a:gd name="T7" fmla="*/ 11 h 48"/>
                <a:gd name="T8" fmla="*/ 137 w 216"/>
                <a:gd name="T9" fmla="*/ 39 h 48"/>
                <a:gd name="T10" fmla="*/ 187 w 216"/>
                <a:gd name="T11" fmla="*/ 0 h 48"/>
                <a:gd name="T12" fmla="*/ 30 w 216"/>
                <a:gd name="T13" fmla="*/ 0 h 48"/>
                <a:gd name="T14" fmla="*/ 0 w 216"/>
                <a:gd name="T15" fmla="*/ 48 h 48"/>
                <a:gd name="T16" fmla="*/ 216 w 216"/>
                <a:gd name="T17" fmla="*/ 48 h 48"/>
                <a:gd name="T18" fmla="*/ 187 w 216"/>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48">
                  <a:moveTo>
                    <a:pt x="137" y="39"/>
                  </a:moveTo>
                  <a:lnTo>
                    <a:pt x="80" y="39"/>
                  </a:lnTo>
                  <a:lnTo>
                    <a:pt x="80" y="11"/>
                  </a:lnTo>
                  <a:lnTo>
                    <a:pt x="137" y="11"/>
                  </a:lnTo>
                  <a:lnTo>
                    <a:pt x="137" y="39"/>
                  </a:lnTo>
                  <a:close/>
                  <a:moveTo>
                    <a:pt x="187" y="0"/>
                  </a:moveTo>
                  <a:lnTo>
                    <a:pt x="30" y="0"/>
                  </a:lnTo>
                  <a:lnTo>
                    <a:pt x="0" y="48"/>
                  </a:lnTo>
                  <a:lnTo>
                    <a:pt x="216" y="48"/>
                  </a:lnTo>
                  <a:lnTo>
                    <a:pt x="18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mn-lt"/>
                <a:ea typeface="楷体" panose="02010609060101010101" pitchFamily="49" charset="-122"/>
              </a:endParaRPr>
            </a:p>
          </p:txBody>
        </p:sp>
        <p:sp>
          <p:nvSpPr>
            <p:cNvPr id="378" name="Freeform 141"/>
            <p:cNvSpPr>
              <a:spLocks/>
            </p:cNvSpPr>
            <p:nvPr/>
          </p:nvSpPr>
          <p:spPr bwMode="auto">
            <a:xfrm>
              <a:off x="1611313" y="5500688"/>
              <a:ext cx="1023937" cy="425450"/>
            </a:xfrm>
            <a:custGeom>
              <a:avLst/>
              <a:gdLst>
                <a:gd name="T0" fmla="*/ 508 w 645"/>
                <a:gd name="T1" fmla="*/ 0 h 268"/>
                <a:gd name="T2" fmla="*/ 516 w 645"/>
                <a:gd name="T3" fmla="*/ 28 h 268"/>
                <a:gd name="T4" fmla="*/ 521 w 645"/>
                <a:gd name="T5" fmla="*/ 58 h 268"/>
                <a:gd name="T6" fmla="*/ 519 w 645"/>
                <a:gd name="T7" fmla="*/ 73 h 268"/>
                <a:gd name="T8" fmla="*/ 514 w 645"/>
                <a:gd name="T9" fmla="*/ 102 h 268"/>
                <a:gd name="T10" fmla="*/ 503 w 645"/>
                <a:gd name="T11" fmla="*/ 126 h 268"/>
                <a:gd name="T12" fmla="*/ 489 w 645"/>
                <a:gd name="T13" fmla="*/ 149 h 268"/>
                <a:gd name="T14" fmla="*/ 469 w 645"/>
                <a:gd name="T15" fmla="*/ 168 h 268"/>
                <a:gd name="T16" fmla="*/ 447 w 645"/>
                <a:gd name="T17" fmla="*/ 184 h 268"/>
                <a:gd name="T18" fmla="*/ 421 w 645"/>
                <a:gd name="T19" fmla="*/ 195 h 268"/>
                <a:gd name="T20" fmla="*/ 393 w 645"/>
                <a:gd name="T21" fmla="*/ 200 h 268"/>
                <a:gd name="T22" fmla="*/ 379 w 645"/>
                <a:gd name="T23" fmla="*/ 202 h 268"/>
                <a:gd name="T24" fmla="*/ 352 w 645"/>
                <a:gd name="T25" fmla="*/ 199 h 268"/>
                <a:gd name="T26" fmla="*/ 324 w 645"/>
                <a:gd name="T27" fmla="*/ 191 h 268"/>
                <a:gd name="T28" fmla="*/ 300 w 645"/>
                <a:gd name="T29" fmla="*/ 176 h 268"/>
                <a:gd name="T30" fmla="*/ 281 w 645"/>
                <a:gd name="T31" fmla="*/ 160 h 268"/>
                <a:gd name="T32" fmla="*/ 263 w 645"/>
                <a:gd name="T33" fmla="*/ 139 h 268"/>
                <a:gd name="T34" fmla="*/ 250 w 645"/>
                <a:gd name="T35" fmla="*/ 115 h 268"/>
                <a:gd name="T36" fmla="*/ 242 w 645"/>
                <a:gd name="T37" fmla="*/ 87 h 268"/>
                <a:gd name="T38" fmla="*/ 239 w 645"/>
                <a:gd name="T39" fmla="*/ 58 h 268"/>
                <a:gd name="T40" fmla="*/ 240 w 645"/>
                <a:gd name="T41" fmla="*/ 44 h 268"/>
                <a:gd name="T42" fmla="*/ 247 w 645"/>
                <a:gd name="T43" fmla="*/ 15 h 268"/>
                <a:gd name="T44" fmla="*/ 0 w 645"/>
                <a:gd name="T45" fmla="*/ 0 h 268"/>
                <a:gd name="T46" fmla="*/ 0 w 645"/>
                <a:gd name="T47" fmla="*/ 215 h 268"/>
                <a:gd name="T48" fmla="*/ 5 w 645"/>
                <a:gd name="T49" fmla="*/ 236 h 268"/>
                <a:gd name="T50" fmla="*/ 15 w 645"/>
                <a:gd name="T51" fmla="*/ 252 h 268"/>
                <a:gd name="T52" fmla="*/ 32 w 645"/>
                <a:gd name="T53" fmla="*/ 263 h 268"/>
                <a:gd name="T54" fmla="*/ 52 w 645"/>
                <a:gd name="T55" fmla="*/ 268 h 268"/>
                <a:gd name="T56" fmla="*/ 592 w 645"/>
                <a:gd name="T57" fmla="*/ 268 h 268"/>
                <a:gd name="T58" fmla="*/ 613 w 645"/>
                <a:gd name="T59" fmla="*/ 263 h 268"/>
                <a:gd name="T60" fmla="*/ 629 w 645"/>
                <a:gd name="T61" fmla="*/ 252 h 268"/>
                <a:gd name="T62" fmla="*/ 640 w 645"/>
                <a:gd name="T63" fmla="*/ 236 h 268"/>
                <a:gd name="T64" fmla="*/ 645 w 645"/>
                <a:gd name="T65" fmla="*/ 215 h 268"/>
                <a:gd name="T66" fmla="*/ 508 w 645"/>
                <a:gd name="T67"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5" h="268">
                  <a:moveTo>
                    <a:pt x="508" y="0"/>
                  </a:moveTo>
                  <a:lnTo>
                    <a:pt x="508" y="0"/>
                  </a:lnTo>
                  <a:lnTo>
                    <a:pt x="513" y="15"/>
                  </a:lnTo>
                  <a:lnTo>
                    <a:pt x="516" y="28"/>
                  </a:lnTo>
                  <a:lnTo>
                    <a:pt x="519" y="44"/>
                  </a:lnTo>
                  <a:lnTo>
                    <a:pt x="521" y="58"/>
                  </a:lnTo>
                  <a:lnTo>
                    <a:pt x="521" y="58"/>
                  </a:lnTo>
                  <a:lnTo>
                    <a:pt x="519" y="73"/>
                  </a:lnTo>
                  <a:lnTo>
                    <a:pt x="518" y="87"/>
                  </a:lnTo>
                  <a:lnTo>
                    <a:pt x="514" y="102"/>
                  </a:lnTo>
                  <a:lnTo>
                    <a:pt x="510" y="115"/>
                  </a:lnTo>
                  <a:lnTo>
                    <a:pt x="503" y="126"/>
                  </a:lnTo>
                  <a:lnTo>
                    <a:pt x="497" y="139"/>
                  </a:lnTo>
                  <a:lnTo>
                    <a:pt x="489" y="149"/>
                  </a:lnTo>
                  <a:lnTo>
                    <a:pt x="479" y="160"/>
                  </a:lnTo>
                  <a:lnTo>
                    <a:pt x="469" y="168"/>
                  </a:lnTo>
                  <a:lnTo>
                    <a:pt x="458" y="176"/>
                  </a:lnTo>
                  <a:lnTo>
                    <a:pt x="447" y="184"/>
                  </a:lnTo>
                  <a:lnTo>
                    <a:pt x="434" y="191"/>
                  </a:lnTo>
                  <a:lnTo>
                    <a:pt x="421" y="195"/>
                  </a:lnTo>
                  <a:lnTo>
                    <a:pt x="408" y="199"/>
                  </a:lnTo>
                  <a:lnTo>
                    <a:pt x="393" y="200"/>
                  </a:lnTo>
                  <a:lnTo>
                    <a:pt x="379" y="202"/>
                  </a:lnTo>
                  <a:lnTo>
                    <a:pt x="379" y="202"/>
                  </a:lnTo>
                  <a:lnTo>
                    <a:pt x="364" y="200"/>
                  </a:lnTo>
                  <a:lnTo>
                    <a:pt x="352" y="199"/>
                  </a:lnTo>
                  <a:lnTo>
                    <a:pt x="337" y="195"/>
                  </a:lnTo>
                  <a:lnTo>
                    <a:pt x="324" y="191"/>
                  </a:lnTo>
                  <a:lnTo>
                    <a:pt x="313" y="184"/>
                  </a:lnTo>
                  <a:lnTo>
                    <a:pt x="300" y="176"/>
                  </a:lnTo>
                  <a:lnTo>
                    <a:pt x="290" y="168"/>
                  </a:lnTo>
                  <a:lnTo>
                    <a:pt x="281" y="160"/>
                  </a:lnTo>
                  <a:lnTo>
                    <a:pt x="271" y="149"/>
                  </a:lnTo>
                  <a:lnTo>
                    <a:pt x="263" y="139"/>
                  </a:lnTo>
                  <a:lnTo>
                    <a:pt x="256" y="126"/>
                  </a:lnTo>
                  <a:lnTo>
                    <a:pt x="250" y="115"/>
                  </a:lnTo>
                  <a:lnTo>
                    <a:pt x="245" y="102"/>
                  </a:lnTo>
                  <a:lnTo>
                    <a:pt x="242" y="87"/>
                  </a:lnTo>
                  <a:lnTo>
                    <a:pt x="239" y="73"/>
                  </a:lnTo>
                  <a:lnTo>
                    <a:pt x="239" y="58"/>
                  </a:lnTo>
                  <a:lnTo>
                    <a:pt x="239" y="58"/>
                  </a:lnTo>
                  <a:lnTo>
                    <a:pt x="240" y="44"/>
                  </a:lnTo>
                  <a:lnTo>
                    <a:pt x="242" y="28"/>
                  </a:lnTo>
                  <a:lnTo>
                    <a:pt x="247" y="15"/>
                  </a:lnTo>
                  <a:lnTo>
                    <a:pt x="252" y="0"/>
                  </a:lnTo>
                  <a:lnTo>
                    <a:pt x="0" y="0"/>
                  </a:lnTo>
                  <a:lnTo>
                    <a:pt x="0" y="215"/>
                  </a:lnTo>
                  <a:lnTo>
                    <a:pt x="0" y="215"/>
                  </a:lnTo>
                  <a:lnTo>
                    <a:pt x="2" y="226"/>
                  </a:lnTo>
                  <a:lnTo>
                    <a:pt x="5" y="236"/>
                  </a:lnTo>
                  <a:lnTo>
                    <a:pt x="10" y="244"/>
                  </a:lnTo>
                  <a:lnTo>
                    <a:pt x="15" y="252"/>
                  </a:lnTo>
                  <a:lnTo>
                    <a:pt x="23" y="258"/>
                  </a:lnTo>
                  <a:lnTo>
                    <a:pt x="32" y="263"/>
                  </a:lnTo>
                  <a:lnTo>
                    <a:pt x="42" y="266"/>
                  </a:lnTo>
                  <a:lnTo>
                    <a:pt x="52" y="268"/>
                  </a:lnTo>
                  <a:lnTo>
                    <a:pt x="592" y="268"/>
                  </a:lnTo>
                  <a:lnTo>
                    <a:pt x="592" y="268"/>
                  </a:lnTo>
                  <a:lnTo>
                    <a:pt x="603" y="266"/>
                  </a:lnTo>
                  <a:lnTo>
                    <a:pt x="613" y="263"/>
                  </a:lnTo>
                  <a:lnTo>
                    <a:pt x="622" y="258"/>
                  </a:lnTo>
                  <a:lnTo>
                    <a:pt x="629" y="252"/>
                  </a:lnTo>
                  <a:lnTo>
                    <a:pt x="635" y="244"/>
                  </a:lnTo>
                  <a:lnTo>
                    <a:pt x="640" y="236"/>
                  </a:lnTo>
                  <a:lnTo>
                    <a:pt x="643" y="226"/>
                  </a:lnTo>
                  <a:lnTo>
                    <a:pt x="645" y="215"/>
                  </a:lnTo>
                  <a:lnTo>
                    <a:pt x="645" y="0"/>
                  </a:lnTo>
                  <a:lnTo>
                    <a:pt x="5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mn-lt"/>
                <a:ea typeface="楷体" panose="02010609060101010101" pitchFamily="49" charset="-122"/>
              </a:endParaRPr>
            </a:p>
          </p:txBody>
        </p:sp>
        <p:sp>
          <p:nvSpPr>
            <p:cNvPr id="379" name="Freeform 142"/>
            <p:cNvSpPr>
              <a:spLocks/>
            </p:cNvSpPr>
            <p:nvPr/>
          </p:nvSpPr>
          <p:spPr bwMode="auto">
            <a:xfrm>
              <a:off x="2070100" y="5449888"/>
              <a:ext cx="285750" cy="288925"/>
            </a:xfrm>
            <a:custGeom>
              <a:avLst/>
              <a:gdLst>
                <a:gd name="T0" fmla="*/ 167 w 180"/>
                <a:gd name="T1" fmla="*/ 43 h 182"/>
                <a:gd name="T2" fmla="*/ 167 w 180"/>
                <a:gd name="T3" fmla="*/ 43 h 182"/>
                <a:gd name="T4" fmla="*/ 159 w 180"/>
                <a:gd name="T5" fmla="*/ 32 h 182"/>
                <a:gd name="T6" fmla="*/ 159 w 180"/>
                <a:gd name="T7" fmla="*/ 32 h 182"/>
                <a:gd name="T8" fmla="*/ 153 w 180"/>
                <a:gd name="T9" fmla="*/ 26 h 182"/>
                <a:gd name="T10" fmla="*/ 145 w 180"/>
                <a:gd name="T11" fmla="*/ 19 h 182"/>
                <a:gd name="T12" fmla="*/ 137 w 180"/>
                <a:gd name="T13" fmla="*/ 13 h 182"/>
                <a:gd name="T14" fmla="*/ 129 w 180"/>
                <a:gd name="T15" fmla="*/ 8 h 182"/>
                <a:gd name="T16" fmla="*/ 121 w 180"/>
                <a:gd name="T17" fmla="*/ 5 h 182"/>
                <a:gd name="T18" fmla="*/ 111 w 180"/>
                <a:gd name="T19" fmla="*/ 1 h 182"/>
                <a:gd name="T20" fmla="*/ 101 w 180"/>
                <a:gd name="T21" fmla="*/ 0 h 182"/>
                <a:gd name="T22" fmla="*/ 90 w 180"/>
                <a:gd name="T23" fmla="*/ 0 h 182"/>
                <a:gd name="T24" fmla="*/ 90 w 180"/>
                <a:gd name="T25" fmla="*/ 0 h 182"/>
                <a:gd name="T26" fmla="*/ 80 w 180"/>
                <a:gd name="T27" fmla="*/ 0 h 182"/>
                <a:gd name="T28" fmla="*/ 71 w 180"/>
                <a:gd name="T29" fmla="*/ 1 h 182"/>
                <a:gd name="T30" fmla="*/ 61 w 180"/>
                <a:gd name="T31" fmla="*/ 5 h 182"/>
                <a:gd name="T32" fmla="*/ 51 w 180"/>
                <a:gd name="T33" fmla="*/ 8 h 182"/>
                <a:gd name="T34" fmla="*/ 43 w 180"/>
                <a:gd name="T35" fmla="*/ 13 h 182"/>
                <a:gd name="T36" fmla="*/ 35 w 180"/>
                <a:gd name="T37" fmla="*/ 19 h 182"/>
                <a:gd name="T38" fmla="*/ 29 w 180"/>
                <a:gd name="T39" fmla="*/ 26 h 182"/>
                <a:gd name="T40" fmla="*/ 22 w 180"/>
                <a:gd name="T41" fmla="*/ 32 h 182"/>
                <a:gd name="T42" fmla="*/ 22 w 180"/>
                <a:gd name="T43" fmla="*/ 32 h 182"/>
                <a:gd name="T44" fmla="*/ 14 w 180"/>
                <a:gd name="T45" fmla="*/ 43 h 182"/>
                <a:gd name="T46" fmla="*/ 14 w 180"/>
                <a:gd name="T47" fmla="*/ 43 h 182"/>
                <a:gd name="T48" fmla="*/ 8 w 180"/>
                <a:gd name="T49" fmla="*/ 55 h 182"/>
                <a:gd name="T50" fmla="*/ 4 w 180"/>
                <a:gd name="T51" fmla="*/ 66 h 182"/>
                <a:gd name="T52" fmla="*/ 1 w 180"/>
                <a:gd name="T53" fmla="*/ 77 h 182"/>
                <a:gd name="T54" fmla="*/ 0 w 180"/>
                <a:gd name="T55" fmla="*/ 90 h 182"/>
                <a:gd name="T56" fmla="*/ 0 w 180"/>
                <a:gd name="T57" fmla="*/ 90 h 182"/>
                <a:gd name="T58" fmla="*/ 1 w 180"/>
                <a:gd name="T59" fmla="*/ 110 h 182"/>
                <a:gd name="T60" fmla="*/ 8 w 180"/>
                <a:gd name="T61" fmla="*/ 126 h 182"/>
                <a:gd name="T62" fmla="*/ 16 w 180"/>
                <a:gd name="T63" fmla="*/ 142 h 182"/>
                <a:gd name="T64" fmla="*/ 27 w 180"/>
                <a:gd name="T65" fmla="*/ 155 h 182"/>
                <a:gd name="T66" fmla="*/ 40 w 180"/>
                <a:gd name="T67" fmla="*/ 166 h 182"/>
                <a:gd name="T68" fmla="*/ 56 w 180"/>
                <a:gd name="T69" fmla="*/ 174 h 182"/>
                <a:gd name="T70" fmla="*/ 72 w 180"/>
                <a:gd name="T71" fmla="*/ 181 h 182"/>
                <a:gd name="T72" fmla="*/ 90 w 180"/>
                <a:gd name="T73" fmla="*/ 182 h 182"/>
                <a:gd name="T74" fmla="*/ 90 w 180"/>
                <a:gd name="T75" fmla="*/ 182 h 182"/>
                <a:gd name="T76" fmla="*/ 109 w 180"/>
                <a:gd name="T77" fmla="*/ 181 h 182"/>
                <a:gd name="T78" fmla="*/ 125 w 180"/>
                <a:gd name="T79" fmla="*/ 174 h 182"/>
                <a:gd name="T80" fmla="*/ 140 w 180"/>
                <a:gd name="T81" fmla="*/ 166 h 182"/>
                <a:gd name="T82" fmla="*/ 154 w 180"/>
                <a:gd name="T83" fmla="*/ 155 h 182"/>
                <a:gd name="T84" fmla="*/ 166 w 180"/>
                <a:gd name="T85" fmla="*/ 142 h 182"/>
                <a:gd name="T86" fmla="*/ 174 w 180"/>
                <a:gd name="T87" fmla="*/ 126 h 182"/>
                <a:gd name="T88" fmla="*/ 179 w 180"/>
                <a:gd name="T89" fmla="*/ 110 h 182"/>
                <a:gd name="T90" fmla="*/ 180 w 180"/>
                <a:gd name="T91" fmla="*/ 90 h 182"/>
                <a:gd name="T92" fmla="*/ 180 w 180"/>
                <a:gd name="T93" fmla="*/ 90 h 182"/>
                <a:gd name="T94" fmla="*/ 180 w 180"/>
                <a:gd name="T95" fmla="*/ 77 h 182"/>
                <a:gd name="T96" fmla="*/ 177 w 180"/>
                <a:gd name="T97" fmla="*/ 66 h 182"/>
                <a:gd name="T98" fmla="*/ 172 w 180"/>
                <a:gd name="T99" fmla="*/ 55 h 182"/>
                <a:gd name="T100" fmla="*/ 167 w 180"/>
                <a:gd name="T101" fmla="*/ 43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0" h="182">
                  <a:moveTo>
                    <a:pt x="167" y="43"/>
                  </a:moveTo>
                  <a:lnTo>
                    <a:pt x="167" y="43"/>
                  </a:lnTo>
                  <a:lnTo>
                    <a:pt x="159" y="32"/>
                  </a:lnTo>
                  <a:lnTo>
                    <a:pt x="159" y="32"/>
                  </a:lnTo>
                  <a:lnTo>
                    <a:pt x="153" y="26"/>
                  </a:lnTo>
                  <a:lnTo>
                    <a:pt x="145" y="19"/>
                  </a:lnTo>
                  <a:lnTo>
                    <a:pt x="137" y="13"/>
                  </a:lnTo>
                  <a:lnTo>
                    <a:pt x="129" y="8"/>
                  </a:lnTo>
                  <a:lnTo>
                    <a:pt x="121" y="5"/>
                  </a:lnTo>
                  <a:lnTo>
                    <a:pt x="111" y="1"/>
                  </a:lnTo>
                  <a:lnTo>
                    <a:pt x="101" y="0"/>
                  </a:lnTo>
                  <a:lnTo>
                    <a:pt x="90" y="0"/>
                  </a:lnTo>
                  <a:lnTo>
                    <a:pt x="90" y="0"/>
                  </a:lnTo>
                  <a:lnTo>
                    <a:pt x="80" y="0"/>
                  </a:lnTo>
                  <a:lnTo>
                    <a:pt x="71" y="1"/>
                  </a:lnTo>
                  <a:lnTo>
                    <a:pt x="61" y="5"/>
                  </a:lnTo>
                  <a:lnTo>
                    <a:pt x="51" y="8"/>
                  </a:lnTo>
                  <a:lnTo>
                    <a:pt x="43" y="13"/>
                  </a:lnTo>
                  <a:lnTo>
                    <a:pt x="35" y="19"/>
                  </a:lnTo>
                  <a:lnTo>
                    <a:pt x="29" y="26"/>
                  </a:lnTo>
                  <a:lnTo>
                    <a:pt x="22" y="32"/>
                  </a:lnTo>
                  <a:lnTo>
                    <a:pt x="22" y="32"/>
                  </a:lnTo>
                  <a:lnTo>
                    <a:pt x="14" y="43"/>
                  </a:lnTo>
                  <a:lnTo>
                    <a:pt x="14" y="43"/>
                  </a:lnTo>
                  <a:lnTo>
                    <a:pt x="8" y="55"/>
                  </a:lnTo>
                  <a:lnTo>
                    <a:pt x="4" y="66"/>
                  </a:lnTo>
                  <a:lnTo>
                    <a:pt x="1" y="77"/>
                  </a:lnTo>
                  <a:lnTo>
                    <a:pt x="0" y="90"/>
                  </a:lnTo>
                  <a:lnTo>
                    <a:pt x="0" y="90"/>
                  </a:lnTo>
                  <a:lnTo>
                    <a:pt x="1" y="110"/>
                  </a:lnTo>
                  <a:lnTo>
                    <a:pt x="8" y="126"/>
                  </a:lnTo>
                  <a:lnTo>
                    <a:pt x="16" y="142"/>
                  </a:lnTo>
                  <a:lnTo>
                    <a:pt x="27" y="155"/>
                  </a:lnTo>
                  <a:lnTo>
                    <a:pt x="40" y="166"/>
                  </a:lnTo>
                  <a:lnTo>
                    <a:pt x="56" y="174"/>
                  </a:lnTo>
                  <a:lnTo>
                    <a:pt x="72" y="181"/>
                  </a:lnTo>
                  <a:lnTo>
                    <a:pt x="90" y="182"/>
                  </a:lnTo>
                  <a:lnTo>
                    <a:pt x="90" y="182"/>
                  </a:lnTo>
                  <a:lnTo>
                    <a:pt x="109" y="181"/>
                  </a:lnTo>
                  <a:lnTo>
                    <a:pt x="125" y="174"/>
                  </a:lnTo>
                  <a:lnTo>
                    <a:pt x="140" y="166"/>
                  </a:lnTo>
                  <a:lnTo>
                    <a:pt x="154" y="155"/>
                  </a:lnTo>
                  <a:lnTo>
                    <a:pt x="166" y="142"/>
                  </a:lnTo>
                  <a:lnTo>
                    <a:pt x="174" y="126"/>
                  </a:lnTo>
                  <a:lnTo>
                    <a:pt x="179" y="110"/>
                  </a:lnTo>
                  <a:lnTo>
                    <a:pt x="180" y="90"/>
                  </a:lnTo>
                  <a:lnTo>
                    <a:pt x="180" y="90"/>
                  </a:lnTo>
                  <a:lnTo>
                    <a:pt x="180" y="77"/>
                  </a:lnTo>
                  <a:lnTo>
                    <a:pt x="177" y="66"/>
                  </a:lnTo>
                  <a:lnTo>
                    <a:pt x="172" y="55"/>
                  </a:lnTo>
                  <a:lnTo>
                    <a:pt x="167" y="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mn-lt"/>
                <a:ea typeface="楷体" panose="02010609060101010101" pitchFamily="49" charset="-122"/>
              </a:endParaRPr>
            </a:p>
          </p:txBody>
        </p:sp>
        <p:sp>
          <p:nvSpPr>
            <p:cNvPr id="380" name="Freeform 143"/>
            <p:cNvSpPr>
              <a:spLocks/>
            </p:cNvSpPr>
            <p:nvPr/>
          </p:nvSpPr>
          <p:spPr bwMode="auto">
            <a:xfrm>
              <a:off x="2070100" y="5449888"/>
              <a:ext cx="285750" cy="288925"/>
            </a:xfrm>
            <a:custGeom>
              <a:avLst/>
              <a:gdLst>
                <a:gd name="T0" fmla="*/ 167 w 180"/>
                <a:gd name="T1" fmla="*/ 43 h 182"/>
                <a:gd name="T2" fmla="*/ 167 w 180"/>
                <a:gd name="T3" fmla="*/ 43 h 182"/>
                <a:gd name="T4" fmla="*/ 159 w 180"/>
                <a:gd name="T5" fmla="*/ 32 h 182"/>
                <a:gd name="T6" fmla="*/ 159 w 180"/>
                <a:gd name="T7" fmla="*/ 32 h 182"/>
                <a:gd name="T8" fmla="*/ 153 w 180"/>
                <a:gd name="T9" fmla="*/ 26 h 182"/>
                <a:gd name="T10" fmla="*/ 145 w 180"/>
                <a:gd name="T11" fmla="*/ 19 h 182"/>
                <a:gd name="T12" fmla="*/ 137 w 180"/>
                <a:gd name="T13" fmla="*/ 13 h 182"/>
                <a:gd name="T14" fmla="*/ 129 w 180"/>
                <a:gd name="T15" fmla="*/ 8 h 182"/>
                <a:gd name="T16" fmla="*/ 121 w 180"/>
                <a:gd name="T17" fmla="*/ 5 h 182"/>
                <a:gd name="T18" fmla="*/ 111 w 180"/>
                <a:gd name="T19" fmla="*/ 1 h 182"/>
                <a:gd name="T20" fmla="*/ 101 w 180"/>
                <a:gd name="T21" fmla="*/ 0 h 182"/>
                <a:gd name="T22" fmla="*/ 90 w 180"/>
                <a:gd name="T23" fmla="*/ 0 h 182"/>
                <a:gd name="T24" fmla="*/ 90 w 180"/>
                <a:gd name="T25" fmla="*/ 0 h 182"/>
                <a:gd name="T26" fmla="*/ 80 w 180"/>
                <a:gd name="T27" fmla="*/ 0 h 182"/>
                <a:gd name="T28" fmla="*/ 71 w 180"/>
                <a:gd name="T29" fmla="*/ 1 h 182"/>
                <a:gd name="T30" fmla="*/ 61 w 180"/>
                <a:gd name="T31" fmla="*/ 5 h 182"/>
                <a:gd name="T32" fmla="*/ 51 w 180"/>
                <a:gd name="T33" fmla="*/ 8 h 182"/>
                <a:gd name="T34" fmla="*/ 43 w 180"/>
                <a:gd name="T35" fmla="*/ 13 h 182"/>
                <a:gd name="T36" fmla="*/ 35 w 180"/>
                <a:gd name="T37" fmla="*/ 19 h 182"/>
                <a:gd name="T38" fmla="*/ 29 w 180"/>
                <a:gd name="T39" fmla="*/ 26 h 182"/>
                <a:gd name="T40" fmla="*/ 22 w 180"/>
                <a:gd name="T41" fmla="*/ 32 h 182"/>
                <a:gd name="T42" fmla="*/ 22 w 180"/>
                <a:gd name="T43" fmla="*/ 32 h 182"/>
                <a:gd name="T44" fmla="*/ 14 w 180"/>
                <a:gd name="T45" fmla="*/ 43 h 182"/>
                <a:gd name="T46" fmla="*/ 14 w 180"/>
                <a:gd name="T47" fmla="*/ 43 h 182"/>
                <a:gd name="T48" fmla="*/ 8 w 180"/>
                <a:gd name="T49" fmla="*/ 55 h 182"/>
                <a:gd name="T50" fmla="*/ 4 w 180"/>
                <a:gd name="T51" fmla="*/ 66 h 182"/>
                <a:gd name="T52" fmla="*/ 1 w 180"/>
                <a:gd name="T53" fmla="*/ 77 h 182"/>
                <a:gd name="T54" fmla="*/ 0 w 180"/>
                <a:gd name="T55" fmla="*/ 90 h 182"/>
                <a:gd name="T56" fmla="*/ 0 w 180"/>
                <a:gd name="T57" fmla="*/ 90 h 182"/>
                <a:gd name="T58" fmla="*/ 1 w 180"/>
                <a:gd name="T59" fmla="*/ 110 h 182"/>
                <a:gd name="T60" fmla="*/ 8 w 180"/>
                <a:gd name="T61" fmla="*/ 126 h 182"/>
                <a:gd name="T62" fmla="*/ 16 w 180"/>
                <a:gd name="T63" fmla="*/ 142 h 182"/>
                <a:gd name="T64" fmla="*/ 27 w 180"/>
                <a:gd name="T65" fmla="*/ 155 h 182"/>
                <a:gd name="T66" fmla="*/ 40 w 180"/>
                <a:gd name="T67" fmla="*/ 166 h 182"/>
                <a:gd name="T68" fmla="*/ 56 w 180"/>
                <a:gd name="T69" fmla="*/ 174 h 182"/>
                <a:gd name="T70" fmla="*/ 72 w 180"/>
                <a:gd name="T71" fmla="*/ 181 h 182"/>
                <a:gd name="T72" fmla="*/ 90 w 180"/>
                <a:gd name="T73" fmla="*/ 182 h 182"/>
                <a:gd name="T74" fmla="*/ 90 w 180"/>
                <a:gd name="T75" fmla="*/ 182 h 182"/>
                <a:gd name="T76" fmla="*/ 109 w 180"/>
                <a:gd name="T77" fmla="*/ 181 h 182"/>
                <a:gd name="T78" fmla="*/ 125 w 180"/>
                <a:gd name="T79" fmla="*/ 174 h 182"/>
                <a:gd name="T80" fmla="*/ 140 w 180"/>
                <a:gd name="T81" fmla="*/ 166 h 182"/>
                <a:gd name="T82" fmla="*/ 154 w 180"/>
                <a:gd name="T83" fmla="*/ 155 h 182"/>
                <a:gd name="T84" fmla="*/ 166 w 180"/>
                <a:gd name="T85" fmla="*/ 142 h 182"/>
                <a:gd name="T86" fmla="*/ 174 w 180"/>
                <a:gd name="T87" fmla="*/ 126 h 182"/>
                <a:gd name="T88" fmla="*/ 179 w 180"/>
                <a:gd name="T89" fmla="*/ 110 h 182"/>
                <a:gd name="T90" fmla="*/ 180 w 180"/>
                <a:gd name="T91" fmla="*/ 90 h 182"/>
                <a:gd name="T92" fmla="*/ 180 w 180"/>
                <a:gd name="T93" fmla="*/ 90 h 182"/>
                <a:gd name="T94" fmla="*/ 180 w 180"/>
                <a:gd name="T95" fmla="*/ 77 h 182"/>
                <a:gd name="T96" fmla="*/ 177 w 180"/>
                <a:gd name="T97" fmla="*/ 66 h 182"/>
                <a:gd name="T98" fmla="*/ 172 w 180"/>
                <a:gd name="T99" fmla="*/ 55 h 182"/>
                <a:gd name="T100" fmla="*/ 167 w 180"/>
                <a:gd name="T101" fmla="*/ 43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0" h="182">
                  <a:moveTo>
                    <a:pt x="167" y="43"/>
                  </a:moveTo>
                  <a:lnTo>
                    <a:pt x="167" y="43"/>
                  </a:lnTo>
                  <a:lnTo>
                    <a:pt x="159" y="32"/>
                  </a:lnTo>
                  <a:lnTo>
                    <a:pt x="159" y="32"/>
                  </a:lnTo>
                  <a:lnTo>
                    <a:pt x="153" y="26"/>
                  </a:lnTo>
                  <a:lnTo>
                    <a:pt x="145" y="19"/>
                  </a:lnTo>
                  <a:lnTo>
                    <a:pt x="137" y="13"/>
                  </a:lnTo>
                  <a:lnTo>
                    <a:pt x="129" y="8"/>
                  </a:lnTo>
                  <a:lnTo>
                    <a:pt x="121" y="5"/>
                  </a:lnTo>
                  <a:lnTo>
                    <a:pt x="111" y="1"/>
                  </a:lnTo>
                  <a:lnTo>
                    <a:pt x="101" y="0"/>
                  </a:lnTo>
                  <a:lnTo>
                    <a:pt x="90" y="0"/>
                  </a:lnTo>
                  <a:lnTo>
                    <a:pt x="90" y="0"/>
                  </a:lnTo>
                  <a:lnTo>
                    <a:pt x="80" y="0"/>
                  </a:lnTo>
                  <a:lnTo>
                    <a:pt x="71" y="1"/>
                  </a:lnTo>
                  <a:lnTo>
                    <a:pt x="61" y="5"/>
                  </a:lnTo>
                  <a:lnTo>
                    <a:pt x="51" y="8"/>
                  </a:lnTo>
                  <a:lnTo>
                    <a:pt x="43" y="13"/>
                  </a:lnTo>
                  <a:lnTo>
                    <a:pt x="35" y="19"/>
                  </a:lnTo>
                  <a:lnTo>
                    <a:pt x="29" y="26"/>
                  </a:lnTo>
                  <a:lnTo>
                    <a:pt x="22" y="32"/>
                  </a:lnTo>
                  <a:lnTo>
                    <a:pt x="22" y="32"/>
                  </a:lnTo>
                  <a:lnTo>
                    <a:pt x="14" y="43"/>
                  </a:lnTo>
                  <a:lnTo>
                    <a:pt x="14" y="43"/>
                  </a:lnTo>
                  <a:lnTo>
                    <a:pt x="8" y="55"/>
                  </a:lnTo>
                  <a:lnTo>
                    <a:pt x="4" y="66"/>
                  </a:lnTo>
                  <a:lnTo>
                    <a:pt x="1" y="77"/>
                  </a:lnTo>
                  <a:lnTo>
                    <a:pt x="0" y="90"/>
                  </a:lnTo>
                  <a:lnTo>
                    <a:pt x="0" y="90"/>
                  </a:lnTo>
                  <a:lnTo>
                    <a:pt x="1" y="110"/>
                  </a:lnTo>
                  <a:lnTo>
                    <a:pt x="8" y="126"/>
                  </a:lnTo>
                  <a:lnTo>
                    <a:pt x="16" y="142"/>
                  </a:lnTo>
                  <a:lnTo>
                    <a:pt x="27" y="155"/>
                  </a:lnTo>
                  <a:lnTo>
                    <a:pt x="40" y="166"/>
                  </a:lnTo>
                  <a:lnTo>
                    <a:pt x="56" y="174"/>
                  </a:lnTo>
                  <a:lnTo>
                    <a:pt x="72" y="181"/>
                  </a:lnTo>
                  <a:lnTo>
                    <a:pt x="90" y="182"/>
                  </a:lnTo>
                  <a:lnTo>
                    <a:pt x="90" y="182"/>
                  </a:lnTo>
                  <a:lnTo>
                    <a:pt x="109" y="181"/>
                  </a:lnTo>
                  <a:lnTo>
                    <a:pt x="125" y="174"/>
                  </a:lnTo>
                  <a:lnTo>
                    <a:pt x="140" y="166"/>
                  </a:lnTo>
                  <a:lnTo>
                    <a:pt x="154" y="155"/>
                  </a:lnTo>
                  <a:lnTo>
                    <a:pt x="166" y="142"/>
                  </a:lnTo>
                  <a:lnTo>
                    <a:pt x="174" y="126"/>
                  </a:lnTo>
                  <a:lnTo>
                    <a:pt x="179" y="110"/>
                  </a:lnTo>
                  <a:lnTo>
                    <a:pt x="180" y="90"/>
                  </a:lnTo>
                  <a:lnTo>
                    <a:pt x="180" y="90"/>
                  </a:lnTo>
                  <a:lnTo>
                    <a:pt x="180" y="77"/>
                  </a:lnTo>
                  <a:lnTo>
                    <a:pt x="177" y="66"/>
                  </a:lnTo>
                  <a:lnTo>
                    <a:pt x="172" y="55"/>
                  </a:lnTo>
                  <a:lnTo>
                    <a:pt x="167" y="43"/>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mn-lt"/>
                <a:ea typeface="楷体" panose="02010609060101010101" pitchFamily="49" charset="-122"/>
              </a:endParaRPr>
            </a:p>
          </p:txBody>
        </p:sp>
      </p:grpSp>
      <p:sp>
        <p:nvSpPr>
          <p:cNvPr id="305" name="TextBox 304"/>
          <p:cNvSpPr txBox="1"/>
          <p:nvPr/>
        </p:nvSpPr>
        <p:spPr>
          <a:xfrm>
            <a:off x="6397835" y="2291152"/>
            <a:ext cx="939511" cy="16927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zh-CN" sz="1100" b="1" dirty="0">
                <a:solidFill>
                  <a:srgbClr val="FFFFFF"/>
                </a:solidFill>
                <a:ea typeface="楷体" panose="02010609060101010101" pitchFamily="49" charset="-122"/>
                <a:cs typeface="SimSun"/>
              </a:rPr>
              <a:t>新数据</a:t>
            </a:r>
          </a:p>
        </p:txBody>
      </p:sp>
      <p:sp>
        <p:nvSpPr>
          <p:cNvPr id="306" name="TextBox 305"/>
          <p:cNvSpPr txBox="1"/>
          <p:nvPr/>
        </p:nvSpPr>
        <p:spPr>
          <a:xfrm>
            <a:off x="2504018" y="1066851"/>
            <a:ext cx="983051" cy="246221"/>
          </a:xfrm>
          <a:prstGeom prst="rect">
            <a:avLst/>
          </a:prstGeom>
        </p:spPr>
        <p:txBody>
          <a:bodyPr vert="horz" wrap="square" lIns="0" tIns="0" rIns="0" bIns="0" rtlCol="0" anchor="ctr" anchorCtr="0">
            <a:spAutoFit/>
          </a:bodyPr>
          <a:lstStyle>
            <a:defPPr>
              <a:defRPr lang="en-US"/>
            </a:defPPr>
            <a:lvl1pPr defTabSz="895350">
              <a:buClr>
                <a:srgbClr val="002960"/>
              </a:buClr>
              <a:buSzPct val="100000"/>
              <a:defRPr sz="1450">
                <a:solidFill>
                  <a:srgbClr val="FFCA21"/>
                </a:solidFill>
                <a:latin typeface="Georgia" panose="02040502050405020303" pitchFamily="18" charset="0"/>
                <a:cs typeface="Times New Roman" panose="02020603050405020304" pitchFamily="18" charset="0"/>
              </a:defRPr>
            </a:lvl1pPr>
          </a:lstStyle>
          <a:p>
            <a:pPr algn="ctr"/>
            <a:r>
              <a:rPr lang="zh-CN" sz="1600" dirty="0">
                <a:latin typeface="+mn-lt"/>
                <a:ea typeface="楷体" panose="02010609060101010101" pitchFamily="49" charset="-122"/>
                <a:cs typeface="SimSun"/>
              </a:rPr>
              <a:t>训练</a:t>
            </a:r>
          </a:p>
        </p:txBody>
      </p:sp>
      <p:sp>
        <p:nvSpPr>
          <p:cNvPr id="307" name="TextBox 306"/>
          <p:cNvSpPr txBox="1"/>
          <p:nvPr/>
        </p:nvSpPr>
        <p:spPr>
          <a:xfrm>
            <a:off x="6351399" y="1078392"/>
            <a:ext cx="1270409" cy="246221"/>
          </a:xfrm>
          <a:prstGeom prst="rect">
            <a:avLst/>
          </a:prstGeom>
        </p:spPr>
        <p:txBody>
          <a:bodyPr vert="horz" wrap="square" lIns="0" tIns="0" rIns="0" bIns="0" rtlCol="0" anchor="ctr" anchorCtr="0">
            <a:spAutoFit/>
          </a:bodyPr>
          <a:lstStyle>
            <a:defPPr>
              <a:defRPr lang="en-US"/>
            </a:defPPr>
            <a:lvl1pPr defTabSz="895350">
              <a:buClr>
                <a:srgbClr val="002960"/>
              </a:buClr>
              <a:buSzPct val="100000"/>
              <a:defRPr sz="1450">
                <a:solidFill>
                  <a:srgbClr val="FFCA21"/>
                </a:solidFill>
                <a:latin typeface="Georgia" panose="02040502050405020303" pitchFamily="18" charset="0"/>
                <a:cs typeface="Times New Roman" panose="02020603050405020304" pitchFamily="18" charset="0"/>
              </a:defRPr>
            </a:lvl1pPr>
          </a:lstStyle>
          <a:p>
            <a:pPr algn="ctr"/>
            <a:r>
              <a:rPr lang="zh-CN" sz="1600" dirty="0">
                <a:latin typeface="+mn-lt"/>
                <a:ea typeface="楷体" panose="02010609060101010101" pitchFamily="49" charset="-122"/>
                <a:cs typeface="SimSun"/>
              </a:rPr>
              <a:t>推理</a:t>
            </a:r>
          </a:p>
        </p:txBody>
      </p:sp>
      <p:sp>
        <p:nvSpPr>
          <p:cNvPr id="308" name="Oval 307"/>
          <p:cNvSpPr/>
          <p:nvPr/>
        </p:nvSpPr>
        <p:spPr>
          <a:xfrm>
            <a:off x="2431455" y="2184429"/>
            <a:ext cx="1026544" cy="1026544"/>
          </a:xfrm>
          <a:prstGeom prst="ellipse">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09" name="TextBox 308"/>
          <p:cNvSpPr txBox="1"/>
          <p:nvPr/>
        </p:nvSpPr>
        <p:spPr>
          <a:xfrm>
            <a:off x="2474972" y="2319157"/>
            <a:ext cx="939511" cy="16927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zh-CN" sz="1100" b="1" dirty="0">
                <a:solidFill>
                  <a:srgbClr val="FFFFFF"/>
                </a:solidFill>
                <a:ea typeface="楷体" panose="02010609060101010101" pitchFamily="49" charset="-122"/>
                <a:cs typeface="SimSun"/>
              </a:rPr>
              <a:t>训练数据集</a:t>
            </a:r>
          </a:p>
        </p:txBody>
      </p:sp>
      <p:grpSp>
        <p:nvGrpSpPr>
          <p:cNvPr id="310" name="Group 309"/>
          <p:cNvGrpSpPr/>
          <p:nvPr/>
        </p:nvGrpSpPr>
        <p:grpSpPr>
          <a:xfrm>
            <a:off x="2642051" y="2758751"/>
            <a:ext cx="559328" cy="287825"/>
            <a:chOff x="-1031576" y="2558396"/>
            <a:chExt cx="559328" cy="287825"/>
          </a:xfrm>
        </p:grpSpPr>
        <p:grpSp>
          <p:nvGrpSpPr>
            <p:cNvPr id="366" name="Group 365"/>
            <p:cNvGrpSpPr/>
            <p:nvPr/>
          </p:nvGrpSpPr>
          <p:grpSpPr>
            <a:xfrm>
              <a:off x="-1031576" y="2558396"/>
              <a:ext cx="312056" cy="195035"/>
              <a:chOff x="-905038" y="2660361"/>
              <a:chExt cx="312056" cy="195035"/>
            </a:xfrm>
          </p:grpSpPr>
          <p:sp>
            <p:nvSpPr>
              <p:cNvPr id="368" name="Rectangle 367"/>
              <p:cNvSpPr/>
              <p:nvPr/>
            </p:nvSpPr>
            <p:spPr>
              <a:xfrm>
                <a:off x="-905038" y="2660361"/>
                <a:ext cx="312056" cy="195035"/>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69" name="Freeform 854"/>
              <p:cNvSpPr>
                <a:spLocks/>
              </p:cNvSpPr>
              <p:nvPr/>
            </p:nvSpPr>
            <p:spPr bwMode="auto">
              <a:xfrm>
                <a:off x="-905038" y="2717622"/>
                <a:ext cx="206295" cy="137774"/>
              </a:xfrm>
              <a:custGeom>
                <a:avLst/>
                <a:gdLst>
                  <a:gd name="T0" fmla="*/ 260 w 563"/>
                  <a:gd name="T1" fmla="*/ 15 h 376"/>
                  <a:gd name="T2" fmla="*/ 258 w 563"/>
                  <a:gd name="T3" fmla="*/ 62 h 376"/>
                  <a:gd name="T4" fmla="*/ 264 w 563"/>
                  <a:gd name="T5" fmla="*/ 86 h 376"/>
                  <a:gd name="T6" fmla="*/ 270 w 563"/>
                  <a:gd name="T7" fmla="*/ 100 h 376"/>
                  <a:gd name="T8" fmla="*/ 305 w 563"/>
                  <a:gd name="T9" fmla="*/ 74 h 376"/>
                  <a:gd name="T10" fmla="*/ 388 w 563"/>
                  <a:gd name="T11" fmla="*/ 53 h 376"/>
                  <a:gd name="T12" fmla="*/ 486 w 563"/>
                  <a:gd name="T13" fmla="*/ 101 h 376"/>
                  <a:gd name="T14" fmla="*/ 558 w 563"/>
                  <a:gd name="T15" fmla="*/ 206 h 376"/>
                  <a:gd name="T16" fmla="*/ 559 w 563"/>
                  <a:gd name="T17" fmla="*/ 275 h 376"/>
                  <a:gd name="T18" fmla="*/ 528 w 563"/>
                  <a:gd name="T19" fmla="*/ 320 h 376"/>
                  <a:gd name="T20" fmla="*/ 447 w 563"/>
                  <a:gd name="T21" fmla="*/ 338 h 376"/>
                  <a:gd name="T22" fmla="*/ 360 w 563"/>
                  <a:gd name="T23" fmla="*/ 342 h 376"/>
                  <a:gd name="T24" fmla="*/ 327 w 563"/>
                  <a:gd name="T25" fmla="*/ 350 h 376"/>
                  <a:gd name="T26" fmla="*/ 313 w 563"/>
                  <a:gd name="T27" fmla="*/ 338 h 376"/>
                  <a:gd name="T28" fmla="*/ 350 w 563"/>
                  <a:gd name="T29" fmla="*/ 302 h 376"/>
                  <a:gd name="T30" fmla="*/ 437 w 563"/>
                  <a:gd name="T31" fmla="*/ 299 h 376"/>
                  <a:gd name="T32" fmla="*/ 483 w 563"/>
                  <a:gd name="T33" fmla="*/ 284 h 376"/>
                  <a:gd name="T34" fmla="*/ 501 w 563"/>
                  <a:gd name="T35" fmla="*/ 254 h 376"/>
                  <a:gd name="T36" fmla="*/ 496 w 563"/>
                  <a:gd name="T37" fmla="*/ 255 h 376"/>
                  <a:gd name="T38" fmla="*/ 485 w 563"/>
                  <a:gd name="T39" fmla="*/ 261 h 376"/>
                  <a:gd name="T40" fmla="*/ 449 w 563"/>
                  <a:gd name="T41" fmla="*/ 277 h 376"/>
                  <a:gd name="T42" fmla="*/ 369 w 563"/>
                  <a:gd name="T43" fmla="*/ 278 h 376"/>
                  <a:gd name="T44" fmla="*/ 292 w 563"/>
                  <a:gd name="T45" fmla="*/ 296 h 376"/>
                  <a:gd name="T46" fmla="*/ 249 w 563"/>
                  <a:gd name="T47" fmla="*/ 320 h 376"/>
                  <a:gd name="T48" fmla="*/ 209 w 563"/>
                  <a:gd name="T49" fmla="*/ 341 h 376"/>
                  <a:gd name="T50" fmla="*/ 134 w 563"/>
                  <a:gd name="T51" fmla="*/ 369 h 376"/>
                  <a:gd name="T52" fmla="*/ 90 w 563"/>
                  <a:gd name="T53" fmla="*/ 367 h 376"/>
                  <a:gd name="T54" fmla="*/ 88 w 563"/>
                  <a:gd name="T55" fmla="*/ 346 h 376"/>
                  <a:gd name="T56" fmla="*/ 104 w 563"/>
                  <a:gd name="T57" fmla="*/ 340 h 376"/>
                  <a:gd name="T58" fmla="*/ 186 w 563"/>
                  <a:gd name="T59" fmla="*/ 301 h 376"/>
                  <a:gd name="T60" fmla="*/ 147 w 563"/>
                  <a:gd name="T61" fmla="*/ 296 h 376"/>
                  <a:gd name="T62" fmla="*/ 96 w 563"/>
                  <a:gd name="T63" fmla="*/ 318 h 376"/>
                  <a:gd name="T64" fmla="*/ 20 w 563"/>
                  <a:gd name="T65" fmla="*/ 341 h 376"/>
                  <a:gd name="T66" fmla="*/ 0 w 563"/>
                  <a:gd name="T67" fmla="*/ 319 h 376"/>
                  <a:gd name="T68" fmla="*/ 10 w 563"/>
                  <a:gd name="T69" fmla="*/ 309 h 376"/>
                  <a:gd name="T70" fmla="*/ 55 w 563"/>
                  <a:gd name="T71" fmla="*/ 295 h 376"/>
                  <a:gd name="T72" fmla="*/ 109 w 563"/>
                  <a:gd name="T73" fmla="*/ 263 h 376"/>
                  <a:gd name="T74" fmla="*/ 113 w 563"/>
                  <a:gd name="T75" fmla="*/ 201 h 376"/>
                  <a:gd name="T76" fmla="*/ 152 w 563"/>
                  <a:gd name="T77" fmla="*/ 206 h 376"/>
                  <a:gd name="T78" fmla="*/ 163 w 563"/>
                  <a:gd name="T79" fmla="*/ 220 h 376"/>
                  <a:gd name="T80" fmla="*/ 181 w 563"/>
                  <a:gd name="T81" fmla="*/ 215 h 376"/>
                  <a:gd name="T82" fmla="*/ 181 w 563"/>
                  <a:gd name="T83" fmla="*/ 197 h 376"/>
                  <a:gd name="T84" fmla="*/ 167 w 563"/>
                  <a:gd name="T85" fmla="*/ 191 h 376"/>
                  <a:gd name="T86" fmla="*/ 125 w 563"/>
                  <a:gd name="T87" fmla="*/ 168 h 376"/>
                  <a:gd name="T88" fmla="*/ 95 w 563"/>
                  <a:gd name="T89" fmla="*/ 100 h 376"/>
                  <a:gd name="T90" fmla="*/ 100 w 563"/>
                  <a:gd name="T91" fmla="*/ 66 h 376"/>
                  <a:gd name="T92" fmla="*/ 97 w 563"/>
                  <a:gd name="T93" fmla="*/ 28 h 376"/>
                  <a:gd name="T94" fmla="*/ 105 w 563"/>
                  <a:gd name="T95" fmla="*/ 0 h 376"/>
                  <a:gd name="T96" fmla="*/ 142 w 563"/>
                  <a:gd name="T97" fmla="*/ 21 h 376"/>
                  <a:gd name="T98" fmla="*/ 168 w 563"/>
                  <a:gd name="T99" fmla="*/ 27 h 376"/>
                  <a:gd name="T100" fmla="*/ 208 w 563"/>
                  <a:gd name="T101" fmla="*/ 28 h 376"/>
                  <a:gd name="T102" fmla="*/ 233 w 563"/>
                  <a:gd name="T103" fmla="*/ 9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3" h="376">
                    <a:moveTo>
                      <a:pt x="252" y="0"/>
                    </a:moveTo>
                    <a:lnTo>
                      <a:pt x="258" y="0"/>
                    </a:lnTo>
                    <a:lnTo>
                      <a:pt x="259" y="6"/>
                    </a:lnTo>
                    <a:lnTo>
                      <a:pt x="260" y="15"/>
                    </a:lnTo>
                    <a:lnTo>
                      <a:pt x="260" y="28"/>
                    </a:lnTo>
                    <a:lnTo>
                      <a:pt x="259" y="42"/>
                    </a:lnTo>
                    <a:lnTo>
                      <a:pt x="259" y="53"/>
                    </a:lnTo>
                    <a:lnTo>
                      <a:pt x="258" y="62"/>
                    </a:lnTo>
                    <a:lnTo>
                      <a:pt x="258" y="66"/>
                    </a:lnTo>
                    <a:lnTo>
                      <a:pt x="259" y="69"/>
                    </a:lnTo>
                    <a:lnTo>
                      <a:pt x="261" y="75"/>
                    </a:lnTo>
                    <a:lnTo>
                      <a:pt x="264" y="86"/>
                    </a:lnTo>
                    <a:lnTo>
                      <a:pt x="267" y="98"/>
                    </a:lnTo>
                    <a:lnTo>
                      <a:pt x="268" y="98"/>
                    </a:lnTo>
                    <a:lnTo>
                      <a:pt x="270" y="100"/>
                    </a:lnTo>
                    <a:lnTo>
                      <a:pt x="270" y="100"/>
                    </a:lnTo>
                    <a:lnTo>
                      <a:pt x="273" y="97"/>
                    </a:lnTo>
                    <a:lnTo>
                      <a:pt x="279" y="91"/>
                    </a:lnTo>
                    <a:lnTo>
                      <a:pt x="291" y="83"/>
                    </a:lnTo>
                    <a:lnTo>
                      <a:pt x="305" y="74"/>
                    </a:lnTo>
                    <a:lnTo>
                      <a:pt x="322" y="65"/>
                    </a:lnTo>
                    <a:lnTo>
                      <a:pt x="342" y="57"/>
                    </a:lnTo>
                    <a:lnTo>
                      <a:pt x="364" y="53"/>
                    </a:lnTo>
                    <a:lnTo>
                      <a:pt x="388" y="53"/>
                    </a:lnTo>
                    <a:lnTo>
                      <a:pt x="412" y="57"/>
                    </a:lnTo>
                    <a:lnTo>
                      <a:pt x="436" y="68"/>
                    </a:lnTo>
                    <a:lnTo>
                      <a:pt x="462" y="83"/>
                    </a:lnTo>
                    <a:lnTo>
                      <a:pt x="486" y="101"/>
                    </a:lnTo>
                    <a:lnTo>
                      <a:pt x="509" y="124"/>
                    </a:lnTo>
                    <a:lnTo>
                      <a:pt x="530" y="150"/>
                    </a:lnTo>
                    <a:lnTo>
                      <a:pt x="546" y="177"/>
                    </a:lnTo>
                    <a:lnTo>
                      <a:pt x="558" y="206"/>
                    </a:lnTo>
                    <a:lnTo>
                      <a:pt x="563" y="237"/>
                    </a:lnTo>
                    <a:lnTo>
                      <a:pt x="563" y="254"/>
                    </a:lnTo>
                    <a:lnTo>
                      <a:pt x="560" y="265"/>
                    </a:lnTo>
                    <a:lnTo>
                      <a:pt x="559" y="275"/>
                    </a:lnTo>
                    <a:lnTo>
                      <a:pt x="555" y="287"/>
                    </a:lnTo>
                    <a:lnTo>
                      <a:pt x="549" y="299"/>
                    </a:lnTo>
                    <a:lnTo>
                      <a:pt x="540" y="310"/>
                    </a:lnTo>
                    <a:lnTo>
                      <a:pt x="528" y="320"/>
                    </a:lnTo>
                    <a:lnTo>
                      <a:pt x="514" y="329"/>
                    </a:lnTo>
                    <a:lnTo>
                      <a:pt x="495" y="336"/>
                    </a:lnTo>
                    <a:lnTo>
                      <a:pt x="473" y="338"/>
                    </a:lnTo>
                    <a:lnTo>
                      <a:pt x="447" y="338"/>
                    </a:lnTo>
                    <a:lnTo>
                      <a:pt x="424" y="337"/>
                    </a:lnTo>
                    <a:lnTo>
                      <a:pt x="403" y="337"/>
                    </a:lnTo>
                    <a:lnTo>
                      <a:pt x="381" y="338"/>
                    </a:lnTo>
                    <a:lnTo>
                      <a:pt x="360" y="342"/>
                    </a:lnTo>
                    <a:lnTo>
                      <a:pt x="340" y="349"/>
                    </a:lnTo>
                    <a:lnTo>
                      <a:pt x="336" y="350"/>
                    </a:lnTo>
                    <a:lnTo>
                      <a:pt x="332" y="350"/>
                    </a:lnTo>
                    <a:lnTo>
                      <a:pt x="327" y="350"/>
                    </a:lnTo>
                    <a:lnTo>
                      <a:pt x="323" y="349"/>
                    </a:lnTo>
                    <a:lnTo>
                      <a:pt x="319" y="346"/>
                    </a:lnTo>
                    <a:lnTo>
                      <a:pt x="315" y="342"/>
                    </a:lnTo>
                    <a:lnTo>
                      <a:pt x="313" y="338"/>
                    </a:lnTo>
                    <a:lnTo>
                      <a:pt x="311" y="328"/>
                    </a:lnTo>
                    <a:lnTo>
                      <a:pt x="317" y="318"/>
                    </a:lnTo>
                    <a:lnTo>
                      <a:pt x="326" y="311"/>
                    </a:lnTo>
                    <a:lnTo>
                      <a:pt x="350" y="302"/>
                    </a:lnTo>
                    <a:lnTo>
                      <a:pt x="374" y="299"/>
                    </a:lnTo>
                    <a:lnTo>
                      <a:pt x="400" y="297"/>
                    </a:lnTo>
                    <a:lnTo>
                      <a:pt x="428" y="299"/>
                    </a:lnTo>
                    <a:lnTo>
                      <a:pt x="437" y="299"/>
                    </a:lnTo>
                    <a:lnTo>
                      <a:pt x="447" y="297"/>
                    </a:lnTo>
                    <a:lnTo>
                      <a:pt x="472" y="292"/>
                    </a:lnTo>
                    <a:lnTo>
                      <a:pt x="478" y="288"/>
                    </a:lnTo>
                    <a:lnTo>
                      <a:pt x="483" y="284"/>
                    </a:lnTo>
                    <a:lnTo>
                      <a:pt x="492" y="275"/>
                    </a:lnTo>
                    <a:lnTo>
                      <a:pt x="498" y="266"/>
                    </a:lnTo>
                    <a:lnTo>
                      <a:pt x="500" y="259"/>
                    </a:lnTo>
                    <a:lnTo>
                      <a:pt x="501" y="254"/>
                    </a:lnTo>
                    <a:lnTo>
                      <a:pt x="501" y="254"/>
                    </a:lnTo>
                    <a:lnTo>
                      <a:pt x="500" y="254"/>
                    </a:lnTo>
                    <a:lnTo>
                      <a:pt x="499" y="254"/>
                    </a:lnTo>
                    <a:lnTo>
                      <a:pt x="496" y="255"/>
                    </a:lnTo>
                    <a:lnTo>
                      <a:pt x="492" y="256"/>
                    </a:lnTo>
                    <a:lnTo>
                      <a:pt x="490" y="259"/>
                    </a:lnTo>
                    <a:lnTo>
                      <a:pt x="487" y="260"/>
                    </a:lnTo>
                    <a:lnTo>
                      <a:pt x="485" y="261"/>
                    </a:lnTo>
                    <a:lnTo>
                      <a:pt x="480" y="266"/>
                    </a:lnTo>
                    <a:lnTo>
                      <a:pt x="469" y="272"/>
                    </a:lnTo>
                    <a:lnTo>
                      <a:pt x="459" y="275"/>
                    </a:lnTo>
                    <a:lnTo>
                      <a:pt x="449" y="277"/>
                    </a:lnTo>
                    <a:lnTo>
                      <a:pt x="433" y="277"/>
                    </a:lnTo>
                    <a:lnTo>
                      <a:pt x="418" y="277"/>
                    </a:lnTo>
                    <a:lnTo>
                      <a:pt x="403" y="275"/>
                    </a:lnTo>
                    <a:lnTo>
                      <a:pt x="369" y="278"/>
                    </a:lnTo>
                    <a:lnTo>
                      <a:pt x="340" y="281"/>
                    </a:lnTo>
                    <a:lnTo>
                      <a:pt x="318" y="286"/>
                    </a:lnTo>
                    <a:lnTo>
                      <a:pt x="303" y="291"/>
                    </a:lnTo>
                    <a:lnTo>
                      <a:pt x="292" y="296"/>
                    </a:lnTo>
                    <a:lnTo>
                      <a:pt x="279" y="302"/>
                    </a:lnTo>
                    <a:lnTo>
                      <a:pt x="267" y="310"/>
                    </a:lnTo>
                    <a:lnTo>
                      <a:pt x="255" y="317"/>
                    </a:lnTo>
                    <a:lnTo>
                      <a:pt x="249" y="320"/>
                    </a:lnTo>
                    <a:lnTo>
                      <a:pt x="243" y="323"/>
                    </a:lnTo>
                    <a:lnTo>
                      <a:pt x="235" y="328"/>
                    </a:lnTo>
                    <a:lnTo>
                      <a:pt x="223" y="333"/>
                    </a:lnTo>
                    <a:lnTo>
                      <a:pt x="209" y="341"/>
                    </a:lnTo>
                    <a:lnTo>
                      <a:pt x="192" y="349"/>
                    </a:lnTo>
                    <a:lnTo>
                      <a:pt x="177" y="355"/>
                    </a:lnTo>
                    <a:lnTo>
                      <a:pt x="160" y="360"/>
                    </a:lnTo>
                    <a:lnTo>
                      <a:pt x="134" y="369"/>
                    </a:lnTo>
                    <a:lnTo>
                      <a:pt x="109" y="376"/>
                    </a:lnTo>
                    <a:lnTo>
                      <a:pt x="106" y="376"/>
                    </a:lnTo>
                    <a:lnTo>
                      <a:pt x="96" y="373"/>
                    </a:lnTo>
                    <a:lnTo>
                      <a:pt x="90" y="367"/>
                    </a:lnTo>
                    <a:lnTo>
                      <a:pt x="86" y="356"/>
                    </a:lnTo>
                    <a:lnTo>
                      <a:pt x="86" y="352"/>
                    </a:lnTo>
                    <a:lnTo>
                      <a:pt x="87" y="349"/>
                    </a:lnTo>
                    <a:lnTo>
                      <a:pt x="88" y="346"/>
                    </a:lnTo>
                    <a:lnTo>
                      <a:pt x="92" y="343"/>
                    </a:lnTo>
                    <a:lnTo>
                      <a:pt x="95" y="342"/>
                    </a:lnTo>
                    <a:lnTo>
                      <a:pt x="100" y="341"/>
                    </a:lnTo>
                    <a:lnTo>
                      <a:pt x="104" y="340"/>
                    </a:lnTo>
                    <a:lnTo>
                      <a:pt x="124" y="334"/>
                    </a:lnTo>
                    <a:lnTo>
                      <a:pt x="145" y="325"/>
                    </a:lnTo>
                    <a:lnTo>
                      <a:pt x="165" y="314"/>
                    </a:lnTo>
                    <a:lnTo>
                      <a:pt x="186" y="301"/>
                    </a:lnTo>
                    <a:lnTo>
                      <a:pt x="179" y="296"/>
                    </a:lnTo>
                    <a:lnTo>
                      <a:pt x="170" y="293"/>
                    </a:lnTo>
                    <a:lnTo>
                      <a:pt x="159" y="293"/>
                    </a:lnTo>
                    <a:lnTo>
                      <a:pt x="147" y="296"/>
                    </a:lnTo>
                    <a:lnTo>
                      <a:pt x="140" y="300"/>
                    </a:lnTo>
                    <a:lnTo>
                      <a:pt x="128" y="305"/>
                    </a:lnTo>
                    <a:lnTo>
                      <a:pt x="113" y="311"/>
                    </a:lnTo>
                    <a:lnTo>
                      <a:pt x="96" y="318"/>
                    </a:lnTo>
                    <a:lnTo>
                      <a:pt x="78" y="324"/>
                    </a:lnTo>
                    <a:lnTo>
                      <a:pt x="50" y="336"/>
                    </a:lnTo>
                    <a:lnTo>
                      <a:pt x="23" y="341"/>
                    </a:lnTo>
                    <a:lnTo>
                      <a:pt x="20" y="341"/>
                    </a:lnTo>
                    <a:lnTo>
                      <a:pt x="10" y="338"/>
                    </a:lnTo>
                    <a:lnTo>
                      <a:pt x="4" y="332"/>
                    </a:lnTo>
                    <a:lnTo>
                      <a:pt x="0" y="323"/>
                    </a:lnTo>
                    <a:lnTo>
                      <a:pt x="0" y="319"/>
                    </a:lnTo>
                    <a:lnTo>
                      <a:pt x="1" y="315"/>
                    </a:lnTo>
                    <a:lnTo>
                      <a:pt x="4" y="313"/>
                    </a:lnTo>
                    <a:lnTo>
                      <a:pt x="6" y="310"/>
                    </a:lnTo>
                    <a:lnTo>
                      <a:pt x="10" y="309"/>
                    </a:lnTo>
                    <a:lnTo>
                      <a:pt x="15" y="308"/>
                    </a:lnTo>
                    <a:lnTo>
                      <a:pt x="19" y="306"/>
                    </a:lnTo>
                    <a:lnTo>
                      <a:pt x="37" y="302"/>
                    </a:lnTo>
                    <a:lnTo>
                      <a:pt x="55" y="295"/>
                    </a:lnTo>
                    <a:lnTo>
                      <a:pt x="74" y="284"/>
                    </a:lnTo>
                    <a:lnTo>
                      <a:pt x="92" y="273"/>
                    </a:lnTo>
                    <a:lnTo>
                      <a:pt x="109" y="263"/>
                    </a:lnTo>
                    <a:lnTo>
                      <a:pt x="109" y="263"/>
                    </a:lnTo>
                    <a:lnTo>
                      <a:pt x="111" y="254"/>
                    </a:lnTo>
                    <a:lnTo>
                      <a:pt x="113" y="241"/>
                    </a:lnTo>
                    <a:lnTo>
                      <a:pt x="113" y="223"/>
                    </a:lnTo>
                    <a:lnTo>
                      <a:pt x="113" y="201"/>
                    </a:lnTo>
                    <a:lnTo>
                      <a:pt x="113" y="177"/>
                    </a:lnTo>
                    <a:lnTo>
                      <a:pt x="131" y="189"/>
                    </a:lnTo>
                    <a:lnTo>
                      <a:pt x="154" y="202"/>
                    </a:lnTo>
                    <a:lnTo>
                      <a:pt x="152" y="206"/>
                    </a:lnTo>
                    <a:lnTo>
                      <a:pt x="154" y="210"/>
                    </a:lnTo>
                    <a:lnTo>
                      <a:pt x="156" y="215"/>
                    </a:lnTo>
                    <a:lnTo>
                      <a:pt x="159" y="218"/>
                    </a:lnTo>
                    <a:lnTo>
                      <a:pt x="163" y="220"/>
                    </a:lnTo>
                    <a:lnTo>
                      <a:pt x="168" y="220"/>
                    </a:lnTo>
                    <a:lnTo>
                      <a:pt x="173" y="220"/>
                    </a:lnTo>
                    <a:lnTo>
                      <a:pt x="177" y="218"/>
                    </a:lnTo>
                    <a:lnTo>
                      <a:pt x="181" y="215"/>
                    </a:lnTo>
                    <a:lnTo>
                      <a:pt x="182" y="210"/>
                    </a:lnTo>
                    <a:lnTo>
                      <a:pt x="183" y="206"/>
                    </a:lnTo>
                    <a:lnTo>
                      <a:pt x="182" y="201"/>
                    </a:lnTo>
                    <a:lnTo>
                      <a:pt x="181" y="197"/>
                    </a:lnTo>
                    <a:lnTo>
                      <a:pt x="177" y="193"/>
                    </a:lnTo>
                    <a:lnTo>
                      <a:pt x="173" y="192"/>
                    </a:lnTo>
                    <a:lnTo>
                      <a:pt x="168" y="191"/>
                    </a:lnTo>
                    <a:lnTo>
                      <a:pt x="167" y="191"/>
                    </a:lnTo>
                    <a:lnTo>
                      <a:pt x="167" y="191"/>
                    </a:lnTo>
                    <a:lnTo>
                      <a:pt x="163" y="189"/>
                    </a:lnTo>
                    <a:lnTo>
                      <a:pt x="142" y="179"/>
                    </a:lnTo>
                    <a:lnTo>
                      <a:pt x="125" y="168"/>
                    </a:lnTo>
                    <a:lnTo>
                      <a:pt x="114" y="155"/>
                    </a:lnTo>
                    <a:lnTo>
                      <a:pt x="102" y="136"/>
                    </a:lnTo>
                    <a:lnTo>
                      <a:pt x="97" y="116"/>
                    </a:lnTo>
                    <a:lnTo>
                      <a:pt x="95" y="100"/>
                    </a:lnTo>
                    <a:lnTo>
                      <a:pt x="96" y="84"/>
                    </a:lnTo>
                    <a:lnTo>
                      <a:pt x="99" y="74"/>
                    </a:lnTo>
                    <a:lnTo>
                      <a:pt x="100" y="70"/>
                    </a:lnTo>
                    <a:lnTo>
                      <a:pt x="100" y="66"/>
                    </a:lnTo>
                    <a:lnTo>
                      <a:pt x="99" y="62"/>
                    </a:lnTo>
                    <a:lnTo>
                      <a:pt x="99" y="53"/>
                    </a:lnTo>
                    <a:lnTo>
                      <a:pt x="97" y="42"/>
                    </a:lnTo>
                    <a:lnTo>
                      <a:pt x="97" y="28"/>
                    </a:lnTo>
                    <a:lnTo>
                      <a:pt x="97" y="15"/>
                    </a:lnTo>
                    <a:lnTo>
                      <a:pt x="97" y="6"/>
                    </a:lnTo>
                    <a:lnTo>
                      <a:pt x="100" y="0"/>
                    </a:lnTo>
                    <a:lnTo>
                      <a:pt x="105" y="0"/>
                    </a:lnTo>
                    <a:lnTo>
                      <a:pt x="113" y="2"/>
                    </a:lnTo>
                    <a:lnTo>
                      <a:pt x="123" y="9"/>
                    </a:lnTo>
                    <a:lnTo>
                      <a:pt x="133" y="15"/>
                    </a:lnTo>
                    <a:lnTo>
                      <a:pt x="142" y="21"/>
                    </a:lnTo>
                    <a:lnTo>
                      <a:pt x="147" y="28"/>
                    </a:lnTo>
                    <a:lnTo>
                      <a:pt x="150" y="28"/>
                    </a:lnTo>
                    <a:lnTo>
                      <a:pt x="158" y="27"/>
                    </a:lnTo>
                    <a:lnTo>
                      <a:pt x="168" y="27"/>
                    </a:lnTo>
                    <a:lnTo>
                      <a:pt x="179" y="25"/>
                    </a:lnTo>
                    <a:lnTo>
                      <a:pt x="191" y="27"/>
                    </a:lnTo>
                    <a:lnTo>
                      <a:pt x="200" y="27"/>
                    </a:lnTo>
                    <a:lnTo>
                      <a:pt x="208" y="28"/>
                    </a:lnTo>
                    <a:lnTo>
                      <a:pt x="210" y="28"/>
                    </a:lnTo>
                    <a:lnTo>
                      <a:pt x="215" y="21"/>
                    </a:lnTo>
                    <a:lnTo>
                      <a:pt x="223" y="15"/>
                    </a:lnTo>
                    <a:lnTo>
                      <a:pt x="233" y="9"/>
                    </a:lnTo>
                    <a:lnTo>
                      <a:pt x="243" y="2"/>
                    </a:lnTo>
                    <a:lnTo>
                      <a:pt x="25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mn-lt"/>
                  <a:ea typeface="楷体" panose="02010609060101010101" pitchFamily="49" charset="-122"/>
                </a:endParaRPr>
              </a:p>
            </p:txBody>
          </p:sp>
        </p:grpSp>
        <p:sp>
          <p:nvSpPr>
            <p:cNvPr id="367" name="Rectangle 366"/>
            <p:cNvSpPr/>
            <p:nvPr/>
          </p:nvSpPr>
          <p:spPr>
            <a:xfrm>
              <a:off x="-784304" y="2651186"/>
              <a:ext cx="312056" cy="195035"/>
            </a:xfrm>
            <a:prstGeom prst="rect">
              <a:avLst/>
            </a:prstGeom>
            <a:solidFill>
              <a:schemeClr val="bg1"/>
            </a:solidFill>
            <a:ln w="19050">
              <a:solidFill>
                <a:srgbClr val="0065BD"/>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800" b="1" dirty="0">
                  <a:solidFill>
                    <a:srgbClr val="0065BD"/>
                  </a:solidFill>
                  <a:ea typeface="楷体" panose="02010609060101010101" pitchFamily="49" charset="-122"/>
                  <a:cs typeface="SimSun"/>
                </a:rPr>
                <a:t>猫</a:t>
              </a:r>
            </a:p>
          </p:txBody>
        </p:sp>
      </p:grpSp>
      <p:sp>
        <p:nvSpPr>
          <p:cNvPr id="311" name="Rectangle 310"/>
          <p:cNvSpPr>
            <a:spLocks/>
          </p:cNvSpPr>
          <p:nvPr/>
        </p:nvSpPr>
        <p:spPr>
          <a:xfrm>
            <a:off x="6338328" y="3339621"/>
            <a:ext cx="1043796" cy="2553419"/>
          </a:xfrm>
          <a:prstGeom prst="rect">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12" name="Rectangle 311"/>
          <p:cNvSpPr/>
          <p:nvPr/>
        </p:nvSpPr>
        <p:spPr>
          <a:xfrm>
            <a:off x="6338328" y="3339622"/>
            <a:ext cx="1043796" cy="595222"/>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13" name="Rectangle 312"/>
          <p:cNvSpPr/>
          <p:nvPr/>
        </p:nvSpPr>
        <p:spPr>
          <a:xfrm>
            <a:off x="6338328" y="5297818"/>
            <a:ext cx="1043796" cy="595222"/>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14" name="Rectangle 313"/>
          <p:cNvSpPr/>
          <p:nvPr/>
        </p:nvSpPr>
        <p:spPr>
          <a:xfrm>
            <a:off x="6533745" y="3557407"/>
            <a:ext cx="422214" cy="263884"/>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15" name="Freeform 854"/>
          <p:cNvSpPr>
            <a:spLocks/>
          </p:cNvSpPr>
          <p:nvPr/>
        </p:nvSpPr>
        <p:spPr bwMode="auto">
          <a:xfrm>
            <a:off x="6533745" y="3634882"/>
            <a:ext cx="279119" cy="186409"/>
          </a:xfrm>
          <a:custGeom>
            <a:avLst/>
            <a:gdLst>
              <a:gd name="T0" fmla="*/ 260 w 563"/>
              <a:gd name="T1" fmla="*/ 15 h 376"/>
              <a:gd name="T2" fmla="*/ 258 w 563"/>
              <a:gd name="T3" fmla="*/ 62 h 376"/>
              <a:gd name="T4" fmla="*/ 264 w 563"/>
              <a:gd name="T5" fmla="*/ 86 h 376"/>
              <a:gd name="T6" fmla="*/ 270 w 563"/>
              <a:gd name="T7" fmla="*/ 100 h 376"/>
              <a:gd name="T8" fmla="*/ 305 w 563"/>
              <a:gd name="T9" fmla="*/ 74 h 376"/>
              <a:gd name="T10" fmla="*/ 388 w 563"/>
              <a:gd name="T11" fmla="*/ 53 h 376"/>
              <a:gd name="T12" fmla="*/ 486 w 563"/>
              <a:gd name="T13" fmla="*/ 101 h 376"/>
              <a:gd name="T14" fmla="*/ 558 w 563"/>
              <a:gd name="T15" fmla="*/ 206 h 376"/>
              <a:gd name="T16" fmla="*/ 559 w 563"/>
              <a:gd name="T17" fmla="*/ 275 h 376"/>
              <a:gd name="T18" fmla="*/ 528 w 563"/>
              <a:gd name="T19" fmla="*/ 320 h 376"/>
              <a:gd name="T20" fmla="*/ 447 w 563"/>
              <a:gd name="T21" fmla="*/ 338 h 376"/>
              <a:gd name="T22" fmla="*/ 360 w 563"/>
              <a:gd name="T23" fmla="*/ 342 h 376"/>
              <a:gd name="T24" fmla="*/ 327 w 563"/>
              <a:gd name="T25" fmla="*/ 350 h 376"/>
              <a:gd name="T26" fmla="*/ 313 w 563"/>
              <a:gd name="T27" fmla="*/ 338 h 376"/>
              <a:gd name="T28" fmla="*/ 350 w 563"/>
              <a:gd name="T29" fmla="*/ 302 h 376"/>
              <a:gd name="T30" fmla="*/ 437 w 563"/>
              <a:gd name="T31" fmla="*/ 299 h 376"/>
              <a:gd name="T32" fmla="*/ 483 w 563"/>
              <a:gd name="T33" fmla="*/ 284 h 376"/>
              <a:gd name="T34" fmla="*/ 501 w 563"/>
              <a:gd name="T35" fmla="*/ 254 h 376"/>
              <a:gd name="T36" fmla="*/ 496 w 563"/>
              <a:gd name="T37" fmla="*/ 255 h 376"/>
              <a:gd name="T38" fmla="*/ 485 w 563"/>
              <a:gd name="T39" fmla="*/ 261 h 376"/>
              <a:gd name="T40" fmla="*/ 449 w 563"/>
              <a:gd name="T41" fmla="*/ 277 h 376"/>
              <a:gd name="T42" fmla="*/ 369 w 563"/>
              <a:gd name="T43" fmla="*/ 278 h 376"/>
              <a:gd name="T44" fmla="*/ 292 w 563"/>
              <a:gd name="T45" fmla="*/ 296 h 376"/>
              <a:gd name="T46" fmla="*/ 249 w 563"/>
              <a:gd name="T47" fmla="*/ 320 h 376"/>
              <a:gd name="T48" fmla="*/ 209 w 563"/>
              <a:gd name="T49" fmla="*/ 341 h 376"/>
              <a:gd name="T50" fmla="*/ 134 w 563"/>
              <a:gd name="T51" fmla="*/ 369 h 376"/>
              <a:gd name="T52" fmla="*/ 90 w 563"/>
              <a:gd name="T53" fmla="*/ 367 h 376"/>
              <a:gd name="T54" fmla="*/ 88 w 563"/>
              <a:gd name="T55" fmla="*/ 346 h 376"/>
              <a:gd name="T56" fmla="*/ 104 w 563"/>
              <a:gd name="T57" fmla="*/ 340 h 376"/>
              <a:gd name="T58" fmla="*/ 186 w 563"/>
              <a:gd name="T59" fmla="*/ 301 h 376"/>
              <a:gd name="T60" fmla="*/ 147 w 563"/>
              <a:gd name="T61" fmla="*/ 296 h 376"/>
              <a:gd name="T62" fmla="*/ 96 w 563"/>
              <a:gd name="T63" fmla="*/ 318 h 376"/>
              <a:gd name="T64" fmla="*/ 20 w 563"/>
              <a:gd name="T65" fmla="*/ 341 h 376"/>
              <a:gd name="T66" fmla="*/ 0 w 563"/>
              <a:gd name="T67" fmla="*/ 319 h 376"/>
              <a:gd name="T68" fmla="*/ 10 w 563"/>
              <a:gd name="T69" fmla="*/ 309 h 376"/>
              <a:gd name="T70" fmla="*/ 55 w 563"/>
              <a:gd name="T71" fmla="*/ 295 h 376"/>
              <a:gd name="T72" fmla="*/ 109 w 563"/>
              <a:gd name="T73" fmla="*/ 263 h 376"/>
              <a:gd name="T74" fmla="*/ 113 w 563"/>
              <a:gd name="T75" fmla="*/ 201 h 376"/>
              <a:gd name="T76" fmla="*/ 152 w 563"/>
              <a:gd name="T77" fmla="*/ 206 h 376"/>
              <a:gd name="T78" fmla="*/ 163 w 563"/>
              <a:gd name="T79" fmla="*/ 220 h 376"/>
              <a:gd name="T80" fmla="*/ 181 w 563"/>
              <a:gd name="T81" fmla="*/ 215 h 376"/>
              <a:gd name="T82" fmla="*/ 181 w 563"/>
              <a:gd name="T83" fmla="*/ 197 h 376"/>
              <a:gd name="T84" fmla="*/ 167 w 563"/>
              <a:gd name="T85" fmla="*/ 191 h 376"/>
              <a:gd name="T86" fmla="*/ 125 w 563"/>
              <a:gd name="T87" fmla="*/ 168 h 376"/>
              <a:gd name="T88" fmla="*/ 95 w 563"/>
              <a:gd name="T89" fmla="*/ 100 h 376"/>
              <a:gd name="T90" fmla="*/ 100 w 563"/>
              <a:gd name="T91" fmla="*/ 66 h 376"/>
              <a:gd name="T92" fmla="*/ 97 w 563"/>
              <a:gd name="T93" fmla="*/ 28 h 376"/>
              <a:gd name="T94" fmla="*/ 105 w 563"/>
              <a:gd name="T95" fmla="*/ 0 h 376"/>
              <a:gd name="T96" fmla="*/ 142 w 563"/>
              <a:gd name="T97" fmla="*/ 21 h 376"/>
              <a:gd name="T98" fmla="*/ 168 w 563"/>
              <a:gd name="T99" fmla="*/ 27 h 376"/>
              <a:gd name="T100" fmla="*/ 208 w 563"/>
              <a:gd name="T101" fmla="*/ 28 h 376"/>
              <a:gd name="T102" fmla="*/ 233 w 563"/>
              <a:gd name="T103" fmla="*/ 9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3" h="376">
                <a:moveTo>
                  <a:pt x="252" y="0"/>
                </a:moveTo>
                <a:lnTo>
                  <a:pt x="258" y="0"/>
                </a:lnTo>
                <a:lnTo>
                  <a:pt x="259" y="6"/>
                </a:lnTo>
                <a:lnTo>
                  <a:pt x="260" y="15"/>
                </a:lnTo>
                <a:lnTo>
                  <a:pt x="260" y="28"/>
                </a:lnTo>
                <a:lnTo>
                  <a:pt x="259" y="42"/>
                </a:lnTo>
                <a:lnTo>
                  <a:pt x="259" y="53"/>
                </a:lnTo>
                <a:lnTo>
                  <a:pt x="258" y="62"/>
                </a:lnTo>
                <a:lnTo>
                  <a:pt x="258" y="66"/>
                </a:lnTo>
                <a:lnTo>
                  <a:pt x="259" y="69"/>
                </a:lnTo>
                <a:lnTo>
                  <a:pt x="261" y="75"/>
                </a:lnTo>
                <a:lnTo>
                  <a:pt x="264" y="86"/>
                </a:lnTo>
                <a:lnTo>
                  <a:pt x="267" y="98"/>
                </a:lnTo>
                <a:lnTo>
                  <a:pt x="268" y="98"/>
                </a:lnTo>
                <a:lnTo>
                  <a:pt x="270" y="100"/>
                </a:lnTo>
                <a:lnTo>
                  <a:pt x="270" y="100"/>
                </a:lnTo>
                <a:lnTo>
                  <a:pt x="273" y="97"/>
                </a:lnTo>
                <a:lnTo>
                  <a:pt x="279" y="91"/>
                </a:lnTo>
                <a:lnTo>
                  <a:pt x="291" y="83"/>
                </a:lnTo>
                <a:lnTo>
                  <a:pt x="305" y="74"/>
                </a:lnTo>
                <a:lnTo>
                  <a:pt x="322" y="65"/>
                </a:lnTo>
                <a:lnTo>
                  <a:pt x="342" y="57"/>
                </a:lnTo>
                <a:lnTo>
                  <a:pt x="364" y="53"/>
                </a:lnTo>
                <a:lnTo>
                  <a:pt x="388" y="53"/>
                </a:lnTo>
                <a:lnTo>
                  <a:pt x="412" y="57"/>
                </a:lnTo>
                <a:lnTo>
                  <a:pt x="436" y="68"/>
                </a:lnTo>
                <a:lnTo>
                  <a:pt x="462" y="83"/>
                </a:lnTo>
                <a:lnTo>
                  <a:pt x="486" y="101"/>
                </a:lnTo>
                <a:lnTo>
                  <a:pt x="509" y="124"/>
                </a:lnTo>
                <a:lnTo>
                  <a:pt x="530" y="150"/>
                </a:lnTo>
                <a:lnTo>
                  <a:pt x="546" y="177"/>
                </a:lnTo>
                <a:lnTo>
                  <a:pt x="558" y="206"/>
                </a:lnTo>
                <a:lnTo>
                  <a:pt x="563" y="237"/>
                </a:lnTo>
                <a:lnTo>
                  <a:pt x="563" y="254"/>
                </a:lnTo>
                <a:lnTo>
                  <a:pt x="560" y="265"/>
                </a:lnTo>
                <a:lnTo>
                  <a:pt x="559" y="275"/>
                </a:lnTo>
                <a:lnTo>
                  <a:pt x="555" y="287"/>
                </a:lnTo>
                <a:lnTo>
                  <a:pt x="549" y="299"/>
                </a:lnTo>
                <a:lnTo>
                  <a:pt x="540" y="310"/>
                </a:lnTo>
                <a:lnTo>
                  <a:pt x="528" y="320"/>
                </a:lnTo>
                <a:lnTo>
                  <a:pt x="514" y="329"/>
                </a:lnTo>
                <a:lnTo>
                  <a:pt x="495" y="336"/>
                </a:lnTo>
                <a:lnTo>
                  <a:pt x="473" y="338"/>
                </a:lnTo>
                <a:lnTo>
                  <a:pt x="447" y="338"/>
                </a:lnTo>
                <a:lnTo>
                  <a:pt x="424" y="337"/>
                </a:lnTo>
                <a:lnTo>
                  <a:pt x="403" y="337"/>
                </a:lnTo>
                <a:lnTo>
                  <a:pt x="381" y="338"/>
                </a:lnTo>
                <a:lnTo>
                  <a:pt x="360" y="342"/>
                </a:lnTo>
                <a:lnTo>
                  <a:pt x="340" y="349"/>
                </a:lnTo>
                <a:lnTo>
                  <a:pt x="336" y="350"/>
                </a:lnTo>
                <a:lnTo>
                  <a:pt x="332" y="350"/>
                </a:lnTo>
                <a:lnTo>
                  <a:pt x="327" y="350"/>
                </a:lnTo>
                <a:lnTo>
                  <a:pt x="323" y="349"/>
                </a:lnTo>
                <a:lnTo>
                  <a:pt x="319" y="346"/>
                </a:lnTo>
                <a:lnTo>
                  <a:pt x="315" y="342"/>
                </a:lnTo>
                <a:lnTo>
                  <a:pt x="313" y="338"/>
                </a:lnTo>
                <a:lnTo>
                  <a:pt x="311" y="328"/>
                </a:lnTo>
                <a:lnTo>
                  <a:pt x="317" y="318"/>
                </a:lnTo>
                <a:lnTo>
                  <a:pt x="326" y="311"/>
                </a:lnTo>
                <a:lnTo>
                  <a:pt x="350" y="302"/>
                </a:lnTo>
                <a:lnTo>
                  <a:pt x="374" y="299"/>
                </a:lnTo>
                <a:lnTo>
                  <a:pt x="400" y="297"/>
                </a:lnTo>
                <a:lnTo>
                  <a:pt x="428" y="299"/>
                </a:lnTo>
                <a:lnTo>
                  <a:pt x="437" y="299"/>
                </a:lnTo>
                <a:lnTo>
                  <a:pt x="447" y="297"/>
                </a:lnTo>
                <a:lnTo>
                  <a:pt x="472" y="292"/>
                </a:lnTo>
                <a:lnTo>
                  <a:pt x="478" y="288"/>
                </a:lnTo>
                <a:lnTo>
                  <a:pt x="483" y="284"/>
                </a:lnTo>
                <a:lnTo>
                  <a:pt x="492" y="275"/>
                </a:lnTo>
                <a:lnTo>
                  <a:pt x="498" y="266"/>
                </a:lnTo>
                <a:lnTo>
                  <a:pt x="500" y="259"/>
                </a:lnTo>
                <a:lnTo>
                  <a:pt x="501" y="254"/>
                </a:lnTo>
                <a:lnTo>
                  <a:pt x="501" y="254"/>
                </a:lnTo>
                <a:lnTo>
                  <a:pt x="500" y="254"/>
                </a:lnTo>
                <a:lnTo>
                  <a:pt x="499" y="254"/>
                </a:lnTo>
                <a:lnTo>
                  <a:pt x="496" y="255"/>
                </a:lnTo>
                <a:lnTo>
                  <a:pt x="492" y="256"/>
                </a:lnTo>
                <a:lnTo>
                  <a:pt x="490" y="259"/>
                </a:lnTo>
                <a:lnTo>
                  <a:pt x="487" y="260"/>
                </a:lnTo>
                <a:lnTo>
                  <a:pt x="485" y="261"/>
                </a:lnTo>
                <a:lnTo>
                  <a:pt x="480" y="266"/>
                </a:lnTo>
                <a:lnTo>
                  <a:pt x="469" y="272"/>
                </a:lnTo>
                <a:lnTo>
                  <a:pt x="459" y="275"/>
                </a:lnTo>
                <a:lnTo>
                  <a:pt x="449" y="277"/>
                </a:lnTo>
                <a:lnTo>
                  <a:pt x="433" y="277"/>
                </a:lnTo>
                <a:lnTo>
                  <a:pt x="418" y="277"/>
                </a:lnTo>
                <a:lnTo>
                  <a:pt x="403" y="275"/>
                </a:lnTo>
                <a:lnTo>
                  <a:pt x="369" y="278"/>
                </a:lnTo>
                <a:lnTo>
                  <a:pt x="340" y="281"/>
                </a:lnTo>
                <a:lnTo>
                  <a:pt x="318" y="286"/>
                </a:lnTo>
                <a:lnTo>
                  <a:pt x="303" y="291"/>
                </a:lnTo>
                <a:lnTo>
                  <a:pt x="292" y="296"/>
                </a:lnTo>
                <a:lnTo>
                  <a:pt x="279" y="302"/>
                </a:lnTo>
                <a:lnTo>
                  <a:pt x="267" y="310"/>
                </a:lnTo>
                <a:lnTo>
                  <a:pt x="255" y="317"/>
                </a:lnTo>
                <a:lnTo>
                  <a:pt x="249" y="320"/>
                </a:lnTo>
                <a:lnTo>
                  <a:pt x="243" y="323"/>
                </a:lnTo>
                <a:lnTo>
                  <a:pt x="235" y="328"/>
                </a:lnTo>
                <a:lnTo>
                  <a:pt x="223" y="333"/>
                </a:lnTo>
                <a:lnTo>
                  <a:pt x="209" y="341"/>
                </a:lnTo>
                <a:lnTo>
                  <a:pt x="192" y="349"/>
                </a:lnTo>
                <a:lnTo>
                  <a:pt x="177" y="355"/>
                </a:lnTo>
                <a:lnTo>
                  <a:pt x="160" y="360"/>
                </a:lnTo>
                <a:lnTo>
                  <a:pt x="134" y="369"/>
                </a:lnTo>
                <a:lnTo>
                  <a:pt x="109" y="376"/>
                </a:lnTo>
                <a:lnTo>
                  <a:pt x="106" y="376"/>
                </a:lnTo>
                <a:lnTo>
                  <a:pt x="96" y="373"/>
                </a:lnTo>
                <a:lnTo>
                  <a:pt x="90" y="367"/>
                </a:lnTo>
                <a:lnTo>
                  <a:pt x="86" y="356"/>
                </a:lnTo>
                <a:lnTo>
                  <a:pt x="86" y="352"/>
                </a:lnTo>
                <a:lnTo>
                  <a:pt x="87" y="349"/>
                </a:lnTo>
                <a:lnTo>
                  <a:pt x="88" y="346"/>
                </a:lnTo>
                <a:lnTo>
                  <a:pt x="92" y="343"/>
                </a:lnTo>
                <a:lnTo>
                  <a:pt x="95" y="342"/>
                </a:lnTo>
                <a:lnTo>
                  <a:pt x="100" y="341"/>
                </a:lnTo>
                <a:lnTo>
                  <a:pt x="104" y="340"/>
                </a:lnTo>
                <a:lnTo>
                  <a:pt x="124" y="334"/>
                </a:lnTo>
                <a:lnTo>
                  <a:pt x="145" y="325"/>
                </a:lnTo>
                <a:lnTo>
                  <a:pt x="165" y="314"/>
                </a:lnTo>
                <a:lnTo>
                  <a:pt x="186" y="301"/>
                </a:lnTo>
                <a:lnTo>
                  <a:pt x="179" y="296"/>
                </a:lnTo>
                <a:lnTo>
                  <a:pt x="170" y="293"/>
                </a:lnTo>
                <a:lnTo>
                  <a:pt x="159" y="293"/>
                </a:lnTo>
                <a:lnTo>
                  <a:pt x="147" y="296"/>
                </a:lnTo>
                <a:lnTo>
                  <a:pt x="140" y="300"/>
                </a:lnTo>
                <a:lnTo>
                  <a:pt x="128" y="305"/>
                </a:lnTo>
                <a:lnTo>
                  <a:pt x="113" y="311"/>
                </a:lnTo>
                <a:lnTo>
                  <a:pt x="96" y="318"/>
                </a:lnTo>
                <a:lnTo>
                  <a:pt x="78" y="324"/>
                </a:lnTo>
                <a:lnTo>
                  <a:pt x="50" y="336"/>
                </a:lnTo>
                <a:lnTo>
                  <a:pt x="23" y="341"/>
                </a:lnTo>
                <a:lnTo>
                  <a:pt x="20" y="341"/>
                </a:lnTo>
                <a:lnTo>
                  <a:pt x="10" y="338"/>
                </a:lnTo>
                <a:lnTo>
                  <a:pt x="4" y="332"/>
                </a:lnTo>
                <a:lnTo>
                  <a:pt x="0" y="323"/>
                </a:lnTo>
                <a:lnTo>
                  <a:pt x="0" y="319"/>
                </a:lnTo>
                <a:lnTo>
                  <a:pt x="1" y="315"/>
                </a:lnTo>
                <a:lnTo>
                  <a:pt x="4" y="313"/>
                </a:lnTo>
                <a:lnTo>
                  <a:pt x="6" y="310"/>
                </a:lnTo>
                <a:lnTo>
                  <a:pt x="10" y="309"/>
                </a:lnTo>
                <a:lnTo>
                  <a:pt x="15" y="308"/>
                </a:lnTo>
                <a:lnTo>
                  <a:pt x="19" y="306"/>
                </a:lnTo>
                <a:lnTo>
                  <a:pt x="37" y="302"/>
                </a:lnTo>
                <a:lnTo>
                  <a:pt x="55" y="295"/>
                </a:lnTo>
                <a:lnTo>
                  <a:pt x="74" y="284"/>
                </a:lnTo>
                <a:lnTo>
                  <a:pt x="92" y="273"/>
                </a:lnTo>
                <a:lnTo>
                  <a:pt x="109" y="263"/>
                </a:lnTo>
                <a:lnTo>
                  <a:pt x="109" y="263"/>
                </a:lnTo>
                <a:lnTo>
                  <a:pt x="111" y="254"/>
                </a:lnTo>
                <a:lnTo>
                  <a:pt x="113" y="241"/>
                </a:lnTo>
                <a:lnTo>
                  <a:pt x="113" y="223"/>
                </a:lnTo>
                <a:lnTo>
                  <a:pt x="113" y="201"/>
                </a:lnTo>
                <a:lnTo>
                  <a:pt x="113" y="177"/>
                </a:lnTo>
                <a:lnTo>
                  <a:pt x="131" y="189"/>
                </a:lnTo>
                <a:lnTo>
                  <a:pt x="154" y="202"/>
                </a:lnTo>
                <a:lnTo>
                  <a:pt x="152" y="206"/>
                </a:lnTo>
                <a:lnTo>
                  <a:pt x="154" y="210"/>
                </a:lnTo>
                <a:lnTo>
                  <a:pt x="156" y="215"/>
                </a:lnTo>
                <a:lnTo>
                  <a:pt x="159" y="218"/>
                </a:lnTo>
                <a:lnTo>
                  <a:pt x="163" y="220"/>
                </a:lnTo>
                <a:lnTo>
                  <a:pt x="168" y="220"/>
                </a:lnTo>
                <a:lnTo>
                  <a:pt x="173" y="220"/>
                </a:lnTo>
                <a:lnTo>
                  <a:pt x="177" y="218"/>
                </a:lnTo>
                <a:lnTo>
                  <a:pt x="181" y="215"/>
                </a:lnTo>
                <a:lnTo>
                  <a:pt x="182" y="210"/>
                </a:lnTo>
                <a:lnTo>
                  <a:pt x="183" y="206"/>
                </a:lnTo>
                <a:lnTo>
                  <a:pt x="182" y="201"/>
                </a:lnTo>
                <a:lnTo>
                  <a:pt x="181" y="197"/>
                </a:lnTo>
                <a:lnTo>
                  <a:pt x="177" y="193"/>
                </a:lnTo>
                <a:lnTo>
                  <a:pt x="173" y="192"/>
                </a:lnTo>
                <a:lnTo>
                  <a:pt x="168" y="191"/>
                </a:lnTo>
                <a:lnTo>
                  <a:pt x="167" y="191"/>
                </a:lnTo>
                <a:lnTo>
                  <a:pt x="167" y="191"/>
                </a:lnTo>
                <a:lnTo>
                  <a:pt x="163" y="189"/>
                </a:lnTo>
                <a:lnTo>
                  <a:pt x="142" y="179"/>
                </a:lnTo>
                <a:lnTo>
                  <a:pt x="125" y="168"/>
                </a:lnTo>
                <a:lnTo>
                  <a:pt x="114" y="155"/>
                </a:lnTo>
                <a:lnTo>
                  <a:pt x="102" y="136"/>
                </a:lnTo>
                <a:lnTo>
                  <a:pt x="97" y="116"/>
                </a:lnTo>
                <a:lnTo>
                  <a:pt x="95" y="100"/>
                </a:lnTo>
                <a:lnTo>
                  <a:pt x="96" y="84"/>
                </a:lnTo>
                <a:lnTo>
                  <a:pt x="99" y="74"/>
                </a:lnTo>
                <a:lnTo>
                  <a:pt x="100" y="70"/>
                </a:lnTo>
                <a:lnTo>
                  <a:pt x="100" y="66"/>
                </a:lnTo>
                <a:lnTo>
                  <a:pt x="99" y="62"/>
                </a:lnTo>
                <a:lnTo>
                  <a:pt x="99" y="53"/>
                </a:lnTo>
                <a:lnTo>
                  <a:pt x="97" y="42"/>
                </a:lnTo>
                <a:lnTo>
                  <a:pt x="97" y="28"/>
                </a:lnTo>
                <a:lnTo>
                  <a:pt x="97" y="15"/>
                </a:lnTo>
                <a:lnTo>
                  <a:pt x="97" y="6"/>
                </a:lnTo>
                <a:lnTo>
                  <a:pt x="100" y="0"/>
                </a:lnTo>
                <a:lnTo>
                  <a:pt x="105" y="0"/>
                </a:lnTo>
                <a:lnTo>
                  <a:pt x="113" y="2"/>
                </a:lnTo>
                <a:lnTo>
                  <a:pt x="123" y="9"/>
                </a:lnTo>
                <a:lnTo>
                  <a:pt x="133" y="15"/>
                </a:lnTo>
                <a:lnTo>
                  <a:pt x="142" y="21"/>
                </a:lnTo>
                <a:lnTo>
                  <a:pt x="147" y="28"/>
                </a:lnTo>
                <a:lnTo>
                  <a:pt x="150" y="28"/>
                </a:lnTo>
                <a:lnTo>
                  <a:pt x="158" y="27"/>
                </a:lnTo>
                <a:lnTo>
                  <a:pt x="168" y="27"/>
                </a:lnTo>
                <a:lnTo>
                  <a:pt x="179" y="25"/>
                </a:lnTo>
                <a:lnTo>
                  <a:pt x="191" y="27"/>
                </a:lnTo>
                <a:lnTo>
                  <a:pt x="200" y="27"/>
                </a:lnTo>
                <a:lnTo>
                  <a:pt x="208" y="28"/>
                </a:lnTo>
                <a:lnTo>
                  <a:pt x="210" y="28"/>
                </a:lnTo>
                <a:lnTo>
                  <a:pt x="215" y="21"/>
                </a:lnTo>
                <a:lnTo>
                  <a:pt x="223" y="15"/>
                </a:lnTo>
                <a:lnTo>
                  <a:pt x="233" y="9"/>
                </a:lnTo>
                <a:lnTo>
                  <a:pt x="243" y="2"/>
                </a:lnTo>
                <a:lnTo>
                  <a:pt x="25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mn-lt"/>
              <a:ea typeface="楷体" panose="02010609060101010101" pitchFamily="49" charset="-122"/>
            </a:endParaRPr>
          </a:p>
        </p:txBody>
      </p:sp>
      <p:sp>
        <p:nvSpPr>
          <p:cNvPr id="316" name="TextBox 315"/>
          <p:cNvSpPr txBox="1"/>
          <p:nvPr/>
        </p:nvSpPr>
        <p:spPr>
          <a:xfrm>
            <a:off x="6887133" y="3668561"/>
            <a:ext cx="313358" cy="213492"/>
          </a:xfrm>
          <a:prstGeom prst="rect">
            <a:avLst/>
          </a:prstGeom>
          <a:solidFill>
            <a:schemeClr val="bg1"/>
          </a:solidFill>
          <a:ln w="28575">
            <a:solidFill>
              <a:srgbClr val="0065BD"/>
            </a:solidFill>
          </a:ln>
        </p:spPr>
        <p:txBody>
          <a:bodyPr vert="horz" wrap="square" lIns="72009" tIns="72009" rIns="72009" bIns="72009"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zh-CN" sz="1000" dirty="0">
                <a:solidFill>
                  <a:srgbClr val="000000"/>
                </a:solidFill>
                <a:ea typeface="楷体" panose="02010609060101010101" pitchFamily="49" charset="-122"/>
                <a:cs typeface="SimSun"/>
              </a:rPr>
              <a:t>“?”</a:t>
            </a:r>
          </a:p>
        </p:txBody>
      </p:sp>
      <p:sp>
        <p:nvSpPr>
          <p:cNvPr id="317" name="Rectangle 316"/>
          <p:cNvSpPr/>
          <p:nvPr/>
        </p:nvSpPr>
        <p:spPr>
          <a:xfrm>
            <a:off x="6497083" y="4086818"/>
            <a:ext cx="726287" cy="1059025"/>
          </a:xfrm>
          <a:prstGeom prst="rect">
            <a:avLst/>
          </a:prstGeom>
          <a:solidFill>
            <a:srgbClr val="0065B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grpSp>
        <p:nvGrpSpPr>
          <p:cNvPr id="318" name="Group 317"/>
          <p:cNvGrpSpPr/>
          <p:nvPr/>
        </p:nvGrpSpPr>
        <p:grpSpPr>
          <a:xfrm>
            <a:off x="6615266" y="4195782"/>
            <a:ext cx="489921" cy="841096"/>
            <a:chOff x="2622430" y="3499224"/>
            <a:chExt cx="909565" cy="1561540"/>
          </a:xfrm>
        </p:grpSpPr>
        <p:sp>
          <p:nvSpPr>
            <p:cNvPr id="342" name="Oval 341"/>
            <p:cNvSpPr/>
            <p:nvPr/>
          </p:nvSpPr>
          <p:spPr>
            <a:xfrm>
              <a:off x="2622430" y="3499224"/>
              <a:ext cx="57959" cy="57959"/>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43" name="Oval 342"/>
            <p:cNvSpPr/>
            <p:nvPr/>
          </p:nvSpPr>
          <p:spPr>
            <a:xfrm>
              <a:off x="2913149" y="3499224"/>
              <a:ext cx="57959" cy="57959"/>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44" name="Oval 343"/>
            <p:cNvSpPr/>
            <p:nvPr/>
          </p:nvSpPr>
          <p:spPr>
            <a:xfrm>
              <a:off x="3183317" y="3499224"/>
              <a:ext cx="57959" cy="57959"/>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45" name="Oval 344"/>
            <p:cNvSpPr/>
            <p:nvPr/>
          </p:nvSpPr>
          <p:spPr>
            <a:xfrm>
              <a:off x="3474036" y="3499224"/>
              <a:ext cx="57959" cy="57959"/>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46" name="Oval 345"/>
            <p:cNvSpPr/>
            <p:nvPr/>
          </p:nvSpPr>
          <p:spPr>
            <a:xfrm>
              <a:off x="3317427" y="3975475"/>
              <a:ext cx="101227" cy="101227"/>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47" name="Oval 346"/>
            <p:cNvSpPr/>
            <p:nvPr/>
          </p:nvSpPr>
          <p:spPr>
            <a:xfrm>
              <a:off x="3049562" y="4002276"/>
              <a:ext cx="53600" cy="53600"/>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48" name="Oval 347"/>
            <p:cNvSpPr/>
            <p:nvPr/>
          </p:nvSpPr>
          <p:spPr>
            <a:xfrm>
              <a:off x="2767338" y="4002276"/>
              <a:ext cx="53600" cy="53600"/>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49" name="Oval 348"/>
            <p:cNvSpPr/>
            <p:nvPr/>
          </p:nvSpPr>
          <p:spPr>
            <a:xfrm>
              <a:off x="2767338" y="4511863"/>
              <a:ext cx="53600" cy="53600"/>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50" name="Oval 349"/>
            <p:cNvSpPr/>
            <p:nvPr/>
          </p:nvSpPr>
          <p:spPr>
            <a:xfrm>
              <a:off x="3049562" y="4511863"/>
              <a:ext cx="53600" cy="53600"/>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51" name="Oval 350"/>
            <p:cNvSpPr/>
            <p:nvPr/>
          </p:nvSpPr>
          <p:spPr>
            <a:xfrm>
              <a:off x="3330544" y="4511863"/>
              <a:ext cx="53600" cy="53600"/>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52" name="Oval 351"/>
            <p:cNvSpPr/>
            <p:nvPr/>
          </p:nvSpPr>
          <p:spPr>
            <a:xfrm>
              <a:off x="3192220" y="5007164"/>
              <a:ext cx="53600" cy="53600"/>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53" name="Oval 352"/>
            <p:cNvSpPr/>
            <p:nvPr/>
          </p:nvSpPr>
          <p:spPr>
            <a:xfrm>
              <a:off x="2917508" y="5007164"/>
              <a:ext cx="53600" cy="53600"/>
            </a:xfrm>
            <a:prstGeom prst="ellipse">
              <a:avLst/>
            </a:prstGeom>
            <a:solidFill>
              <a:schemeClr val="bg1"/>
            </a:solid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grpSp>
          <p:nvGrpSpPr>
            <p:cNvPr id="354" name="Group 353"/>
            <p:cNvGrpSpPr/>
            <p:nvPr/>
          </p:nvGrpSpPr>
          <p:grpSpPr>
            <a:xfrm>
              <a:off x="2667000" y="3538538"/>
              <a:ext cx="823913" cy="1490662"/>
              <a:chOff x="2667000" y="3538538"/>
              <a:chExt cx="823913" cy="1490662"/>
            </a:xfrm>
          </p:grpSpPr>
          <p:sp>
            <p:nvSpPr>
              <p:cNvPr id="355" name="Freeform 354"/>
              <p:cNvSpPr/>
              <p:nvPr/>
            </p:nvSpPr>
            <p:spPr>
              <a:xfrm>
                <a:off x="2667000" y="3538538"/>
                <a:ext cx="661988" cy="481012"/>
              </a:xfrm>
              <a:custGeom>
                <a:avLst/>
                <a:gdLst>
                  <a:gd name="connsiteX0" fmla="*/ 119063 w 661988"/>
                  <a:gd name="connsiteY0" fmla="*/ 466725 h 481012"/>
                  <a:gd name="connsiteX1" fmla="*/ 0 w 661988"/>
                  <a:gd name="connsiteY1" fmla="*/ 0 h 481012"/>
                  <a:gd name="connsiteX2" fmla="*/ 661988 w 661988"/>
                  <a:gd name="connsiteY2" fmla="*/ 471487 h 481012"/>
                  <a:gd name="connsiteX3" fmla="*/ 304800 w 661988"/>
                  <a:gd name="connsiteY3" fmla="*/ 14287 h 481012"/>
                  <a:gd name="connsiteX4" fmla="*/ 419100 w 661988"/>
                  <a:gd name="connsiteY4" fmla="*/ 481012 h 481012"/>
                  <a:gd name="connsiteX5" fmla="*/ 4763 w 661988"/>
                  <a:gd name="connsiteY5" fmla="*/ 33337 h 481012"/>
                  <a:gd name="connsiteX6" fmla="*/ 4763 w 661988"/>
                  <a:gd name="connsiteY6" fmla="*/ 14287 h 48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988" h="481012">
                    <a:moveTo>
                      <a:pt x="119063" y="466725"/>
                    </a:moveTo>
                    <a:lnTo>
                      <a:pt x="0" y="0"/>
                    </a:lnTo>
                    <a:lnTo>
                      <a:pt x="661988" y="471487"/>
                    </a:lnTo>
                    <a:lnTo>
                      <a:pt x="304800" y="14287"/>
                    </a:lnTo>
                    <a:lnTo>
                      <a:pt x="419100" y="481012"/>
                    </a:lnTo>
                    <a:lnTo>
                      <a:pt x="4763" y="33337"/>
                    </a:lnTo>
                    <a:lnTo>
                      <a:pt x="4763" y="14287"/>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356" name="Freeform 355"/>
              <p:cNvSpPr/>
              <p:nvPr/>
            </p:nvSpPr>
            <p:spPr>
              <a:xfrm>
                <a:off x="2790825" y="3557588"/>
                <a:ext cx="147638" cy="442912"/>
              </a:xfrm>
              <a:custGeom>
                <a:avLst/>
                <a:gdLst>
                  <a:gd name="connsiteX0" fmla="*/ 0 w 147638"/>
                  <a:gd name="connsiteY0" fmla="*/ 442912 h 442912"/>
                  <a:gd name="connsiteX1" fmla="*/ 147638 w 147638"/>
                  <a:gd name="connsiteY1" fmla="*/ 0 h 442912"/>
                </a:gdLst>
                <a:ahLst/>
                <a:cxnLst>
                  <a:cxn ang="0">
                    <a:pos x="connsiteX0" y="connsiteY0"/>
                  </a:cxn>
                  <a:cxn ang="0">
                    <a:pos x="connsiteX1" y="connsiteY1"/>
                  </a:cxn>
                </a:cxnLst>
                <a:rect l="l" t="t" r="r" b="b"/>
                <a:pathLst>
                  <a:path w="147638" h="442912">
                    <a:moveTo>
                      <a:pt x="0" y="442912"/>
                    </a:moveTo>
                    <a:lnTo>
                      <a:pt x="147638" y="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357" name="Freeform 356"/>
              <p:cNvSpPr/>
              <p:nvPr/>
            </p:nvSpPr>
            <p:spPr>
              <a:xfrm>
                <a:off x="2805113" y="3557588"/>
                <a:ext cx="547687" cy="442912"/>
              </a:xfrm>
              <a:custGeom>
                <a:avLst/>
                <a:gdLst>
                  <a:gd name="connsiteX0" fmla="*/ 0 w 547687"/>
                  <a:gd name="connsiteY0" fmla="*/ 442912 h 442912"/>
                  <a:gd name="connsiteX1" fmla="*/ 400050 w 547687"/>
                  <a:gd name="connsiteY1" fmla="*/ 0 h 442912"/>
                  <a:gd name="connsiteX2" fmla="*/ 547687 w 547687"/>
                  <a:gd name="connsiteY2" fmla="*/ 423862 h 442912"/>
                </a:gdLst>
                <a:ahLst/>
                <a:cxnLst>
                  <a:cxn ang="0">
                    <a:pos x="connsiteX0" y="connsiteY0"/>
                  </a:cxn>
                  <a:cxn ang="0">
                    <a:pos x="connsiteX1" y="connsiteY1"/>
                  </a:cxn>
                  <a:cxn ang="0">
                    <a:pos x="connsiteX2" y="connsiteY2"/>
                  </a:cxn>
                </a:cxnLst>
                <a:rect l="l" t="t" r="r" b="b"/>
                <a:pathLst>
                  <a:path w="547687" h="442912">
                    <a:moveTo>
                      <a:pt x="0" y="442912"/>
                    </a:moveTo>
                    <a:lnTo>
                      <a:pt x="400050" y="0"/>
                    </a:lnTo>
                    <a:lnTo>
                      <a:pt x="547687" y="423862"/>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358" name="Freeform 357"/>
              <p:cNvSpPr/>
              <p:nvPr/>
            </p:nvSpPr>
            <p:spPr>
              <a:xfrm>
                <a:off x="2786063" y="3552825"/>
                <a:ext cx="704850" cy="442913"/>
              </a:xfrm>
              <a:custGeom>
                <a:avLst/>
                <a:gdLst>
                  <a:gd name="connsiteX0" fmla="*/ 0 w 704850"/>
                  <a:gd name="connsiteY0" fmla="*/ 442913 h 442913"/>
                  <a:gd name="connsiteX1" fmla="*/ 704850 w 704850"/>
                  <a:gd name="connsiteY1" fmla="*/ 0 h 442913"/>
                  <a:gd name="connsiteX2" fmla="*/ 585787 w 704850"/>
                  <a:gd name="connsiteY2" fmla="*/ 414338 h 442913"/>
                </a:gdLst>
                <a:ahLst/>
                <a:cxnLst>
                  <a:cxn ang="0">
                    <a:pos x="connsiteX0" y="connsiteY0"/>
                  </a:cxn>
                  <a:cxn ang="0">
                    <a:pos x="connsiteX1" y="connsiteY1"/>
                  </a:cxn>
                  <a:cxn ang="0">
                    <a:pos x="connsiteX2" y="connsiteY2"/>
                  </a:cxn>
                </a:cxnLst>
                <a:rect l="l" t="t" r="r" b="b"/>
                <a:pathLst>
                  <a:path w="704850" h="442913">
                    <a:moveTo>
                      <a:pt x="0" y="442913"/>
                    </a:moveTo>
                    <a:lnTo>
                      <a:pt x="704850" y="0"/>
                    </a:lnTo>
                    <a:lnTo>
                      <a:pt x="585787" y="414338"/>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359" name="Freeform 358"/>
              <p:cNvSpPr/>
              <p:nvPr/>
            </p:nvSpPr>
            <p:spPr>
              <a:xfrm>
                <a:off x="3100388" y="3548063"/>
                <a:ext cx="385762" cy="452437"/>
              </a:xfrm>
              <a:custGeom>
                <a:avLst/>
                <a:gdLst>
                  <a:gd name="connsiteX0" fmla="*/ 0 w 385762"/>
                  <a:gd name="connsiteY0" fmla="*/ 452437 h 452437"/>
                  <a:gd name="connsiteX1" fmla="*/ 385762 w 385762"/>
                  <a:gd name="connsiteY1" fmla="*/ 0 h 452437"/>
                </a:gdLst>
                <a:ahLst/>
                <a:cxnLst>
                  <a:cxn ang="0">
                    <a:pos x="connsiteX0" y="connsiteY0"/>
                  </a:cxn>
                  <a:cxn ang="0">
                    <a:pos x="connsiteX1" y="connsiteY1"/>
                  </a:cxn>
                </a:cxnLst>
                <a:rect l="l" t="t" r="r" b="b"/>
                <a:pathLst>
                  <a:path w="385762" h="452437">
                    <a:moveTo>
                      <a:pt x="0" y="452437"/>
                    </a:moveTo>
                    <a:lnTo>
                      <a:pt x="385762" y="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360" name="Freeform 359"/>
              <p:cNvSpPr/>
              <p:nvPr/>
            </p:nvSpPr>
            <p:spPr>
              <a:xfrm>
                <a:off x="2809875" y="4025900"/>
                <a:ext cx="561975" cy="498475"/>
              </a:xfrm>
              <a:custGeom>
                <a:avLst/>
                <a:gdLst>
                  <a:gd name="connsiteX0" fmla="*/ 0 w 561975"/>
                  <a:gd name="connsiteY0" fmla="*/ 0 h 498475"/>
                  <a:gd name="connsiteX1" fmla="*/ 561975 w 561975"/>
                  <a:gd name="connsiteY1" fmla="*/ 498475 h 498475"/>
                  <a:gd name="connsiteX2" fmla="*/ 552450 w 561975"/>
                  <a:gd name="connsiteY2" fmla="*/ 47625 h 498475"/>
                  <a:gd name="connsiteX3" fmla="*/ 539750 w 561975"/>
                  <a:gd name="connsiteY3" fmla="*/ 41275 h 498475"/>
                  <a:gd name="connsiteX4" fmla="*/ 279400 w 561975"/>
                  <a:gd name="connsiteY4" fmla="*/ 485775 h 498475"/>
                  <a:gd name="connsiteX5" fmla="*/ 266700 w 561975"/>
                  <a:gd name="connsiteY5" fmla="*/ 25400 h 498475"/>
                  <a:gd name="connsiteX6" fmla="*/ 542925 w 561975"/>
                  <a:gd name="connsiteY6" fmla="*/ 488950 h 49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1975" h="498475">
                    <a:moveTo>
                      <a:pt x="0" y="0"/>
                    </a:moveTo>
                    <a:lnTo>
                      <a:pt x="561975" y="498475"/>
                    </a:lnTo>
                    <a:lnTo>
                      <a:pt x="552450" y="47625"/>
                    </a:lnTo>
                    <a:lnTo>
                      <a:pt x="539750" y="41275"/>
                    </a:lnTo>
                    <a:lnTo>
                      <a:pt x="279400" y="485775"/>
                    </a:lnTo>
                    <a:lnTo>
                      <a:pt x="266700" y="25400"/>
                    </a:lnTo>
                    <a:lnTo>
                      <a:pt x="542925" y="48895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361" name="Freeform 360"/>
              <p:cNvSpPr/>
              <p:nvPr/>
            </p:nvSpPr>
            <p:spPr>
              <a:xfrm>
                <a:off x="2784475" y="4054475"/>
                <a:ext cx="276225" cy="463550"/>
              </a:xfrm>
              <a:custGeom>
                <a:avLst/>
                <a:gdLst>
                  <a:gd name="connsiteX0" fmla="*/ 0 w 276225"/>
                  <a:gd name="connsiteY0" fmla="*/ 457200 h 463550"/>
                  <a:gd name="connsiteX1" fmla="*/ 19050 w 276225"/>
                  <a:gd name="connsiteY1" fmla="*/ 0 h 463550"/>
                  <a:gd name="connsiteX2" fmla="*/ 276225 w 276225"/>
                  <a:gd name="connsiteY2" fmla="*/ 463550 h 463550"/>
                </a:gdLst>
                <a:ahLst/>
                <a:cxnLst>
                  <a:cxn ang="0">
                    <a:pos x="connsiteX0" y="connsiteY0"/>
                  </a:cxn>
                  <a:cxn ang="0">
                    <a:pos x="connsiteX1" y="connsiteY1"/>
                  </a:cxn>
                  <a:cxn ang="0">
                    <a:pos x="connsiteX2" y="connsiteY2"/>
                  </a:cxn>
                </a:cxnLst>
                <a:rect l="l" t="t" r="r" b="b"/>
                <a:pathLst>
                  <a:path w="276225" h="463550">
                    <a:moveTo>
                      <a:pt x="0" y="457200"/>
                    </a:moveTo>
                    <a:lnTo>
                      <a:pt x="19050" y="0"/>
                    </a:lnTo>
                    <a:lnTo>
                      <a:pt x="276225" y="46355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362" name="Freeform 361"/>
              <p:cNvSpPr/>
              <p:nvPr/>
            </p:nvSpPr>
            <p:spPr>
              <a:xfrm>
                <a:off x="2778125" y="4057650"/>
                <a:ext cx="292100" cy="460375"/>
              </a:xfrm>
              <a:custGeom>
                <a:avLst/>
                <a:gdLst>
                  <a:gd name="connsiteX0" fmla="*/ 0 w 292100"/>
                  <a:gd name="connsiteY0" fmla="*/ 460375 h 460375"/>
                  <a:gd name="connsiteX1" fmla="*/ 292100 w 292100"/>
                  <a:gd name="connsiteY1" fmla="*/ 0 h 460375"/>
                </a:gdLst>
                <a:ahLst/>
                <a:cxnLst>
                  <a:cxn ang="0">
                    <a:pos x="connsiteX0" y="connsiteY0"/>
                  </a:cxn>
                  <a:cxn ang="0">
                    <a:pos x="connsiteX1" y="connsiteY1"/>
                  </a:cxn>
                </a:cxnLst>
                <a:rect l="l" t="t" r="r" b="b"/>
                <a:pathLst>
                  <a:path w="292100" h="460375">
                    <a:moveTo>
                      <a:pt x="0" y="460375"/>
                    </a:moveTo>
                    <a:lnTo>
                      <a:pt x="292100" y="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363" name="Freeform 362"/>
              <p:cNvSpPr/>
              <p:nvPr/>
            </p:nvSpPr>
            <p:spPr>
              <a:xfrm>
                <a:off x="2790825" y="4070350"/>
                <a:ext cx="552450" cy="444500"/>
              </a:xfrm>
              <a:custGeom>
                <a:avLst/>
                <a:gdLst>
                  <a:gd name="connsiteX0" fmla="*/ 0 w 552450"/>
                  <a:gd name="connsiteY0" fmla="*/ 444500 h 444500"/>
                  <a:gd name="connsiteX1" fmla="*/ 552450 w 552450"/>
                  <a:gd name="connsiteY1" fmla="*/ 0 h 444500"/>
                </a:gdLst>
                <a:ahLst/>
                <a:cxnLst>
                  <a:cxn ang="0">
                    <a:pos x="connsiteX0" y="connsiteY0"/>
                  </a:cxn>
                  <a:cxn ang="0">
                    <a:pos x="connsiteX1" y="connsiteY1"/>
                  </a:cxn>
                </a:cxnLst>
                <a:rect l="l" t="t" r="r" b="b"/>
                <a:pathLst>
                  <a:path w="552450" h="444500">
                    <a:moveTo>
                      <a:pt x="0" y="444500"/>
                    </a:moveTo>
                    <a:lnTo>
                      <a:pt x="552450" y="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364" name="Freeform 363"/>
              <p:cNvSpPr/>
              <p:nvPr/>
            </p:nvSpPr>
            <p:spPr>
              <a:xfrm>
                <a:off x="2800350" y="4552950"/>
                <a:ext cx="528638" cy="476250"/>
              </a:xfrm>
              <a:custGeom>
                <a:avLst/>
                <a:gdLst>
                  <a:gd name="connsiteX0" fmla="*/ 528638 w 528638"/>
                  <a:gd name="connsiteY0" fmla="*/ 9525 h 476250"/>
                  <a:gd name="connsiteX1" fmla="*/ 147638 w 528638"/>
                  <a:gd name="connsiteY1" fmla="*/ 476250 h 476250"/>
                  <a:gd name="connsiteX2" fmla="*/ 0 w 528638"/>
                  <a:gd name="connsiteY2" fmla="*/ 4763 h 476250"/>
                  <a:gd name="connsiteX3" fmla="*/ 400050 w 528638"/>
                  <a:gd name="connsiteY3" fmla="*/ 452438 h 476250"/>
                  <a:gd name="connsiteX4" fmla="*/ 290513 w 528638"/>
                  <a:gd name="connsiteY4" fmla="*/ 0 h 476250"/>
                  <a:gd name="connsiteX5" fmla="*/ 147638 w 528638"/>
                  <a:gd name="connsiteY5" fmla="*/ 466725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8638" h="476250">
                    <a:moveTo>
                      <a:pt x="528638" y="9525"/>
                    </a:moveTo>
                    <a:lnTo>
                      <a:pt x="147638" y="476250"/>
                    </a:lnTo>
                    <a:lnTo>
                      <a:pt x="0" y="4763"/>
                    </a:lnTo>
                    <a:lnTo>
                      <a:pt x="400050" y="452438"/>
                    </a:lnTo>
                    <a:lnTo>
                      <a:pt x="290513" y="0"/>
                    </a:lnTo>
                    <a:lnTo>
                      <a:pt x="147638" y="466725"/>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365" name="Freeform 364"/>
              <p:cNvSpPr/>
              <p:nvPr/>
            </p:nvSpPr>
            <p:spPr>
              <a:xfrm>
                <a:off x="3205163" y="4572000"/>
                <a:ext cx="123825" cy="428625"/>
              </a:xfrm>
              <a:custGeom>
                <a:avLst/>
                <a:gdLst>
                  <a:gd name="connsiteX0" fmla="*/ 0 w 123825"/>
                  <a:gd name="connsiteY0" fmla="*/ 428625 h 428625"/>
                  <a:gd name="connsiteX1" fmla="*/ 123825 w 123825"/>
                  <a:gd name="connsiteY1" fmla="*/ 0 h 428625"/>
                </a:gdLst>
                <a:ahLst/>
                <a:cxnLst>
                  <a:cxn ang="0">
                    <a:pos x="connsiteX0" y="connsiteY0"/>
                  </a:cxn>
                  <a:cxn ang="0">
                    <a:pos x="connsiteX1" y="connsiteY1"/>
                  </a:cxn>
                </a:cxnLst>
                <a:rect l="l" t="t" r="r" b="b"/>
                <a:pathLst>
                  <a:path w="123825" h="428625">
                    <a:moveTo>
                      <a:pt x="0" y="428625"/>
                    </a:moveTo>
                    <a:lnTo>
                      <a:pt x="123825" y="0"/>
                    </a:lnTo>
                  </a:path>
                </a:pathLst>
              </a:custGeom>
              <a:noFill/>
              <a:ln w="9525">
                <a:solidFill>
                  <a:srgbClr val="FFCA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grpSp>
      </p:grpSp>
      <p:grpSp>
        <p:nvGrpSpPr>
          <p:cNvPr id="319" name="Group 318"/>
          <p:cNvGrpSpPr/>
          <p:nvPr/>
        </p:nvGrpSpPr>
        <p:grpSpPr>
          <a:xfrm>
            <a:off x="6552348" y="5436998"/>
            <a:ext cx="615757" cy="316863"/>
            <a:chOff x="-1031576" y="2558396"/>
            <a:chExt cx="559328" cy="287825"/>
          </a:xfrm>
        </p:grpSpPr>
        <p:grpSp>
          <p:nvGrpSpPr>
            <p:cNvPr id="338" name="Group 337"/>
            <p:cNvGrpSpPr/>
            <p:nvPr/>
          </p:nvGrpSpPr>
          <p:grpSpPr>
            <a:xfrm>
              <a:off x="-1031576" y="2558396"/>
              <a:ext cx="312056" cy="195035"/>
              <a:chOff x="-905038" y="2660361"/>
              <a:chExt cx="312056" cy="195035"/>
            </a:xfrm>
          </p:grpSpPr>
          <p:sp>
            <p:nvSpPr>
              <p:cNvPr id="340" name="Rectangle 339"/>
              <p:cNvSpPr/>
              <p:nvPr/>
            </p:nvSpPr>
            <p:spPr>
              <a:xfrm>
                <a:off x="-905038" y="2660361"/>
                <a:ext cx="312056" cy="195035"/>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a typeface="楷体" panose="02010609060101010101" pitchFamily="49" charset="-122"/>
                </a:endParaRPr>
              </a:p>
            </p:txBody>
          </p:sp>
          <p:sp>
            <p:nvSpPr>
              <p:cNvPr id="341" name="Freeform 854"/>
              <p:cNvSpPr>
                <a:spLocks/>
              </p:cNvSpPr>
              <p:nvPr/>
            </p:nvSpPr>
            <p:spPr bwMode="auto">
              <a:xfrm>
                <a:off x="-905038" y="2717622"/>
                <a:ext cx="206295" cy="137774"/>
              </a:xfrm>
              <a:custGeom>
                <a:avLst/>
                <a:gdLst>
                  <a:gd name="T0" fmla="*/ 260 w 563"/>
                  <a:gd name="T1" fmla="*/ 15 h 376"/>
                  <a:gd name="T2" fmla="*/ 258 w 563"/>
                  <a:gd name="T3" fmla="*/ 62 h 376"/>
                  <a:gd name="T4" fmla="*/ 264 w 563"/>
                  <a:gd name="T5" fmla="*/ 86 h 376"/>
                  <a:gd name="T6" fmla="*/ 270 w 563"/>
                  <a:gd name="T7" fmla="*/ 100 h 376"/>
                  <a:gd name="T8" fmla="*/ 305 w 563"/>
                  <a:gd name="T9" fmla="*/ 74 h 376"/>
                  <a:gd name="T10" fmla="*/ 388 w 563"/>
                  <a:gd name="T11" fmla="*/ 53 h 376"/>
                  <a:gd name="T12" fmla="*/ 486 w 563"/>
                  <a:gd name="T13" fmla="*/ 101 h 376"/>
                  <a:gd name="T14" fmla="*/ 558 w 563"/>
                  <a:gd name="T15" fmla="*/ 206 h 376"/>
                  <a:gd name="T16" fmla="*/ 559 w 563"/>
                  <a:gd name="T17" fmla="*/ 275 h 376"/>
                  <a:gd name="T18" fmla="*/ 528 w 563"/>
                  <a:gd name="T19" fmla="*/ 320 h 376"/>
                  <a:gd name="T20" fmla="*/ 447 w 563"/>
                  <a:gd name="T21" fmla="*/ 338 h 376"/>
                  <a:gd name="T22" fmla="*/ 360 w 563"/>
                  <a:gd name="T23" fmla="*/ 342 h 376"/>
                  <a:gd name="T24" fmla="*/ 327 w 563"/>
                  <a:gd name="T25" fmla="*/ 350 h 376"/>
                  <a:gd name="T26" fmla="*/ 313 w 563"/>
                  <a:gd name="T27" fmla="*/ 338 h 376"/>
                  <a:gd name="T28" fmla="*/ 350 w 563"/>
                  <a:gd name="T29" fmla="*/ 302 h 376"/>
                  <a:gd name="T30" fmla="*/ 437 w 563"/>
                  <a:gd name="T31" fmla="*/ 299 h 376"/>
                  <a:gd name="T32" fmla="*/ 483 w 563"/>
                  <a:gd name="T33" fmla="*/ 284 h 376"/>
                  <a:gd name="T34" fmla="*/ 501 w 563"/>
                  <a:gd name="T35" fmla="*/ 254 h 376"/>
                  <a:gd name="T36" fmla="*/ 496 w 563"/>
                  <a:gd name="T37" fmla="*/ 255 h 376"/>
                  <a:gd name="T38" fmla="*/ 485 w 563"/>
                  <a:gd name="T39" fmla="*/ 261 h 376"/>
                  <a:gd name="T40" fmla="*/ 449 w 563"/>
                  <a:gd name="T41" fmla="*/ 277 h 376"/>
                  <a:gd name="T42" fmla="*/ 369 w 563"/>
                  <a:gd name="T43" fmla="*/ 278 h 376"/>
                  <a:gd name="T44" fmla="*/ 292 w 563"/>
                  <a:gd name="T45" fmla="*/ 296 h 376"/>
                  <a:gd name="T46" fmla="*/ 249 w 563"/>
                  <a:gd name="T47" fmla="*/ 320 h 376"/>
                  <a:gd name="T48" fmla="*/ 209 w 563"/>
                  <a:gd name="T49" fmla="*/ 341 h 376"/>
                  <a:gd name="T50" fmla="*/ 134 w 563"/>
                  <a:gd name="T51" fmla="*/ 369 h 376"/>
                  <a:gd name="T52" fmla="*/ 90 w 563"/>
                  <a:gd name="T53" fmla="*/ 367 h 376"/>
                  <a:gd name="T54" fmla="*/ 88 w 563"/>
                  <a:gd name="T55" fmla="*/ 346 h 376"/>
                  <a:gd name="T56" fmla="*/ 104 w 563"/>
                  <a:gd name="T57" fmla="*/ 340 h 376"/>
                  <a:gd name="T58" fmla="*/ 186 w 563"/>
                  <a:gd name="T59" fmla="*/ 301 h 376"/>
                  <a:gd name="T60" fmla="*/ 147 w 563"/>
                  <a:gd name="T61" fmla="*/ 296 h 376"/>
                  <a:gd name="T62" fmla="*/ 96 w 563"/>
                  <a:gd name="T63" fmla="*/ 318 h 376"/>
                  <a:gd name="T64" fmla="*/ 20 w 563"/>
                  <a:gd name="T65" fmla="*/ 341 h 376"/>
                  <a:gd name="T66" fmla="*/ 0 w 563"/>
                  <a:gd name="T67" fmla="*/ 319 h 376"/>
                  <a:gd name="T68" fmla="*/ 10 w 563"/>
                  <a:gd name="T69" fmla="*/ 309 h 376"/>
                  <a:gd name="T70" fmla="*/ 55 w 563"/>
                  <a:gd name="T71" fmla="*/ 295 h 376"/>
                  <a:gd name="T72" fmla="*/ 109 w 563"/>
                  <a:gd name="T73" fmla="*/ 263 h 376"/>
                  <a:gd name="T74" fmla="*/ 113 w 563"/>
                  <a:gd name="T75" fmla="*/ 201 h 376"/>
                  <a:gd name="T76" fmla="*/ 152 w 563"/>
                  <a:gd name="T77" fmla="*/ 206 h 376"/>
                  <a:gd name="T78" fmla="*/ 163 w 563"/>
                  <a:gd name="T79" fmla="*/ 220 h 376"/>
                  <a:gd name="T80" fmla="*/ 181 w 563"/>
                  <a:gd name="T81" fmla="*/ 215 h 376"/>
                  <a:gd name="T82" fmla="*/ 181 w 563"/>
                  <a:gd name="T83" fmla="*/ 197 h 376"/>
                  <a:gd name="T84" fmla="*/ 167 w 563"/>
                  <a:gd name="T85" fmla="*/ 191 h 376"/>
                  <a:gd name="T86" fmla="*/ 125 w 563"/>
                  <a:gd name="T87" fmla="*/ 168 h 376"/>
                  <a:gd name="T88" fmla="*/ 95 w 563"/>
                  <a:gd name="T89" fmla="*/ 100 h 376"/>
                  <a:gd name="T90" fmla="*/ 100 w 563"/>
                  <a:gd name="T91" fmla="*/ 66 h 376"/>
                  <a:gd name="T92" fmla="*/ 97 w 563"/>
                  <a:gd name="T93" fmla="*/ 28 h 376"/>
                  <a:gd name="T94" fmla="*/ 105 w 563"/>
                  <a:gd name="T95" fmla="*/ 0 h 376"/>
                  <a:gd name="T96" fmla="*/ 142 w 563"/>
                  <a:gd name="T97" fmla="*/ 21 h 376"/>
                  <a:gd name="T98" fmla="*/ 168 w 563"/>
                  <a:gd name="T99" fmla="*/ 27 h 376"/>
                  <a:gd name="T100" fmla="*/ 208 w 563"/>
                  <a:gd name="T101" fmla="*/ 28 h 376"/>
                  <a:gd name="T102" fmla="*/ 233 w 563"/>
                  <a:gd name="T103" fmla="*/ 9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3" h="376">
                    <a:moveTo>
                      <a:pt x="252" y="0"/>
                    </a:moveTo>
                    <a:lnTo>
                      <a:pt x="258" y="0"/>
                    </a:lnTo>
                    <a:lnTo>
                      <a:pt x="259" y="6"/>
                    </a:lnTo>
                    <a:lnTo>
                      <a:pt x="260" y="15"/>
                    </a:lnTo>
                    <a:lnTo>
                      <a:pt x="260" y="28"/>
                    </a:lnTo>
                    <a:lnTo>
                      <a:pt x="259" y="42"/>
                    </a:lnTo>
                    <a:lnTo>
                      <a:pt x="259" y="53"/>
                    </a:lnTo>
                    <a:lnTo>
                      <a:pt x="258" y="62"/>
                    </a:lnTo>
                    <a:lnTo>
                      <a:pt x="258" y="66"/>
                    </a:lnTo>
                    <a:lnTo>
                      <a:pt x="259" y="69"/>
                    </a:lnTo>
                    <a:lnTo>
                      <a:pt x="261" y="75"/>
                    </a:lnTo>
                    <a:lnTo>
                      <a:pt x="264" y="86"/>
                    </a:lnTo>
                    <a:lnTo>
                      <a:pt x="267" y="98"/>
                    </a:lnTo>
                    <a:lnTo>
                      <a:pt x="268" y="98"/>
                    </a:lnTo>
                    <a:lnTo>
                      <a:pt x="270" y="100"/>
                    </a:lnTo>
                    <a:lnTo>
                      <a:pt x="270" y="100"/>
                    </a:lnTo>
                    <a:lnTo>
                      <a:pt x="273" y="97"/>
                    </a:lnTo>
                    <a:lnTo>
                      <a:pt x="279" y="91"/>
                    </a:lnTo>
                    <a:lnTo>
                      <a:pt x="291" y="83"/>
                    </a:lnTo>
                    <a:lnTo>
                      <a:pt x="305" y="74"/>
                    </a:lnTo>
                    <a:lnTo>
                      <a:pt x="322" y="65"/>
                    </a:lnTo>
                    <a:lnTo>
                      <a:pt x="342" y="57"/>
                    </a:lnTo>
                    <a:lnTo>
                      <a:pt x="364" y="53"/>
                    </a:lnTo>
                    <a:lnTo>
                      <a:pt x="388" y="53"/>
                    </a:lnTo>
                    <a:lnTo>
                      <a:pt x="412" y="57"/>
                    </a:lnTo>
                    <a:lnTo>
                      <a:pt x="436" y="68"/>
                    </a:lnTo>
                    <a:lnTo>
                      <a:pt x="462" y="83"/>
                    </a:lnTo>
                    <a:lnTo>
                      <a:pt x="486" y="101"/>
                    </a:lnTo>
                    <a:lnTo>
                      <a:pt x="509" y="124"/>
                    </a:lnTo>
                    <a:lnTo>
                      <a:pt x="530" y="150"/>
                    </a:lnTo>
                    <a:lnTo>
                      <a:pt x="546" y="177"/>
                    </a:lnTo>
                    <a:lnTo>
                      <a:pt x="558" y="206"/>
                    </a:lnTo>
                    <a:lnTo>
                      <a:pt x="563" y="237"/>
                    </a:lnTo>
                    <a:lnTo>
                      <a:pt x="563" y="254"/>
                    </a:lnTo>
                    <a:lnTo>
                      <a:pt x="560" y="265"/>
                    </a:lnTo>
                    <a:lnTo>
                      <a:pt x="559" y="275"/>
                    </a:lnTo>
                    <a:lnTo>
                      <a:pt x="555" y="287"/>
                    </a:lnTo>
                    <a:lnTo>
                      <a:pt x="549" y="299"/>
                    </a:lnTo>
                    <a:lnTo>
                      <a:pt x="540" y="310"/>
                    </a:lnTo>
                    <a:lnTo>
                      <a:pt x="528" y="320"/>
                    </a:lnTo>
                    <a:lnTo>
                      <a:pt x="514" y="329"/>
                    </a:lnTo>
                    <a:lnTo>
                      <a:pt x="495" y="336"/>
                    </a:lnTo>
                    <a:lnTo>
                      <a:pt x="473" y="338"/>
                    </a:lnTo>
                    <a:lnTo>
                      <a:pt x="447" y="338"/>
                    </a:lnTo>
                    <a:lnTo>
                      <a:pt x="424" y="337"/>
                    </a:lnTo>
                    <a:lnTo>
                      <a:pt x="403" y="337"/>
                    </a:lnTo>
                    <a:lnTo>
                      <a:pt x="381" y="338"/>
                    </a:lnTo>
                    <a:lnTo>
                      <a:pt x="360" y="342"/>
                    </a:lnTo>
                    <a:lnTo>
                      <a:pt x="340" y="349"/>
                    </a:lnTo>
                    <a:lnTo>
                      <a:pt x="336" y="350"/>
                    </a:lnTo>
                    <a:lnTo>
                      <a:pt x="332" y="350"/>
                    </a:lnTo>
                    <a:lnTo>
                      <a:pt x="327" y="350"/>
                    </a:lnTo>
                    <a:lnTo>
                      <a:pt x="323" y="349"/>
                    </a:lnTo>
                    <a:lnTo>
                      <a:pt x="319" y="346"/>
                    </a:lnTo>
                    <a:lnTo>
                      <a:pt x="315" y="342"/>
                    </a:lnTo>
                    <a:lnTo>
                      <a:pt x="313" y="338"/>
                    </a:lnTo>
                    <a:lnTo>
                      <a:pt x="311" y="328"/>
                    </a:lnTo>
                    <a:lnTo>
                      <a:pt x="317" y="318"/>
                    </a:lnTo>
                    <a:lnTo>
                      <a:pt x="326" y="311"/>
                    </a:lnTo>
                    <a:lnTo>
                      <a:pt x="350" y="302"/>
                    </a:lnTo>
                    <a:lnTo>
                      <a:pt x="374" y="299"/>
                    </a:lnTo>
                    <a:lnTo>
                      <a:pt x="400" y="297"/>
                    </a:lnTo>
                    <a:lnTo>
                      <a:pt x="428" y="299"/>
                    </a:lnTo>
                    <a:lnTo>
                      <a:pt x="437" y="299"/>
                    </a:lnTo>
                    <a:lnTo>
                      <a:pt x="447" y="297"/>
                    </a:lnTo>
                    <a:lnTo>
                      <a:pt x="472" y="292"/>
                    </a:lnTo>
                    <a:lnTo>
                      <a:pt x="478" y="288"/>
                    </a:lnTo>
                    <a:lnTo>
                      <a:pt x="483" y="284"/>
                    </a:lnTo>
                    <a:lnTo>
                      <a:pt x="492" y="275"/>
                    </a:lnTo>
                    <a:lnTo>
                      <a:pt x="498" y="266"/>
                    </a:lnTo>
                    <a:lnTo>
                      <a:pt x="500" y="259"/>
                    </a:lnTo>
                    <a:lnTo>
                      <a:pt x="501" y="254"/>
                    </a:lnTo>
                    <a:lnTo>
                      <a:pt x="501" y="254"/>
                    </a:lnTo>
                    <a:lnTo>
                      <a:pt x="500" y="254"/>
                    </a:lnTo>
                    <a:lnTo>
                      <a:pt x="499" y="254"/>
                    </a:lnTo>
                    <a:lnTo>
                      <a:pt x="496" y="255"/>
                    </a:lnTo>
                    <a:lnTo>
                      <a:pt x="492" y="256"/>
                    </a:lnTo>
                    <a:lnTo>
                      <a:pt x="490" y="259"/>
                    </a:lnTo>
                    <a:lnTo>
                      <a:pt x="487" y="260"/>
                    </a:lnTo>
                    <a:lnTo>
                      <a:pt x="485" y="261"/>
                    </a:lnTo>
                    <a:lnTo>
                      <a:pt x="480" y="266"/>
                    </a:lnTo>
                    <a:lnTo>
                      <a:pt x="469" y="272"/>
                    </a:lnTo>
                    <a:lnTo>
                      <a:pt x="459" y="275"/>
                    </a:lnTo>
                    <a:lnTo>
                      <a:pt x="449" y="277"/>
                    </a:lnTo>
                    <a:lnTo>
                      <a:pt x="433" y="277"/>
                    </a:lnTo>
                    <a:lnTo>
                      <a:pt x="418" y="277"/>
                    </a:lnTo>
                    <a:lnTo>
                      <a:pt x="403" y="275"/>
                    </a:lnTo>
                    <a:lnTo>
                      <a:pt x="369" y="278"/>
                    </a:lnTo>
                    <a:lnTo>
                      <a:pt x="340" y="281"/>
                    </a:lnTo>
                    <a:lnTo>
                      <a:pt x="318" y="286"/>
                    </a:lnTo>
                    <a:lnTo>
                      <a:pt x="303" y="291"/>
                    </a:lnTo>
                    <a:lnTo>
                      <a:pt x="292" y="296"/>
                    </a:lnTo>
                    <a:lnTo>
                      <a:pt x="279" y="302"/>
                    </a:lnTo>
                    <a:lnTo>
                      <a:pt x="267" y="310"/>
                    </a:lnTo>
                    <a:lnTo>
                      <a:pt x="255" y="317"/>
                    </a:lnTo>
                    <a:lnTo>
                      <a:pt x="249" y="320"/>
                    </a:lnTo>
                    <a:lnTo>
                      <a:pt x="243" y="323"/>
                    </a:lnTo>
                    <a:lnTo>
                      <a:pt x="235" y="328"/>
                    </a:lnTo>
                    <a:lnTo>
                      <a:pt x="223" y="333"/>
                    </a:lnTo>
                    <a:lnTo>
                      <a:pt x="209" y="341"/>
                    </a:lnTo>
                    <a:lnTo>
                      <a:pt x="192" y="349"/>
                    </a:lnTo>
                    <a:lnTo>
                      <a:pt x="177" y="355"/>
                    </a:lnTo>
                    <a:lnTo>
                      <a:pt x="160" y="360"/>
                    </a:lnTo>
                    <a:lnTo>
                      <a:pt x="134" y="369"/>
                    </a:lnTo>
                    <a:lnTo>
                      <a:pt x="109" y="376"/>
                    </a:lnTo>
                    <a:lnTo>
                      <a:pt x="106" y="376"/>
                    </a:lnTo>
                    <a:lnTo>
                      <a:pt x="96" y="373"/>
                    </a:lnTo>
                    <a:lnTo>
                      <a:pt x="90" y="367"/>
                    </a:lnTo>
                    <a:lnTo>
                      <a:pt x="86" y="356"/>
                    </a:lnTo>
                    <a:lnTo>
                      <a:pt x="86" y="352"/>
                    </a:lnTo>
                    <a:lnTo>
                      <a:pt x="87" y="349"/>
                    </a:lnTo>
                    <a:lnTo>
                      <a:pt x="88" y="346"/>
                    </a:lnTo>
                    <a:lnTo>
                      <a:pt x="92" y="343"/>
                    </a:lnTo>
                    <a:lnTo>
                      <a:pt x="95" y="342"/>
                    </a:lnTo>
                    <a:lnTo>
                      <a:pt x="100" y="341"/>
                    </a:lnTo>
                    <a:lnTo>
                      <a:pt x="104" y="340"/>
                    </a:lnTo>
                    <a:lnTo>
                      <a:pt x="124" y="334"/>
                    </a:lnTo>
                    <a:lnTo>
                      <a:pt x="145" y="325"/>
                    </a:lnTo>
                    <a:lnTo>
                      <a:pt x="165" y="314"/>
                    </a:lnTo>
                    <a:lnTo>
                      <a:pt x="186" y="301"/>
                    </a:lnTo>
                    <a:lnTo>
                      <a:pt x="179" y="296"/>
                    </a:lnTo>
                    <a:lnTo>
                      <a:pt x="170" y="293"/>
                    </a:lnTo>
                    <a:lnTo>
                      <a:pt x="159" y="293"/>
                    </a:lnTo>
                    <a:lnTo>
                      <a:pt x="147" y="296"/>
                    </a:lnTo>
                    <a:lnTo>
                      <a:pt x="140" y="300"/>
                    </a:lnTo>
                    <a:lnTo>
                      <a:pt x="128" y="305"/>
                    </a:lnTo>
                    <a:lnTo>
                      <a:pt x="113" y="311"/>
                    </a:lnTo>
                    <a:lnTo>
                      <a:pt x="96" y="318"/>
                    </a:lnTo>
                    <a:lnTo>
                      <a:pt x="78" y="324"/>
                    </a:lnTo>
                    <a:lnTo>
                      <a:pt x="50" y="336"/>
                    </a:lnTo>
                    <a:lnTo>
                      <a:pt x="23" y="341"/>
                    </a:lnTo>
                    <a:lnTo>
                      <a:pt x="20" y="341"/>
                    </a:lnTo>
                    <a:lnTo>
                      <a:pt x="10" y="338"/>
                    </a:lnTo>
                    <a:lnTo>
                      <a:pt x="4" y="332"/>
                    </a:lnTo>
                    <a:lnTo>
                      <a:pt x="0" y="323"/>
                    </a:lnTo>
                    <a:lnTo>
                      <a:pt x="0" y="319"/>
                    </a:lnTo>
                    <a:lnTo>
                      <a:pt x="1" y="315"/>
                    </a:lnTo>
                    <a:lnTo>
                      <a:pt x="4" y="313"/>
                    </a:lnTo>
                    <a:lnTo>
                      <a:pt x="6" y="310"/>
                    </a:lnTo>
                    <a:lnTo>
                      <a:pt x="10" y="309"/>
                    </a:lnTo>
                    <a:lnTo>
                      <a:pt x="15" y="308"/>
                    </a:lnTo>
                    <a:lnTo>
                      <a:pt x="19" y="306"/>
                    </a:lnTo>
                    <a:lnTo>
                      <a:pt x="37" y="302"/>
                    </a:lnTo>
                    <a:lnTo>
                      <a:pt x="55" y="295"/>
                    </a:lnTo>
                    <a:lnTo>
                      <a:pt x="74" y="284"/>
                    </a:lnTo>
                    <a:lnTo>
                      <a:pt x="92" y="273"/>
                    </a:lnTo>
                    <a:lnTo>
                      <a:pt x="109" y="263"/>
                    </a:lnTo>
                    <a:lnTo>
                      <a:pt x="109" y="263"/>
                    </a:lnTo>
                    <a:lnTo>
                      <a:pt x="111" y="254"/>
                    </a:lnTo>
                    <a:lnTo>
                      <a:pt x="113" y="241"/>
                    </a:lnTo>
                    <a:lnTo>
                      <a:pt x="113" y="223"/>
                    </a:lnTo>
                    <a:lnTo>
                      <a:pt x="113" y="201"/>
                    </a:lnTo>
                    <a:lnTo>
                      <a:pt x="113" y="177"/>
                    </a:lnTo>
                    <a:lnTo>
                      <a:pt x="131" y="189"/>
                    </a:lnTo>
                    <a:lnTo>
                      <a:pt x="154" y="202"/>
                    </a:lnTo>
                    <a:lnTo>
                      <a:pt x="152" y="206"/>
                    </a:lnTo>
                    <a:lnTo>
                      <a:pt x="154" y="210"/>
                    </a:lnTo>
                    <a:lnTo>
                      <a:pt x="156" y="215"/>
                    </a:lnTo>
                    <a:lnTo>
                      <a:pt x="159" y="218"/>
                    </a:lnTo>
                    <a:lnTo>
                      <a:pt x="163" y="220"/>
                    </a:lnTo>
                    <a:lnTo>
                      <a:pt x="168" y="220"/>
                    </a:lnTo>
                    <a:lnTo>
                      <a:pt x="173" y="220"/>
                    </a:lnTo>
                    <a:lnTo>
                      <a:pt x="177" y="218"/>
                    </a:lnTo>
                    <a:lnTo>
                      <a:pt x="181" y="215"/>
                    </a:lnTo>
                    <a:lnTo>
                      <a:pt x="182" y="210"/>
                    </a:lnTo>
                    <a:lnTo>
                      <a:pt x="183" y="206"/>
                    </a:lnTo>
                    <a:lnTo>
                      <a:pt x="182" y="201"/>
                    </a:lnTo>
                    <a:lnTo>
                      <a:pt x="181" y="197"/>
                    </a:lnTo>
                    <a:lnTo>
                      <a:pt x="177" y="193"/>
                    </a:lnTo>
                    <a:lnTo>
                      <a:pt x="173" y="192"/>
                    </a:lnTo>
                    <a:lnTo>
                      <a:pt x="168" y="191"/>
                    </a:lnTo>
                    <a:lnTo>
                      <a:pt x="167" y="191"/>
                    </a:lnTo>
                    <a:lnTo>
                      <a:pt x="167" y="191"/>
                    </a:lnTo>
                    <a:lnTo>
                      <a:pt x="163" y="189"/>
                    </a:lnTo>
                    <a:lnTo>
                      <a:pt x="142" y="179"/>
                    </a:lnTo>
                    <a:lnTo>
                      <a:pt x="125" y="168"/>
                    </a:lnTo>
                    <a:lnTo>
                      <a:pt x="114" y="155"/>
                    </a:lnTo>
                    <a:lnTo>
                      <a:pt x="102" y="136"/>
                    </a:lnTo>
                    <a:lnTo>
                      <a:pt x="97" y="116"/>
                    </a:lnTo>
                    <a:lnTo>
                      <a:pt x="95" y="100"/>
                    </a:lnTo>
                    <a:lnTo>
                      <a:pt x="96" y="84"/>
                    </a:lnTo>
                    <a:lnTo>
                      <a:pt x="99" y="74"/>
                    </a:lnTo>
                    <a:lnTo>
                      <a:pt x="100" y="70"/>
                    </a:lnTo>
                    <a:lnTo>
                      <a:pt x="100" y="66"/>
                    </a:lnTo>
                    <a:lnTo>
                      <a:pt x="99" y="62"/>
                    </a:lnTo>
                    <a:lnTo>
                      <a:pt x="99" y="53"/>
                    </a:lnTo>
                    <a:lnTo>
                      <a:pt x="97" y="42"/>
                    </a:lnTo>
                    <a:lnTo>
                      <a:pt x="97" y="28"/>
                    </a:lnTo>
                    <a:lnTo>
                      <a:pt x="97" y="15"/>
                    </a:lnTo>
                    <a:lnTo>
                      <a:pt x="97" y="6"/>
                    </a:lnTo>
                    <a:lnTo>
                      <a:pt x="100" y="0"/>
                    </a:lnTo>
                    <a:lnTo>
                      <a:pt x="105" y="0"/>
                    </a:lnTo>
                    <a:lnTo>
                      <a:pt x="113" y="2"/>
                    </a:lnTo>
                    <a:lnTo>
                      <a:pt x="123" y="9"/>
                    </a:lnTo>
                    <a:lnTo>
                      <a:pt x="133" y="15"/>
                    </a:lnTo>
                    <a:lnTo>
                      <a:pt x="142" y="21"/>
                    </a:lnTo>
                    <a:lnTo>
                      <a:pt x="147" y="28"/>
                    </a:lnTo>
                    <a:lnTo>
                      <a:pt x="150" y="28"/>
                    </a:lnTo>
                    <a:lnTo>
                      <a:pt x="158" y="27"/>
                    </a:lnTo>
                    <a:lnTo>
                      <a:pt x="168" y="27"/>
                    </a:lnTo>
                    <a:lnTo>
                      <a:pt x="179" y="25"/>
                    </a:lnTo>
                    <a:lnTo>
                      <a:pt x="191" y="27"/>
                    </a:lnTo>
                    <a:lnTo>
                      <a:pt x="200" y="27"/>
                    </a:lnTo>
                    <a:lnTo>
                      <a:pt x="208" y="28"/>
                    </a:lnTo>
                    <a:lnTo>
                      <a:pt x="210" y="28"/>
                    </a:lnTo>
                    <a:lnTo>
                      <a:pt x="215" y="21"/>
                    </a:lnTo>
                    <a:lnTo>
                      <a:pt x="223" y="15"/>
                    </a:lnTo>
                    <a:lnTo>
                      <a:pt x="233" y="9"/>
                    </a:lnTo>
                    <a:lnTo>
                      <a:pt x="243" y="2"/>
                    </a:lnTo>
                    <a:lnTo>
                      <a:pt x="25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mn-lt"/>
                  <a:ea typeface="楷体" panose="02010609060101010101" pitchFamily="49" charset="-122"/>
                </a:endParaRPr>
              </a:p>
            </p:txBody>
          </p:sp>
        </p:grpSp>
        <p:sp>
          <p:nvSpPr>
            <p:cNvPr id="339" name="Rectangle 338"/>
            <p:cNvSpPr/>
            <p:nvPr/>
          </p:nvSpPr>
          <p:spPr>
            <a:xfrm>
              <a:off x="-784304" y="2651186"/>
              <a:ext cx="312056" cy="195035"/>
            </a:xfrm>
            <a:prstGeom prst="rect">
              <a:avLst/>
            </a:prstGeom>
            <a:solidFill>
              <a:schemeClr val="bg1"/>
            </a:solidFill>
            <a:ln w="19050">
              <a:solidFill>
                <a:srgbClr val="0065BD"/>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sz="800" b="1" dirty="0">
                  <a:solidFill>
                    <a:srgbClr val="0065BD"/>
                  </a:solidFill>
                  <a:ea typeface="楷体" panose="02010609060101010101" pitchFamily="49" charset="-122"/>
                  <a:cs typeface="SimSun"/>
                </a:rPr>
                <a:t>猫</a:t>
              </a:r>
            </a:p>
          </p:txBody>
        </p:sp>
      </p:grpSp>
      <p:cxnSp>
        <p:nvCxnSpPr>
          <p:cNvPr id="320" name="Straight Arrow Connector 319"/>
          <p:cNvCxnSpPr/>
          <p:nvPr/>
        </p:nvCxnSpPr>
        <p:spPr>
          <a:xfrm>
            <a:off x="2944727" y="3208368"/>
            <a:ext cx="0" cy="19208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21" name="Straight Arrow Connector 320"/>
          <p:cNvCxnSpPr/>
          <p:nvPr/>
        </p:nvCxnSpPr>
        <p:spPr>
          <a:xfrm>
            <a:off x="6864671" y="3208368"/>
            <a:ext cx="0" cy="19208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22" name="Bracket"/>
          <p:cNvSpPr>
            <a:spLocks/>
          </p:cNvSpPr>
          <p:nvPr>
            <p:custDataLst>
              <p:tags r:id="rId2"/>
            </p:custDataLst>
          </p:nvPr>
        </p:nvSpPr>
        <p:spPr bwMode="auto">
          <a:xfrm rot="16200000">
            <a:off x="6784210" y="822595"/>
            <a:ext cx="182563" cy="2348089"/>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Lst>
            <a:ahLst/>
            <a:cxnLst>
              <a:cxn ang="0">
                <a:pos x="T0" y="T1"/>
              </a:cxn>
              <a:cxn ang="0">
                <a:pos x="T2" y="T3"/>
              </a:cxn>
              <a:cxn ang="0">
                <a:pos x="T4" y="T5"/>
              </a:cxn>
              <a:cxn ang="0">
                <a:pos x="T6" y="T7"/>
              </a:cxn>
              <a:cxn ang="0">
                <a:pos x="T8" y="T9"/>
              </a:cxn>
              <a:cxn ang="0">
                <a:pos x="T10" y="T11"/>
              </a:cxn>
              <a:cxn ang="0">
                <a:pos x="T12" y="T13"/>
              </a:cxn>
            </a:cxnLst>
            <a:rect l="0" t="0" r="r" b="b"/>
            <a:pathLst>
              <a:path w="115" h="1152">
                <a:moveTo>
                  <a:pt x="0" y="0"/>
                </a:moveTo>
                <a:lnTo>
                  <a:pt x="65" y="0"/>
                </a:lnTo>
                <a:lnTo>
                  <a:pt x="65" y="528"/>
                </a:lnTo>
                <a:lnTo>
                  <a:pt x="115" y="576"/>
                </a:lnTo>
                <a:lnTo>
                  <a:pt x="65" y="624"/>
                </a:lnTo>
                <a:lnTo>
                  <a:pt x="65" y="1152"/>
                </a:lnTo>
                <a:lnTo>
                  <a:pt x="0" y="1152"/>
                </a:lnTo>
              </a:path>
            </a:pathLst>
          </a:custGeom>
          <a:noFill/>
          <a:ln w="9525">
            <a:solidFill>
              <a:schemeClr val="bg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mn-lt"/>
              <a:ea typeface="楷体" panose="02010609060101010101" pitchFamily="49" charset="-122"/>
            </a:endParaRPr>
          </a:p>
        </p:txBody>
      </p:sp>
      <p:sp>
        <p:nvSpPr>
          <p:cNvPr id="323" name="Bracket"/>
          <p:cNvSpPr>
            <a:spLocks/>
          </p:cNvSpPr>
          <p:nvPr>
            <p:custDataLst>
              <p:tags r:id="rId3"/>
            </p:custDataLst>
          </p:nvPr>
        </p:nvSpPr>
        <p:spPr bwMode="auto">
          <a:xfrm rot="16200000">
            <a:off x="2827452" y="822595"/>
            <a:ext cx="182563" cy="2348089"/>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Lst>
            <a:ahLst/>
            <a:cxnLst>
              <a:cxn ang="0">
                <a:pos x="T0" y="T1"/>
              </a:cxn>
              <a:cxn ang="0">
                <a:pos x="T2" y="T3"/>
              </a:cxn>
              <a:cxn ang="0">
                <a:pos x="T4" y="T5"/>
              </a:cxn>
              <a:cxn ang="0">
                <a:pos x="T6" y="T7"/>
              </a:cxn>
              <a:cxn ang="0">
                <a:pos x="T8" y="T9"/>
              </a:cxn>
              <a:cxn ang="0">
                <a:pos x="T10" y="T11"/>
              </a:cxn>
              <a:cxn ang="0">
                <a:pos x="T12" y="T13"/>
              </a:cxn>
            </a:cxnLst>
            <a:rect l="0" t="0" r="r" b="b"/>
            <a:pathLst>
              <a:path w="115" h="1152">
                <a:moveTo>
                  <a:pt x="0" y="0"/>
                </a:moveTo>
                <a:lnTo>
                  <a:pt x="65" y="0"/>
                </a:lnTo>
                <a:lnTo>
                  <a:pt x="65" y="528"/>
                </a:lnTo>
                <a:lnTo>
                  <a:pt x="115" y="576"/>
                </a:lnTo>
                <a:lnTo>
                  <a:pt x="65" y="624"/>
                </a:lnTo>
                <a:lnTo>
                  <a:pt x="65" y="1152"/>
                </a:lnTo>
                <a:lnTo>
                  <a:pt x="0" y="1152"/>
                </a:lnTo>
              </a:path>
            </a:pathLst>
          </a:custGeom>
          <a:noFill/>
          <a:ln w="9525">
            <a:solidFill>
              <a:schemeClr val="bg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mn-lt"/>
              <a:ea typeface="楷体" panose="02010609060101010101" pitchFamily="49" charset="-122"/>
            </a:endParaRPr>
          </a:p>
        </p:txBody>
      </p:sp>
      <p:sp>
        <p:nvSpPr>
          <p:cNvPr id="324" name="TextBox 323"/>
          <p:cNvSpPr txBox="1"/>
          <p:nvPr/>
        </p:nvSpPr>
        <p:spPr>
          <a:xfrm>
            <a:off x="1978883" y="1426941"/>
            <a:ext cx="2168627" cy="200055"/>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zh-CN" sz="1300" dirty="0">
                <a:solidFill>
                  <a:srgbClr val="FFFFFF"/>
                </a:solidFill>
                <a:ea typeface="楷体" panose="02010609060101010101" pitchFamily="49" charset="-122"/>
                <a:cs typeface="SimSun"/>
              </a:rPr>
              <a:t>通过现有数据学习一项新能力</a:t>
            </a:r>
          </a:p>
        </p:txBody>
      </p:sp>
      <p:sp>
        <p:nvSpPr>
          <p:cNvPr id="325" name="TextBox 324"/>
          <p:cNvSpPr txBox="1"/>
          <p:nvPr/>
        </p:nvSpPr>
        <p:spPr>
          <a:xfrm>
            <a:off x="5960845" y="1426941"/>
            <a:ext cx="1834492" cy="200055"/>
          </a:xfrm>
          <a:prstGeom prst="rect">
            <a:avLst/>
          </a:prstGeom>
          <a:ln>
            <a:noFill/>
          </a:ln>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zh-CN" sz="1300" dirty="0">
                <a:solidFill>
                  <a:srgbClr val="FFFFFF"/>
                </a:solidFill>
                <a:ea typeface="楷体" panose="02010609060101010101" pitchFamily="49" charset="-122"/>
                <a:cs typeface="SimSun"/>
              </a:rPr>
              <a:t>将这项能力应用于新数据</a:t>
            </a:r>
          </a:p>
        </p:txBody>
      </p:sp>
      <p:sp>
        <p:nvSpPr>
          <p:cNvPr id="326" name="TextBox 325"/>
          <p:cNvSpPr txBox="1"/>
          <p:nvPr/>
        </p:nvSpPr>
        <p:spPr>
          <a:xfrm>
            <a:off x="229765" y="2369824"/>
            <a:ext cx="908538" cy="30777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zh-CN" sz="1000" b="1" dirty="0">
                <a:solidFill>
                  <a:srgbClr val="FFCA21"/>
                </a:solidFill>
                <a:ea typeface="楷体" panose="02010609060101010101" pitchFamily="49" charset="-122"/>
                <a:cs typeface="SimSun"/>
              </a:rPr>
              <a:t>未经训练的</a:t>
            </a:r>
            <a:br>
              <a:rPr>
                <a:ea typeface="楷体" panose="02010609060101010101" pitchFamily="49" charset="-122"/>
              </a:rPr>
            </a:br>
            <a:r>
              <a:rPr lang="zh-CN" sz="1000" dirty="0">
                <a:solidFill>
                  <a:srgbClr val="FFFFFF"/>
                </a:solidFill>
                <a:ea typeface="楷体" panose="02010609060101010101" pitchFamily="49" charset="-122"/>
                <a:cs typeface="SimSun"/>
              </a:rPr>
              <a:t>神经网络模型</a:t>
            </a:r>
          </a:p>
        </p:txBody>
      </p:sp>
      <p:sp>
        <p:nvSpPr>
          <p:cNvPr id="327" name="TextBox 326"/>
          <p:cNvSpPr txBox="1"/>
          <p:nvPr/>
        </p:nvSpPr>
        <p:spPr>
          <a:xfrm>
            <a:off x="4443223" y="2369824"/>
            <a:ext cx="908538" cy="30777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zh-CN" sz="1000" b="1" dirty="0">
                <a:solidFill>
                  <a:srgbClr val="FFCA21"/>
                </a:solidFill>
                <a:ea typeface="楷体" panose="02010609060101010101" pitchFamily="49" charset="-122"/>
                <a:cs typeface="SimSun"/>
              </a:rPr>
              <a:t>经过训练的模型</a:t>
            </a:r>
            <a:br>
              <a:rPr>
                <a:ea typeface="楷体" panose="02010609060101010101" pitchFamily="49" charset="-122"/>
              </a:rPr>
            </a:br>
            <a:r>
              <a:rPr lang="zh-CN" sz="1000" dirty="0">
                <a:solidFill>
                  <a:srgbClr val="FFFFFF"/>
                </a:solidFill>
                <a:ea typeface="楷体" panose="02010609060101010101" pitchFamily="49" charset="-122"/>
                <a:cs typeface="SimSun"/>
              </a:rPr>
              <a:t>新能力</a:t>
            </a:r>
          </a:p>
        </p:txBody>
      </p:sp>
      <p:sp>
        <p:nvSpPr>
          <p:cNvPr id="328" name="TextBox 327"/>
          <p:cNvSpPr txBox="1"/>
          <p:nvPr/>
        </p:nvSpPr>
        <p:spPr>
          <a:xfrm>
            <a:off x="1404798" y="2369824"/>
            <a:ext cx="908538" cy="153888"/>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zh-CN" sz="1000" dirty="0">
                <a:solidFill>
                  <a:srgbClr val="FFFFFF"/>
                </a:solidFill>
                <a:ea typeface="楷体" panose="02010609060101010101" pitchFamily="49" charset="-122"/>
                <a:cs typeface="SimSun"/>
              </a:rPr>
              <a:t>深度学习框架</a:t>
            </a:r>
            <a:endParaRPr lang="zh-CN" sz="1000" dirty="0">
              <a:solidFill>
                <a:srgbClr val="FFFFFF"/>
              </a:solidFill>
              <a:ea typeface="楷体" panose="02010609060101010101" pitchFamily="49" charset="-122"/>
            </a:endParaRPr>
          </a:p>
        </p:txBody>
      </p:sp>
      <p:sp>
        <p:nvSpPr>
          <p:cNvPr id="329" name="TextBox 328"/>
          <p:cNvSpPr txBox="1"/>
          <p:nvPr/>
        </p:nvSpPr>
        <p:spPr>
          <a:xfrm>
            <a:off x="7462019" y="2369824"/>
            <a:ext cx="1175033" cy="30777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zh-CN" sz="1000" b="1" dirty="0">
                <a:solidFill>
                  <a:srgbClr val="FFCA21"/>
                </a:solidFill>
                <a:ea typeface="楷体" panose="02010609060101010101" pitchFamily="49" charset="-122"/>
                <a:cs typeface="SimSun"/>
              </a:rPr>
              <a:t>应用或服务</a:t>
            </a:r>
            <a:br>
              <a:rPr>
                <a:ea typeface="楷体" panose="02010609060101010101" pitchFamily="49" charset="-122"/>
              </a:rPr>
            </a:br>
            <a:r>
              <a:rPr lang="zh-CN" sz="1000" dirty="0">
                <a:solidFill>
                  <a:srgbClr val="FFFFFF"/>
                </a:solidFill>
                <a:ea typeface="楷体" panose="02010609060101010101" pitchFamily="49" charset="-122"/>
                <a:cs typeface="SimSun"/>
              </a:rPr>
              <a:t>特色能力</a:t>
            </a:r>
          </a:p>
        </p:txBody>
      </p:sp>
      <p:sp>
        <p:nvSpPr>
          <p:cNvPr id="330" name="TextBox 329"/>
          <p:cNvSpPr txBox="1"/>
          <p:nvPr/>
        </p:nvSpPr>
        <p:spPr>
          <a:xfrm>
            <a:off x="7559815" y="4316714"/>
            <a:ext cx="1175033" cy="30777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zh-CN" sz="1000" b="1" dirty="0">
                <a:solidFill>
                  <a:srgbClr val="FFCA21"/>
                </a:solidFill>
                <a:ea typeface="楷体" panose="02010609060101010101" pitchFamily="49" charset="-122"/>
                <a:cs typeface="SimSun"/>
              </a:rPr>
              <a:t>经过训练的模型</a:t>
            </a:r>
            <a:br>
              <a:rPr>
                <a:ea typeface="楷体" panose="02010609060101010101" pitchFamily="49" charset="-122"/>
              </a:rPr>
            </a:br>
            <a:r>
              <a:rPr lang="zh-CN" sz="1000" dirty="0">
                <a:solidFill>
                  <a:srgbClr val="FFFFFF"/>
                </a:solidFill>
                <a:ea typeface="楷体" panose="02010609060101010101" pitchFamily="49" charset="-122"/>
                <a:cs typeface="SimSun"/>
              </a:rPr>
              <a:t>性能优化</a:t>
            </a:r>
          </a:p>
        </p:txBody>
      </p:sp>
      <p:sp>
        <p:nvSpPr>
          <p:cNvPr id="331" name="Freeform 330"/>
          <p:cNvSpPr/>
          <p:nvPr/>
        </p:nvSpPr>
        <p:spPr>
          <a:xfrm>
            <a:off x="7427234" y="2755900"/>
            <a:ext cx="622300" cy="660400"/>
          </a:xfrm>
          <a:custGeom>
            <a:avLst/>
            <a:gdLst>
              <a:gd name="connsiteX0" fmla="*/ 622300 w 622300"/>
              <a:gd name="connsiteY0" fmla="*/ 0 h 660400"/>
              <a:gd name="connsiteX1" fmla="*/ 622300 w 622300"/>
              <a:gd name="connsiteY1" fmla="*/ 482600 h 660400"/>
              <a:gd name="connsiteX2" fmla="*/ 0 w 622300"/>
              <a:gd name="connsiteY2" fmla="*/ 660400 h 660400"/>
            </a:gdLst>
            <a:ahLst/>
            <a:cxnLst>
              <a:cxn ang="0">
                <a:pos x="connsiteX0" y="connsiteY0"/>
              </a:cxn>
              <a:cxn ang="0">
                <a:pos x="connsiteX1" y="connsiteY1"/>
              </a:cxn>
              <a:cxn ang="0">
                <a:pos x="connsiteX2" y="connsiteY2"/>
              </a:cxn>
            </a:cxnLst>
            <a:rect l="l" t="t" r="r" b="b"/>
            <a:pathLst>
              <a:path w="622300" h="660400">
                <a:moveTo>
                  <a:pt x="622300" y="0"/>
                </a:moveTo>
                <a:lnTo>
                  <a:pt x="622300" y="482600"/>
                </a:lnTo>
                <a:lnTo>
                  <a:pt x="0" y="660400"/>
                </a:lnTo>
              </a:path>
            </a:pathLst>
          </a:custGeom>
          <a:noFill/>
          <a:ln w="9525">
            <a:solidFill>
              <a:schemeClr val="bg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sp>
        <p:nvSpPr>
          <p:cNvPr id="332" name="Freeform 331"/>
          <p:cNvSpPr/>
          <p:nvPr/>
        </p:nvSpPr>
        <p:spPr>
          <a:xfrm flipH="1">
            <a:off x="1765089" y="2755900"/>
            <a:ext cx="622300" cy="660400"/>
          </a:xfrm>
          <a:custGeom>
            <a:avLst/>
            <a:gdLst>
              <a:gd name="connsiteX0" fmla="*/ 622300 w 622300"/>
              <a:gd name="connsiteY0" fmla="*/ 0 h 660400"/>
              <a:gd name="connsiteX1" fmla="*/ 622300 w 622300"/>
              <a:gd name="connsiteY1" fmla="*/ 482600 h 660400"/>
              <a:gd name="connsiteX2" fmla="*/ 0 w 622300"/>
              <a:gd name="connsiteY2" fmla="*/ 660400 h 660400"/>
            </a:gdLst>
            <a:ahLst/>
            <a:cxnLst>
              <a:cxn ang="0">
                <a:pos x="connsiteX0" y="connsiteY0"/>
              </a:cxn>
              <a:cxn ang="0">
                <a:pos x="connsiteX1" y="connsiteY1"/>
              </a:cxn>
              <a:cxn ang="0">
                <a:pos x="connsiteX2" y="connsiteY2"/>
              </a:cxn>
            </a:cxnLst>
            <a:rect l="l" t="t" r="r" b="b"/>
            <a:pathLst>
              <a:path w="622300" h="660400">
                <a:moveTo>
                  <a:pt x="622300" y="0"/>
                </a:moveTo>
                <a:lnTo>
                  <a:pt x="622300" y="482600"/>
                </a:lnTo>
                <a:lnTo>
                  <a:pt x="0" y="660400"/>
                </a:lnTo>
              </a:path>
            </a:pathLst>
          </a:custGeom>
          <a:noFill/>
          <a:ln w="9525">
            <a:solidFill>
              <a:schemeClr val="bg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a typeface="楷体" panose="02010609060101010101" pitchFamily="49" charset="-122"/>
            </a:endParaRPr>
          </a:p>
        </p:txBody>
      </p:sp>
      <p:cxnSp>
        <p:nvCxnSpPr>
          <p:cNvPr id="333" name="Straight Connector 332"/>
          <p:cNvCxnSpPr/>
          <p:nvPr/>
        </p:nvCxnSpPr>
        <p:spPr>
          <a:xfrm>
            <a:off x="4888971" y="2755289"/>
            <a:ext cx="0" cy="725918"/>
          </a:xfrm>
          <a:prstGeom prst="line">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34" name="Straight Connector 333"/>
          <p:cNvCxnSpPr/>
          <p:nvPr/>
        </p:nvCxnSpPr>
        <p:spPr>
          <a:xfrm>
            <a:off x="684034" y="2909249"/>
            <a:ext cx="0" cy="571958"/>
          </a:xfrm>
          <a:prstGeom prst="line">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35" name="Straight Connector 334"/>
          <p:cNvCxnSpPr>
            <a:endCxn id="311" idx="3"/>
          </p:cNvCxnSpPr>
          <p:nvPr/>
        </p:nvCxnSpPr>
        <p:spPr>
          <a:xfrm flipH="1">
            <a:off x="7382124" y="4540460"/>
            <a:ext cx="308443" cy="0"/>
          </a:xfrm>
          <a:prstGeom prst="line">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36" name="Freeform 67"/>
          <p:cNvSpPr>
            <a:spLocks/>
          </p:cNvSpPr>
          <p:nvPr>
            <p:custDataLst>
              <p:tags r:id="rId4"/>
            </p:custDataLst>
          </p:nvPr>
        </p:nvSpPr>
        <p:spPr bwMode="auto">
          <a:xfrm>
            <a:off x="2737038" y="5742050"/>
            <a:ext cx="111307" cy="111307"/>
          </a:xfrm>
          <a:custGeom>
            <a:avLst/>
            <a:gdLst>
              <a:gd name="T0" fmla="*/ 25 w 184"/>
              <a:gd name="T1" fmla="*/ 0 h 184"/>
              <a:gd name="T2" fmla="*/ 92 w 184"/>
              <a:gd name="T3" fmla="*/ 67 h 184"/>
              <a:gd name="T4" fmla="*/ 158 w 184"/>
              <a:gd name="T5" fmla="*/ 0 h 184"/>
              <a:gd name="T6" fmla="*/ 183 w 184"/>
              <a:gd name="T7" fmla="*/ 26 h 184"/>
              <a:gd name="T8" fmla="*/ 117 w 184"/>
              <a:gd name="T9" fmla="*/ 91 h 184"/>
              <a:gd name="T10" fmla="*/ 184 w 184"/>
              <a:gd name="T11" fmla="*/ 158 h 184"/>
              <a:gd name="T12" fmla="*/ 158 w 184"/>
              <a:gd name="T13" fmla="*/ 184 h 184"/>
              <a:gd name="T14" fmla="*/ 92 w 184"/>
              <a:gd name="T15" fmla="*/ 118 h 184"/>
              <a:gd name="T16" fmla="*/ 25 w 184"/>
              <a:gd name="T17" fmla="*/ 184 h 184"/>
              <a:gd name="T18" fmla="*/ 0 w 184"/>
              <a:gd name="T19" fmla="*/ 158 h 184"/>
              <a:gd name="T20" fmla="*/ 66 w 184"/>
              <a:gd name="T21" fmla="*/ 91 h 184"/>
              <a:gd name="T22" fmla="*/ 0 w 184"/>
              <a:gd name="T23" fmla="*/ 26 h 184"/>
              <a:gd name="T24" fmla="*/ 25 w 184"/>
              <a:gd name="T25"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 h="184">
                <a:moveTo>
                  <a:pt x="25" y="0"/>
                </a:moveTo>
                <a:lnTo>
                  <a:pt x="92" y="67"/>
                </a:lnTo>
                <a:lnTo>
                  <a:pt x="158" y="0"/>
                </a:lnTo>
                <a:lnTo>
                  <a:pt x="183" y="26"/>
                </a:lnTo>
                <a:lnTo>
                  <a:pt x="117" y="91"/>
                </a:lnTo>
                <a:lnTo>
                  <a:pt x="184" y="158"/>
                </a:lnTo>
                <a:lnTo>
                  <a:pt x="158" y="184"/>
                </a:lnTo>
                <a:lnTo>
                  <a:pt x="92" y="118"/>
                </a:lnTo>
                <a:lnTo>
                  <a:pt x="25" y="184"/>
                </a:lnTo>
                <a:lnTo>
                  <a:pt x="0" y="158"/>
                </a:lnTo>
                <a:lnTo>
                  <a:pt x="66" y="91"/>
                </a:lnTo>
                <a:lnTo>
                  <a:pt x="0" y="26"/>
                </a:lnTo>
                <a:lnTo>
                  <a:pt x="25" y="0"/>
                </a:lnTo>
                <a:close/>
              </a:path>
            </a:pathLst>
          </a:custGeom>
          <a:solidFill>
            <a:srgbClr val="FF0000"/>
          </a:solidFill>
          <a:ln w="0">
            <a:noFill/>
            <a:prstDash val="solid"/>
            <a:round/>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solidFill>
                <a:srgbClr val="000000"/>
              </a:solidFill>
              <a:latin typeface="+mn-lt"/>
              <a:ea typeface="楷体" panose="02010609060101010101" pitchFamily="49" charset="-122"/>
            </a:endParaRPr>
          </a:p>
        </p:txBody>
      </p:sp>
      <p:sp>
        <p:nvSpPr>
          <p:cNvPr id="337" name="Freeform 99"/>
          <p:cNvSpPr>
            <a:spLocks/>
          </p:cNvSpPr>
          <p:nvPr>
            <p:custDataLst>
              <p:tags r:id="rId5"/>
            </p:custDataLst>
          </p:nvPr>
        </p:nvSpPr>
        <p:spPr bwMode="auto">
          <a:xfrm>
            <a:off x="2999744" y="5711987"/>
            <a:ext cx="167319" cy="158733"/>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solidFill>
            <a:srgbClr val="00B050"/>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solidFill>
                <a:srgbClr val="000000"/>
              </a:solidFill>
              <a:latin typeface="+mn-lt"/>
              <a:ea typeface="楷体" panose="02010609060101010101" pitchFamily="49" charset="-122"/>
            </a:endParaRPr>
          </a:p>
        </p:txBody>
      </p:sp>
    </p:spTree>
    <p:extLst>
      <p:ext uri="{BB962C8B-B14F-4D97-AF65-F5344CB8AC3E}">
        <p14:creationId xmlns:p14="http://schemas.microsoft.com/office/powerpoint/2010/main" val="25272826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p:cNvGrpSpPr>
            <a:grpSpLocks/>
          </p:cNvGrpSpPr>
          <p:nvPr/>
        </p:nvGrpSpPr>
        <p:grpSpPr>
          <a:xfrm>
            <a:off x="0" y="-1"/>
            <a:ext cx="8961438" cy="6721475"/>
            <a:chOff x="749301" y="-1"/>
            <a:chExt cx="8961438" cy="6721475"/>
          </a:xfrm>
        </p:grpSpPr>
        <p:grpSp>
          <p:nvGrpSpPr>
            <p:cNvPr id="48" name="Group 47"/>
            <p:cNvGrpSpPr>
              <a:grpSpLocks/>
            </p:cNvGrpSpPr>
            <p:nvPr/>
          </p:nvGrpSpPr>
          <p:grpSpPr>
            <a:xfrm>
              <a:off x="749301" y="-1"/>
              <a:ext cx="8961438" cy="6721475"/>
              <a:chOff x="-12625388" y="-4110038"/>
              <a:chExt cx="11771313" cy="11769726"/>
            </a:xfrm>
          </p:grpSpPr>
          <p:sp>
            <p:nvSpPr>
              <p:cNvPr id="50" name="Freeform 305"/>
              <p:cNvSpPr>
                <a:spLocks noEditPoints="1"/>
              </p:cNvSpPr>
              <p:nvPr/>
            </p:nvSpPr>
            <p:spPr bwMode="auto">
              <a:xfrm>
                <a:off x="-12625388" y="-4110038"/>
                <a:ext cx="11771313" cy="11769725"/>
              </a:xfrm>
              <a:custGeom>
                <a:avLst/>
                <a:gdLst>
                  <a:gd name="T0" fmla="*/ 15360 w 15446"/>
                  <a:gd name="T1" fmla="*/ 14351 h 15446"/>
                  <a:gd name="T2" fmla="*/ 11037 w 15446"/>
                  <a:gd name="T3" fmla="*/ 13656 h 15446"/>
                  <a:gd name="T4" fmla="*/ 5936 w 15446"/>
                  <a:gd name="T5" fmla="*/ 12632 h 15446"/>
                  <a:gd name="T6" fmla="*/ 13164 w 15446"/>
                  <a:gd name="T7" fmla="*/ 15446 h 15446"/>
                  <a:gd name="T8" fmla="*/ 7984 w 15446"/>
                  <a:gd name="T9" fmla="*/ 14465 h 15446"/>
                  <a:gd name="T10" fmla="*/ 4300 w 15446"/>
                  <a:gd name="T11" fmla="*/ 15446 h 15446"/>
                  <a:gd name="T12" fmla="*/ 750 w 15446"/>
                  <a:gd name="T13" fmla="*/ 12746 h 15446"/>
                  <a:gd name="T14" fmla="*/ 750 w 15446"/>
                  <a:gd name="T15" fmla="*/ 12746 h 15446"/>
                  <a:gd name="T16" fmla="*/ 750 w 15446"/>
                  <a:gd name="T17" fmla="*/ 12746 h 15446"/>
                  <a:gd name="T18" fmla="*/ 371 w 15446"/>
                  <a:gd name="T19" fmla="*/ 15010 h 15446"/>
                  <a:gd name="T20" fmla="*/ 14542 w 15446"/>
                  <a:gd name="T21" fmla="*/ 0 h 15446"/>
                  <a:gd name="T22" fmla="*/ 7468 w 15446"/>
                  <a:gd name="T23" fmla="*/ 1574 h 15446"/>
                  <a:gd name="T24" fmla="*/ 7468 w 15446"/>
                  <a:gd name="T25" fmla="*/ 1574 h 15446"/>
                  <a:gd name="T26" fmla="*/ 3502 w 15446"/>
                  <a:gd name="T27" fmla="*/ 2789 h 15446"/>
                  <a:gd name="T28" fmla="*/ 1065 w 15446"/>
                  <a:gd name="T29" fmla="*/ 1273 h 15446"/>
                  <a:gd name="T30" fmla="*/ 120 w 15446"/>
                  <a:gd name="T31" fmla="*/ 3894 h 15446"/>
                  <a:gd name="T32" fmla="*/ 1145 w 15446"/>
                  <a:gd name="T33" fmla="*/ 6872 h 15446"/>
                  <a:gd name="T34" fmla="*/ 0 w 15446"/>
                  <a:gd name="T35" fmla="*/ 7970 h 15446"/>
                  <a:gd name="T36" fmla="*/ 2324 w 15446"/>
                  <a:gd name="T37" fmla="*/ 8914 h 15446"/>
                  <a:gd name="T38" fmla="*/ 3502 w 15446"/>
                  <a:gd name="T39" fmla="*/ 10955 h 15446"/>
                  <a:gd name="T40" fmla="*/ 2324 w 15446"/>
                  <a:gd name="T41" fmla="*/ 8914 h 15446"/>
                  <a:gd name="T42" fmla="*/ 586 w 15446"/>
                  <a:gd name="T43" fmla="*/ 11428 h 15446"/>
                  <a:gd name="T44" fmla="*/ 3502 w 15446"/>
                  <a:gd name="T45" fmla="*/ 10956 h 15446"/>
                  <a:gd name="T46" fmla="*/ 4943 w 15446"/>
                  <a:gd name="T47" fmla="*/ 15446 h 15446"/>
                  <a:gd name="T48" fmla="*/ 901 w 15446"/>
                  <a:gd name="T49" fmla="*/ 1246 h 15446"/>
                  <a:gd name="T50" fmla="*/ 2324 w 15446"/>
                  <a:gd name="T51" fmla="*/ 748 h 15446"/>
                  <a:gd name="T52" fmla="*/ 45 w 15446"/>
                  <a:gd name="T53" fmla="*/ 0 h 15446"/>
                  <a:gd name="T54" fmla="*/ 3737 w 15446"/>
                  <a:gd name="T55" fmla="*/ 15446 h 15446"/>
                  <a:gd name="T56" fmla="*/ 11037 w 15446"/>
                  <a:gd name="T57" fmla="*/ 13656 h 15446"/>
                  <a:gd name="T58" fmla="*/ 8413 w 15446"/>
                  <a:gd name="T59" fmla="*/ 8879 h 15446"/>
                  <a:gd name="T60" fmla="*/ 10777 w 15446"/>
                  <a:gd name="T61" fmla="*/ 9480 h 15446"/>
                  <a:gd name="T62" fmla="*/ 14110 w 15446"/>
                  <a:gd name="T63" fmla="*/ 8914 h 15446"/>
                  <a:gd name="T64" fmla="*/ 12931 w 15446"/>
                  <a:gd name="T65" fmla="*/ 10955 h 15446"/>
                  <a:gd name="T66" fmla="*/ 14110 w 15446"/>
                  <a:gd name="T67" fmla="*/ 12997 h 15446"/>
                  <a:gd name="T68" fmla="*/ 2324 w 15446"/>
                  <a:gd name="T69" fmla="*/ 12997 h 15446"/>
                  <a:gd name="T70" fmla="*/ 5935 w 15446"/>
                  <a:gd name="T71" fmla="*/ 12631 h 15446"/>
                  <a:gd name="T72" fmla="*/ 5936 w 15446"/>
                  <a:gd name="T73" fmla="*/ 12632 h 15446"/>
                  <a:gd name="T74" fmla="*/ 12931 w 15446"/>
                  <a:gd name="T75" fmla="*/ 6872 h 15446"/>
                  <a:gd name="T76" fmla="*/ 12931 w 15446"/>
                  <a:gd name="T77" fmla="*/ 6872 h 15446"/>
                  <a:gd name="T78" fmla="*/ 5860 w 15446"/>
                  <a:gd name="T79" fmla="*/ 6872 h 15446"/>
                  <a:gd name="T80" fmla="*/ 7038 w 15446"/>
                  <a:gd name="T81" fmla="*/ 8914 h 15446"/>
                  <a:gd name="T82" fmla="*/ 15446 w 15446"/>
                  <a:gd name="T83" fmla="*/ 8914 h 15446"/>
                  <a:gd name="T84" fmla="*/ 8217 w 15446"/>
                  <a:gd name="T85" fmla="*/ 6872 h 15446"/>
                  <a:gd name="T86" fmla="*/ 4159 w 15446"/>
                  <a:gd name="T87" fmla="*/ 4109 h 15446"/>
                  <a:gd name="T88" fmla="*/ 4159 w 15446"/>
                  <a:gd name="T89" fmla="*/ 4109 h 15446"/>
                  <a:gd name="T90" fmla="*/ 2557 w 15446"/>
                  <a:gd name="T91" fmla="*/ 7302 h 15446"/>
                  <a:gd name="T92" fmla="*/ 5860 w 15446"/>
                  <a:gd name="T93" fmla="*/ 6872 h 15446"/>
                  <a:gd name="T94" fmla="*/ 15446 w 15446"/>
                  <a:gd name="T95" fmla="*/ 7072 h 15446"/>
                  <a:gd name="T96" fmla="*/ 10574 w 15446"/>
                  <a:gd name="T97" fmla="*/ 6872 h 15446"/>
                  <a:gd name="T98" fmla="*/ 10574 w 15446"/>
                  <a:gd name="T99" fmla="*/ 6872 h 15446"/>
                  <a:gd name="T100" fmla="*/ 9316 w 15446"/>
                  <a:gd name="T101" fmla="*/ 6257 h 15446"/>
                  <a:gd name="T102" fmla="*/ 12655 w 15446"/>
                  <a:gd name="T103" fmla="*/ 5604 h 15446"/>
                  <a:gd name="T104" fmla="*/ 9316 w 15446"/>
                  <a:gd name="T105" fmla="*/ 6257 h 15446"/>
                  <a:gd name="T106" fmla="*/ 12655 w 15446"/>
                  <a:gd name="T107" fmla="*/ 5604 h 15446"/>
                  <a:gd name="T108" fmla="*/ 8410 w 15446"/>
                  <a:gd name="T109" fmla="*/ 2581 h 15446"/>
                  <a:gd name="T110" fmla="*/ 7038 w 15446"/>
                  <a:gd name="T111" fmla="*/ 4831 h 15446"/>
                  <a:gd name="T112" fmla="*/ 14110 w 15446"/>
                  <a:gd name="T113" fmla="*/ 4831 h 15446"/>
                  <a:gd name="T114" fmla="*/ 14110 w 15446"/>
                  <a:gd name="T115" fmla="*/ 4831 h 15446"/>
                  <a:gd name="T116" fmla="*/ 4603 w 15446"/>
                  <a:gd name="T117" fmla="*/ 3765 h 15446"/>
                  <a:gd name="T118" fmla="*/ 9396 w 15446"/>
                  <a:gd name="T119" fmla="*/ 748 h 15446"/>
                  <a:gd name="T120" fmla="*/ 5859 w 15446"/>
                  <a:gd name="T121" fmla="*/ 2790 h 15446"/>
                  <a:gd name="T122" fmla="*/ 15446 w 15446"/>
                  <a:gd name="T123" fmla="*/ 1876 h 15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46" h="15446">
                    <a:moveTo>
                      <a:pt x="14929" y="15446"/>
                    </a:moveTo>
                    <a:lnTo>
                      <a:pt x="14929" y="15446"/>
                    </a:lnTo>
                    <a:lnTo>
                      <a:pt x="15360" y="14351"/>
                    </a:lnTo>
                    <a:lnTo>
                      <a:pt x="13552" y="15446"/>
                    </a:lnTo>
                    <a:lnTo>
                      <a:pt x="15360" y="14351"/>
                    </a:lnTo>
                    <a:lnTo>
                      <a:pt x="14710" y="13647"/>
                    </a:lnTo>
                    <a:lnTo>
                      <a:pt x="15360" y="14351"/>
                    </a:lnTo>
                    <a:lnTo>
                      <a:pt x="15446" y="14344"/>
                    </a:lnTo>
                    <a:lnTo>
                      <a:pt x="15446" y="14344"/>
                    </a:lnTo>
                    <a:lnTo>
                      <a:pt x="15360" y="14351"/>
                    </a:lnTo>
                    <a:lnTo>
                      <a:pt x="14929" y="15446"/>
                    </a:lnTo>
                    <a:moveTo>
                      <a:pt x="13164" y="15446"/>
                    </a:moveTo>
                    <a:lnTo>
                      <a:pt x="13164" y="15446"/>
                    </a:lnTo>
                    <a:lnTo>
                      <a:pt x="11037" y="13656"/>
                    </a:lnTo>
                    <a:lnTo>
                      <a:pt x="11394" y="15446"/>
                    </a:lnTo>
                    <a:lnTo>
                      <a:pt x="11394" y="15446"/>
                    </a:lnTo>
                    <a:lnTo>
                      <a:pt x="11037" y="13656"/>
                    </a:lnTo>
                    <a:lnTo>
                      <a:pt x="9396" y="12997"/>
                    </a:lnTo>
                    <a:lnTo>
                      <a:pt x="9395" y="12997"/>
                    </a:lnTo>
                    <a:lnTo>
                      <a:pt x="9396" y="12997"/>
                    </a:lnTo>
                    <a:lnTo>
                      <a:pt x="5936" y="12632"/>
                    </a:lnTo>
                    <a:lnTo>
                      <a:pt x="9395" y="12997"/>
                    </a:lnTo>
                    <a:lnTo>
                      <a:pt x="9395" y="12997"/>
                    </a:lnTo>
                    <a:lnTo>
                      <a:pt x="11037" y="13656"/>
                    </a:lnTo>
                    <a:lnTo>
                      <a:pt x="11037" y="13656"/>
                    </a:lnTo>
                    <a:lnTo>
                      <a:pt x="11037" y="13656"/>
                    </a:lnTo>
                    <a:lnTo>
                      <a:pt x="11037" y="13656"/>
                    </a:lnTo>
                    <a:lnTo>
                      <a:pt x="13164" y="15446"/>
                    </a:lnTo>
                    <a:moveTo>
                      <a:pt x="8513" y="15446"/>
                    </a:moveTo>
                    <a:lnTo>
                      <a:pt x="6538" y="15446"/>
                    </a:lnTo>
                    <a:lnTo>
                      <a:pt x="7984" y="14465"/>
                    </a:lnTo>
                    <a:lnTo>
                      <a:pt x="6538" y="15446"/>
                    </a:lnTo>
                    <a:lnTo>
                      <a:pt x="7984" y="14465"/>
                    </a:lnTo>
                    <a:lnTo>
                      <a:pt x="7376" y="13922"/>
                    </a:lnTo>
                    <a:lnTo>
                      <a:pt x="7984" y="14465"/>
                    </a:lnTo>
                    <a:lnTo>
                      <a:pt x="8513" y="15446"/>
                    </a:lnTo>
                    <a:moveTo>
                      <a:pt x="4943" y="15446"/>
                    </a:moveTo>
                    <a:lnTo>
                      <a:pt x="4943" y="15446"/>
                    </a:lnTo>
                    <a:lnTo>
                      <a:pt x="3564" y="14028"/>
                    </a:lnTo>
                    <a:lnTo>
                      <a:pt x="3502" y="15039"/>
                    </a:lnTo>
                    <a:lnTo>
                      <a:pt x="4300" y="15446"/>
                    </a:lnTo>
                    <a:lnTo>
                      <a:pt x="4300" y="15446"/>
                    </a:lnTo>
                    <a:lnTo>
                      <a:pt x="3502" y="15039"/>
                    </a:lnTo>
                    <a:lnTo>
                      <a:pt x="3502" y="15039"/>
                    </a:lnTo>
                    <a:lnTo>
                      <a:pt x="3502" y="15039"/>
                    </a:lnTo>
                    <a:lnTo>
                      <a:pt x="3564" y="14028"/>
                    </a:lnTo>
                    <a:lnTo>
                      <a:pt x="2324" y="12997"/>
                    </a:lnTo>
                    <a:lnTo>
                      <a:pt x="2324" y="12997"/>
                    </a:lnTo>
                    <a:lnTo>
                      <a:pt x="750" y="12746"/>
                    </a:lnTo>
                    <a:lnTo>
                      <a:pt x="750" y="12746"/>
                    </a:lnTo>
                    <a:lnTo>
                      <a:pt x="750" y="12746"/>
                    </a:lnTo>
                    <a:lnTo>
                      <a:pt x="750" y="12746"/>
                    </a:lnTo>
                    <a:lnTo>
                      <a:pt x="586" y="11428"/>
                    </a:lnTo>
                    <a:lnTo>
                      <a:pt x="0" y="11274"/>
                    </a:lnTo>
                    <a:lnTo>
                      <a:pt x="0" y="12062"/>
                    </a:lnTo>
                    <a:lnTo>
                      <a:pt x="750" y="12746"/>
                    </a:lnTo>
                    <a:lnTo>
                      <a:pt x="750" y="12746"/>
                    </a:lnTo>
                    <a:lnTo>
                      <a:pt x="0" y="12062"/>
                    </a:lnTo>
                    <a:lnTo>
                      <a:pt x="750" y="12746"/>
                    </a:lnTo>
                    <a:lnTo>
                      <a:pt x="0" y="13667"/>
                    </a:lnTo>
                    <a:lnTo>
                      <a:pt x="0" y="15111"/>
                    </a:lnTo>
                    <a:lnTo>
                      <a:pt x="371" y="15010"/>
                    </a:lnTo>
                    <a:lnTo>
                      <a:pt x="750" y="12746"/>
                    </a:lnTo>
                    <a:lnTo>
                      <a:pt x="750" y="12746"/>
                    </a:lnTo>
                    <a:lnTo>
                      <a:pt x="372" y="15010"/>
                    </a:lnTo>
                    <a:lnTo>
                      <a:pt x="1152" y="14205"/>
                    </a:lnTo>
                    <a:lnTo>
                      <a:pt x="372" y="15010"/>
                    </a:lnTo>
                    <a:lnTo>
                      <a:pt x="482" y="15446"/>
                    </a:lnTo>
                    <a:lnTo>
                      <a:pt x="482" y="15446"/>
                    </a:lnTo>
                    <a:lnTo>
                      <a:pt x="371" y="15010"/>
                    </a:lnTo>
                    <a:lnTo>
                      <a:pt x="0" y="15111"/>
                    </a:lnTo>
                    <a:lnTo>
                      <a:pt x="0" y="15446"/>
                    </a:lnTo>
                    <a:lnTo>
                      <a:pt x="0" y="0"/>
                    </a:lnTo>
                    <a:lnTo>
                      <a:pt x="15446" y="0"/>
                    </a:lnTo>
                    <a:lnTo>
                      <a:pt x="14542" y="0"/>
                    </a:lnTo>
                    <a:lnTo>
                      <a:pt x="14110" y="748"/>
                    </a:lnTo>
                    <a:lnTo>
                      <a:pt x="14542" y="0"/>
                    </a:lnTo>
                    <a:lnTo>
                      <a:pt x="8964" y="0"/>
                    </a:lnTo>
                    <a:lnTo>
                      <a:pt x="9395" y="747"/>
                    </a:lnTo>
                    <a:lnTo>
                      <a:pt x="9395" y="747"/>
                    </a:lnTo>
                    <a:lnTo>
                      <a:pt x="8964" y="0"/>
                    </a:lnTo>
                    <a:lnTo>
                      <a:pt x="7879" y="0"/>
                    </a:lnTo>
                    <a:lnTo>
                      <a:pt x="7468" y="1574"/>
                    </a:lnTo>
                    <a:lnTo>
                      <a:pt x="7468" y="1574"/>
                    </a:lnTo>
                    <a:lnTo>
                      <a:pt x="7879" y="0"/>
                    </a:lnTo>
                    <a:lnTo>
                      <a:pt x="6111" y="0"/>
                    </a:lnTo>
                    <a:lnTo>
                      <a:pt x="7468" y="1574"/>
                    </a:lnTo>
                    <a:lnTo>
                      <a:pt x="6111" y="0"/>
                    </a:lnTo>
                    <a:lnTo>
                      <a:pt x="4249" y="0"/>
                    </a:lnTo>
                    <a:lnTo>
                      <a:pt x="4681" y="748"/>
                    </a:lnTo>
                    <a:lnTo>
                      <a:pt x="7468" y="1574"/>
                    </a:lnTo>
                    <a:lnTo>
                      <a:pt x="7468" y="1574"/>
                    </a:lnTo>
                    <a:lnTo>
                      <a:pt x="4681" y="748"/>
                    </a:lnTo>
                    <a:lnTo>
                      <a:pt x="5860" y="2789"/>
                    </a:lnTo>
                    <a:lnTo>
                      <a:pt x="5859" y="2789"/>
                    </a:lnTo>
                    <a:lnTo>
                      <a:pt x="4681" y="748"/>
                    </a:lnTo>
                    <a:lnTo>
                      <a:pt x="3502" y="2790"/>
                    </a:lnTo>
                    <a:lnTo>
                      <a:pt x="3502" y="2789"/>
                    </a:lnTo>
                    <a:lnTo>
                      <a:pt x="4681" y="748"/>
                    </a:lnTo>
                    <a:lnTo>
                      <a:pt x="2324" y="748"/>
                    </a:lnTo>
                    <a:lnTo>
                      <a:pt x="3502" y="2789"/>
                    </a:lnTo>
                    <a:lnTo>
                      <a:pt x="3502" y="2789"/>
                    </a:lnTo>
                    <a:lnTo>
                      <a:pt x="2324" y="748"/>
                    </a:lnTo>
                    <a:lnTo>
                      <a:pt x="1065" y="1273"/>
                    </a:lnTo>
                    <a:lnTo>
                      <a:pt x="1065" y="1273"/>
                    </a:lnTo>
                    <a:lnTo>
                      <a:pt x="1065" y="1273"/>
                    </a:lnTo>
                    <a:lnTo>
                      <a:pt x="1065" y="1273"/>
                    </a:lnTo>
                    <a:lnTo>
                      <a:pt x="120" y="3894"/>
                    </a:lnTo>
                    <a:lnTo>
                      <a:pt x="2324" y="4831"/>
                    </a:lnTo>
                    <a:lnTo>
                      <a:pt x="2324" y="4831"/>
                    </a:lnTo>
                    <a:lnTo>
                      <a:pt x="120" y="3894"/>
                    </a:lnTo>
                    <a:lnTo>
                      <a:pt x="120" y="3894"/>
                    </a:lnTo>
                    <a:lnTo>
                      <a:pt x="1065" y="1273"/>
                    </a:lnTo>
                    <a:lnTo>
                      <a:pt x="0" y="1982"/>
                    </a:lnTo>
                    <a:lnTo>
                      <a:pt x="0" y="3795"/>
                    </a:lnTo>
                    <a:lnTo>
                      <a:pt x="120" y="3894"/>
                    </a:lnTo>
                    <a:lnTo>
                      <a:pt x="120" y="3894"/>
                    </a:lnTo>
                    <a:lnTo>
                      <a:pt x="270" y="4331"/>
                    </a:lnTo>
                    <a:lnTo>
                      <a:pt x="1145" y="6872"/>
                    </a:lnTo>
                    <a:lnTo>
                      <a:pt x="270" y="4331"/>
                    </a:lnTo>
                    <a:lnTo>
                      <a:pt x="1145" y="6872"/>
                    </a:lnTo>
                    <a:lnTo>
                      <a:pt x="2088" y="5239"/>
                    </a:lnTo>
                    <a:lnTo>
                      <a:pt x="1145" y="6872"/>
                    </a:lnTo>
                    <a:lnTo>
                      <a:pt x="1145" y="6872"/>
                    </a:lnTo>
                    <a:lnTo>
                      <a:pt x="1109" y="6907"/>
                    </a:lnTo>
                    <a:lnTo>
                      <a:pt x="0" y="7970"/>
                    </a:lnTo>
                    <a:lnTo>
                      <a:pt x="1109" y="6907"/>
                    </a:lnTo>
                    <a:lnTo>
                      <a:pt x="0" y="7970"/>
                    </a:lnTo>
                    <a:lnTo>
                      <a:pt x="0" y="8978"/>
                    </a:lnTo>
                    <a:lnTo>
                      <a:pt x="2324" y="8914"/>
                    </a:lnTo>
                    <a:lnTo>
                      <a:pt x="1145" y="6872"/>
                    </a:lnTo>
                    <a:lnTo>
                      <a:pt x="2324" y="8914"/>
                    </a:lnTo>
                    <a:lnTo>
                      <a:pt x="2324" y="8914"/>
                    </a:lnTo>
                    <a:lnTo>
                      <a:pt x="4116" y="9609"/>
                    </a:lnTo>
                    <a:lnTo>
                      <a:pt x="3114" y="8126"/>
                    </a:lnTo>
                    <a:lnTo>
                      <a:pt x="4116" y="9609"/>
                    </a:lnTo>
                    <a:lnTo>
                      <a:pt x="5860" y="10955"/>
                    </a:lnTo>
                    <a:lnTo>
                      <a:pt x="5859" y="10955"/>
                    </a:lnTo>
                    <a:lnTo>
                      <a:pt x="4116" y="9609"/>
                    </a:lnTo>
                    <a:lnTo>
                      <a:pt x="3502" y="10955"/>
                    </a:lnTo>
                    <a:lnTo>
                      <a:pt x="3502" y="10955"/>
                    </a:lnTo>
                    <a:lnTo>
                      <a:pt x="3502" y="10955"/>
                    </a:lnTo>
                    <a:lnTo>
                      <a:pt x="3502" y="10955"/>
                    </a:lnTo>
                    <a:lnTo>
                      <a:pt x="4116" y="9609"/>
                    </a:lnTo>
                    <a:lnTo>
                      <a:pt x="2324" y="8914"/>
                    </a:lnTo>
                    <a:lnTo>
                      <a:pt x="2324" y="8914"/>
                    </a:lnTo>
                    <a:lnTo>
                      <a:pt x="2324" y="8914"/>
                    </a:lnTo>
                    <a:lnTo>
                      <a:pt x="2324" y="8914"/>
                    </a:lnTo>
                    <a:lnTo>
                      <a:pt x="2324" y="8914"/>
                    </a:lnTo>
                    <a:lnTo>
                      <a:pt x="0" y="8978"/>
                    </a:lnTo>
                    <a:lnTo>
                      <a:pt x="0" y="11274"/>
                    </a:lnTo>
                    <a:lnTo>
                      <a:pt x="586" y="11428"/>
                    </a:lnTo>
                    <a:lnTo>
                      <a:pt x="1542" y="10045"/>
                    </a:lnTo>
                    <a:lnTo>
                      <a:pt x="586" y="11428"/>
                    </a:lnTo>
                    <a:lnTo>
                      <a:pt x="3502" y="10955"/>
                    </a:lnTo>
                    <a:lnTo>
                      <a:pt x="586" y="11428"/>
                    </a:lnTo>
                    <a:lnTo>
                      <a:pt x="750" y="12746"/>
                    </a:lnTo>
                    <a:lnTo>
                      <a:pt x="2324" y="12997"/>
                    </a:lnTo>
                    <a:lnTo>
                      <a:pt x="2324" y="12997"/>
                    </a:lnTo>
                    <a:lnTo>
                      <a:pt x="3564" y="14028"/>
                    </a:lnTo>
                    <a:lnTo>
                      <a:pt x="3502" y="10956"/>
                    </a:lnTo>
                    <a:lnTo>
                      <a:pt x="3564" y="14028"/>
                    </a:lnTo>
                    <a:lnTo>
                      <a:pt x="5860" y="10956"/>
                    </a:lnTo>
                    <a:lnTo>
                      <a:pt x="5860" y="10956"/>
                    </a:lnTo>
                    <a:lnTo>
                      <a:pt x="3564" y="14028"/>
                    </a:lnTo>
                    <a:lnTo>
                      <a:pt x="3564" y="14028"/>
                    </a:lnTo>
                    <a:lnTo>
                      <a:pt x="3564" y="14028"/>
                    </a:lnTo>
                    <a:lnTo>
                      <a:pt x="4943" y="15446"/>
                    </a:lnTo>
                    <a:moveTo>
                      <a:pt x="0" y="3795"/>
                    </a:moveTo>
                    <a:lnTo>
                      <a:pt x="120" y="3894"/>
                    </a:lnTo>
                    <a:lnTo>
                      <a:pt x="0" y="3795"/>
                    </a:lnTo>
                    <a:moveTo>
                      <a:pt x="0" y="1099"/>
                    </a:moveTo>
                    <a:lnTo>
                      <a:pt x="0" y="1982"/>
                    </a:lnTo>
                    <a:lnTo>
                      <a:pt x="1065" y="1273"/>
                    </a:lnTo>
                    <a:lnTo>
                      <a:pt x="901" y="1246"/>
                    </a:lnTo>
                    <a:lnTo>
                      <a:pt x="1065" y="1273"/>
                    </a:lnTo>
                    <a:lnTo>
                      <a:pt x="2324" y="748"/>
                    </a:lnTo>
                    <a:lnTo>
                      <a:pt x="0" y="916"/>
                    </a:lnTo>
                    <a:lnTo>
                      <a:pt x="0" y="1099"/>
                    </a:lnTo>
                    <a:moveTo>
                      <a:pt x="0" y="52"/>
                    </a:moveTo>
                    <a:lnTo>
                      <a:pt x="0" y="916"/>
                    </a:lnTo>
                    <a:lnTo>
                      <a:pt x="2324" y="748"/>
                    </a:lnTo>
                    <a:lnTo>
                      <a:pt x="4681" y="748"/>
                    </a:lnTo>
                    <a:lnTo>
                      <a:pt x="4249" y="0"/>
                    </a:lnTo>
                    <a:lnTo>
                      <a:pt x="1892" y="0"/>
                    </a:lnTo>
                    <a:lnTo>
                      <a:pt x="2324" y="748"/>
                    </a:lnTo>
                    <a:lnTo>
                      <a:pt x="2324" y="748"/>
                    </a:lnTo>
                    <a:lnTo>
                      <a:pt x="1892" y="0"/>
                    </a:lnTo>
                    <a:lnTo>
                      <a:pt x="45" y="0"/>
                    </a:lnTo>
                    <a:lnTo>
                      <a:pt x="0" y="52"/>
                    </a:lnTo>
                    <a:moveTo>
                      <a:pt x="0" y="0"/>
                    </a:moveTo>
                    <a:lnTo>
                      <a:pt x="0" y="52"/>
                    </a:lnTo>
                    <a:lnTo>
                      <a:pt x="44" y="0"/>
                    </a:lnTo>
                    <a:lnTo>
                      <a:pt x="0" y="0"/>
                    </a:lnTo>
                    <a:moveTo>
                      <a:pt x="3737" y="15446"/>
                    </a:moveTo>
                    <a:lnTo>
                      <a:pt x="3737" y="15446"/>
                    </a:lnTo>
                    <a:lnTo>
                      <a:pt x="3502" y="15039"/>
                    </a:lnTo>
                    <a:lnTo>
                      <a:pt x="3737" y="15446"/>
                    </a:lnTo>
                    <a:moveTo>
                      <a:pt x="1074" y="15446"/>
                    </a:moveTo>
                    <a:lnTo>
                      <a:pt x="1074" y="15446"/>
                    </a:lnTo>
                    <a:lnTo>
                      <a:pt x="800" y="15275"/>
                    </a:lnTo>
                    <a:lnTo>
                      <a:pt x="1074" y="15446"/>
                    </a:lnTo>
                    <a:moveTo>
                      <a:pt x="11037" y="13656"/>
                    </a:moveTo>
                    <a:lnTo>
                      <a:pt x="12931" y="10955"/>
                    </a:lnTo>
                    <a:lnTo>
                      <a:pt x="10777" y="9480"/>
                    </a:lnTo>
                    <a:lnTo>
                      <a:pt x="10433" y="11715"/>
                    </a:lnTo>
                    <a:lnTo>
                      <a:pt x="10433" y="11715"/>
                    </a:lnTo>
                    <a:lnTo>
                      <a:pt x="10433" y="11715"/>
                    </a:lnTo>
                    <a:lnTo>
                      <a:pt x="10777" y="9480"/>
                    </a:lnTo>
                    <a:lnTo>
                      <a:pt x="8413" y="8879"/>
                    </a:lnTo>
                    <a:lnTo>
                      <a:pt x="8413" y="8879"/>
                    </a:lnTo>
                    <a:lnTo>
                      <a:pt x="8413" y="8879"/>
                    </a:lnTo>
                    <a:lnTo>
                      <a:pt x="8413" y="8879"/>
                    </a:lnTo>
                    <a:lnTo>
                      <a:pt x="7038" y="8914"/>
                    </a:lnTo>
                    <a:lnTo>
                      <a:pt x="7038" y="8914"/>
                    </a:lnTo>
                    <a:lnTo>
                      <a:pt x="8413" y="8879"/>
                    </a:lnTo>
                    <a:lnTo>
                      <a:pt x="10777" y="9480"/>
                    </a:lnTo>
                    <a:lnTo>
                      <a:pt x="10777" y="9480"/>
                    </a:lnTo>
                    <a:lnTo>
                      <a:pt x="10777" y="9480"/>
                    </a:lnTo>
                    <a:lnTo>
                      <a:pt x="10777" y="9480"/>
                    </a:lnTo>
                    <a:lnTo>
                      <a:pt x="12931" y="10955"/>
                    </a:lnTo>
                    <a:lnTo>
                      <a:pt x="13871" y="11844"/>
                    </a:lnTo>
                    <a:lnTo>
                      <a:pt x="14110" y="8914"/>
                    </a:lnTo>
                    <a:lnTo>
                      <a:pt x="14110" y="8914"/>
                    </a:lnTo>
                    <a:lnTo>
                      <a:pt x="13871" y="11844"/>
                    </a:lnTo>
                    <a:lnTo>
                      <a:pt x="15446" y="11473"/>
                    </a:lnTo>
                    <a:lnTo>
                      <a:pt x="15446" y="11473"/>
                    </a:lnTo>
                    <a:lnTo>
                      <a:pt x="13871" y="11844"/>
                    </a:lnTo>
                    <a:lnTo>
                      <a:pt x="14069" y="12799"/>
                    </a:lnTo>
                    <a:lnTo>
                      <a:pt x="13871" y="11844"/>
                    </a:lnTo>
                    <a:lnTo>
                      <a:pt x="12931" y="10955"/>
                    </a:lnTo>
                    <a:lnTo>
                      <a:pt x="14110" y="12997"/>
                    </a:lnTo>
                    <a:lnTo>
                      <a:pt x="14110" y="12997"/>
                    </a:lnTo>
                    <a:lnTo>
                      <a:pt x="14110" y="12997"/>
                    </a:lnTo>
                    <a:lnTo>
                      <a:pt x="12931" y="10955"/>
                    </a:lnTo>
                    <a:lnTo>
                      <a:pt x="11037" y="13656"/>
                    </a:lnTo>
                    <a:moveTo>
                      <a:pt x="15446" y="12997"/>
                    </a:moveTo>
                    <a:lnTo>
                      <a:pt x="14110" y="12997"/>
                    </a:lnTo>
                    <a:lnTo>
                      <a:pt x="14110" y="12997"/>
                    </a:lnTo>
                    <a:lnTo>
                      <a:pt x="15446" y="12997"/>
                    </a:lnTo>
                    <a:lnTo>
                      <a:pt x="15446" y="12997"/>
                    </a:lnTo>
                    <a:moveTo>
                      <a:pt x="2324" y="12997"/>
                    </a:moveTo>
                    <a:lnTo>
                      <a:pt x="586" y="11428"/>
                    </a:lnTo>
                    <a:lnTo>
                      <a:pt x="2324" y="12997"/>
                    </a:lnTo>
                    <a:lnTo>
                      <a:pt x="2324" y="12997"/>
                    </a:lnTo>
                    <a:moveTo>
                      <a:pt x="750" y="12746"/>
                    </a:moveTo>
                    <a:lnTo>
                      <a:pt x="750" y="12746"/>
                    </a:lnTo>
                    <a:lnTo>
                      <a:pt x="750" y="12746"/>
                    </a:lnTo>
                    <a:lnTo>
                      <a:pt x="750" y="12746"/>
                    </a:lnTo>
                    <a:lnTo>
                      <a:pt x="750" y="12746"/>
                    </a:lnTo>
                    <a:moveTo>
                      <a:pt x="5936" y="12632"/>
                    </a:moveTo>
                    <a:lnTo>
                      <a:pt x="5935" y="12631"/>
                    </a:lnTo>
                    <a:lnTo>
                      <a:pt x="7357" y="11428"/>
                    </a:lnTo>
                    <a:lnTo>
                      <a:pt x="5860" y="10955"/>
                    </a:lnTo>
                    <a:lnTo>
                      <a:pt x="5860" y="10955"/>
                    </a:lnTo>
                    <a:lnTo>
                      <a:pt x="7357" y="11428"/>
                    </a:lnTo>
                    <a:lnTo>
                      <a:pt x="7093" y="9346"/>
                    </a:lnTo>
                    <a:lnTo>
                      <a:pt x="7357" y="11428"/>
                    </a:lnTo>
                    <a:lnTo>
                      <a:pt x="5936" y="12632"/>
                    </a:lnTo>
                    <a:moveTo>
                      <a:pt x="5935" y="12632"/>
                    </a:moveTo>
                    <a:lnTo>
                      <a:pt x="5927" y="12440"/>
                    </a:lnTo>
                    <a:lnTo>
                      <a:pt x="5935" y="12631"/>
                    </a:lnTo>
                    <a:moveTo>
                      <a:pt x="10777" y="9480"/>
                    </a:moveTo>
                    <a:lnTo>
                      <a:pt x="12931" y="6872"/>
                    </a:lnTo>
                    <a:lnTo>
                      <a:pt x="10574" y="6872"/>
                    </a:lnTo>
                    <a:lnTo>
                      <a:pt x="12931" y="6872"/>
                    </a:lnTo>
                    <a:lnTo>
                      <a:pt x="12818" y="6352"/>
                    </a:lnTo>
                    <a:lnTo>
                      <a:pt x="12931" y="6872"/>
                    </a:lnTo>
                    <a:lnTo>
                      <a:pt x="15446" y="7725"/>
                    </a:lnTo>
                    <a:lnTo>
                      <a:pt x="15446" y="7725"/>
                    </a:lnTo>
                    <a:lnTo>
                      <a:pt x="12931" y="6872"/>
                    </a:lnTo>
                    <a:lnTo>
                      <a:pt x="14110" y="8914"/>
                    </a:lnTo>
                    <a:lnTo>
                      <a:pt x="12931" y="6872"/>
                    </a:lnTo>
                    <a:lnTo>
                      <a:pt x="10777" y="9480"/>
                    </a:lnTo>
                    <a:lnTo>
                      <a:pt x="10777" y="9480"/>
                    </a:lnTo>
                    <a:moveTo>
                      <a:pt x="7038" y="8914"/>
                    </a:moveTo>
                    <a:lnTo>
                      <a:pt x="7038" y="8914"/>
                    </a:lnTo>
                    <a:lnTo>
                      <a:pt x="8217" y="6872"/>
                    </a:lnTo>
                    <a:lnTo>
                      <a:pt x="5860" y="6872"/>
                    </a:lnTo>
                    <a:lnTo>
                      <a:pt x="5860" y="6872"/>
                    </a:lnTo>
                    <a:lnTo>
                      <a:pt x="8217" y="6872"/>
                    </a:lnTo>
                    <a:lnTo>
                      <a:pt x="7366" y="5398"/>
                    </a:lnTo>
                    <a:lnTo>
                      <a:pt x="8217" y="6872"/>
                    </a:lnTo>
                    <a:lnTo>
                      <a:pt x="9050" y="6406"/>
                    </a:lnTo>
                    <a:lnTo>
                      <a:pt x="8217" y="6872"/>
                    </a:lnTo>
                    <a:lnTo>
                      <a:pt x="8217" y="6872"/>
                    </a:lnTo>
                    <a:lnTo>
                      <a:pt x="7038" y="8914"/>
                    </a:lnTo>
                    <a:moveTo>
                      <a:pt x="7038" y="8914"/>
                    </a:moveTo>
                    <a:lnTo>
                      <a:pt x="5868" y="6886"/>
                    </a:lnTo>
                    <a:lnTo>
                      <a:pt x="7038" y="8914"/>
                    </a:lnTo>
                    <a:lnTo>
                      <a:pt x="7038" y="8914"/>
                    </a:lnTo>
                    <a:moveTo>
                      <a:pt x="15446" y="8914"/>
                    </a:moveTo>
                    <a:lnTo>
                      <a:pt x="14110" y="8914"/>
                    </a:lnTo>
                    <a:lnTo>
                      <a:pt x="15446" y="8914"/>
                    </a:lnTo>
                    <a:lnTo>
                      <a:pt x="15446" y="8914"/>
                    </a:lnTo>
                    <a:moveTo>
                      <a:pt x="14110" y="8914"/>
                    </a:moveTo>
                    <a:lnTo>
                      <a:pt x="14110" y="8914"/>
                    </a:lnTo>
                    <a:lnTo>
                      <a:pt x="14874" y="8485"/>
                    </a:lnTo>
                    <a:lnTo>
                      <a:pt x="14110" y="8914"/>
                    </a:lnTo>
                    <a:moveTo>
                      <a:pt x="8413" y="8878"/>
                    </a:moveTo>
                    <a:lnTo>
                      <a:pt x="8217" y="6872"/>
                    </a:lnTo>
                    <a:lnTo>
                      <a:pt x="8217" y="6872"/>
                    </a:lnTo>
                    <a:lnTo>
                      <a:pt x="8413" y="8878"/>
                    </a:lnTo>
                    <a:lnTo>
                      <a:pt x="8413" y="8878"/>
                    </a:lnTo>
                    <a:moveTo>
                      <a:pt x="2557" y="7302"/>
                    </a:moveTo>
                    <a:lnTo>
                      <a:pt x="2557" y="7302"/>
                    </a:lnTo>
                    <a:lnTo>
                      <a:pt x="2557" y="7302"/>
                    </a:lnTo>
                    <a:lnTo>
                      <a:pt x="4159" y="4109"/>
                    </a:lnTo>
                    <a:lnTo>
                      <a:pt x="2324" y="4831"/>
                    </a:lnTo>
                    <a:lnTo>
                      <a:pt x="2324" y="4831"/>
                    </a:lnTo>
                    <a:lnTo>
                      <a:pt x="2324" y="4831"/>
                    </a:lnTo>
                    <a:lnTo>
                      <a:pt x="2324" y="4831"/>
                    </a:lnTo>
                    <a:lnTo>
                      <a:pt x="2324" y="4831"/>
                    </a:lnTo>
                    <a:lnTo>
                      <a:pt x="4159" y="4109"/>
                    </a:lnTo>
                    <a:lnTo>
                      <a:pt x="4159" y="4109"/>
                    </a:lnTo>
                    <a:lnTo>
                      <a:pt x="4159" y="4109"/>
                    </a:lnTo>
                    <a:lnTo>
                      <a:pt x="4159" y="4109"/>
                    </a:lnTo>
                    <a:lnTo>
                      <a:pt x="4159" y="4109"/>
                    </a:lnTo>
                    <a:lnTo>
                      <a:pt x="5860" y="6872"/>
                    </a:lnTo>
                    <a:lnTo>
                      <a:pt x="5859" y="6872"/>
                    </a:lnTo>
                    <a:lnTo>
                      <a:pt x="4159" y="4109"/>
                    </a:lnTo>
                    <a:lnTo>
                      <a:pt x="2557" y="7302"/>
                    </a:lnTo>
                    <a:lnTo>
                      <a:pt x="2557" y="7302"/>
                    </a:lnTo>
                    <a:moveTo>
                      <a:pt x="2557" y="7302"/>
                    </a:moveTo>
                    <a:lnTo>
                      <a:pt x="2324" y="4831"/>
                    </a:lnTo>
                    <a:lnTo>
                      <a:pt x="2324" y="4831"/>
                    </a:lnTo>
                    <a:lnTo>
                      <a:pt x="2557" y="7302"/>
                    </a:lnTo>
                    <a:moveTo>
                      <a:pt x="2909" y="7256"/>
                    </a:moveTo>
                    <a:lnTo>
                      <a:pt x="5860" y="6872"/>
                    </a:lnTo>
                    <a:lnTo>
                      <a:pt x="5860" y="6872"/>
                    </a:lnTo>
                    <a:lnTo>
                      <a:pt x="5860" y="6872"/>
                    </a:lnTo>
                    <a:lnTo>
                      <a:pt x="2909" y="7256"/>
                    </a:lnTo>
                    <a:moveTo>
                      <a:pt x="15446" y="7072"/>
                    </a:moveTo>
                    <a:lnTo>
                      <a:pt x="15229" y="6708"/>
                    </a:lnTo>
                    <a:lnTo>
                      <a:pt x="15446" y="7072"/>
                    </a:lnTo>
                    <a:lnTo>
                      <a:pt x="15446" y="7072"/>
                    </a:lnTo>
                    <a:moveTo>
                      <a:pt x="1145" y="6872"/>
                    </a:moveTo>
                    <a:lnTo>
                      <a:pt x="1145" y="6872"/>
                    </a:lnTo>
                    <a:moveTo>
                      <a:pt x="10574" y="6872"/>
                    </a:moveTo>
                    <a:lnTo>
                      <a:pt x="10574" y="6872"/>
                    </a:lnTo>
                    <a:lnTo>
                      <a:pt x="10574" y="6872"/>
                    </a:lnTo>
                    <a:lnTo>
                      <a:pt x="12458" y="5724"/>
                    </a:lnTo>
                    <a:lnTo>
                      <a:pt x="10574" y="6872"/>
                    </a:lnTo>
                    <a:moveTo>
                      <a:pt x="8217" y="6872"/>
                    </a:moveTo>
                    <a:lnTo>
                      <a:pt x="8217" y="6872"/>
                    </a:lnTo>
                    <a:lnTo>
                      <a:pt x="8217" y="6872"/>
                    </a:lnTo>
                    <a:lnTo>
                      <a:pt x="8217" y="6872"/>
                    </a:lnTo>
                    <a:moveTo>
                      <a:pt x="10574" y="6872"/>
                    </a:moveTo>
                    <a:lnTo>
                      <a:pt x="9445" y="6321"/>
                    </a:lnTo>
                    <a:lnTo>
                      <a:pt x="10574" y="6872"/>
                    </a:lnTo>
                    <a:lnTo>
                      <a:pt x="10574" y="6872"/>
                    </a:lnTo>
                    <a:moveTo>
                      <a:pt x="9316" y="6257"/>
                    </a:moveTo>
                    <a:lnTo>
                      <a:pt x="9316" y="6257"/>
                    </a:lnTo>
                    <a:lnTo>
                      <a:pt x="9316" y="6257"/>
                    </a:lnTo>
                    <a:lnTo>
                      <a:pt x="9316" y="6257"/>
                    </a:lnTo>
                    <a:lnTo>
                      <a:pt x="9316" y="6257"/>
                    </a:lnTo>
                    <a:lnTo>
                      <a:pt x="9316" y="6257"/>
                    </a:lnTo>
                    <a:lnTo>
                      <a:pt x="12655" y="5604"/>
                    </a:lnTo>
                    <a:lnTo>
                      <a:pt x="12655" y="5604"/>
                    </a:lnTo>
                    <a:lnTo>
                      <a:pt x="12655" y="5604"/>
                    </a:lnTo>
                    <a:lnTo>
                      <a:pt x="12655" y="5604"/>
                    </a:lnTo>
                    <a:lnTo>
                      <a:pt x="14110" y="4831"/>
                    </a:lnTo>
                    <a:lnTo>
                      <a:pt x="12655" y="5604"/>
                    </a:lnTo>
                    <a:lnTo>
                      <a:pt x="12655" y="5604"/>
                    </a:lnTo>
                    <a:lnTo>
                      <a:pt x="12655" y="5604"/>
                    </a:lnTo>
                    <a:lnTo>
                      <a:pt x="9316" y="6257"/>
                    </a:lnTo>
                    <a:moveTo>
                      <a:pt x="9316" y="6257"/>
                    </a:moveTo>
                    <a:lnTo>
                      <a:pt x="7038" y="4831"/>
                    </a:lnTo>
                    <a:lnTo>
                      <a:pt x="7038" y="4831"/>
                    </a:lnTo>
                    <a:lnTo>
                      <a:pt x="9316" y="6257"/>
                    </a:lnTo>
                    <a:lnTo>
                      <a:pt x="9316" y="6257"/>
                    </a:lnTo>
                    <a:moveTo>
                      <a:pt x="9316" y="6257"/>
                    </a:moveTo>
                    <a:lnTo>
                      <a:pt x="9316" y="3550"/>
                    </a:lnTo>
                    <a:lnTo>
                      <a:pt x="9316" y="6257"/>
                    </a:lnTo>
                    <a:moveTo>
                      <a:pt x="12655" y="5604"/>
                    </a:moveTo>
                    <a:lnTo>
                      <a:pt x="12655" y="5604"/>
                    </a:lnTo>
                    <a:lnTo>
                      <a:pt x="12201" y="3434"/>
                    </a:lnTo>
                    <a:lnTo>
                      <a:pt x="12655" y="5604"/>
                    </a:lnTo>
                    <a:moveTo>
                      <a:pt x="7038" y="4831"/>
                    </a:moveTo>
                    <a:lnTo>
                      <a:pt x="7038" y="4831"/>
                    </a:lnTo>
                    <a:lnTo>
                      <a:pt x="9316" y="3550"/>
                    </a:lnTo>
                    <a:lnTo>
                      <a:pt x="5859" y="2789"/>
                    </a:lnTo>
                    <a:lnTo>
                      <a:pt x="5860" y="2789"/>
                    </a:lnTo>
                    <a:lnTo>
                      <a:pt x="9316" y="3550"/>
                    </a:lnTo>
                    <a:lnTo>
                      <a:pt x="8410" y="2581"/>
                    </a:lnTo>
                    <a:lnTo>
                      <a:pt x="9316" y="3550"/>
                    </a:lnTo>
                    <a:lnTo>
                      <a:pt x="9319" y="3444"/>
                    </a:lnTo>
                    <a:lnTo>
                      <a:pt x="9316" y="3550"/>
                    </a:lnTo>
                    <a:lnTo>
                      <a:pt x="10574" y="2789"/>
                    </a:lnTo>
                    <a:lnTo>
                      <a:pt x="9316" y="3550"/>
                    </a:lnTo>
                    <a:lnTo>
                      <a:pt x="7038" y="4831"/>
                    </a:lnTo>
                    <a:moveTo>
                      <a:pt x="7038" y="4831"/>
                    </a:moveTo>
                    <a:lnTo>
                      <a:pt x="6499" y="3898"/>
                    </a:lnTo>
                    <a:lnTo>
                      <a:pt x="7038" y="4831"/>
                    </a:lnTo>
                    <a:moveTo>
                      <a:pt x="2324" y="4831"/>
                    </a:moveTo>
                    <a:lnTo>
                      <a:pt x="1405" y="2233"/>
                    </a:lnTo>
                    <a:lnTo>
                      <a:pt x="2324" y="4831"/>
                    </a:lnTo>
                    <a:lnTo>
                      <a:pt x="2324" y="4831"/>
                    </a:lnTo>
                    <a:moveTo>
                      <a:pt x="14110" y="4831"/>
                    </a:moveTo>
                    <a:lnTo>
                      <a:pt x="12201" y="3434"/>
                    </a:lnTo>
                    <a:lnTo>
                      <a:pt x="12066" y="2627"/>
                    </a:lnTo>
                    <a:lnTo>
                      <a:pt x="12201" y="3434"/>
                    </a:lnTo>
                    <a:lnTo>
                      <a:pt x="15446" y="2602"/>
                    </a:lnTo>
                    <a:lnTo>
                      <a:pt x="15446" y="2602"/>
                    </a:lnTo>
                    <a:lnTo>
                      <a:pt x="12201" y="3434"/>
                    </a:lnTo>
                    <a:lnTo>
                      <a:pt x="14110" y="4831"/>
                    </a:lnTo>
                    <a:moveTo>
                      <a:pt x="14110" y="4831"/>
                    </a:moveTo>
                    <a:lnTo>
                      <a:pt x="14110" y="4831"/>
                    </a:lnTo>
                    <a:lnTo>
                      <a:pt x="15358" y="3331"/>
                    </a:lnTo>
                    <a:lnTo>
                      <a:pt x="14110" y="4831"/>
                    </a:lnTo>
                    <a:moveTo>
                      <a:pt x="4159" y="4109"/>
                    </a:moveTo>
                    <a:lnTo>
                      <a:pt x="4159" y="4109"/>
                    </a:lnTo>
                    <a:lnTo>
                      <a:pt x="4603" y="3765"/>
                    </a:lnTo>
                    <a:lnTo>
                      <a:pt x="4159" y="4109"/>
                    </a:lnTo>
                    <a:moveTo>
                      <a:pt x="12201" y="3434"/>
                    </a:moveTo>
                    <a:lnTo>
                      <a:pt x="10574" y="2789"/>
                    </a:lnTo>
                    <a:lnTo>
                      <a:pt x="10574" y="2789"/>
                    </a:lnTo>
                    <a:lnTo>
                      <a:pt x="10574" y="2789"/>
                    </a:lnTo>
                    <a:lnTo>
                      <a:pt x="11753" y="748"/>
                    </a:lnTo>
                    <a:lnTo>
                      <a:pt x="9396" y="748"/>
                    </a:lnTo>
                    <a:lnTo>
                      <a:pt x="9396" y="748"/>
                    </a:lnTo>
                    <a:lnTo>
                      <a:pt x="11753" y="748"/>
                    </a:lnTo>
                    <a:lnTo>
                      <a:pt x="11753" y="748"/>
                    </a:lnTo>
                    <a:lnTo>
                      <a:pt x="11753" y="748"/>
                    </a:lnTo>
                    <a:lnTo>
                      <a:pt x="10574" y="2789"/>
                    </a:lnTo>
                    <a:lnTo>
                      <a:pt x="12201" y="3434"/>
                    </a:lnTo>
                    <a:moveTo>
                      <a:pt x="5859" y="2790"/>
                    </a:moveTo>
                    <a:lnTo>
                      <a:pt x="3502" y="2790"/>
                    </a:lnTo>
                    <a:lnTo>
                      <a:pt x="5860" y="2789"/>
                    </a:lnTo>
                    <a:lnTo>
                      <a:pt x="5859" y="2789"/>
                    </a:lnTo>
                    <a:lnTo>
                      <a:pt x="5859" y="2790"/>
                    </a:lnTo>
                    <a:moveTo>
                      <a:pt x="15446" y="1876"/>
                    </a:moveTo>
                    <a:lnTo>
                      <a:pt x="14110" y="748"/>
                    </a:lnTo>
                    <a:lnTo>
                      <a:pt x="15446" y="1876"/>
                    </a:lnTo>
                    <a:lnTo>
                      <a:pt x="15446" y="1876"/>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51" name="Freeform 306"/>
              <p:cNvSpPr>
                <a:spLocks/>
              </p:cNvSpPr>
              <p:nvPr/>
            </p:nvSpPr>
            <p:spPr bwMode="auto">
              <a:xfrm>
                <a:off x="-12625388" y="-3271838"/>
                <a:ext cx="811213" cy="671513"/>
              </a:xfrm>
              <a:custGeom>
                <a:avLst/>
                <a:gdLst>
                  <a:gd name="T0" fmla="*/ 0 w 511"/>
                  <a:gd name="T1" fmla="*/ 423 h 423"/>
                  <a:gd name="T2" fmla="*/ 0 w 511"/>
                  <a:gd name="T3" fmla="*/ 0 h 423"/>
                  <a:gd name="T4" fmla="*/ 433 w 511"/>
                  <a:gd name="T5" fmla="*/ 70 h 423"/>
                  <a:gd name="T6" fmla="*/ 511 w 511"/>
                  <a:gd name="T7" fmla="*/ 83 h 423"/>
                  <a:gd name="T8" fmla="*/ 0 w 511"/>
                  <a:gd name="T9" fmla="*/ 423 h 423"/>
                </a:gdLst>
                <a:ahLst/>
                <a:cxnLst>
                  <a:cxn ang="0">
                    <a:pos x="T0" y="T1"/>
                  </a:cxn>
                  <a:cxn ang="0">
                    <a:pos x="T2" y="T3"/>
                  </a:cxn>
                  <a:cxn ang="0">
                    <a:pos x="T4" y="T5"/>
                  </a:cxn>
                  <a:cxn ang="0">
                    <a:pos x="T6" y="T7"/>
                  </a:cxn>
                  <a:cxn ang="0">
                    <a:pos x="T8" y="T9"/>
                  </a:cxn>
                </a:cxnLst>
                <a:rect l="0" t="0" r="r" b="b"/>
                <a:pathLst>
                  <a:path w="511" h="423">
                    <a:moveTo>
                      <a:pt x="0" y="423"/>
                    </a:moveTo>
                    <a:lnTo>
                      <a:pt x="0" y="0"/>
                    </a:lnTo>
                    <a:lnTo>
                      <a:pt x="433" y="70"/>
                    </a:lnTo>
                    <a:lnTo>
                      <a:pt x="511" y="83"/>
                    </a:lnTo>
                    <a:lnTo>
                      <a:pt x="0" y="42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54" name="Freeform 307"/>
              <p:cNvSpPr>
                <a:spLocks/>
              </p:cNvSpPr>
              <p:nvPr/>
            </p:nvSpPr>
            <p:spPr bwMode="auto">
              <a:xfrm>
                <a:off x="-12625388" y="-4110038"/>
                <a:ext cx="33338" cy="39688"/>
              </a:xfrm>
              <a:custGeom>
                <a:avLst/>
                <a:gdLst>
                  <a:gd name="T0" fmla="*/ 0 w 21"/>
                  <a:gd name="T1" fmla="*/ 25 h 25"/>
                  <a:gd name="T2" fmla="*/ 0 w 21"/>
                  <a:gd name="T3" fmla="*/ 0 h 25"/>
                  <a:gd name="T4" fmla="*/ 21 w 21"/>
                  <a:gd name="T5" fmla="*/ 0 h 25"/>
                  <a:gd name="T6" fmla="*/ 0 w 21"/>
                  <a:gd name="T7" fmla="*/ 25 h 25"/>
                </a:gdLst>
                <a:ahLst/>
                <a:cxnLst>
                  <a:cxn ang="0">
                    <a:pos x="T0" y="T1"/>
                  </a:cxn>
                  <a:cxn ang="0">
                    <a:pos x="T2" y="T3"/>
                  </a:cxn>
                  <a:cxn ang="0">
                    <a:pos x="T4" y="T5"/>
                  </a:cxn>
                  <a:cxn ang="0">
                    <a:pos x="T6" y="T7"/>
                  </a:cxn>
                </a:cxnLst>
                <a:rect l="0" t="0" r="r" b="b"/>
                <a:pathLst>
                  <a:path w="21" h="25">
                    <a:moveTo>
                      <a:pt x="0" y="25"/>
                    </a:moveTo>
                    <a:lnTo>
                      <a:pt x="0" y="0"/>
                    </a:lnTo>
                    <a:lnTo>
                      <a:pt x="21" y="0"/>
                    </a:lnTo>
                    <a:lnTo>
                      <a:pt x="0" y="25"/>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57" name="Freeform 308"/>
              <p:cNvSpPr>
                <a:spLocks/>
              </p:cNvSpPr>
              <p:nvPr/>
            </p:nvSpPr>
            <p:spPr bwMode="auto">
              <a:xfrm>
                <a:off x="-12625388" y="-3540126"/>
                <a:ext cx="1771650" cy="400050"/>
              </a:xfrm>
              <a:custGeom>
                <a:avLst/>
                <a:gdLst>
                  <a:gd name="T0" fmla="*/ 511 w 1116"/>
                  <a:gd name="T1" fmla="*/ 252 h 252"/>
                  <a:gd name="T2" fmla="*/ 433 w 1116"/>
                  <a:gd name="T3" fmla="*/ 239 h 252"/>
                  <a:gd name="T4" fmla="*/ 0 w 1116"/>
                  <a:gd name="T5" fmla="*/ 169 h 252"/>
                  <a:gd name="T6" fmla="*/ 0 w 1116"/>
                  <a:gd name="T7" fmla="*/ 81 h 252"/>
                  <a:gd name="T8" fmla="*/ 1116 w 1116"/>
                  <a:gd name="T9" fmla="*/ 0 h 252"/>
                  <a:gd name="T10" fmla="*/ 511 w 1116"/>
                  <a:gd name="T11" fmla="*/ 252 h 252"/>
                </a:gdLst>
                <a:ahLst/>
                <a:cxnLst>
                  <a:cxn ang="0">
                    <a:pos x="T0" y="T1"/>
                  </a:cxn>
                  <a:cxn ang="0">
                    <a:pos x="T2" y="T3"/>
                  </a:cxn>
                  <a:cxn ang="0">
                    <a:pos x="T4" y="T5"/>
                  </a:cxn>
                  <a:cxn ang="0">
                    <a:pos x="T6" y="T7"/>
                  </a:cxn>
                  <a:cxn ang="0">
                    <a:pos x="T8" y="T9"/>
                  </a:cxn>
                  <a:cxn ang="0">
                    <a:pos x="T10" y="T11"/>
                  </a:cxn>
                </a:cxnLst>
                <a:rect l="0" t="0" r="r" b="b"/>
                <a:pathLst>
                  <a:path w="1116" h="252">
                    <a:moveTo>
                      <a:pt x="511" y="252"/>
                    </a:moveTo>
                    <a:lnTo>
                      <a:pt x="433" y="239"/>
                    </a:lnTo>
                    <a:lnTo>
                      <a:pt x="0" y="169"/>
                    </a:lnTo>
                    <a:lnTo>
                      <a:pt x="0" y="81"/>
                    </a:lnTo>
                    <a:lnTo>
                      <a:pt x="1116" y="0"/>
                    </a:lnTo>
                    <a:lnTo>
                      <a:pt x="511" y="25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58" name="Freeform 309"/>
              <p:cNvSpPr>
                <a:spLocks/>
              </p:cNvSpPr>
              <p:nvPr/>
            </p:nvSpPr>
            <p:spPr bwMode="auto">
              <a:xfrm>
                <a:off x="-12625388" y="-4110038"/>
                <a:ext cx="1771650" cy="698500"/>
              </a:xfrm>
              <a:custGeom>
                <a:avLst/>
                <a:gdLst>
                  <a:gd name="T0" fmla="*/ 0 w 1116"/>
                  <a:gd name="T1" fmla="*/ 440 h 440"/>
                  <a:gd name="T2" fmla="*/ 0 w 1116"/>
                  <a:gd name="T3" fmla="*/ 25 h 440"/>
                  <a:gd name="T4" fmla="*/ 22 w 1116"/>
                  <a:gd name="T5" fmla="*/ 0 h 440"/>
                  <a:gd name="T6" fmla="*/ 908 w 1116"/>
                  <a:gd name="T7" fmla="*/ 0 h 440"/>
                  <a:gd name="T8" fmla="*/ 1116 w 1116"/>
                  <a:gd name="T9" fmla="*/ 359 h 440"/>
                  <a:gd name="T10" fmla="*/ 1116 w 1116"/>
                  <a:gd name="T11" fmla="*/ 359 h 440"/>
                  <a:gd name="T12" fmla="*/ 1116 w 1116"/>
                  <a:gd name="T13" fmla="*/ 359 h 440"/>
                  <a:gd name="T14" fmla="*/ 0 w 1116"/>
                  <a:gd name="T15" fmla="*/ 440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6" h="440">
                    <a:moveTo>
                      <a:pt x="0" y="440"/>
                    </a:moveTo>
                    <a:lnTo>
                      <a:pt x="0" y="25"/>
                    </a:lnTo>
                    <a:lnTo>
                      <a:pt x="22" y="0"/>
                    </a:lnTo>
                    <a:lnTo>
                      <a:pt x="908" y="0"/>
                    </a:lnTo>
                    <a:lnTo>
                      <a:pt x="1116" y="359"/>
                    </a:lnTo>
                    <a:lnTo>
                      <a:pt x="1116" y="359"/>
                    </a:lnTo>
                    <a:lnTo>
                      <a:pt x="1116" y="359"/>
                    </a:lnTo>
                    <a:lnTo>
                      <a:pt x="0" y="440"/>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59" name="Freeform 310"/>
              <p:cNvSpPr>
                <a:spLocks noEditPoints="1"/>
              </p:cNvSpPr>
              <p:nvPr/>
            </p:nvSpPr>
            <p:spPr bwMode="auto">
              <a:xfrm>
                <a:off x="-10853738" y="-4110038"/>
                <a:ext cx="1795463" cy="569913"/>
              </a:xfrm>
              <a:custGeom>
                <a:avLst/>
                <a:gdLst>
                  <a:gd name="T0" fmla="*/ 2357 w 2357"/>
                  <a:gd name="T1" fmla="*/ 748 h 748"/>
                  <a:gd name="T2" fmla="*/ 0 w 2357"/>
                  <a:gd name="T3" fmla="*/ 748 h 748"/>
                  <a:gd name="T4" fmla="*/ 432 w 2357"/>
                  <a:gd name="T5" fmla="*/ 0 h 748"/>
                  <a:gd name="T6" fmla="*/ 1925 w 2357"/>
                  <a:gd name="T7" fmla="*/ 0 h 748"/>
                  <a:gd name="T8" fmla="*/ 2357 w 2357"/>
                  <a:gd name="T9" fmla="*/ 748 h 748"/>
                  <a:gd name="T10" fmla="*/ 0 w 2357"/>
                  <a:gd name="T11" fmla="*/ 748 h 748"/>
                  <a:gd name="T12" fmla="*/ 0 w 2357"/>
                  <a:gd name="T13" fmla="*/ 748 h 748"/>
                  <a:gd name="T14" fmla="*/ 0 w 2357"/>
                  <a:gd name="T15" fmla="*/ 748 h 748"/>
                  <a:gd name="T16" fmla="*/ 0 w 2357"/>
                  <a:gd name="T17" fmla="*/ 748 h 748"/>
                  <a:gd name="T18" fmla="*/ 0 w 2357"/>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7" h="748">
                    <a:moveTo>
                      <a:pt x="2357" y="748"/>
                    </a:moveTo>
                    <a:lnTo>
                      <a:pt x="0" y="748"/>
                    </a:lnTo>
                    <a:lnTo>
                      <a:pt x="432" y="0"/>
                    </a:lnTo>
                    <a:lnTo>
                      <a:pt x="1925" y="0"/>
                    </a:lnTo>
                    <a:lnTo>
                      <a:pt x="2357" y="748"/>
                    </a:lnTo>
                    <a:moveTo>
                      <a:pt x="0" y="748"/>
                    </a:moveTo>
                    <a:lnTo>
                      <a:pt x="0" y="748"/>
                    </a:lnTo>
                    <a:lnTo>
                      <a:pt x="0" y="748"/>
                    </a:lnTo>
                    <a:lnTo>
                      <a:pt x="0" y="748"/>
                    </a:lnTo>
                    <a:lnTo>
                      <a:pt x="0"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60" name="Freeform 311"/>
              <p:cNvSpPr>
                <a:spLocks/>
              </p:cNvSpPr>
              <p:nvPr/>
            </p:nvSpPr>
            <p:spPr bwMode="auto">
              <a:xfrm>
                <a:off x="-9386888" y="-4110038"/>
                <a:ext cx="865188" cy="569913"/>
              </a:xfrm>
              <a:custGeom>
                <a:avLst/>
                <a:gdLst>
                  <a:gd name="T0" fmla="*/ 207 w 545"/>
                  <a:gd name="T1" fmla="*/ 359 h 359"/>
                  <a:gd name="T2" fmla="*/ 0 w 545"/>
                  <a:gd name="T3" fmla="*/ 0 h 359"/>
                  <a:gd name="T4" fmla="*/ 545 w 545"/>
                  <a:gd name="T5" fmla="*/ 0 h 359"/>
                  <a:gd name="T6" fmla="*/ 207 w 545"/>
                  <a:gd name="T7" fmla="*/ 359 h 359"/>
                </a:gdLst>
                <a:ahLst/>
                <a:cxnLst>
                  <a:cxn ang="0">
                    <a:pos x="T0" y="T1"/>
                  </a:cxn>
                  <a:cxn ang="0">
                    <a:pos x="T2" y="T3"/>
                  </a:cxn>
                  <a:cxn ang="0">
                    <a:pos x="T4" y="T5"/>
                  </a:cxn>
                  <a:cxn ang="0">
                    <a:pos x="T6" y="T7"/>
                  </a:cxn>
                </a:cxnLst>
                <a:rect l="0" t="0" r="r" b="b"/>
                <a:pathLst>
                  <a:path w="545" h="359">
                    <a:moveTo>
                      <a:pt x="207" y="359"/>
                    </a:moveTo>
                    <a:lnTo>
                      <a:pt x="0" y="0"/>
                    </a:lnTo>
                    <a:lnTo>
                      <a:pt x="545" y="0"/>
                    </a:lnTo>
                    <a:lnTo>
                      <a:pt x="207"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61" name="Freeform 312"/>
              <p:cNvSpPr>
                <a:spLocks/>
              </p:cNvSpPr>
              <p:nvPr/>
            </p:nvSpPr>
            <p:spPr bwMode="auto">
              <a:xfrm>
                <a:off x="-11183938" y="-4110038"/>
                <a:ext cx="658813" cy="569913"/>
              </a:xfrm>
              <a:custGeom>
                <a:avLst/>
                <a:gdLst>
                  <a:gd name="T0" fmla="*/ 208 w 415"/>
                  <a:gd name="T1" fmla="*/ 359 h 359"/>
                  <a:gd name="T2" fmla="*/ 0 w 415"/>
                  <a:gd name="T3" fmla="*/ 0 h 359"/>
                  <a:gd name="T4" fmla="*/ 415 w 415"/>
                  <a:gd name="T5" fmla="*/ 0 h 359"/>
                  <a:gd name="T6" fmla="*/ 208 w 415"/>
                  <a:gd name="T7" fmla="*/ 359 h 359"/>
                </a:gdLst>
                <a:ahLst/>
                <a:cxnLst>
                  <a:cxn ang="0">
                    <a:pos x="T0" y="T1"/>
                  </a:cxn>
                  <a:cxn ang="0">
                    <a:pos x="T2" y="T3"/>
                  </a:cxn>
                  <a:cxn ang="0">
                    <a:pos x="T4" y="T5"/>
                  </a:cxn>
                  <a:cxn ang="0">
                    <a:pos x="T6" y="T7"/>
                  </a:cxn>
                </a:cxnLst>
                <a:rect l="0" t="0" r="r" b="b"/>
                <a:pathLst>
                  <a:path w="415" h="359">
                    <a:moveTo>
                      <a:pt x="208" y="359"/>
                    </a:moveTo>
                    <a:lnTo>
                      <a:pt x="0" y="0"/>
                    </a:lnTo>
                    <a:lnTo>
                      <a:pt x="415" y="0"/>
                    </a:lnTo>
                    <a:lnTo>
                      <a:pt x="208"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62" name="Freeform 313"/>
              <p:cNvSpPr>
                <a:spLocks/>
              </p:cNvSpPr>
              <p:nvPr/>
            </p:nvSpPr>
            <p:spPr bwMode="auto">
              <a:xfrm>
                <a:off x="-10853738" y="-4110038"/>
                <a:ext cx="328613" cy="569913"/>
              </a:xfrm>
              <a:custGeom>
                <a:avLst/>
                <a:gdLst>
                  <a:gd name="T0" fmla="*/ 0 w 207"/>
                  <a:gd name="T1" fmla="*/ 359 h 359"/>
                  <a:gd name="T2" fmla="*/ 0 w 207"/>
                  <a:gd name="T3" fmla="*/ 359 h 359"/>
                  <a:gd name="T4" fmla="*/ 0 w 207"/>
                  <a:gd name="T5" fmla="*/ 359 h 359"/>
                  <a:gd name="T6" fmla="*/ 207 w 207"/>
                  <a:gd name="T7" fmla="*/ 0 h 359"/>
                  <a:gd name="T8" fmla="*/ 207 w 207"/>
                  <a:gd name="T9" fmla="*/ 0 h 359"/>
                  <a:gd name="T10" fmla="*/ 0 w 207"/>
                  <a:gd name="T11" fmla="*/ 359 h 359"/>
                </a:gdLst>
                <a:ahLst/>
                <a:cxnLst>
                  <a:cxn ang="0">
                    <a:pos x="T0" y="T1"/>
                  </a:cxn>
                  <a:cxn ang="0">
                    <a:pos x="T2" y="T3"/>
                  </a:cxn>
                  <a:cxn ang="0">
                    <a:pos x="T4" y="T5"/>
                  </a:cxn>
                  <a:cxn ang="0">
                    <a:pos x="T6" y="T7"/>
                  </a:cxn>
                  <a:cxn ang="0">
                    <a:pos x="T8" y="T9"/>
                  </a:cxn>
                  <a:cxn ang="0">
                    <a:pos x="T10" y="T11"/>
                  </a:cxn>
                </a:cxnLst>
                <a:rect l="0" t="0" r="r" b="b"/>
                <a:pathLst>
                  <a:path w="207" h="359">
                    <a:moveTo>
                      <a:pt x="0" y="359"/>
                    </a:moveTo>
                    <a:lnTo>
                      <a:pt x="0" y="359"/>
                    </a:lnTo>
                    <a:lnTo>
                      <a:pt x="0" y="359"/>
                    </a:lnTo>
                    <a:lnTo>
                      <a:pt x="207" y="0"/>
                    </a:lnTo>
                    <a:lnTo>
                      <a:pt x="207"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63" name="Freeform 314"/>
              <p:cNvSpPr>
                <a:spLocks noEditPoints="1"/>
              </p:cNvSpPr>
              <p:nvPr/>
            </p:nvSpPr>
            <p:spPr bwMode="auto">
              <a:xfrm>
                <a:off x="-12533313" y="-1143001"/>
                <a:ext cx="781050" cy="2268538"/>
              </a:xfrm>
              <a:custGeom>
                <a:avLst/>
                <a:gdLst>
                  <a:gd name="T0" fmla="*/ 1025 w 1025"/>
                  <a:gd name="T1" fmla="*/ 2978 h 2978"/>
                  <a:gd name="T2" fmla="*/ 150 w 1025"/>
                  <a:gd name="T3" fmla="*/ 437 h 2978"/>
                  <a:gd name="T4" fmla="*/ 1025 w 1025"/>
                  <a:gd name="T5" fmla="*/ 2978 h 2978"/>
                  <a:gd name="T6" fmla="*/ 0 w 1025"/>
                  <a:gd name="T7" fmla="*/ 0 h 2978"/>
                  <a:gd name="T8" fmla="*/ 0 w 1025"/>
                  <a:gd name="T9" fmla="*/ 0 h 2978"/>
                </a:gdLst>
                <a:ahLst/>
                <a:cxnLst>
                  <a:cxn ang="0">
                    <a:pos x="T0" y="T1"/>
                  </a:cxn>
                  <a:cxn ang="0">
                    <a:pos x="T2" y="T3"/>
                  </a:cxn>
                  <a:cxn ang="0">
                    <a:pos x="T4" y="T5"/>
                  </a:cxn>
                  <a:cxn ang="0">
                    <a:pos x="T6" y="T7"/>
                  </a:cxn>
                  <a:cxn ang="0">
                    <a:pos x="T8" y="T9"/>
                  </a:cxn>
                </a:cxnLst>
                <a:rect l="0" t="0" r="r" b="b"/>
                <a:pathLst>
                  <a:path w="1025" h="2978">
                    <a:moveTo>
                      <a:pt x="1025" y="2978"/>
                    </a:moveTo>
                    <a:lnTo>
                      <a:pt x="150" y="437"/>
                    </a:lnTo>
                    <a:lnTo>
                      <a:pt x="1025" y="2978"/>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65" name="Freeform 315"/>
              <p:cNvSpPr>
                <a:spLocks/>
              </p:cNvSpPr>
              <p:nvPr/>
            </p:nvSpPr>
            <p:spPr bwMode="auto">
              <a:xfrm>
                <a:off x="-12625388" y="-3140076"/>
                <a:ext cx="811213" cy="1997075"/>
              </a:xfrm>
              <a:custGeom>
                <a:avLst/>
                <a:gdLst>
                  <a:gd name="T0" fmla="*/ 58 w 511"/>
                  <a:gd name="T1" fmla="*/ 1258 h 1258"/>
                  <a:gd name="T2" fmla="*/ 0 w 511"/>
                  <a:gd name="T3" fmla="*/ 1211 h 1258"/>
                  <a:gd name="T4" fmla="*/ 0 w 511"/>
                  <a:gd name="T5" fmla="*/ 340 h 1258"/>
                  <a:gd name="T6" fmla="*/ 511 w 511"/>
                  <a:gd name="T7" fmla="*/ 0 h 1258"/>
                  <a:gd name="T8" fmla="*/ 58 w 511"/>
                  <a:gd name="T9" fmla="*/ 1258 h 1258"/>
                </a:gdLst>
                <a:ahLst/>
                <a:cxnLst>
                  <a:cxn ang="0">
                    <a:pos x="T0" y="T1"/>
                  </a:cxn>
                  <a:cxn ang="0">
                    <a:pos x="T2" y="T3"/>
                  </a:cxn>
                  <a:cxn ang="0">
                    <a:pos x="T4" y="T5"/>
                  </a:cxn>
                  <a:cxn ang="0">
                    <a:pos x="T6" y="T7"/>
                  </a:cxn>
                  <a:cxn ang="0">
                    <a:pos x="T8" y="T9"/>
                  </a:cxn>
                </a:cxnLst>
                <a:rect l="0" t="0" r="r" b="b"/>
                <a:pathLst>
                  <a:path w="511" h="1258">
                    <a:moveTo>
                      <a:pt x="58" y="1258"/>
                    </a:moveTo>
                    <a:lnTo>
                      <a:pt x="0" y="1211"/>
                    </a:lnTo>
                    <a:lnTo>
                      <a:pt x="0" y="340"/>
                    </a:lnTo>
                    <a:lnTo>
                      <a:pt x="511" y="0"/>
                    </a:lnTo>
                    <a:lnTo>
                      <a:pt x="58" y="1258"/>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69" name="Line 316"/>
              <p:cNvSpPr>
                <a:spLocks noChangeShapeType="1"/>
              </p:cNvSpPr>
              <p:nvPr/>
            </p:nvSpPr>
            <p:spPr bwMode="auto">
              <a:xfrm>
                <a:off x="-12533313" y="-1143001"/>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70" name="Freeform 317"/>
              <p:cNvSpPr>
                <a:spLocks noEditPoints="1"/>
              </p:cNvSpPr>
              <p:nvPr/>
            </p:nvSpPr>
            <p:spPr bwMode="auto">
              <a:xfrm>
                <a:off x="-12533313" y="-1143001"/>
                <a:ext cx="1679575" cy="2268538"/>
              </a:xfrm>
              <a:custGeom>
                <a:avLst/>
                <a:gdLst>
                  <a:gd name="T0" fmla="*/ 1025 w 2204"/>
                  <a:gd name="T1" fmla="*/ 2978 h 2978"/>
                  <a:gd name="T2" fmla="*/ 150 w 2204"/>
                  <a:gd name="T3" fmla="*/ 437 h 2978"/>
                  <a:gd name="T4" fmla="*/ 0 w 2204"/>
                  <a:gd name="T5" fmla="*/ 0 h 2978"/>
                  <a:gd name="T6" fmla="*/ 2204 w 2204"/>
                  <a:gd name="T7" fmla="*/ 937 h 2978"/>
                  <a:gd name="T8" fmla="*/ 2204 w 2204"/>
                  <a:gd name="T9" fmla="*/ 937 h 2978"/>
                  <a:gd name="T10" fmla="*/ 2204 w 2204"/>
                  <a:gd name="T11" fmla="*/ 937 h 2978"/>
                  <a:gd name="T12" fmla="*/ 2204 w 2204"/>
                  <a:gd name="T13" fmla="*/ 937 h 2978"/>
                  <a:gd name="T14" fmla="*/ 2204 w 2204"/>
                  <a:gd name="T15" fmla="*/ 937 h 2978"/>
                  <a:gd name="T16" fmla="*/ 1968 w 2204"/>
                  <a:gd name="T17" fmla="*/ 1345 h 2978"/>
                  <a:gd name="T18" fmla="*/ 1025 w 2204"/>
                  <a:gd name="T19" fmla="*/ 2978 h 2978"/>
                  <a:gd name="T20" fmla="*/ 150 w 2204"/>
                  <a:gd name="T21" fmla="*/ 437 h 2978"/>
                  <a:gd name="T22" fmla="*/ 0 w 2204"/>
                  <a:gd name="T23" fmla="*/ 0 h 2978"/>
                  <a:gd name="T24" fmla="*/ 150 w 2204"/>
                  <a:gd name="T25" fmla="*/ 437 h 2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4" h="2978">
                    <a:moveTo>
                      <a:pt x="1025" y="2978"/>
                    </a:moveTo>
                    <a:lnTo>
                      <a:pt x="150" y="437"/>
                    </a:lnTo>
                    <a:lnTo>
                      <a:pt x="0" y="0"/>
                    </a:lnTo>
                    <a:lnTo>
                      <a:pt x="2204" y="937"/>
                    </a:lnTo>
                    <a:lnTo>
                      <a:pt x="2204" y="937"/>
                    </a:lnTo>
                    <a:lnTo>
                      <a:pt x="2204" y="937"/>
                    </a:lnTo>
                    <a:lnTo>
                      <a:pt x="2204" y="937"/>
                    </a:lnTo>
                    <a:lnTo>
                      <a:pt x="2204" y="937"/>
                    </a:lnTo>
                    <a:lnTo>
                      <a:pt x="1968" y="1345"/>
                    </a:lnTo>
                    <a:lnTo>
                      <a:pt x="1025" y="2978"/>
                    </a:lnTo>
                    <a:moveTo>
                      <a:pt x="150" y="437"/>
                    </a:moveTo>
                    <a:lnTo>
                      <a:pt x="0" y="0"/>
                    </a:lnTo>
                    <a:lnTo>
                      <a:pt x="150" y="437"/>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71" name="Freeform 318"/>
              <p:cNvSpPr>
                <a:spLocks/>
              </p:cNvSpPr>
              <p:nvPr/>
            </p:nvSpPr>
            <p:spPr bwMode="auto">
              <a:xfrm>
                <a:off x="-12533313" y="-1143001"/>
                <a:ext cx="114300" cy="333375"/>
              </a:xfrm>
              <a:custGeom>
                <a:avLst/>
                <a:gdLst>
                  <a:gd name="T0" fmla="*/ 72 w 72"/>
                  <a:gd name="T1" fmla="*/ 210 h 210"/>
                  <a:gd name="T2" fmla="*/ 72 w 72"/>
                  <a:gd name="T3" fmla="*/ 210 h 210"/>
                  <a:gd name="T4" fmla="*/ 0 w 72"/>
                  <a:gd name="T5" fmla="*/ 0 h 210"/>
                  <a:gd name="T6" fmla="*/ 0 w 72"/>
                  <a:gd name="T7" fmla="*/ 0 h 210"/>
                  <a:gd name="T8" fmla="*/ 72 w 72"/>
                  <a:gd name="T9" fmla="*/ 210 h 210"/>
                </a:gdLst>
                <a:ahLst/>
                <a:cxnLst>
                  <a:cxn ang="0">
                    <a:pos x="T0" y="T1"/>
                  </a:cxn>
                  <a:cxn ang="0">
                    <a:pos x="T2" y="T3"/>
                  </a:cxn>
                  <a:cxn ang="0">
                    <a:pos x="T4" y="T5"/>
                  </a:cxn>
                  <a:cxn ang="0">
                    <a:pos x="T6" y="T7"/>
                  </a:cxn>
                  <a:cxn ang="0">
                    <a:pos x="T8" y="T9"/>
                  </a:cxn>
                </a:cxnLst>
                <a:rect l="0" t="0" r="r" b="b"/>
                <a:pathLst>
                  <a:path w="72" h="210">
                    <a:moveTo>
                      <a:pt x="72" y="210"/>
                    </a:moveTo>
                    <a:lnTo>
                      <a:pt x="72" y="210"/>
                    </a:lnTo>
                    <a:lnTo>
                      <a:pt x="0" y="0"/>
                    </a:lnTo>
                    <a:lnTo>
                      <a:pt x="0" y="0"/>
                    </a:lnTo>
                    <a:lnTo>
                      <a:pt x="72" y="210"/>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72" name="Freeform 319"/>
              <p:cNvSpPr>
                <a:spLocks/>
              </p:cNvSpPr>
              <p:nvPr/>
            </p:nvSpPr>
            <p:spPr bwMode="auto">
              <a:xfrm>
                <a:off x="-12625388" y="-1217613"/>
                <a:ext cx="92075" cy="74613"/>
              </a:xfrm>
              <a:custGeom>
                <a:avLst/>
                <a:gdLst>
                  <a:gd name="T0" fmla="*/ 58 w 58"/>
                  <a:gd name="T1" fmla="*/ 47 h 47"/>
                  <a:gd name="T2" fmla="*/ 0 w 58"/>
                  <a:gd name="T3" fmla="*/ 0 h 47"/>
                  <a:gd name="T4" fmla="*/ 58 w 58"/>
                  <a:gd name="T5" fmla="*/ 47 h 47"/>
                </a:gdLst>
                <a:ahLst/>
                <a:cxnLst>
                  <a:cxn ang="0">
                    <a:pos x="T0" y="T1"/>
                  </a:cxn>
                  <a:cxn ang="0">
                    <a:pos x="T2" y="T3"/>
                  </a:cxn>
                  <a:cxn ang="0">
                    <a:pos x="T4" y="T5"/>
                  </a:cxn>
                </a:cxnLst>
                <a:rect l="0" t="0" r="r" b="b"/>
                <a:pathLst>
                  <a:path w="58" h="47">
                    <a:moveTo>
                      <a:pt x="58" y="47"/>
                    </a:moveTo>
                    <a:lnTo>
                      <a:pt x="0" y="0"/>
                    </a:lnTo>
                    <a:lnTo>
                      <a:pt x="58" y="4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73" name="Freeform 320"/>
              <p:cNvSpPr>
                <a:spLocks noEditPoints="1"/>
              </p:cNvSpPr>
              <p:nvPr/>
            </p:nvSpPr>
            <p:spPr bwMode="auto">
              <a:xfrm>
                <a:off x="-12533313" y="-3140076"/>
                <a:ext cx="1679575" cy="2711450"/>
              </a:xfrm>
              <a:custGeom>
                <a:avLst/>
                <a:gdLst>
                  <a:gd name="T0" fmla="*/ 2204 w 2204"/>
                  <a:gd name="T1" fmla="*/ 3558 h 3558"/>
                  <a:gd name="T2" fmla="*/ 0 w 2204"/>
                  <a:gd name="T3" fmla="*/ 2621 h 3558"/>
                  <a:gd name="T4" fmla="*/ 945 w 2204"/>
                  <a:gd name="T5" fmla="*/ 0 h 3558"/>
                  <a:gd name="T6" fmla="*/ 945 w 2204"/>
                  <a:gd name="T7" fmla="*/ 0 h 3558"/>
                  <a:gd name="T8" fmla="*/ 945 w 2204"/>
                  <a:gd name="T9" fmla="*/ 0 h 3558"/>
                  <a:gd name="T10" fmla="*/ 1285 w 2204"/>
                  <a:gd name="T11" fmla="*/ 960 h 3558"/>
                  <a:gd name="T12" fmla="*/ 2204 w 2204"/>
                  <a:gd name="T13" fmla="*/ 3558 h 3558"/>
                  <a:gd name="T14" fmla="*/ 2204 w 2204"/>
                  <a:gd name="T15" fmla="*/ 3558 h 3558"/>
                  <a:gd name="T16" fmla="*/ 2204 w 2204"/>
                  <a:gd name="T17" fmla="*/ 3558 h 3558"/>
                  <a:gd name="T18" fmla="*/ 2204 w 2204"/>
                  <a:gd name="T19" fmla="*/ 3558 h 3558"/>
                  <a:gd name="T20" fmla="*/ 945 w 2204"/>
                  <a:gd name="T21" fmla="*/ 0 h 3558"/>
                  <a:gd name="T22" fmla="*/ 945 w 2204"/>
                  <a:gd name="T23" fmla="*/ 0 h 3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4" h="3558">
                    <a:moveTo>
                      <a:pt x="2204" y="3558"/>
                    </a:moveTo>
                    <a:lnTo>
                      <a:pt x="0" y="2621"/>
                    </a:lnTo>
                    <a:lnTo>
                      <a:pt x="945" y="0"/>
                    </a:lnTo>
                    <a:lnTo>
                      <a:pt x="945" y="0"/>
                    </a:lnTo>
                    <a:lnTo>
                      <a:pt x="945" y="0"/>
                    </a:lnTo>
                    <a:lnTo>
                      <a:pt x="1285" y="960"/>
                    </a:lnTo>
                    <a:lnTo>
                      <a:pt x="2204" y="3558"/>
                    </a:lnTo>
                    <a:lnTo>
                      <a:pt x="2204" y="3558"/>
                    </a:lnTo>
                    <a:lnTo>
                      <a:pt x="2204" y="3558"/>
                    </a:lnTo>
                    <a:lnTo>
                      <a:pt x="2204" y="3558"/>
                    </a:lnTo>
                    <a:moveTo>
                      <a:pt x="945" y="0"/>
                    </a:moveTo>
                    <a:lnTo>
                      <a:pt x="945" y="0"/>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74" name="Rectangle 321"/>
              <p:cNvSpPr>
                <a:spLocks noChangeArrowheads="1"/>
              </p:cNvSpPr>
              <p:nvPr/>
            </p:nvSpPr>
            <p:spPr bwMode="auto">
              <a:xfrm>
                <a:off x="-10853738" y="-428626"/>
                <a:ext cx="1588" cy="1588"/>
              </a:xfrm>
              <a:prstGeom prst="rect">
                <a:avLst/>
              </a:prstGeom>
              <a:solidFill>
                <a:srgbClr val="518DB3"/>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75" name="Freeform 322"/>
              <p:cNvSpPr>
                <a:spLocks/>
              </p:cNvSpPr>
              <p:nvPr/>
            </p:nvSpPr>
            <p:spPr bwMode="auto">
              <a:xfrm>
                <a:off x="-10853738" y="-1984376"/>
                <a:ext cx="1397000" cy="1555750"/>
              </a:xfrm>
              <a:custGeom>
                <a:avLst/>
                <a:gdLst>
                  <a:gd name="T0" fmla="*/ 0 w 880"/>
                  <a:gd name="T1" fmla="*/ 980 h 980"/>
                  <a:gd name="T2" fmla="*/ 565 w 880"/>
                  <a:gd name="T3" fmla="*/ 0 h 980"/>
                  <a:gd name="T4" fmla="*/ 880 w 880"/>
                  <a:gd name="T5" fmla="*/ 633 h 980"/>
                  <a:gd name="T6" fmla="*/ 0 w 880"/>
                  <a:gd name="T7" fmla="*/ 980 h 980"/>
                </a:gdLst>
                <a:ahLst/>
                <a:cxnLst>
                  <a:cxn ang="0">
                    <a:pos x="T0" y="T1"/>
                  </a:cxn>
                  <a:cxn ang="0">
                    <a:pos x="T2" y="T3"/>
                  </a:cxn>
                  <a:cxn ang="0">
                    <a:pos x="T4" y="T5"/>
                  </a:cxn>
                  <a:cxn ang="0">
                    <a:pos x="T6" y="T7"/>
                  </a:cxn>
                </a:cxnLst>
                <a:rect l="0" t="0" r="r" b="b"/>
                <a:pathLst>
                  <a:path w="880" h="980">
                    <a:moveTo>
                      <a:pt x="0" y="980"/>
                    </a:moveTo>
                    <a:lnTo>
                      <a:pt x="565" y="0"/>
                    </a:lnTo>
                    <a:lnTo>
                      <a:pt x="880" y="633"/>
                    </a:lnTo>
                    <a:lnTo>
                      <a:pt x="0"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76" name="Freeform 323"/>
              <p:cNvSpPr>
                <a:spLocks/>
              </p:cNvSpPr>
              <p:nvPr/>
            </p:nvSpPr>
            <p:spPr bwMode="auto">
              <a:xfrm>
                <a:off x="-10853738" y="-3540126"/>
                <a:ext cx="1795463" cy="1555750"/>
              </a:xfrm>
              <a:custGeom>
                <a:avLst/>
                <a:gdLst>
                  <a:gd name="T0" fmla="*/ 565 w 1131"/>
                  <a:gd name="T1" fmla="*/ 980 h 980"/>
                  <a:gd name="T2" fmla="*/ 565 w 1131"/>
                  <a:gd name="T3" fmla="*/ 980 h 980"/>
                  <a:gd name="T4" fmla="*/ 0 w 1131"/>
                  <a:gd name="T5" fmla="*/ 0 h 980"/>
                  <a:gd name="T6" fmla="*/ 1131 w 1131"/>
                  <a:gd name="T7" fmla="*/ 0 h 980"/>
                  <a:gd name="T8" fmla="*/ 565 w 1131"/>
                  <a:gd name="T9" fmla="*/ 980 h 980"/>
                </a:gdLst>
                <a:ahLst/>
                <a:cxnLst>
                  <a:cxn ang="0">
                    <a:pos x="T0" y="T1"/>
                  </a:cxn>
                  <a:cxn ang="0">
                    <a:pos x="T2" y="T3"/>
                  </a:cxn>
                  <a:cxn ang="0">
                    <a:pos x="T4" y="T5"/>
                  </a:cxn>
                  <a:cxn ang="0">
                    <a:pos x="T6" y="T7"/>
                  </a:cxn>
                  <a:cxn ang="0">
                    <a:pos x="T8" y="T9"/>
                  </a:cxn>
                </a:cxnLst>
                <a:rect l="0" t="0" r="r" b="b"/>
                <a:pathLst>
                  <a:path w="1131" h="980">
                    <a:moveTo>
                      <a:pt x="565" y="980"/>
                    </a:moveTo>
                    <a:lnTo>
                      <a:pt x="565" y="980"/>
                    </a:lnTo>
                    <a:lnTo>
                      <a:pt x="0" y="0"/>
                    </a:lnTo>
                    <a:lnTo>
                      <a:pt x="1131" y="0"/>
                    </a:lnTo>
                    <a:lnTo>
                      <a:pt x="565"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77" name="Freeform 324"/>
              <p:cNvSpPr>
                <a:spLocks/>
              </p:cNvSpPr>
              <p:nvPr/>
            </p:nvSpPr>
            <p:spPr bwMode="auto">
              <a:xfrm>
                <a:off x="-9956800" y="-1984376"/>
                <a:ext cx="1797050" cy="1004888"/>
              </a:xfrm>
              <a:custGeom>
                <a:avLst/>
                <a:gdLst>
                  <a:gd name="T0" fmla="*/ 315 w 1132"/>
                  <a:gd name="T1" fmla="*/ 633 h 633"/>
                  <a:gd name="T2" fmla="*/ 315 w 1132"/>
                  <a:gd name="T3" fmla="*/ 633 h 633"/>
                  <a:gd name="T4" fmla="*/ 0 w 1132"/>
                  <a:gd name="T5" fmla="*/ 0 h 633"/>
                  <a:gd name="T6" fmla="*/ 0 w 1132"/>
                  <a:gd name="T7" fmla="*/ 0 h 633"/>
                  <a:gd name="T8" fmla="*/ 1132 w 1132"/>
                  <a:gd name="T9" fmla="*/ 0 h 633"/>
                  <a:gd name="T10" fmla="*/ 529 w 1132"/>
                  <a:gd name="T11" fmla="*/ 468 h 633"/>
                  <a:gd name="T12" fmla="*/ 315 w 1132"/>
                  <a:gd name="T13" fmla="*/ 633 h 633"/>
                  <a:gd name="T14" fmla="*/ 315 w 1132"/>
                  <a:gd name="T15" fmla="*/ 633 h 633"/>
                  <a:gd name="T16" fmla="*/ 315 w 1132"/>
                  <a:gd name="T17" fmla="*/ 633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2" h="633">
                    <a:moveTo>
                      <a:pt x="315" y="633"/>
                    </a:moveTo>
                    <a:lnTo>
                      <a:pt x="315" y="633"/>
                    </a:lnTo>
                    <a:lnTo>
                      <a:pt x="0" y="0"/>
                    </a:lnTo>
                    <a:lnTo>
                      <a:pt x="0" y="0"/>
                    </a:lnTo>
                    <a:lnTo>
                      <a:pt x="1132" y="0"/>
                    </a:lnTo>
                    <a:lnTo>
                      <a:pt x="529" y="468"/>
                    </a:lnTo>
                    <a:lnTo>
                      <a:pt x="315" y="633"/>
                    </a:lnTo>
                    <a:lnTo>
                      <a:pt x="315" y="633"/>
                    </a:lnTo>
                    <a:lnTo>
                      <a:pt x="315" y="633"/>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78" name="Freeform 325"/>
              <p:cNvSpPr>
                <a:spLocks/>
              </p:cNvSpPr>
              <p:nvPr/>
            </p:nvSpPr>
            <p:spPr bwMode="auto">
              <a:xfrm>
                <a:off x="-9956800" y="-1984376"/>
                <a:ext cx="500063" cy="1004888"/>
              </a:xfrm>
              <a:custGeom>
                <a:avLst/>
                <a:gdLst>
                  <a:gd name="T0" fmla="*/ 315 w 315"/>
                  <a:gd name="T1" fmla="*/ 633 h 633"/>
                  <a:gd name="T2" fmla="*/ 0 w 315"/>
                  <a:gd name="T3" fmla="*/ 0 h 633"/>
                  <a:gd name="T4" fmla="*/ 0 w 315"/>
                  <a:gd name="T5" fmla="*/ 0 h 633"/>
                  <a:gd name="T6" fmla="*/ 315 w 315"/>
                  <a:gd name="T7" fmla="*/ 633 h 633"/>
                </a:gdLst>
                <a:ahLst/>
                <a:cxnLst>
                  <a:cxn ang="0">
                    <a:pos x="T0" y="T1"/>
                  </a:cxn>
                  <a:cxn ang="0">
                    <a:pos x="T2" y="T3"/>
                  </a:cxn>
                  <a:cxn ang="0">
                    <a:pos x="T4" y="T5"/>
                  </a:cxn>
                  <a:cxn ang="0">
                    <a:pos x="T6" y="T7"/>
                  </a:cxn>
                </a:cxnLst>
                <a:rect l="0" t="0" r="r" b="b"/>
                <a:pathLst>
                  <a:path w="315" h="633">
                    <a:moveTo>
                      <a:pt x="315" y="633"/>
                    </a:moveTo>
                    <a:lnTo>
                      <a:pt x="0" y="0"/>
                    </a:lnTo>
                    <a:lnTo>
                      <a:pt x="0" y="0"/>
                    </a:lnTo>
                    <a:lnTo>
                      <a:pt x="315" y="63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79" name="Freeform 326"/>
              <p:cNvSpPr>
                <a:spLocks/>
              </p:cNvSpPr>
              <p:nvPr/>
            </p:nvSpPr>
            <p:spPr bwMode="auto">
              <a:xfrm>
                <a:off x="-11814175" y="-3540126"/>
                <a:ext cx="1857375" cy="1555750"/>
              </a:xfrm>
              <a:custGeom>
                <a:avLst/>
                <a:gdLst>
                  <a:gd name="T0" fmla="*/ 1170 w 1170"/>
                  <a:gd name="T1" fmla="*/ 980 h 980"/>
                  <a:gd name="T2" fmla="*/ 0 w 1170"/>
                  <a:gd name="T3" fmla="*/ 252 h 980"/>
                  <a:gd name="T4" fmla="*/ 605 w 1170"/>
                  <a:gd name="T5" fmla="*/ 0 h 980"/>
                  <a:gd name="T6" fmla="*/ 1170 w 1170"/>
                  <a:gd name="T7" fmla="*/ 980 h 980"/>
                </a:gdLst>
                <a:ahLst/>
                <a:cxnLst>
                  <a:cxn ang="0">
                    <a:pos x="T0" y="T1"/>
                  </a:cxn>
                  <a:cxn ang="0">
                    <a:pos x="T2" y="T3"/>
                  </a:cxn>
                  <a:cxn ang="0">
                    <a:pos x="T4" y="T5"/>
                  </a:cxn>
                  <a:cxn ang="0">
                    <a:pos x="T6" y="T7"/>
                  </a:cxn>
                </a:cxnLst>
                <a:rect l="0" t="0" r="r" b="b"/>
                <a:pathLst>
                  <a:path w="1170" h="980">
                    <a:moveTo>
                      <a:pt x="1170" y="980"/>
                    </a:moveTo>
                    <a:lnTo>
                      <a:pt x="0" y="252"/>
                    </a:lnTo>
                    <a:lnTo>
                      <a:pt x="605" y="0"/>
                    </a:lnTo>
                    <a:lnTo>
                      <a:pt x="1170"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80" name="Freeform 327"/>
              <p:cNvSpPr>
                <a:spLocks/>
              </p:cNvSpPr>
              <p:nvPr/>
            </p:nvSpPr>
            <p:spPr bwMode="auto">
              <a:xfrm>
                <a:off x="-9956800" y="-3540126"/>
                <a:ext cx="1797050" cy="1555750"/>
              </a:xfrm>
              <a:custGeom>
                <a:avLst/>
                <a:gdLst>
                  <a:gd name="T0" fmla="*/ 0 w 1132"/>
                  <a:gd name="T1" fmla="*/ 980 h 980"/>
                  <a:gd name="T2" fmla="*/ 0 w 1132"/>
                  <a:gd name="T3" fmla="*/ 980 h 980"/>
                  <a:gd name="T4" fmla="*/ 566 w 1132"/>
                  <a:gd name="T5" fmla="*/ 0 h 980"/>
                  <a:gd name="T6" fmla="*/ 1132 w 1132"/>
                  <a:gd name="T7" fmla="*/ 980 h 980"/>
                  <a:gd name="T8" fmla="*/ 1132 w 1132"/>
                  <a:gd name="T9" fmla="*/ 980 h 980"/>
                  <a:gd name="T10" fmla="*/ 1132 w 1132"/>
                  <a:gd name="T11" fmla="*/ 980 h 980"/>
                  <a:gd name="T12" fmla="*/ 1132 w 1132"/>
                  <a:gd name="T13" fmla="*/ 980 h 980"/>
                  <a:gd name="T14" fmla="*/ 0 w 1132"/>
                  <a:gd name="T15" fmla="*/ 980 h 9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980">
                    <a:moveTo>
                      <a:pt x="0" y="980"/>
                    </a:moveTo>
                    <a:lnTo>
                      <a:pt x="0" y="980"/>
                    </a:lnTo>
                    <a:lnTo>
                      <a:pt x="566" y="0"/>
                    </a:lnTo>
                    <a:lnTo>
                      <a:pt x="1132" y="980"/>
                    </a:lnTo>
                    <a:lnTo>
                      <a:pt x="1132" y="980"/>
                    </a:lnTo>
                    <a:lnTo>
                      <a:pt x="1132" y="980"/>
                    </a:lnTo>
                    <a:lnTo>
                      <a:pt x="1132" y="980"/>
                    </a:lnTo>
                    <a:lnTo>
                      <a:pt x="0" y="98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81" name="Freeform 328"/>
              <p:cNvSpPr>
                <a:spLocks/>
              </p:cNvSpPr>
              <p:nvPr/>
            </p:nvSpPr>
            <p:spPr bwMode="auto">
              <a:xfrm>
                <a:off x="-11814175" y="-3140076"/>
                <a:ext cx="1857375" cy="2711450"/>
              </a:xfrm>
              <a:custGeom>
                <a:avLst/>
                <a:gdLst>
                  <a:gd name="T0" fmla="*/ 605 w 1170"/>
                  <a:gd name="T1" fmla="*/ 1708 h 1708"/>
                  <a:gd name="T2" fmla="*/ 605 w 1170"/>
                  <a:gd name="T3" fmla="*/ 1708 h 1708"/>
                  <a:gd name="T4" fmla="*/ 605 w 1170"/>
                  <a:gd name="T5" fmla="*/ 1708 h 1708"/>
                  <a:gd name="T6" fmla="*/ 163 w 1170"/>
                  <a:gd name="T7" fmla="*/ 461 h 1708"/>
                  <a:gd name="T8" fmla="*/ 0 w 1170"/>
                  <a:gd name="T9" fmla="*/ 0 h 1708"/>
                  <a:gd name="T10" fmla="*/ 0 w 1170"/>
                  <a:gd name="T11" fmla="*/ 0 h 1708"/>
                  <a:gd name="T12" fmla="*/ 1170 w 1170"/>
                  <a:gd name="T13" fmla="*/ 728 h 1708"/>
                  <a:gd name="T14" fmla="*/ 1170 w 1170"/>
                  <a:gd name="T15" fmla="*/ 728 h 1708"/>
                  <a:gd name="T16" fmla="*/ 1170 w 1170"/>
                  <a:gd name="T17" fmla="*/ 728 h 1708"/>
                  <a:gd name="T18" fmla="*/ 1170 w 1170"/>
                  <a:gd name="T19" fmla="*/ 728 h 1708"/>
                  <a:gd name="T20" fmla="*/ 1170 w 1170"/>
                  <a:gd name="T21" fmla="*/ 728 h 1708"/>
                  <a:gd name="T22" fmla="*/ 1170 w 1170"/>
                  <a:gd name="T23" fmla="*/ 728 h 1708"/>
                  <a:gd name="T24" fmla="*/ 605 w 1170"/>
                  <a:gd name="T25" fmla="*/ 1708 h 1708"/>
                  <a:gd name="T26" fmla="*/ 605 w 1170"/>
                  <a:gd name="T27" fmla="*/ 1708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0" h="1708">
                    <a:moveTo>
                      <a:pt x="605" y="1708"/>
                    </a:moveTo>
                    <a:lnTo>
                      <a:pt x="605" y="1708"/>
                    </a:lnTo>
                    <a:lnTo>
                      <a:pt x="605" y="1708"/>
                    </a:lnTo>
                    <a:lnTo>
                      <a:pt x="163" y="461"/>
                    </a:lnTo>
                    <a:lnTo>
                      <a:pt x="0" y="0"/>
                    </a:lnTo>
                    <a:lnTo>
                      <a:pt x="0" y="0"/>
                    </a:lnTo>
                    <a:lnTo>
                      <a:pt x="1170" y="728"/>
                    </a:lnTo>
                    <a:lnTo>
                      <a:pt x="1170" y="728"/>
                    </a:lnTo>
                    <a:lnTo>
                      <a:pt x="1170" y="728"/>
                    </a:lnTo>
                    <a:lnTo>
                      <a:pt x="1170" y="728"/>
                    </a:lnTo>
                    <a:lnTo>
                      <a:pt x="1170" y="728"/>
                    </a:lnTo>
                    <a:lnTo>
                      <a:pt x="1170" y="728"/>
                    </a:lnTo>
                    <a:lnTo>
                      <a:pt x="605" y="1708"/>
                    </a:lnTo>
                    <a:lnTo>
                      <a:pt x="605" y="1708"/>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82" name="Freeform 329"/>
              <p:cNvSpPr>
                <a:spLocks/>
              </p:cNvSpPr>
              <p:nvPr/>
            </p:nvSpPr>
            <p:spPr bwMode="auto">
              <a:xfrm>
                <a:off x="-12625388" y="3949700"/>
                <a:ext cx="446088" cy="647700"/>
              </a:xfrm>
              <a:custGeom>
                <a:avLst/>
                <a:gdLst>
                  <a:gd name="T0" fmla="*/ 281 w 281"/>
                  <a:gd name="T1" fmla="*/ 408 h 408"/>
                  <a:gd name="T2" fmla="*/ 0 w 281"/>
                  <a:gd name="T3" fmla="*/ 334 h 408"/>
                  <a:gd name="T4" fmla="*/ 0 w 281"/>
                  <a:gd name="T5" fmla="*/ 0 h 408"/>
                  <a:gd name="T6" fmla="*/ 281 w 281"/>
                  <a:gd name="T7" fmla="*/ 408 h 408"/>
                </a:gdLst>
                <a:ahLst/>
                <a:cxnLst>
                  <a:cxn ang="0">
                    <a:pos x="T0" y="T1"/>
                  </a:cxn>
                  <a:cxn ang="0">
                    <a:pos x="T2" y="T3"/>
                  </a:cxn>
                  <a:cxn ang="0">
                    <a:pos x="T4" y="T5"/>
                  </a:cxn>
                  <a:cxn ang="0">
                    <a:pos x="T6" y="T7"/>
                  </a:cxn>
                </a:cxnLst>
                <a:rect l="0" t="0" r="r" b="b"/>
                <a:pathLst>
                  <a:path w="281" h="408">
                    <a:moveTo>
                      <a:pt x="281" y="408"/>
                    </a:moveTo>
                    <a:lnTo>
                      <a:pt x="0" y="334"/>
                    </a:lnTo>
                    <a:lnTo>
                      <a:pt x="0" y="0"/>
                    </a:lnTo>
                    <a:lnTo>
                      <a:pt x="281" y="408"/>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83" name="Freeform 330"/>
              <p:cNvSpPr>
                <a:spLocks/>
              </p:cNvSpPr>
              <p:nvPr/>
            </p:nvSpPr>
            <p:spPr bwMode="auto">
              <a:xfrm>
                <a:off x="-12625388" y="1152525"/>
                <a:ext cx="844550" cy="811213"/>
              </a:xfrm>
              <a:custGeom>
                <a:avLst/>
                <a:gdLst>
                  <a:gd name="T0" fmla="*/ 0 w 532"/>
                  <a:gd name="T1" fmla="*/ 511 h 511"/>
                  <a:gd name="T2" fmla="*/ 0 w 532"/>
                  <a:gd name="T3" fmla="*/ 511 h 511"/>
                  <a:gd name="T4" fmla="*/ 532 w 532"/>
                  <a:gd name="T5" fmla="*/ 0 h 511"/>
                  <a:gd name="T6" fmla="*/ 0 w 532"/>
                  <a:gd name="T7" fmla="*/ 511 h 511"/>
                </a:gdLst>
                <a:ahLst/>
                <a:cxnLst>
                  <a:cxn ang="0">
                    <a:pos x="T0" y="T1"/>
                  </a:cxn>
                  <a:cxn ang="0">
                    <a:pos x="T2" y="T3"/>
                  </a:cxn>
                  <a:cxn ang="0">
                    <a:pos x="T4" y="T5"/>
                  </a:cxn>
                  <a:cxn ang="0">
                    <a:pos x="T6" y="T7"/>
                  </a:cxn>
                </a:cxnLst>
                <a:rect l="0" t="0" r="r" b="b"/>
                <a:pathLst>
                  <a:path w="532" h="511">
                    <a:moveTo>
                      <a:pt x="0" y="511"/>
                    </a:moveTo>
                    <a:lnTo>
                      <a:pt x="0" y="511"/>
                    </a:lnTo>
                    <a:lnTo>
                      <a:pt x="532" y="0"/>
                    </a:lnTo>
                    <a:lnTo>
                      <a:pt x="0" y="51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84" name="Freeform 331"/>
              <p:cNvSpPr>
                <a:spLocks noEditPoints="1"/>
              </p:cNvSpPr>
              <p:nvPr/>
            </p:nvSpPr>
            <p:spPr bwMode="auto">
              <a:xfrm>
                <a:off x="-12625388" y="2682875"/>
                <a:ext cx="1771650" cy="1914525"/>
              </a:xfrm>
              <a:custGeom>
                <a:avLst/>
                <a:gdLst>
                  <a:gd name="T0" fmla="*/ 586 w 2324"/>
                  <a:gd name="T1" fmla="*/ 2514 h 2514"/>
                  <a:gd name="T2" fmla="*/ 586 w 2324"/>
                  <a:gd name="T3" fmla="*/ 2514 h 2514"/>
                  <a:gd name="T4" fmla="*/ 0 w 2324"/>
                  <a:gd name="T5" fmla="*/ 1664 h 2514"/>
                  <a:gd name="T6" fmla="*/ 0 w 2324"/>
                  <a:gd name="T7" fmla="*/ 64 h 2514"/>
                  <a:gd name="T8" fmla="*/ 2324 w 2324"/>
                  <a:gd name="T9" fmla="*/ 0 h 2514"/>
                  <a:gd name="T10" fmla="*/ 1542 w 2324"/>
                  <a:gd name="T11" fmla="*/ 1131 h 2514"/>
                  <a:gd name="T12" fmla="*/ 586 w 2324"/>
                  <a:gd name="T13" fmla="*/ 2514 h 2514"/>
                  <a:gd name="T14" fmla="*/ 2324 w 2324"/>
                  <a:gd name="T15" fmla="*/ 0 h 2514"/>
                  <a:gd name="T16" fmla="*/ 2324 w 2324"/>
                  <a:gd name="T17" fmla="*/ 0 h 2514"/>
                  <a:gd name="T18" fmla="*/ 2324 w 2324"/>
                  <a:gd name="T19"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4" h="2514">
                    <a:moveTo>
                      <a:pt x="586" y="2514"/>
                    </a:moveTo>
                    <a:lnTo>
                      <a:pt x="586" y="2514"/>
                    </a:lnTo>
                    <a:lnTo>
                      <a:pt x="0" y="1664"/>
                    </a:lnTo>
                    <a:lnTo>
                      <a:pt x="0" y="64"/>
                    </a:lnTo>
                    <a:lnTo>
                      <a:pt x="2324" y="0"/>
                    </a:lnTo>
                    <a:lnTo>
                      <a:pt x="1542" y="1131"/>
                    </a:lnTo>
                    <a:lnTo>
                      <a:pt x="586" y="2514"/>
                    </a:lnTo>
                    <a:moveTo>
                      <a:pt x="2324" y="0"/>
                    </a:moveTo>
                    <a:lnTo>
                      <a:pt x="2324" y="0"/>
                    </a:lnTo>
                    <a:lnTo>
                      <a:pt x="2324"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85" name="Freeform 332"/>
              <p:cNvSpPr>
                <a:spLocks/>
              </p:cNvSpPr>
              <p:nvPr/>
            </p:nvSpPr>
            <p:spPr bwMode="auto">
              <a:xfrm>
                <a:off x="-12625388" y="1125537"/>
                <a:ext cx="1771650" cy="1604963"/>
              </a:xfrm>
              <a:custGeom>
                <a:avLst/>
                <a:gdLst>
                  <a:gd name="T0" fmla="*/ 0 w 1116"/>
                  <a:gd name="T1" fmla="*/ 1011 h 1011"/>
                  <a:gd name="T2" fmla="*/ 0 w 1116"/>
                  <a:gd name="T3" fmla="*/ 528 h 1011"/>
                  <a:gd name="T4" fmla="*/ 532 w 1116"/>
                  <a:gd name="T5" fmla="*/ 17 h 1011"/>
                  <a:gd name="T6" fmla="*/ 550 w 1116"/>
                  <a:gd name="T7" fmla="*/ 0 h 1011"/>
                  <a:gd name="T8" fmla="*/ 532 w 1116"/>
                  <a:gd name="T9" fmla="*/ 17 h 1011"/>
                  <a:gd name="T10" fmla="*/ 550 w 1116"/>
                  <a:gd name="T11" fmla="*/ 0 h 1011"/>
                  <a:gd name="T12" fmla="*/ 550 w 1116"/>
                  <a:gd name="T13" fmla="*/ 0 h 1011"/>
                  <a:gd name="T14" fmla="*/ 550 w 1116"/>
                  <a:gd name="T15" fmla="*/ 0 h 1011"/>
                  <a:gd name="T16" fmla="*/ 1116 w 1116"/>
                  <a:gd name="T17" fmla="*/ 981 h 1011"/>
                  <a:gd name="T18" fmla="*/ 0 w 1116"/>
                  <a:gd name="T19" fmla="*/ 1011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6" h="1011">
                    <a:moveTo>
                      <a:pt x="0" y="1011"/>
                    </a:moveTo>
                    <a:lnTo>
                      <a:pt x="0" y="528"/>
                    </a:lnTo>
                    <a:lnTo>
                      <a:pt x="532" y="17"/>
                    </a:lnTo>
                    <a:lnTo>
                      <a:pt x="550" y="0"/>
                    </a:lnTo>
                    <a:lnTo>
                      <a:pt x="532" y="17"/>
                    </a:lnTo>
                    <a:lnTo>
                      <a:pt x="550" y="0"/>
                    </a:lnTo>
                    <a:lnTo>
                      <a:pt x="550" y="0"/>
                    </a:lnTo>
                    <a:lnTo>
                      <a:pt x="550" y="0"/>
                    </a:lnTo>
                    <a:lnTo>
                      <a:pt x="1116" y="981"/>
                    </a:lnTo>
                    <a:lnTo>
                      <a:pt x="0" y="101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86" name="Freeform 333"/>
              <p:cNvSpPr>
                <a:spLocks/>
              </p:cNvSpPr>
              <p:nvPr/>
            </p:nvSpPr>
            <p:spPr bwMode="auto">
              <a:xfrm>
                <a:off x="-11780838" y="1125537"/>
                <a:ext cx="28575" cy="26988"/>
              </a:xfrm>
              <a:custGeom>
                <a:avLst/>
                <a:gdLst>
                  <a:gd name="T0" fmla="*/ 0 w 18"/>
                  <a:gd name="T1" fmla="*/ 17 h 17"/>
                  <a:gd name="T2" fmla="*/ 0 w 18"/>
                  <a:gd name="T3" fmla="*/ 17 h 17"/>
                  <a:gd name="T4" fmla="*/ 18 w 18"/>
                  <a:gd name="T5" fmla="*/ 0 h 17"/>
                  <a:gd name="T6" fmla="*/ 0 w 18"/>
                  <a:gd name="T7" fmla="*/ 17 h 17"/>
                </a:gdLst>
                <a:ahLst/>
                <a:cxnLst>
                  <a:cxn ang="0">
                    <a:pos x="T0" y="T1"/>
                  </a:cxn>
                  <a:cxn ang="0">
                    <a:pos x="T2" y="T3"/>
                  </a:cxn>
                  <a:cxn ang="0">
                    <a:pos x="T4" y="T5"/>
                  </a:cxn>
                  <a:cxn ang="0">
                    <a:pos x="T6" y="T7"/>
                  </a:cxn>
                </a:cxnLst>
                <a:rect l="0" t="0" r="r" b="b"/>
                <a:pathLst>
                  <a:path w="18" h="17">
                    <a:moveTo>
                      <a:pt x="0" y="17"/>
                    </a:moveTo>
                    <a:lnTo>
                      <a:pt x="0" y="17"/>
                    </a:lnTo>
                    <a:lnTo>
                      <a:pt x="18" y="0"/>
                    </a:lnTo>
                    <a:lnTo>
                      <a:pt x="0" y="17"/>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87" name="Freeform 334"/>
              <p:cNvSpPr>
                <a:spLocks noEditPoints="1"/>
              </p:cNvSpPr>
              <p:nvPr/>
            </p:nvSpPr>
            <p:spPr bwMode="auto">
              <a:xfrm>
                <a:off x="-10853738" y="1454150"/>
                <a:ext cx="1365250" cy="1757363"/>
              </a:xfrm>
              <a:custGeom>
                <a:avLst/>
                <a:gdLst>
                  <a:gd name="T0" fmla="*/ 1792 w 1792"/>
                  <a:gd name="T1" fmla="*/ 2307 h 2307"/>
                  <a:gd name="T2" fmla="*/ 0 w 1792"/>
                  <a:gd name="T3" fmla="*/ 1612 h 2307"/>
                  <a:gd name="T4" fmla="*/ 0 w 1792"/>
                  <a:gd name="T5" fmla="*/ 1612 h 2307"/>
                  <a:gd name="T6" fmla="*/ 0 w 1792"/>
                  <a:gd name="T7" fmla="*/ 1612 h 2307"/>
                  <a:gd name="T8" fmla="*/ 233 w 1792"/>
                  <a:gd name="T9" fmla="*/ 0 h 2307"/>
                  <a:gd name="T10" fmla="*/ 790 w 1792"/>
                  <a:gd name="T11" fmla="*/ 824 h 2307"/>
                  <a:gd name="T12" fmla="*/ 1792 w 1792"/>
                  <a:gd name="T13" fmla="*/ 2307 h 2307"/>
                  <a:gd name="T14" fmla="*/ 233 w 1792"/>
                  <a:gd name="T15" fmla="*/ 0 h 2307"/>
                  <a:gd name="T16" fmla="*/ 233 w 1792"/>
                  <a:gd name="T17" fmla="*/ 0 h 2307"/>
                  <a:gd name="T18" fmla="*/ 233 w 1792"/>
                  <a:gd name="T19" fmla="*/ 0 h 2307"/>
                  <a:gd name="T20" fmla="*/ 233 w 1792"/>
                  <a:gd name="T21" fmla="*/ 0 h 2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2" h="2307">
                    <a:moveTo>
                      <a:pt x="1792" y="2307"/>
                    </a:moveTo>
                    <a:lnTo>
                      <a:pt x="0" y="1612"/>
                    </a:lnTo>
                    <a:lnTo>
                      <a:pt x="0" y="1612"/>
                    </a:lnTo>
                    <a:lnTo>
                      <a:pt x="0" y="1612"/>
                    </a:lnTo>
                    <a:lnTo>
                      <a:pt x="233" y="0"/>
                    </a:lnTo>
                    <a:lnTo>
                      <a:pt x="790" y="824"/>
                    </a:lnTo>
                    <a:lnTo>
                      <a:pt x="1792" y="2307"/>
                    </a:lnTo>
                    <a:moveTo>
                      <a:pt x="233" y="0"/>
                    </a:moveTo>
                    <a:lnTo>
                      <a:pt x="233" y="0"/>
                    </a:lnTo>
                    <a:lnTo>
                      <a:pt x="233" y="0"/>
                    </a:lnTo>
                    <a:lnTo>
                      <a:pt x="233"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88" name="Freeform 335"/>
              <p:cNvSpPr>
                <a:spLocks/>
              </p:cNvSpPr>
              <p:nvPr/>
            </p:nvSpPr>
            <p:spPr bwMode="auto">
              <a:xfrm>
                <a:off x="-10853738" y="-979488"/>
                <a:ext cx="1397000" cy="2433638"/>
              </a:xfrm>
              <a:custGeom>
                <a:avLst/>
                <a:gdLst>
                  <a:gd name="T0" fmla="*/ 111 w 880"/>
                  <a:gd name="T1" fmla="*/ 1533 h 1533"/>
                  <a:gd name="T2" fmla="*/ 111 w 880"/>
                  <a:gd name="T3" fmla="*/ 1533 h 1533"/>
                  <a:gd name="T4" fmla="*/ 0 w 880"/>
                  <a:gd name="T5" fmla="*/ 347 h 1533"/>
                  <a:gd name="T6" fmla="*/ 0 w 880"/>
                  <a:gd name="T7" fmla="*/ 347 h 1533"/>
                  <a:gd name="T8" fmla="*/ 0 w 880"/>
                  <a:gd name="T9" fmla="*/ 347 h 1533"/>
                  <a:gd name="T10" fmla="*/ 880 w 880"/>
                  <a:gd name="T11" fmla="*/ 0 h 1533"/>
                  <a:gd name="T12" fmla="*/ 111 w 880"/>
                  <a:gd name="T13" fmla="*/ 1533 h 1533"/>
                </a:gdLst>
                <a:ahLst/>
                <a:cxnLst>
                  <a:cxn ang="0">
                    <a:pos x="T0" y="T1"/>
                  </a:cxn>
                  <a:cxn ang="0">
                    <a:pos x="T2" y="T3"/>
                  </a:cxn>
                  <a:cxn ang="0">
                    <a:pos x="T4" y="T5"/>
                  </a:cxn>
                  <a:cxn ang="0">
                    <a:pos x="T6" y="T7"/>
                  </a:cxn>
                  <a:cxn ang="0">
                    <a:pos x="T8" y="T9"/>
                  </a:cxn>
                  <a:cxn ang="0">
                    <a:pos x="T10" y="T11"/>
                  </a:cxn>
                  <a:cxn ang="0">
                    <a:pos x="T12" y="T13"/>
                  </a:cxn>
                </a:cxnLst>
                <a:rect l="0" t="0" r="r" b="b"/>
                <a:pathLst>
                  <a:path w="880" h="1533">
                    <a:moveTo>
                      <a:pt x="111" y="1533"/>
                    </a:moveTo>
                    <a:lnTo>
                      <a:pt x="111" y="1533"/>
                    </a:lnTo>
                    <a:lnTo>
                      <a:pt x="0" y="347"/>
                    </a:lnTo>
                    <a:lnTo>
                      <a:pt x="0" y="347"/>
                    </a:lnTo>
                    <a:lnTo>
                      <a:pt x="0" y="347"/>
                    </a:lnTo>
                    <a:lnTo>
                      <a:pt x="880" y="0"/>
                    </a:lnTo>
                    <a:lnTo>
                      <a:pt x="111" y="15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89" name="Freeform 336"/>
              <p:cNvSpPr>
                <a:spLocks/>
              </p:cNvSpPr>
              <p:nvPr/>
            </p:nvSpPr>
            <p:spPr bwMode="auto">
              <a:xfrm>
                <a:off x="-10677525" y="1125537"/>
                <a:ext cx="2517775" cy="2085975"/>
              </a:xfrm>
              <a:custGeom>
                <a:avLst/>
                <a:gdLst>
                  <a:gd name="T0" fmla="*/ 749 w 1586"/>
                  <a:gd name="T1" fmla="*/ 1314 h 1314"/>
                  <a:gd name="T2" fmla="*/ 268 w 1586"/>
                  <a:gd name="T3" fmla="*/ 602 h 1314"/>
                  <a:gd name="T4" fmla="*/ 0 w 1586"/>
                  <a:gd name="T5" fmla="*/ 207 h 1314"/>
                  <a:gd name="T6" fmla="*/ 0 w 1586"/>
                  <a:gd name="T7" fmla="*/ 207 h 1314"/>
                  <a:gd name="T8" fmla="*/ 0 w 1586"/>
                  <a:gd name="T9" fmla="*/ 207 h 1314"/>
                  <a:gd name="T10" fmla="*/ 0 w 1586"/>
                  <a:gd name="T11" fmla="*/ 207 h 1314"/>
                  <a:gd name="T12" fmla="*/ 169 w 1586"/>
                  <a:gd name="T13" fmla="*/ 185 h 1314"/>
                  <a:gd name="T14" fmla="*/ 1586 w 1586"/>
                  <a:gd name="T15" fmla="*/ 0 h 1314"/>
                  <a:gd name="T16" fmla="*/ 749 w 1586"/>
                  <a:gd name="T17" fmla="*/ 1314 h 1314"/>
                  <a:gd name="T18" fmla="*/ 749 w 1586"/>
                  <a:gd name="T19" fmla="*/ 1314 h 1314"/>
                  <a:gd name="T20" fmla="*/ 749 w 1586"/>
                  <a:gd name="T21" fmla="*/ 1314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6" h="1314">
                    <a:moveTo>
                      <a:pt x="749" y="1314"/>
                    </a:moveTo>
                    <a:lnTo>
                      <a:pt x="268" y="602"/>
                    </a:lnTo>
                    <a:lnTo>
                      <a:pt x="0" y="207"/>
                    </a:lnTo>
                    <a:lnTo>
                      <a:pt x="0" y="207"/>
                    </a:lnTo>
                    <a:lnTo>
                      <a:pt x="0" y="207"/>
                    </a:lnTo>
                    <a:lnTo>
                      <a:pt x="0" y="207"/>
                    </a:lnTo>
                    <a:lnTo>
                      <a:pt x="169" y="185"/>
                    </a:lnTo>
                    <a:lnTo>
                      <a:pt x="1586" y="0"/>
                    </a:lnTo>
                    <a:lnTo>
                      <a:pt x="749" y="1314"/>
                    </a:lnTo>
                    <a:lnTo>
                      <a:pt x="749" y="1314"/>
                    </a:lnTo>
                    <a:lnTo>
                      <a:pt x="749" y="1314"/>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90" name="Freeform 337"/>
              <p:cNvSpPr>
                <a:spLocks/>
              </p:cNvSpPr>
              <p:nvPr/>
            </p:nvSpPr>
            <p:spPr bwMode="auto">
              <a:xfrm>
                <a:off x="-10677525" y="1454150"/>
                <a:ext cx="425450" cy="627063"/>
              </a:xfrm>
              <a:custGeom>
                <a:avLst/>
                <a:gdLst>
                  <a:gd name="T0" fmla="*/ 268 w 268"/>
                  <a:gd name="T1" fmla="*/ 395 h 395"/>
                  <a:gd name="T2" fmla="*/ 0 w 268"/>
                  <a:gd name="T3" fmla="*/ 0 h 395"/>
                  <a:gd name="T4" fmla="*/ 0 w 268"/>
                  <a:gd name="T5" fmla="*/ 0 h 395"/>
                  <a:gd name="T6" fmla="*/ 268 w 268"/>
                  <a:gd name="T7" fmla="*/ 395 h 395"/>
                </a:gdLst>
                <a:ahLst/>
                <a:cxnLst>
                  <a:cxn ang="0">
                    <a:pos x="T0" y="T1"/>
                  </a:cxn>
                  <a:cxn ang="0">
                    <a:pos x="T2" y="T3"/>
                  </a:cxn>
                  <a:cxn ang="0">
                    <a:pos x="T4" y="T5"/>
                  </a:cxn>
                  <a:cxn ang="0">
                    <a:pos x="T6" y="T7"/>
                  </a:cxn>
                </a:cxnLst>
                <a:rect l="0" t="0" r="r" b="b"/>
                <a:pathLst>
                  <a:path w="268" h="395">
                    <a:moveTo>
                      <a:pt x="268" y="395"/>
                    </a:moveTo>
                    <a:lnTo>
                      <a:pt x="0" y="0"/>
                    </a:lnTo>
                    <a:lnTo>
                      <a:pt x="0" y="0"/>
                    </a:lnTo>
                    <a:lnTo>
                      <a:pt x="268" y="39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91" name="Freeform 338"/>
              <p:cNvSpPr>
                <a:spLocks/>
              </p:cNvSpPr>
              <p:nvPr/>
            </p:nvSpPr>
            <p:spPr bwMode="auto">
              <a:xfrm>
                <a:off x="-11752263" y="-428626"/>
                <a:ext cx="1074738" cy="1882775"/>
              </a:xfrm>
              <a:custGeom>
                <a:avLst/>
                <a:gdLst>
                  <a:gd name="T0" fmla="*/ 677 w 677"/>
                  <a:gd name="T1" fmla="*/ 1186 h 1186"/>
                  <a:gd name="T2" fmla="*/ 0 w 677"/>
                  <a:gd name="T3" fmla="*/ 979 h 1186"/>
                  <a:gd name="T4" fmla="*/ 452 w 677"/>
                  <a:gd name="T5" fmla="*/ 196 h 1186"/>
                  <a:gd name="T6" fmla="*/ 566 w 677"/>
                  <a:gd name="T7" fmla="*/ 0 h 1186"/>
                  <a:gd name="T8" fmla="*/ 677 w 677"/>
                  <a:gd name="T9" fmla="*/ 1186 h 1186"/>
                  <a:gd name="T10" fmla="*/ 677 w 677"/>
                  <a:gd name="T11" fmla="*/ 1186 h 1186"/>
                </a:gdLst>
                <a:ahLst/>
                <a:cxnLst>
                  <a:cxn ang="0">
                    <a:pos x="T0" y="T1"/>
                  </a:cxn>
                  <a:cxn ang="0">
                    <a:pos x="T2" y="T3"/>
                  </a:cxn>
                  <a:cxn ang="0">
                    <a:pos x="T4" y="T5"/>
                  </a:cxn>
                  <a:cxn ang="0">
                    <a:pos x="T6" y="T7"/>
                  </a:cxn>
                  <a:cxn ang="0">
                    <a:pos x="T8" y="T9"/>
                  </a:cxn>
                  <a:cxn ang="0">
                    <a:pos x="T10" y="T11"/>
                  </a:cxn>
                </a:cxnLst>
                <a:rect l="0" t="0" r="r" b="b"/>
                <a:pathLst>
                  <a:path w="677" h="1186">
                    <a:moveTo>
                      <a:pt x="677" y="1186"/>
                    </a:moveTo>
                    <a:lnTo>
                      <a:pt x="0" y="979"/>
                    </a:lnTo>
                    <a:lnTo>
                      <a:pt x="452" y="196"/>
                    </a:lnTo>
                    <a:lnTo>
                      <a:pt x="566" y="0"/>
                    </a:lnTo>
                    <a:lnTo>
                      <a:pt x="677" y="1186"/>
                    </a:lnTo>
                    <a:lnTo>
                      <a:pt x="677" y="118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92" name="Rectangle 339"/>
              <p:cNvSpPr>
                <a:spLocks noChangeArrowheads="1"/>
              </p:cNvSpPr>
              <p:nvPr/>
            </p:nvSpPr>
            <p:spPr bwMode="auto">
              <a:xfrm>
                <a:off x="-10677525" y="1454150"/>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93" name="Rectangle 340"/>
              <p:cNvSpPr>
                <a:spLocks noChangeArrowheads="1"/>
              </p:cNvSpPr>
              <p:nvPr/>
            </p:nvSpPr>
            <p:spPr bwMode="auto">
              <a:xfrm>
                <a:off x="-11752263" y="1125537"/>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94" name="Freeform 341"/>
              <p:cNvSpPr>
                <a:spLocks/>
              </p:cNvSpPr>
              <p:nvPr/>
            </p:nvSpPr>
            <p:spPr bwMode="auto">
              <a:xfrm>
                <a:off x="-10677525" y="-979488"/>
                <a:ext cx="2517775" cy="2433638"/>
              </a:xfrm>
              <a:custGeom>
                <a:avLst/>
                <a:gdLst>
                  <a:gd name="T0" fmla="*/ 0 w 1586"/>
                  <a:gd name="T1" fmla="*/ 1533 h 1533"/>
                  <a:gd name="T2" fmla="*/ 769 w 1586"/>
                  <a:gd name="T3" fmla="*/ 0 h 1533"/>
                  <a:gd name="T4" fmla="*/ 1586 w 1586"/>
                  <a:gd name="T5" fmla="*/ 1326 h 1533"/>
                  <a:gd name="T6" fmla="*/ 1586 w 1586"/>
                  <a:gd name="T7" fmla="*/ 1326 h 1533"/>
                  <a:gd name="T8" fmla="*/ 1586 w 1586"/>
                  <a:gd name="T9" fmla="*/ 1326 h 1533"/>
                  <a:gd name="T10" fmla="*/ 1586 w 1586"/>
                  <a:gd name="T11" fmla="*/ 1326 h 1533"/>
                  <a:gd name="T12" fmla="*/ 169 w 1586"/>
                  <a:gd name="T13" fmla="*/ 1511 h 1533"/>
                  <a:gd name="T14" fmla="*/ 0 w 1586"/>
                  <a:gd name="T15" fmla="*/ 1533 h 15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6" h="1533">
                    <a:moveTo>
                      <a:pt x="0" y="1533"/>
                    </a:moveTo>
                    <a:lnTo>
                      <a:pt x="769" y="0"/>
                    </a:lnTo>
                    <a:lnTo>
                      <a:pt x="1586" y="1326"/>
                    </a:lnTo>
                    <a:lnTo>
                      <a:pt x="1586" y="1326"/>
                    </a:lnTo>
                    <a:lnTo>
                      <a:pt x="1586" y="1326"/>
                    </a:lnTo>
                    <a:lnTo>
                      <a:pt x="1586" y="1326"/>
                    </a:lnTo>
                    <a:lnTo>
                      <a:pt x="169" y="1511"/>
                    </a:lnTo>
                    <a:lnTo>
                      <a:pt x="0" y="1533"/>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95" name="Freeform 342"/>
              <p:cNvSpPr>
                <a:spLocks noEditPoints="1"/>
              </p:cNvSpPr>
              <p:nvPr/>
            </p:nvSpPr>
            <p:spPr bwMode="auto">
              <a:xfrm>
                <a:off x="-11752263" y="1125537"/>
                <a:ext cx="1074738" cy="1557338"/>
              </a:xfrm>
              <a:custGeom>
                <a:avLst/>
                <a:gdLst>
                  <a:gd name="T0" fmla="*/ 1179 w 1412"/>
                  <a:gd name="T1" fmla="*/ 2042 h 2042"/>
                  <a:gd name="T2" fmla="*/ 0 w 1412"/>
                  <a:gd name="T3" fmla="*/ 0 h 2042"/>
                  <a:gd name="T4" fmla="*/ 1412 w 1412"/>
                  <a:gd name="T5" fmla="*/ 430 h 2042"/>
                  <a:gd name="T6" fmla="*/ 1179 w 1412"/>
                  <a:gd name="T7" fmla="*/ 2042 h 2042"/>
                  <a:gd name="T8" fmla="*/ 1412 w 1412"/>
                  <a:gd name="T9" fmla="*/ 430 h 2042"/>
                  <a:gd name="T10" fmla="*/ 1412 w 1412"/>
                  <a:gd name="T11" fmla="*/ 430 h 2042"/>
                  <a:gd name="T12" fmla="*/ 1412 w 1412"/>
                  <a:gd name="T13" fmla="*/ 430 h 2042"/>
                  <a:gd name="T14" fmla="*/ 1412 w 1412"/>
                  <a:gd name="T15" fmla="*/ 430 h 20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2042">
                    <a:moveTo>
                      <a:pt x="1179" y="2042"/>
                    </a:moveTo>
                    <a:lnTo>
                      <a:pt x="0" y="0"/>
                    </a:lnTo>
                    <a:lnTo>
                      <a:pt x="1412" y="430"/>
                    </a:lnTo>
                    <a:lnTo>
                      <a:pt x="1179" y="2042"/>
                    </a:lnTo>
                    <a:moveTo>
                      <a:pt x="1412" y="430"/>
                    </a:moveTo>
                    <a:lnTo>
                      <a:pt x="1412" y="430"/>
                    </a:lnTo>
                    <a:lnTo>
                      <a:pt x="1412" y="430"/>
                    </a:lnTo>
                    <a:lnTo>
                      <a:pt x="1412" y="430"/>
                    </a:lnTo>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96" name="Freeform 343"/>
              <p:cNvSpPr>
                <a:spLocks/>
              </p:cNvSpPr>
              <p:nvPr/>
            </p:nvSpPr>
            <p:spPr bwMode="auto">
              <a:xfrm>
                <a:off x="-10853738" y="1454150"/>
                <a:ext cx="176213" cy="1228725"/>
              </a:xfrm>
              <a:custGeom>
                <a:avLst/>
                <a:gdLst>
                  <a:gd name="T0" fmla="*/ 0 w 111"/>
                  <a:gd name="T1" fmla="*/ 774 h 774"/>
                  <a:gd name="T2" fmla="*/ 0 w 111"/>
                  <a:gd name="T3" fmla="*/ 774 h 774"/>
                  <a:gd name="T4" fmla="*/ 111 w 111"/>
                  <a:gd name="T5" fmla="*/ 0 h 774"/>
                  <a:gd name="T6" fmla="*/ 111 w 111"/>
                  <a:gd name="T7" fmla="*/ 0 h 774"/>
                  <a:gd name="T8" fmla="*/ 111 w 111"/>
                  <a:gd name="T9" fmla="*/ 0 h 774"/>
                  <a:gd name="T10" fmla="*/ 111 w 111"/>
                  <a:gd name="T11" fmla="*/ 0 h 774"/>
                  <a:gd name="T12" fmla="*/ 111 w 111"/>
                  <a:gd name="T13" fmla="*/ 0 h 774"/>
                  <a:gd name="T14" fmla="*/ 111 w 111"/>
                  <a:gd name="T15" fmla="*/ 0 h 774"/>
                  <a:gd name="T16" fmla="*/ 0 w 111"/>
                  <a:gd name="T17" fmla="*/ 77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74">
                    <a:moveTo>
                      <a:pt x="0" y="774"/>
                    </a:moveTo>
                    <a:lnTo>
                      <a:pt x="0" y="774"/>
                    </a:lnTo>
                    <a:lnTo>
                      <a:pt x="111" y="0"/>
                    </a:lnTo>
                    <a:lnTo>
                      <a:pt x="111" y="0"/>
                    </a:lnTo>
                    <a:lnTo>
                      <a:pt x="111" y="0"/>
                    </a:lnTo>
                    <a:lnTo>
                      <a:pt x="111" y="0"/>
                    </a:lnTo>
                    <a:lnTo>
                      <a:pt x="111" y="0"/>
                    </a:lnTo>
                    <a:lnTo>
                      <a:pt x="111" y="0"/>
                    </a:lnTo>
                    <a:lnTo>
                      <a:pt x="0" y="774"/>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97" name="Rectangle 344"/>
              <p:cNvSpPr>
                <a:spLocks noChangeArrowheads="1"/>
              </p:cNvSpPr>
              <p:nvPr/>
            </p:nvSpPr>
            <p:spPr bwMode="auto">
              <a:xfrm>
                <a:off x="-11752263" y="1125537"/>
                <a:ext cx="1588" cy="1588"/>
              </a:xfrm>
              <a:prstGeom prst="rect">
                <a:avLst/>
              </a:prstGeom>
              <a:solidFill>
                <a:srgbClr val="579ABA"/>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98" name="Rectangle 345"/>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99" name="Rectangle 346"/>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00" name="Freeform 347"/>
              <p:cNvSpPr>
                <a:spLocks/>
              </p:cNvSpPr>
              <p:nvPr/>
            </p:nvSpPr>
            <p:spPr bwMode="auto">
              <a:xfrm>
                <a:off x="-11752263" y="1125537"/>
                <a:ext cx="1074738" cy="328613"/>
              </a:xfrm>
              <a:custGeom>
                <a:avLst/>
                <a:gdLst>
                  <a:gd name="T0" fmla="*/ 677 w 677"/>
                  <a:gd name="T1" fmla="*/ 207 h 207"/>
                  <a:gd name="T2" fmla="*/ 0 w 677"/>
                  <a:gd name="T3" fmla="*/ 0 h 207"/>
                  <a:gd name="T4" fmla="*/ 0 w 677"/>
                  <a:gd name="T5" fmla="*/ 0 h 207"/>
                  <a:gd name="T6" fmla="*/ 0 w 677"/>
                  <a:gd name="T7" fmla="*/ 0 h 207"/>
                  <a:gd name="T8" fmla="*/ 677 w 677"/>
                  <a:gd name="T9" fmla="*/ 207 h 207"/>
                  <a:gd name="T10" fmla="*/ 677 w 677"/>
                  <a:gd name="T11" fmla="*/ 207 h 207"/>
                </a:gdLst>
                <a:ahLst/>
                <a:cxnLst>
                  <a:cxn ang="0">
                    <a:pos x="T0" y="T1"/>
                  </a:cxn>
                  <a:cxn ang="0">
                    <a:pos x="T2" y="T3"/>
                  </a:cxn>
                  <a:cxn ang="0">
                    <a:pos x="T4" y="T5"/>
                  </a:cxn>
                  <a:cxn ang="0">
                    <a:pos x="T6" y="T7"/>
                  </a:cxn>
                  <a:cxn ang="0">
                    <a:pos x="T8" y="T9"/>
                  </a:cxn>
                  <a:cxn ang="0">
                    <a:pos x="T10" y="T11"/>
                  </a:cxn>
                </a:cxnLst>
                <a:rect l="0" t="0" r="r" b="b"/>
                <a:pathLst>
                  <a:path w="677" h="207">
                    <a:moveTo>
                      <a:pt x="677" y="207"/>
                    </a:moveTo>
                    <a:lnTo>
                      <a:pt x="0" y="0"/>
                    </a:lnTo>
                    <a:lnTo>
                      <a:pt x="0" y="0"/>
                    </a:lnTo>
                    <a:lnTo>
                      <a:pt x="0" y="0"/>
                    </a:lnTo>
                    <a:lnTo>
                      <a:pt x="677" y="207"/>
                    </a:lnTo>
                    <a:lnTo>
                      <a:pt x="677" y="20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01" name="Rectangle 348"/>
              <p:cNvSpPr>
                <a:spLocks noChangeArrowheads="1"/>
              </p:cNvSpPr>
              <p:nvPr/>
            </p:nvSpPr>
            <p:spPr bwMode="auto">
              <a:xfrm>
                <a:off x="-10677525" y="1454150"/>
                <a:ext cx="1588" cy="1588"/>
              </a:xfrm>
              <a:prstGeom prst="rect">
                <a:avLst/>
              </a:prstGeom>
              <a:solidFill>
                <a:srgbClr val="59A0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02" name="Freeform 349"/>
              <p:cNvSpPr>
                <a:spLocks noEditPoints="1"/>
              </p:cNvSpPr>
              <p:nvPr/>
            </p:nvSpPr>
            <p:spPr bwMode="auto">
              <a:xfrm>
                <a:off x="-12625388" y="5602287"/>
                <a:ext cx="571500" cy="1801813"/>
              </a:xfrm>
              <a:custGeom>
                <a:avLst/>
                <a:gdLst>
                  <a:gd name="T0" fmla="*/ 0 w 750"/>
                  <a:gd name="T1" fmla="*/ 2365 h 2365"/>
                  <a:gd name="T2" fmla="*/ 0 w 750"/>
                  <a:gd name="T3" fmla="*/ 921 h 2365"/>
                  <a:gd name="T4" fmla="*/ 750 w 750"/>
                  <a:gd name="T5" fmla="*/ 0 h 2365"/>
                  <a:gd name="T6" fmla="*/ 371 w 750"/>
                  <a:gd name="T7" fmla="*/ 2264 h 2365"/>
                  <a:gd name="T8" fmla="*/ 0 w 750"/>
                  <a:gd name="T9" fmla="*/ 2365 h 2365"/>
                  <a:gd name="T10" fmla="*/ 0 w 750"/>
                  <a:gd name="T11" fmla="*/ 921 h 2365"/>
                  <a:gd name="T12" fmla="*/ 0 w 750"/>
                  <a:gd name="T13" fmla="*/ 921 h 2365"/>
                  <a:gd name="T14" fmla="*/ 750 w 750"/>
                  <a:gd name="T15" fmla="*/ 0 h 2365"/>
                  <a:gd name="T16" fmla="*/ 750 w 750"/>
                  <a:gd name="T17" fmla="*/ 0 h 2365"/>
                  <a:gd name="T18" fmla="*/ 750 w 750"/>
                  <a:gd name="T19" fmla="*/ 0 h 2365"/>
                  <a:gd name="T20" fmla="*/ 0 w 750"/>
                  <a:gd name="T21" fmla="*/ 921 h 2365"/>
                  <a:gd name="T22" fmla="*/ 750 w 750"/>
                  <a:gd name="T23" fmla="*/ 0 h 2365"/>
                  <a:gd name="T24" fmla="*/ 750 w 750"/>
                  <a:gd name="T25" fmla="*/ 0 h 2365"/>
                  <a:gd name="T26" fmla="*/ 750 w 750"/>
                  <a:gd name="T27" fmla="*/ 0 h 2365"/>
                  <a:gd name="T28" fmla="*/ 750 w 750"/>
                  <a:gd name="T29" fmla="*/ 0 h 2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0" h="2365">
                    <a:moveTo>
                      <a:pt x="0" y="2365"/>
                    </a:moveTo>
                    <a:lnTo>
                      <a:pt x="0" y="921"/>
                    </a:lnTo>
                    <a:lnTo>
                      <a:pt x="750" y="0"/>
                    </a:lnTo>
                    <a:lnTo>
                      <a:pt x="371" y="2264"/>
                    </a:lnTo>
                    <a:lnTo>
                      <a:pt x="0" y="2365"/>
                    </a:lnTo>
                    <a:moveTo>
                      <a:pt x="0" y="921"/>
                    </a:moveTo>
                    <a:lnTo>
                      <a:pt x="0" y="921"/>
                    </a:lnTo>
                    <a:lnTo>
                      <a:pt x="750" y="0"/>
                    </a:lnTo>
                    <a:lnTo>
                      <a:pt x="750" y="0"/>
                    </a:lnTo>
                    <a:lnTo>
                      <a:pt x="750" y="0"/>
                    </a:lnTo>
                    <a:lnTo>
                      <a:pt x="0" y="921"/>
                    </a:lnTo>
                    <a:moveTo>
                      <a:pt x="750" y="0"/>
                    </a:moveTo>
                    <a:lnTo>
                      <a:pt x="750" y="0"/>
                    </a:lnTo>
                    <a:lnTo>
                      <a:pt x="750" y="0"/>
                    </a:lnTo>
                    <a:lnTo>
                      <a:pt x="750" y="0"/>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03" name="Freeform 350"/>
              <p:cNvSpPr>
                <a:spLocks/>
              </p:cNvSpPr>
              <p:nvPr/>
            </p:nvSpPr>
            <p:spPr bwMode="auto">
              <a:xfrm>
                <a:off x="-12625388" y="4479925"/>
                <a:ext cx="571500" cy="1122363"/>
              </a:xfrm>
              <a:custGeom>
                <a:avLst/>
                <a:gdLst>
                  <a:gd name="T0" fmla="*/ 360 w 360"/>
                  <a:gd name="T1" fmla="*/ 707 h 707"/>
                  <a:gd name="T2" fmla="*/ 0 w 360"/>
                  <a:gd name="T3" fmla="*/ 379 h 707"/>
                  <a:gd name="T4" fmla="*/ 0 w 360"/>
                  <a:gd name="T5" fmla="*/ 0 h 707"/>
                  <a:gd name="T6" fmla="*/ 281 w 360"/>
                  <a:gd name="T7" fmla="*/ 74 h 707"/>
                  <a:gd name="T8" fmla="*/ 360 w 360"/>
                  <a:gd name="T9" fmla="*/ 707 h 707"/>
                </a:gdLst>
                <a:ahLst/>
                <a:cxnLst>
                  <a:cxn ang="0">
                    <a:pos x="T0" y="T1"/>
                  </a:cxn>
                  <a:cxn ang="0">
                    <a:pos x="T2" y="T3"/>
                  </a:cxn>
                  <a:cxn ang="0">
                    <a:pos x="T4" y="T5"/>
                  </a:cxn>
                  <a:cxn ang="0">
                    <a:pos x="T6" y="T7"/>
                  </a:cxn>
                  <a:cxn ang="0">
                    <a:pos x="T8" y="T9"/>
                  </a:cxn>
                </a:cxnLst>
                <a:rect l="0" t="0" r="r" b="b"/>
                <a:pathLst>
                  <a:path w="360" h="707">
                    <a:moveTo>
                      <a:pt x="360" y="707"/>
                    </a:moveTo>
                    <a:lnTo>
                      <a:pt x="0" y="379"/>
                    </a:lnTo>
                    <a:lnTo>
                      <a:pt x="0" y="0"/>
                    </a:lnTo>
                    <a:lnTo>
                      <a:pt x="281" y="74"/>
                    </a:lnTo>
                    <a:lnTo>
                      <a:pt x="360" y="707"/>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04" name="Freeform 351"/>
              <p:cNvSpPr>
                <a:spLocks noEditPoints="1"/>
              </p:cNvSpPr>
              <p:nvPr/>
            </p:nvSpPr>
            <p:spPr bwMode="auto">
              <a:xfrm>
                <a:off x="-12341225" y="5602287"/>
                <a:ext cx="1487488" cy="1725613"/>
              </a:xfrm>
              <a:custGeom>
                <a:avLst/>
                <a:gdLst>
                  <a:gd name="T0" fmla="*/ 0 w 1952"/>
                  <a:gd name="T1" fmla="*/ 2264 h 2264"/>
                  <a:gd name="T2" fmla="*/ 378 w 1952"/>
                  <a:gd name="T3" fmla="*/ 0 h 2264"/>
                  <a:gd name="T4" fmla="*/ 378 w 1952"/>
                  <a:gd name="T5" fmla="*/ 0 h 2264"/>
                  <a:gd name="T6" fmla="*/ 1952 w 1952"/>
                  <a:gd name="T7" fmla="*/ 251 h 2264"/>
                  <a:gd name="T8" fmla="*/ 1952 w 1952"/>
                  <a:gd name="T9" fmla="*/ 251 h 2264"/>
                  <a:gd name="T10" fmla="*/ 1952 w 1952"/>
                  <a:gd name="T11" fmla="*/ 251 h 2264"/>
                  <a:gd name="T12" fmla="*/ 1952 w 1952"/>
                  <a:gd name="T13" fmla="*/ 251 h 2264"/>
                  <a:gd name="T14" fmla="*/ 780 w 1952"/>
                  <a:gd name="T15" fmla="*/ 1459 h 2264"/>
                  <a:gd name="T16" fmla="*/ 0 w 1952"/>
                  <a:gd name="T17" fmla="*/ 2264 h 2264"/>
                  <a:gd name="T18" fmla="*/ 378 w 1952"/>
                  <a:gd name="T19" fmla="*/ 0 h 2264"/>
                  <a:gd name="T20" fmla="*/ 378 w 1952"/>
                  <a:gd name="T21" fmla="*/ 0 h 2264"/>
                  <a:gd name="T22" fmla="*/ 378 w 1952"/>
                  <a:gd name="T23" fmla="*/ 0 h 2264"/>
                  <a:gd name="T24" fmla="*/ 378 w 1952"/>
                  <a:gd name="T25" fmla="*/ 0 h 2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52" h="2264">
                    <a:moveTo>
                      <a:pt x="0" y="2264"/>
                    </a:moveTo>
                    <a:lnTo>
                      <a:pt x="378" y="0"/>
                    </a:lnTo>
                    <a:lnTo>
                      <a:pt x="378" y="0"/>
                    </a:lnTo>
                    <a:lnTo>
                      <a:pt x="1952" y="251"/>
                    </a:lnTo>
                    <a:lnTo>
                      <a:pt x="1952" y="251"/>
                    </a:lnTo>
                    <a:lnTo>
                      <a:pt x="1952" y="251"/>
                    </a:lnTo>
                    <a:lnTo>
                      <a:pt x="1952" y="251"/>
                    </a:lnTo>
                    <a:lnTo>
                      <a:pt x="780" y="1459"/>
                    </a:lnTo>
                    <a:lnTo>
                      <a:pt x="0" y="2264"/>
                    </a:lnTo>
                    <a:moveTo>
                      <a:pt x="378" y="0"/>
                    </a:moveTo>
                    <a:lnTo>
                      <a:pt x="378" y="0"/>
                    </a:lnTo>
                    <a:lnTo>
                      <a:pt x="378" y="0"/>
                    </a:lnTo>
                    <a:lnTo>
                      <a:pt x="378"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05" name="Freeform 352"/>
              <p:cNvSpPr>
                <a:spLocks noEditPoints="1"/>
              </p:cNvSpPr>
              <p:nvPr/>
            </p:nvSpPr>
            <p:spPr bwMode="auto">
              <a:xfrm>
                <a:off x="-12625388" y="5081587"/>
                <a:ext cx="571500" cy="520700"/>
              </a:xfrm>
              <a:custGeom>
                <a:avLst/>
                <a:gdLst>
                  <a:gd name="T0" fmla="*/ 750 w 750"/>
                  <a:gd name="T1" fmla="*/ 684 h 684"/>
                  <a:gd name="T2" fmla="*/ 750 w 750"/>
                  <a:gd name="T3" fmla="*/ 684 h 684"/>
                  <a:gd name="T4" fmla="*/ 750 w 750"/>
                  <a:gd name="T5" fmla="*/ 684 h 684"/>
                  <a:gd name="T6" fmla="*/ 750 w 750"/>
                  <a:gd name="T7" fmla="*/ 684 h 684"/>
                  <a:gd name="T8" fmla="*/ 750 w 750"/>
                  <a:gd name="T9" fmla="*/ 684 h 684"/>
                  <a:gd name="T10" fmla="*/ 0 w 750"/>
                  <a:gd name="T11" fmla="*/ 0 h 684"/>
                  <a:gd name="T12" fmla="*/ 750 w 750"/>
                  <a:gd name="T13" fmla="*/ 684 h 684"/>
                </a:gdLst>
                <a:ahLst/>
                <a:cxnLst>
                  <a:cxn ang="0">
                    <a:pos x="T0" y="T1"/>
                  </a:cxn>
                  <a:cxn ang="0">
                    <a:pos x="T2" y="T3"/>
                  </a:cxn>
                  <a:cxn ang="0">
                    <a:pos x="T4" y="T5"/>
                  </a:cxn>
                  <a:cxn ang="0">
                    <a:pos x="T6" y="T7"/>
                  </a:cxn>
                  <a:cxn ang="0">
                    <a:pos x="T8" y="T9"/>
                  </a:cxn>
                  <a:cxn ang="0">
                    <a:pos x="T10" y="T11"/>
                  </a:cxn>
                  <a:cxn ang="0">
                    <a:pos x="T12" y="T13"/>
                  </a:cxn>
                </a:cxnLst>
                <a:rect l="0" t="0" r="r" b="b"/>
                <a:pathLst>
                  <a:path w="750" h="684">
                    <a:moveTo>
                      <a:pt x="750" y="684"/>
                    </a:moveTo>
                    <a:lnTo>
                      <a:pt x="750" y="684"/>
                    </a:lnTo>
                    <a:lnTo>
                      <a:pt x="750" y="684"/>
                    </a:lnTo>
                    <a:lnTo>
                      <a:pt x="750" y="684"/>
                    </a:lnTo>
                    <a:moveTo>
                      <a:pt x="750" y="684"/>
                    </a:moveTo>
                    <a:lnTo>
                      <a:pt x="0" y="0"/>
                    </a:lnTo>
                    <a:lnTo>
                      <a:pt x="750" y="684"/>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06" name="Rectangle 353"/>
              <p:cNvSpPr>
                <a:spLocks noChangeArrowheads="1"/>
              </p:cNvSpPr>
              <p:nvPr/>
            </p:nvSpPr>
            <p:spPr bwMode="auto">
              <a:xfrm>
                <a:off x="-12053888" y="5602287"/>
                <a:ext cx="1588" cy="1588"/>
              </a:xfrm>
              <a:prstGeom prst="rect">
                <a:avLst/>
              </a:prstGeom>
              <a:solidFill>
                <a:srgbClr val="599DBC"/>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07" name="Line 354"/>
              <p:cNvSpPr>
                <a:spLocks noChangeShapeType="1"/>
              </p:cNvSpPr>
              <p:nvPr/>
            </p:nvSpPr>
            <p:spPr bwMode="auto">
              <a:xfrm>
                <a:off x="-12053888" y="56022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08" name="Freeform 355"/>
              <p:cNvSpPr>
                <a:spLocks/>
              </p:cNvSpPr>
              <p:nvPr/>
            </p:nvSpPr>
            <p:spPr bwMode="auto">
              <a:xfrm>
                <a:off x="-12179300" y="4597400"/>
                <a:ext cx="1325563" cy="1195388"/>
              </a:xfrm>
              <a:custGeom>
                <a:avLst/>
                <a:gdLst>
                  <a:gd name="T0" fmla="*/ 835 w 835"/>
                  <a:gd name="T1" fmla="*/ 753 h 753"/>
                  <a:gd name="T2" fmla="*/ 79 w 835"/>
                  <a:gd name="T3" fmla="*/ 633 h 753"/>
                  <a:gd name="T4" fmla="*/ 0 w 835"/>
                  <a:gd name="T5" fmla="*/ 0 h 753"/>
                  <a:gd name="T6" fmla="*/ 835 w 835"/>
                  <a:gd name="T7" fmla="*/ 753 h 753"/>
                  <a:gd name="T8" fmla="*/ 835 w 835"/>
                  <a:gd name="T9" fmla="*/ 753 h 753"/>
                </a:gdLst>
                <a:ahLst/>
                <a:cxnLst>
                  <a:cxn ang="0">
                    <a:pos x="T0" y="T1"/>
                  </a:cxn>
                  <a:cxn ang="0">
                    <a:pos x="T2" y="T3"/>
                  </a:cxn>
                  <a:cxn ang="0">
                    <a:pos x="T4" y="T5"/>
                  </a:cxn>
                  <a:cxn ang="0">
                    <a:pos x="T6" y="T7"/>
                  </a:cxn>
                  <a:cxn ang="0">
                    <a:pos x="T8" y="T9"/>
                  </a:cxn>
                </a:cxnLst>
                <a:rect l="0" t="0" r="r" b="b"/>
                <a:pathLst>
                  <a:path w="835" h="753">
                    <a:moveTo>
                      <a:pt x="835" y="753"/>
                    </a:moveTo>
                    <a:lnTo>
                      <a:pt x="79" y="633"/>
                    </a:lnTo>
                    <a:lnTo>
                      <a:pt x="0" y="0"/>
                    </a:lnTo>
                    <a:lnTo>
                      <a:pt x="835" y="753"/>
                    </a:lnTo>
                    <a:lnTo>
                      <a:pt x="835" y="753"/>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09" name="Freeform 356"/>
              <p:cNvSpPr>
                <a:spLocks/>
              </p:cNvSpPr>
              <p:nvPr/>
            </p:nvSpPr>
            <p:spPr bwMode="auto">
              <a:xfrm>
                <a:off x="-12625388" y="5602287"/>
                <a:ext cx="571500" cy="701675"/>
              </a:xfrm>
              <a:custGeom>
                <a:avLst/>
                <a:gdLst>
                  <a:gd name="T0" fmla="*/ 0 w 360"/>
                  <a:gd name="T1" fmla="*/ 442 h 442"/>
                  <a:gd name="T2" fmla="*/ 0 w 360"/>
                  <a:gd name="T3" fmla="*/ 442 h 442"/>
                  <a:gd name="T4" fmla="*/ 360 w 360"/>
                  <a:gd name="T5" fmla="*/ 0 h 442"/>
                  <a:gd name="T6" fmla="*/ 360 w 360"/>
                  <a:gd name="T7" fmla="*/ 0 h 442"/>
                  <a:gd name="T8" fmla="*/ 360 w 360"/>
                  <a:gd name="T9" fmla="*/ 0 h 442"/>
                  <a:gd name="T10" fmla="*/ 360 w 360"/>
                  <a:gd name="T11" fmla="*/ 0 h 442"/>
                  <a:gd name="T12" fmla="*/ 360 w 360"/>
                  <a:gd name="T13" fmla="*/ 0 h 442"/>
                  <a:gd name="T14" fmla="*/ 0 w 36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442">
                    <a:moveTo>
                      <a:pt x="0" y="442"/>
                    </a:moveTo>
                    <a:lnTo>
                      <a:pt x="0" y="442"/>
                    </a:lnTo>
                    <a:lnTo>
                      <a:pt x="360" y="0"/>
                    </a:lnTo>
                    <a:lnTo>
                      <a:pt x="360" y="0"/>
                    </a:lnTo>
                    <a:lnTo>
                      <a:pt x="360" y="0"/>
                    </a:lnTo>
                    <a:lnTo>
                      <a:pt x="360" y="0"/>
                    </a:lnTo>
                    <a:lnTo>
                      <a:pt x="360" y="0"/>
                    </a:lnTo>
                    <a:lnTo>
                      <a:pt x="0" y="4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10" name="Freeform 357"/>
              <p:cNvSpPr>
                <a:spLocks noEditPoints="1"/>
              </p:cNvSpPr>
              <p:nvPr/>
            </p:nvSpPr>
            <p:spPr bwMode="auto">
              <a:xfrm>
                <a:off x="-10853738" y="4237037"/>
                <a:ext cx="944563" cy="2341563"/>
              </a:xfrm>
              <a:custGeom>
                <a:avLst/>
                <a:gdLst>
                  <a:gd name="T0" fmla="*/ 1240 w 1240"/>
                  <a:gd name="T1" fmla="*/ 3073 h 3073"/>
                  <a:gd name="T2" fmla="*/ 0 w 1240"/>
                  <a:gd name="T3" fmla="*/ 2042 h 3073"/>
                  <a:gd name="T4" fmla="*/ 0 w 1240"/>
                  <a:gd name="T5" fmla="*/ 2042 h 3073"/>
                  <a:gd name="T6" fmla="*/ 0 w 1240"/>
                  <a:gd name="T7" fmla="*/ 2042 h 3073"/>
                  <a:gd name="T8" fmla="*/ 0 w 1240"/>
                  <a:gd name="T9" fmla="*/ 2042 h 3073"/>
                  <a:gd name="T10" fmla="*/ 1178 w 1240"/>
                  <a:gd name="T11" fmla="*/ 1 h 3073"/>
                  <a:gd name="T12" fmla="*/ 1240 w 1240"/>
                  <a:gd name="T13" fmla="*/ 3073 h 3073"/>
                  <a:gd name="T14" fmla="*/ 1178 w 1240"/>
                  <a:gd name="T15" fmla="*/ 0 h 3073"/>
                  <a:gd name="T16" fmla="*/ 1178 w 1240"/>
                  <a:gd name="T17" fmla="*/ 0 h 3073"/>
                  <a:gd name="T18" fmla="*/ 1178 w 1240"/>
                  <a:gd name="T19" fmla="*/ 0 h 3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0" h="3073">
                    <a:moveTo>
                      <a:pt x="1240" y="3073"/>
                    </a:moveTo>
                    <a:lnTo>
                      <a:pt x="0" y="2042"/>
                    </a:lnTo>
                    <a:lnTo>
                      <a:pt x="0" y="2042"/>
                    </a:lnTo>
                    <a:lnTo>
                      <a:pt x="0" y="2042"/>
                    </a:lnTo>
                    <a:lnTo>
                      <a:pt x="0" y="2042"/>
                    </a:lnTo>
                    <a:lnTo>
                      <a:pt x="1178" y="1"/>
                    </a:lnTo>
                    <a:lnTo>
                      <a:pt x="1240" y="3073"/>
                    </a:lnTo>
                    <a:moveTo>
                      <a:pt x="1178" y="0"/>
                    </a:moveTo>
                    <a:lnTo>
                      <a:pt x="1178" y="0"/>
                    </a:lnTo>
                    <a:lnTo>
                      <a:pt x="1178" y="0"/>
                    </a:lnTo>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11" name="Rectangle 358"/>
              <p:cNvSpPr>
                <a:spLocks noChangeArrowheads="1"/>
              </p:cNvSpPr>
              <p:nvPr/>
            </p:nvSpPr>
            <p:spPr bwMode="auto">
              <a:xfrm>
                <a:off x="-10853738" y="5792787"/>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12" name="Freeform 359"/>
              <p:cNvSpPr>
                <a:spLocks/>
              </p:cNvSpPr>
              <p:nvPr/>
            </p:nvSpPr>
            <p:spPr bwMode="auto">
              <a:xfrm>
                <a:off x="-10853738" y="2682875"/>
                <a:ext cx="1365250" cy="1554163"/>
              </a:xfrm>
              <a:custGeom>
                <a:avLst/>
                <a:gdLst>
                  <a:gd name="T0" fmla="*/ 565 w 860"/>
                  <a:gd name="T1" fmla="*/ 979 h 979"/>
                  <a:gd name="T2" fmla="*/ 565 w 860"/>
                  <a:gd name="T3" fmla="*/ 979 h 979"/>
                  <a:gd name="T4" fmla="*/ 0 w 860"/>
                  <a:gd name="T5" fmla="*/ 0 h 979"/>
                  <a:gd name="T6" fmla="*/ 0 w 860"/>
                  <a:gd name="T7" fmla="*/ 0 h 979"/>
                  <a:gd name="T8" fmla="*/ 860 w 860"/>
                  <a:gd name="T9" fmla="*/ 333 h 979"/>
                  <a:gd name="T10" fmla="*/ 565 w 860"/>
                  <a:gd name="T11" fmla="*/ 979 h 979"/>
                </a:gdLst>
                <a:ahLst/>
                <a:cxnLst>
                  <a:cxn ang="0">
                    <a:pos x="T0" y="T1"/>
                  </a:cxn>
                  <a:cxn ang="0">
                    <a:pos x="T2" y="T3"/>
                  </a:cxn>
                  <a:cxn ang="0">
                    <a:pos x="T4" y="T5"/>
                  </a:cxn>
                  <a:cxn ang="0">
                    <a:pos x="T6" y="T7"/>
                  </a:cxn>
                  <a:cxn ang="0">
                    <a:pos x="T8" y="T9"/>
                  </a:cxn>
                  <a:cxn ang="0">
                    <a:pos x="T10" y="T11"/>
                  </a:cxn>
                </a:cxnLst>
                <a:rect l="0" t="0" r="r" b="b"/>
                <a:pathLst>
                  <a:path w="860" h="979">
                    <a:moveTo>
                      <a:pt x="565" y="979"/>
                    </a:moveTo>
                    <a:lnTo>
                      <a:pt x="565" y="979"/>
                    </a:lnTo>
                    <a:lnTo>
                      <a:pt x="0" y="0"/>
                    </a:lnTo>
                    <a:lnTo>
                      <a:pt x="0" y="0"/>
                    </a:lnTo>
                    <a:lnTo>
                      <a:pt x="860" y="333"/>
                    </a:lnTo>
                    <a:lnTo>
                      <a:pt x="565"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13" name="Freeform 360"/>
              <p:cNvSpPr>
                <a:spLocks/>
              </p:cNvSpPr>
              <p:nvPr/>
            </p:nvSpPr>
            <p:spPr bwMode="auto">
              <a:xfrm>
                <a:off x="-9956800" y="4237037"/>
                <a:ext cx="1797050" cy="2341563"/>
              </a:xfrm>
              <a:custGeom>
                <a:avLst/>
                <a:gdLst>
                  <a:gd name="T0" fmla="*/ 30 w 1132"/>
                  <a:gd name="T1" fmla="*/ 1475 h 1475"/>
                  <a:gd name="T2" fmla="*/ 0 w 1132"/>
                  <a:gd name="T3" fmla="*/ 1 h 1475"/>
                  <a:gd name="T4" fmla="*/ 0 w 1132"/>
                  <a:gd name="T5" fmla="*/ 0 h 1475"/>
                  <a:gd name="T6" fmla="*/ 0 w 1132"/>
                  <a:gd name="T7" fmla="*/ 0 h 1475"/>
                  <a:gd name="T8" fmla="*/ 0 w 1132"/>
                  <a:gd name="T9" fmla="*/ 0 h 1475"/>
                  <a:gd name="T10" fmla="*/ 1132 w 1132"/>
                  <a:gd name="T11" fmla="*/ 0 h 1475"/>
                  <a:gd name="T12" fmla="*/ 1132 w 1132"/>
                  <a:gd name="T13" fmla="*/ 1 h 1475"/>
                  <a:gd name="T14" fmla="*/ 30 w 1132"/>
                  <a:gd name="T15" fmla="*/ 1475 h 14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2" h="1475">
                    <a:moveTo>
                      <a:pt x="30" y="1475"/>
                    </a:moveTo>
                    <a:lnTo>
                      <a:pt x="0" y="1"/>
                    </a:lnTo>
                    <a:lnTo>
                      <a:pt x="0" y="0"/>
                    </a:lnTo>
                    <a:lnTo>
                      <a:pt x="0" y="0"/>
                    </a:lnTo>
                    <a:lnTo>
                      <a:pt x="0" y="0"/>
                    </a:lnTo>
                    <a:lnTo>
                      <a:pt x="1132" y="0"/>
                    </a:lnTo>
                    <a:lnTo>
                      <a:pt x="1132" y="1"/>
                    </a:lnTo>
                    <a:lnTo>
                      <a:pt x="30" y="1475"/>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14" name="Freeform 361"/>
              <p:cNvSpPr>
                <a:spLocks noEditPoints="1"/>
              </p:cNvSpPr>
              <p:nvPr/>
            </p:nvSpPr>
            <p:spPr bwMode="auto">
              <a:xfrm>
                <a:off x="-12179300" y="2682875"/>
                <a:ext cx="2222500" cy="1914525"/>
              </a:xfrm>
              <a:custGeom>
                <a:avLst/>
                <a:gdLst>
                  <a:gd name="T0" fmla="*/ 0 w 2916"/>
                  <a:gd name="T1" fmla="*/ 2514 h 2514"/>
                  <a:gd name="T2" fmla="*/ 956 w 2916"/>
                  <a:gd name="T3" fmla="*/ 1131 h 2514"/>
                  <a:gd name="T4" fmla="*/ 1738 w 2916"/>
                  <a:gd name="T5" fmla="*/ 0 h 2514"/>
                  <a:gd name="T6" fmla="*/ 2916 w 2916"/>
                  <a:gd name="T7" fmla="*/ 2041 h 2514"/>
                  <a:gd name="T8" fmla="*/ 0 w 2916"/>
                  <a:gd name="T9" fmla="*/ 2514 h 2514"/>
                  <a:gd name="T10" fmla="*/ 1738 w 2916"/>
                  <a:gd name="T11" fmla="*/ 0 h 2514"/>
                  <a:gd name="T12" fmla="*/ 1738 w 2916"/>
                  <a:gd name="T13" fmla="*/ 0 h 2514"/>
                </a:gdLst>
                <a:ahLst/>
                <a:cxnLst>
                  <a:cxn ang="0">
                    <a:pos x="T0" y="T1"/>
                  </a:cxn>
                  <a:cxn ang="0">
                    <a:pos x="T2" y="T3"/>
                  </a:cxn>
                  <a:cxn ang="0">
                    <a:pos x="T4" y="T5"/>
                  </a:cxn>
                  <a:cxn ang="0">
                    <a:pos x="T6" y="T7"/>
                  </a:cxn>
                  <a:cxn ang="0">
                    <a:pos x="T8" y="T9"/>
                  </a:cxn>
                  <a:cxn ang="0">
                    <a:pos x="T10" y="T11"/>
                  </a:cxn>
                  <a:cxn ang="0">
                    <a:pos x="T12" y="T13"/>
                  </a:cxn>
                </a:cxnLst>
                <a:rect l="0" t="0" r="r" b="b"/>
                <a:pathLst>
                  <a:path w="2916" h="2514">
                    <a:moveTo>
                      <a:pt x="0" y="2514"/>
                    </a:moveTo>
                    <a:lnTo>
                      <a:pt x="956" y="1131"/>
                    </a:lnTo>
                    <a:lnTo>
                      <a:pt x="1738" y="0"/>
                    </a:lnTo>
                    <a:lnTo>
                      <a:pt x="2916" y="2041"/>
                    </a:lnTo>
                    <a:lnTo>
                      <a:pt x="0" y="2514"/>
                    </a:lnTo>
                    <a:moveTo>
                      <a:pt x="1738" y="0"/>
                    </a:moveTo>
                    <a:lnTo>
                      <a:pt x="1738"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15" name="Freeform 362"/>
              <p:cNvSpPr>
                <a:spLocks/>
              </p:cNvSpPr>
              <p:nvPr/>
            </p:nvSpPr>
            <p:spPr bwMode="auto">
              <a:xfrm>
                <a:off x="-9956800" y="3211512"/>
                <a:ext cx="1797050" cy="1025525"/>
              </a:xfrm>
              <a:custGeom>
                <a:avLst/>
                <a:gdLst>
                  <a:gd name="T0" fmla="*/ 2358 w 2358"/>
                  <a:gd name="T1" fmla="*/ 1346 h 1346"/>
                  <a:gd name="T2" fmla="*/ 0 w 2358"/>
                  <a:gd name="T3" fmla="*/ 1346 h 1346"/>
                  <a:gd name="T4" fmla="*/ 614 w 2358"/>
                  <a:gd name="T5" fmla="*/ 0 h 1346"/>
                  <a:gd name="T6" fmla="*/ 2358 w 2358"/>
                  <a:gd name="T7" fmla="*/ 1346 h 1346"/>
                  <a:gd name="T8" fmla="*/ 2357 w 2358"/>
                  <a:gd name="T9" fmla="*/ 1346 h 1346"/>
                  <a:gd name="T10" fmla="*/ 2358 w 2358"/>
                  <a:gd name="T11" fmla="*/ 1346 h 1346"/>
                  <a:gd name="T12" fmla="*/ 2358 w 2358"/>
                  <a:gd name="T13" fmla="*/ 1346 h 1346"/>
                  <a:gd name="T14" fmla="*/ 2357 w 2358"/>
                  <a:gd name="T15" fmla="*/ 1346 h 13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8" h="1346">
                    <a:moveTo>
                      <a:pt x="2358" y="1346"/>
                    </a:moveTo>
                    <a:lnTo>
                      <a:pt x="0" y="1346"/>
                    </a:lnTo>
                    <a:lnTo>
                      <a:pt x="614" y="0"/>
                    </a:lnTo>
                    <a:lnTo>
                      <a:pt x="2358" y="1346"/>
                    </a:lnTo>
                    <a:lnTo>
                      <a:pt x="2357" y="1346"/>
                    </a:lnTo>
                    <a:lnTo>
                      <a:pt x="2358" y="1346"/>
                    </a:lnTo>
                    <a:lnTo>
                      <a:pt x="2358" y="1346"/>
                    </a:lnTo>
                    <a:lnTo>
                      <a:pt x="2357" y="1346"/>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16" name="Freeform 363"/>
              <p:cNvSpPr>
                <a:spLocks noEditPoints="1"/>
              </p:cNvSpPr>
              <p:nvPr/>
            </p:nvSpPr>
            <p:spPr bwMode="auto">
              <a:xfrm>
                <a:off x="-12179300" y="4237037"/>
                <a:ext cx="2222500" cy="1555750"/>
              </a:xfrm>
              <a:custGeom>
                <a:avLst/>
                <a:gdLst>
                  <a:gd name="T0" fmla="*/ 1738 w 2916"/>
                  <a:gd name="T1" fmla="*/ 2042 h 2042"/>
                  <a:gd name="T2" fmla="*/ 0 w 2916"/>
                  <a:gd name="T3" fmla="*/ 473 h 2042"/>
                  <a:gd name="T4" fmla="*/ 2916 w 2916"/>
                  <a:gd name="T5" fmla="*/ 0 h 2042"/>
                  <a:gd name="T6" fmla="*/ 1738 w 2916"/>
                  <a:gd name="T7" fmla="*/ 2042 h 2042"/>
                  <a:gd name="T8" fmla="*/ 2916 w 2916"/>
                  <a:gd name="T9" fmla="*/ 1 h 2042"/>
                  <a:gd name="T10" fmla="*/ 2916 w 2916"/>
                  <a:gd name="T11" fmla="*/ 0 h 2042"/>
                  <a:gd name="T12" fmla="*/ 2916 w 2916"/>
                  <a:gd name="T13" fmla="*/ 1 h 2042"/>
                </a:gdLst>
                <a:ahLst/>
                <a:cxnLst>
                  <a:cxn ang="0">
                    <a:pos x="T0" y="T1"/>
                  </a:cxn>
                  <a:cxn ang="0">
                    <a:pos x="T2" y="T3"/>
                  </a:cxn>
                  <a:cxn ang="0">
                    <a:pos x="T4" y="T5"/>
                  </a:cxn>
                  <a:cxn ang="0">
                    <a:pos x="T6" y="T7"/>
                  </a:cxn>
                  <a:cxn ang="0">
                    <a:pos x="T8" y="T9"/>
                  </a:cxn>
                  <a:cxn ang="0">
                    <a:pos x="T10" y="T11"/>
                  </a:cxn>
                  <a:cxn ang="0">
                    <a:pos x="T12" y="T13"/>
                  </a:cxn>
                </a:cxnLst>
                <a:rect l="0" t="0" r="r" b="b"/>
                <a:pathLst>
                  <a:path w="2916" h="2042">
                    <a:moveTo>
                      <a:pt x="1738" y="2042"/>
                    </a:moveTo>
                    <a:lnTo>
                      <a:pt x="0" y="473"/>
                    </a:lnTo>
                    <a:lnTo>
                      <a:pt x="2916" y="0"/>
                    </a:lnTo>
                    <a:lnTo>
                      <a:pt x="1738" y="2042"/>
                    </a:lnTo>
                    <a:moveTo>
                      <a:pt x="2916" y="1"/>
                    </a:moveTo>
                    <a:lnTo>
                      <a:pt x="2916" y="0"/>
                    </a:lnTo>
                    <a:lnTo>
                      <a:pt x="2916" y="1"/>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17" name="Freeform 364"/>
              <p:cNvSpPr>
                <a:spLocks/>
              </p:cNvSpPr>
              <p:nvPr/>
            </p:nvSpPr>
            <p:spPr bwMode="auto">
              <a:xfrm>
                <a:off x="-10853738" y="4237037"/>
                <a:ext cx="896938" cy="1555750"/>
              </a:xfrm>
              <a:custGeom>
                <a:avLst/>
                <a:gdLst>
                  <a:gd name="T0" fmla="*/ 0 w 565"/>
                  <a:gd name="T1" fmla="*/ 980 h 980"/>
                  <a:gd name="T2" fmla="*/ 0 w 565"/>
                  <a:gd name="T3" fmla="*/ 980 h 980"/>
                  <a:gd name="T4" fmla="*/ 565 w 565"/>
                  <a:gd name="T5" fmla="*/ 0 h 980"/>
                  <a:gd name="T6" fmla="*/ 565 w 565"/>
                  <a:gd name="T7" fmla="*/ 1 h 980"/>
                  <a:gd name="T8" fmla="*/ 0 w 565"/>
                  <a:gd name="T9" fmla="*/ 980 h 980"/>
                </a:gdLst>
                <a:ahLst/>
                <a:cxnLst>
                  <a:cxn ang="0">
                    <a:pos x="T0" y="T1"/>
                  </a:cxn>
                  <a:cxn ang="0">
                    <a:pos x="T2" y="T3"/>
                  </a:cxn>
                  <a:cxn ang="0">
                    <a:pos x="T4" y="T5"/>
                  </a:cxn>
                  <a:cxn ang="0">
                    <a:pos x="T6" y="T7"/>
                  </a:cxn>
                  <a:cxn ang="0">
                    <a:pos x="T8" y="T9"/>
                  </a:cxn>
                </a:cxnLst>
                <a:rect l="0" t="0" r="r" b="b"/>
                <a:pathLst>
                  <a:path w="565" h="980">
                    <a:moveTo>
                      <a:pt x="0" y="980"/>
                    </a:moveTo>
                    <a:lnTo>
                      <a:pt x="0" y="980"/>
                    </a:lnTo>
                    <a:lnTo>
                      <a:pt x="565" y="0"/>
                    </a:lnTo>
                    <a:lnTo>
                      <a:pt x="565" y="1"/>
                    </a:lnTo>
                    <a:lnTo>
                      <a:pt x="0" y="980"/>
                    </a:lnTo>
                    <a:close/>
                  </a:path>
                </a:pathLst>
              </a:custGeom>
              <a:solidFill>
                <a:srgbClr val="599FB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18" name="Rectangle 365"/>
              <p:cNvSpPr>
                <a:spLocks noChangeArrowheads="1"/>
              </p:cNvSpPr>
              <p:nvPr/>
            </p:nvSpPr>
            <p:spPr bwMode="auto">
              <a:xfrm>
                <a:off x="-9956800" y="4237037"/>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19" name="Freeform 366"/>
              <p:cNvSpPr>
                <a:spLocks/>
              </p:cNvSpPr>
              <p:nvPr/>
            </p:nvSpPr>
            <p:spPr bwMode="auto">
              <a:xfrm>
                <a:off x="-12625388" y="7327900"/>
                <a:ext cx="366713" cy="331788"/>
              </a:xfrm>
              <a:custGeom>
                <a:avLst/>
                <a:gdLst>
                  <a:gd name="T0" fmla="*/ 231 w 231"/>
                  <a:gd name="T1" fmla="*/ 209 h 209"/>
                  <a:gd name="T2" fmla="*/ 0 w 231"/>
                  <a:gd name="T3" fmla="*/ 209 h 209"/>
                  <a:gd name="T4" fmla="*/ 0 w 231"/>
                  <a:gd name="T5" fmla="*/ 48 h 209"/>
                  <a:gd name="T6" fmla="*/ 178 w 231"/>
                  <a:gd name="T7" fmla="*/ 0 h 209"/>
                  <a:gd name="T8" fmla="*/ 231 w 231"/>
                  <a:gd name="T9" fmla="*/ 209 h 209"/>
                </a:gdLst>
                <a:ahLst/>
                <a:cxnLst>
                  <a:cxn ang="0">
                    <a:pos x="T0" y="T1"/>
                  </a:cxn>
                  <a:cxn ang="0">
                    <a:pos x="T2" y="T3"/>
                  </a:cxn>
                  <a:cxn ang="0">
                    <a:pos x="T4" y="T5"/>
                  </a:cxn>
                  <a:cxn ang="0">
                    <a:pos x="T6" y="T7"/>
                  </a:cxn>
                  <a:cxn ang="0">
                    <a:pos x="T8" y="T9"/>
                  </a:cxn>
                </a:cxnLst>
                <a:rect l="0" t="0" r="r" b="b"/>
                <a:pathLst>
                  <a:path w="231" h="209">
                    <a:moveTo>
                      <a:pt x="231" y="209"/>
                    </a:moveTo>
                    <a:lnTo>
                      <a:pt x="0" y="209"/>
                    </a:lnTo>
                    <a:lnTo>
                      <a:pt x="0" y="48"/>
                    </a:lnTo>
                    <a:lnTo>
                      <a:pt x="178" y="0"/>
                    </a:lnTo>
                    <a:lnTo>
                      <a:pt x="231" y="20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20" name="Freeform 367"/>
              <p:cNvSpPr>
                <a:spLocks/>
              </p:cNvSpPr>
              <p:nvPr/>
            </p:nvSpPr>
            <p:spPr bwMode="auto">
              <a:xfrm>
                <a:off x="-12341225" y="7327900"/>
                <a:ext cx="534988" cy="331788"/>
              </a:xfrm>
              <a:custGeom>
                <a:avLst/>
                <a:gdLst>
                  <a:gd name="T0" fmla="*/ 337 w 337"/>
                  <a:gd name="T1" fmla="*/ 209 h 209"/>
                  <a:gd name="T2" fmla="*/ 52 w 337"/>
                  <a:gd name="T3" fmla="*/ 209 h 209"/>
                  <a:gd name="T4" fmla="*/ 0 w 337"/>
                  <a:gd name="T5" fmla="*/ 0 h 209"/>
                  <a:gd name="T6" fmla="*/ 205 w 337"/>
                  <a:gd name="T7" fmla="*/ 127 h 209"/>
                  <a:gd name="T8" fmla="*/ 337 w 337"/>
                  <a:gd name="T9" fmla="*/ 209 h 209"/>
                </a:gdLst>
                <a:ahLst/>
                <a:cxnLst>
                  <a:cxn ang="0">
                    <a:pos x="T0" y="T1"/>
                  </a:cxn>
                  <a:cxn ang="0">
                    <a:pos x="T2" y="T3"/>
                  </a:cxn>
                  <a:cxn ang="0">
                    <a:pos x="T4" y="T5"/>
                  </a:cxn>
                  <a:cxn ang="0">
                    <a:pos x="T6" y="T7"/>
                  </a:cxn>
                  <a:cxn ang="0">
                    <a:pos x="T8" y="T9"/>
                  </a:cxn>
                </a:cxnLst>
                <a:rect l="0" t="0" r="r" b="b"/>
                <a:pathLst>
                  <a:path w="337" h="209">
                    <a:moveTo>
                      <a:pt x="337" y="209"/>
                    </a:moveTo>
                    <a:lnTo>
                      <a:pt x="52" y="209"/>
                    </a:lnTo>
                    <a:lnTo>
                      <a:pt x="0" y="0"/>
                    </a:lnTo>
                    <a:lnTo>
                      <a:pt x="205" y="127"/>
                    </a:lnTo>
                    <a:lnTo>
                      <a:pt x="337" y="20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21" name="Freeform 368"/>
              <p:cNvSpPr>
                <a:spLocks/>
              </p:cNvSpPr>
              <p:nvPr/>
            </p:nvSpPr>
            <p:spPr bwMode="auto">
              <a:xfrm>
                <a:off x="-10125075" y="7350125"/>
                <a:ext cx="347663" cy="309563"/>
              </a:xfrm>
              <a:custGeom>
                <a:avLst/>
                <a:gdLst>
                  <a:gd name="T0" fmla="*/ 219 w 219"/>
                  <a:gd name="T1" fmla="*/ 195 h 195"/>
                  <a:gd name="T2" fmla="*/ 0 w 219"/>
                  <a:gd name="T3" fmla="*/ 195 h 195"/>
                  <a:gd name="T4" fmla="*/ 106 w 219"/>
                  <a:gd name="T5" fmla="*/ 0 h 195"/>
                  <a:gd name="T6" fmla="*/ 219 w 219"/>
                  <a:gd name="T7" fmla="*/ 195 h 195"/>
                </a:gdLst>
                <a:ahLst/>
                <a:cxnLst>
                  <a:cxn ang="0">
                    <a:pos x="T0" y="T1"/>
                  </a:cxn>
                  <a:cxn ang="0">
                    <a:pos x="T2" y="T3"/>
                  </a:cxn>
                  <a:cxn ang="0">
                    <a:pos x="T4" y="T5"/>
                  </a:cxn>
                  <a:cxn ang="0">
                    <a:pos x="T6" y="T7"/>
                  </a:cxn>
                </a:cxnLst>
                <a:rect l="0" t="0" r="r" b="b"/>
                <a:pathLst>
                  <a:path w="219" h="195">
                    <a:moveTo>
                      <a:pt x="219" y="195"/>
                    </a:moveTo>
                    <a:lnTo>
                      <a:pt x="0" y="195"/>
                    </a:lnTo>
                    <a:lnTo>
                      <a:pt x="106" y="0"/>
                    </a:lnTo>
                    <a:lnTo>
                      <a:pt x="219"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22" name="Freeform 369"/>
              <p:cNvSpPr>
                <a:spLocks/>
              </p:cNvSpPr>
              <p:nvPr/>
            </p:nvSpPr>
            <p:spPr bwMode="auto">
              <a:xfrm>
                <a:off x="-10853738" y="5792787"/>
                <a:ext cx="944563" cy="1557338"/>
              </a:xfrm>
              <a:custGeom>
                <a:avLst/>
                <a:gdLst>
                  <a:gd name="T0" fmla="*/ 565 w 595"/>
                  <a:gd name="T1" fmla="*/ 981 h 981"/>
                  <a:gd name="T2" fmla="*/ 565 w 595"/>
                  <a:gd name="T3" fmla="*/ 981 h 981"/>
                  <a:gd name="T4" fmla="*/ 0 w 595"/>
                  <a:gd name="T5" fmla="*/ 0 h 981"/>
                  <a:gd name="T6" fmla="*/ 0 w 595"/>
                  <a:gd name="T7" fmla="*/ 0 h 981"/>
                  <a:gd name="T8" fmla="*/ 595 w 595"/>
                  <a:gd name="T9" fmla="*/ 495 h 981"/>
                  <a:gd name="T10" fmla="*/ 565 w 595"/>
                  <a:gd name="T11" fmla="*/ 981 h 981"/>
                </a:gdLst>
                <a:ahLst/>
                <a:cxnLst>
                  <a:cxn ang="0">
                    <a:pos x="T0" y="T1"/>
                  </a:cxn>
                  <a:cxn ang="0">
                    <a:pos x="T2" y="T3"/>
                  </a:cxn>
                  <a:cxn ang="0">
                    <a:pos x="T4" y="T5"/>
                  </a:cxn>
                  <a:cxn ang="0">
                    <a:pos x="T6" y="T7"/>
                  </a:cxn>
                  <a:cxn ang="0">
                    <a:pos x="T8" y="T9"/>
                  </a:cxn>
                  <a:cxn ang="0">
                    <a:pos x="T10" y="T11"/>
                  </a:cxn>
                </a:cxnLst>
                <a:rect l="0" t="0" r="r" b="b"/>
                <a:pathLst>
                  <a:path w="595" h="981">
                    <a:moveTo>
                      <a:pt x="565" y="981"/>
                    </a:moveTo>
                    <a:lnTo>
                      <a:pt x="565" y="981"/>
                    </a:lnTo>
                    <a:lnTo>
                      <a:pt x="0" y="0"/>
                    </a:lnTo>
                    <a:lnTo>
                      <a:pt x="0" y="0"/>
                    </a:lnTo>
                    <a:lnTo>
                      <a:pt x="595" y="495"/>
                    </a:lnTo>
                    <a:lnTo>
                      <a:pt x="565"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23" name="Freeform 370"/>
              <p:cNvSpPr>
                <a:spLocks/>
              </p:cNvSpPr>
              <p:nvPr/>
            </p:nvSpPr>
            <p:spPr bwMode="auto">
              <a:xfrm>
                <a:off x="-9956800" y="7350125"/>
                <a:ext cx="608013" cy="309563"/>
              </a:xfrm>
              <a:custGeom>
                <a:avLst/>
                <a:gdLst>
                  <a:gd name="T0" fmla="*/ 383 w 383"/>
                  <a:gd name="T1" fmla="*/ 195 h 195"/>
                  <a:gd name="T2" fmla="*/ 113 w 383"/>
                  <a:gd name="T3" fmla="*/ 195 h 195"/>
                  <a:gd name="T4" fmla="*/ 0 w 383"/>
                  <a:gd name="T5" fmla="*/ 0 h 195"/>
                  <a:gd name="T6" fmla="*/ 0 w 383"/>
                  <a:gd name="T7" fmla="*/ 0 h 195"/>
                  <a:gd name="T8" fmla="*/ 383 w 383"/>
                  <a:gd name="T9" fmla="*/ 195 h 195"/>
                </a:gdLst>
                <a:ahLst/>
                <a:cxnLst>
                  <a:cxn ang="0">
                    <a:pos x="T0" y="T1"/>
                  </a:cxn>
                  <a:cxn ang="0">
                    <a:pos x="T2" y="T3"/>
                  </a:cxn>
                  <a:cxn ang="0">
                    <a:pos x="T4" y="T5"/>
                  </a:cxn>
                  <a:cxn ang="0">
                    <a:pos x="T6" y="T7"/>
                  </a:cxn>
                  <a:cxn ang="0">
                    <a:pos x="T8" y="T9"/>
                  </a:cxn>
                </a:cxnLst>
                <a:rect l="0" t="0" r="r" b="b"/>
                <a:pathLst>
                  <a:path w="383" h="195">
                    <a:moveTo>
                      <a:pt x="383" y="195"/>
                    </a:moveTo>
                    <a:lnTo>
                      <a:pt x="113" y="195"/>
                    </a:lnTo>
                    <a:lnTo>
                      <a:pt x="0" y="0"/>
                    </a:lnTo>
                    <a:lnTo>
                      <a:pt x="0" y="0"/>
                    </a:lnTo>
                    <a:lnTo>
                      <a:pt x="383"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24" name="Freeform 371"/>
              <p:cNvSpPr>
                <a:spLocks/>
              </p:cNvSpPr>
              <p:nvPr/>
            </p:nvSpPr>
            <p:spPr bwMode="auto">
              <a:xfrm>
                <a:off x="-12341225" y="5792787"/>
                <a:ext cx="2384425" cy="1557338"/>
              </a:xfrm>
              <a:custGeom>
                <a:avLst/>
                <a:gdLst>
                  <a:gd name="T0" fmla="*/ 1502 w 1502"/>
                  <a:gd name="T1" fmla="*/ 981 h 981"/>
                  <a:gd name="T2" fmla="*/ 0 w 1502"/>
                  <a:gd name="T3" fmla="*/ 967 h 981"/>
                  <a:gd name="T4" fmla="*/ 0 w 1502"/>
                  <a:gd name="T5" fmla="*/ 967 h 981"/>
                  <a:gd name="T6" fmla="*/ 0 w 1502"/>
                  <a:gd name="T7" fmla="*/ 967 h 981"/>
                  <a:gd name="T8" fmla="*/ 374 w 1502"/>
                  <a:gd name="T9" fmla="*/ 580 h 981"/>
                  <a:gd name="T10" fmla="*/ 937 w 1502"/>
                  <a:gd name="T11" fmla="*/ 0 h 981"/>
                  <a:gd name="T12" fmla="*/ 1502 w 1502"/>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502" h="981">
                    <a:moveTo>
                      <a:pt x="1502" y="981"/>
                    </a:moveTo>
                    <a:lnTo>
                      <a:pt x="0" y="967"/>
                    </a:lnTo>
                    <a:lnTo>
                      <a:pt x="0" y="967"/>
                    </a:lnTo>
                    <a:lnTo>
                      <a:pt x="0" y="967"/>
                    </a:lnTo>
                    <a:lnTo>
                      <a:pt x="374" y="580"/>
                    </a:lnTo>
                    <a:lnTo>
                      <a:pt x="937" y="0"/>
                    </a:lnTo>
                    <a:lnTo>
                      <a:pt x="1502" y="981"/>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25" name="Freeform 372"/>
              <p:cNvSpPr>
                <a:spLocks/>
              </p:cNvSpPr>
              <p:nvPr/>
            </p:nvSpPr>
            <p:spPr bwMode="auto">
              <a:xfrm>
                <a:off x="-9956800" y="6578600"/>
                <a:ext cx="1098550" cy="1081088"/>
              </a:xfrm>
              <a:custGeom>
                <a:avLst/>
                <a:gdLst>
                  <a:gd name="T0" fmla="*/ 692 w 692"/>
                  <a:gd name="T1" fmla="*/ 681 h 681"/>
                  <a:gd name="T2" fmla="*/ 383 w 692"/>
                  <a:gd name="T3" fmla="*/ 681 h 681"/>
                  <a:gd name="T4" fmla="*/ 0 w 692"/>
                  <a:gd name="T5" fmla="*/ 486 h 681"/>
                  <a:gd name="T6" fmla="*/ 30 w 692"/>
                  <a:gd name="T7" fmla="*/ 0 h 681"/>
                  <a:gd name="T8" fmla="*/ 692 w 692"/>
                  <a:gd name="T9" fmla="*/ 681 h 681"/>
                </a:gdLst>
                <a:ahLst/>
                <a:cxnLst>
                  <a:cxn ang="0">
                    <a:pos x="T0" y="T1"/>
                  </a:cxn>
                  <a:cxn ang="0">
                    <a:pos x="T2" y="T3"/>
                  </a:cxn>
                  <a:cxn ang="0">
                    <a:pos x="T4" y="T5"/>
                  </a:cxn>
                  <a:cxn ang="0">
                    <a:pos x="T6" y="T7"/>
                  </a:cxn>
                  <a:cxn ang="0">
                    <a:pos x="T8" y="T9"/>
                  </a:cxn>
                </a:cxnLst>
                <a:rect l="0" t="0" r="r" b="b"/>
                <a:pathLst>
                  <a:path w="692" h="681">
                    <a:moveTo>
                      <a:pt x="692" y="681"/>
                    </a:moveTo>
                    <a:lnTo>
                      <a:pt x="383" y="681"/>
                    </a:lnTo>
                    <a:lnTo>
                      <a:pt x="0" y="486"/>
                    </a:lnTo>
                    <a:lnTo>
                      <a:pt x="30" y="0"/>
                    </a:lnTo>
                    <a:lnTo>
                      <a:pt x="692" y="68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26" name="Freeform 373"/>
              <p:cNvSpPr>
                <a:spLocks noEditPoints="1"/>
              </p:cNvSpPr>
              <p:nvPr/>
            </p:nvSpPr>
            <p:spPr bwMode="auto">
              <a:xfrm>
                <a:off x="-12341225" y="7327900"/>
                <a:ext cx="2384425" cy="331788"/>
              </a:xfrm>
              <a:custGeom>
                <a:avLst/>
                <a:gdLst>
                  <a:gd name="T0" fmla="*/ 2910 w 3130"/>
                  <a:gd name="T1" fmla="*/ 436 h 436"/>
                  <a:gd name="T2" fmla="*/ 702 w 3130"/>
                  <a:gd name="T3" fmla="*/ 436 h 436"/>
                  <a:gd name="T4" fmla="*/ 428 w 3130"/>
                  <a:gd name="T5" fmla="*/ 265 h 436"/>
                  <a:gd name="T6" fmla="*/ 0 w 3130"/>
                  <a:gd name="T7" fmla="*/ 0 h 436"/>
                  <a:gd name="T8" fmla="*/ 3130 w 3130"/>
                  <a:gd name="T9" fmla="*/ 29 h 436"/>
                  <a:gd name="T10" fmla="*/ 2910 w 3130"/>
                  <a:gd name="T11" fmla="*/ 436 h 436"/>
                  <a:gd name="T12" fmla="*/ 3130 w 3130"/>
                  <a:gd name="T13" fmla="*/ 29 h 436"/>
                  <a:gd name="T14" fmla="*/ 3130 w 3130"/>
                  <a:gd name="T15" fmla="*/ 29 h 436"/>
                  <a:gd name="T16" fmla="*/ 3130 w 3130"/>
                  <a:gd name="T17" fmla="*/ 29 h 436"/>
                  <a:gd name="T18" fmla="*/ 3130 w 3130"/>
                  <a:gd name="T19" fmla="*/ 29 h 436"/>
                  <a:gd name="T20" fmla="*/ 3130 w 3130"/>
                  <a:gd name="T21" fmla="*/ 29 h 436"/>
                  <a:gd name="T22" fmla="*/ 3130 w 3130"/>
                  <a:gd name="T23" fmla="*/ 29 h 436"/>
                  <a:gd name="T24" fmla="*/ 0 w 3130"/>
                  <a:gd name="T25" fmla="*/ 0 h 436"/>
                  <a:gd name="T26" fmla="*/ 0 w 3130"/>
                  <a:gd name="T27" fmla="*/ 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30" h="436">
                    <a:moveTo>
                      <a:pt x="2910" y="436"/>
                    </a:moveTo>
                    <a:lnTo>
                      <a:pt x="702" y="436"/>
                    </a:lnTo>
                    <a:lnTo>
                      <a:pt x="428" y="265"/>
                    </a:lnTo>
                    <a:lnTo>
                      <a:pt x="0" y="0"/>
                    </a:lnTo>
                    <a:lnTo>
                      <a:pt x="3130" y="29"/>
                    </a:lnTo>
                    <a:lnTo>
                      <a:pt x="2910" y="436"/>
                    </a:lnTo>
                    <a:moveTo>
                      <a:pt x="3130" y="29"/>
                    </a:moveTo>
                    <a:lnTo>
                      <a:pt x="3130" y="29"/>
                    </a:lnTo>
                    <a:lnTo>
                      <a:pt x="3130" y="29"/>
                    </a:lnTo>
                    <a:lnTo>
                      <a:pt x="3130" y="29"/>
                    </a:lnTo>
                    <a:lnTo>
                      <a:pt x="3130" y="29"/>
                    </a:lnTo>
                    <a:lnTo>
                      <a:pt x="3130" y="29"/>
                    </a:lnTo>
                    <a:moveTo>
                      <a:pt x="0" y="0"/>
                    </a:move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27" name="Freeform 374"/>
              <p:cNvSpPr>
                <a:spLocks/>
              </p:cNvSpPr>
              <p:nvPr/>
            </p:nvSpPr>
            <p:spPr bwMode="auto">
              <a:xfrm>
                <a:off x="-10125075" y="7350125"/>
                <a:ext cx="168275" cy="309563"/>
              </a:xfrm>
              <a:custGeom>
                <a:avLst/>
                <a:gdLst>
                  <a:gd name="T0" fmla="*/ 0 w 106"/>
                  <a:gd name="T1" fmla="*/ 195 h 195"/>
                  <a:gd name="T2" fmla="*/ 0 w 106"/>
                  <a:gd name="T3" fmla="*/ 195 h 195"/>
                  <a:gd name="T4" fmla="*/ 106 w 106"/>
                  <a:gd name="T5" fmla="*/ 0 h 195"/>
                  <a:gd name="T6" fmla="*/ 106 w 106"/>
                  <a:gd name="T7" fmla="*/ 0 h 195"/>
                  <a:gd name="T8" fmla="*/ 0 w 106"/>
                  <a:gd name="T9" fmla="*/ 195 h 195"/>
                </a:gdLst>
                <a:ahLst/>
                <a:cxnLst>
                  <a:cxn ang="0">
                    <a:pos x="T0" y="T1"/>
                  </a:cxn>
                  <a:cxn ang="0">
                    <a:pos x="T2" y="T3"/>
                  </a:cxn>
                  <a:cxn ang="0">
                    <a:pos x="T4" y="T5"/>
                  </a:cxn>
                  <a:cxn ang="0">
                    <a:pos x="T6" y="T7"/>
                  </a:cxn>
                  <a:cxn ang="0">
                    <a:pos x="T8" y="T9"/>
                  </a:cxn>
                </a:cxnLst>
                <a:rect l="0" t="0" r="r" b="b"/>
                <a:pathLst>
                  <a:path w="106" h="195">
                    <a:moveTo>
                      <a:pt x="0" y="195"/>
                    </a:moveTo>
                    <a:lnTo>
                      <a:pt x="0" y="195"/>
                    </a:lnTo>
                    <a:lnTo>
                      <a:pt x="106" y="0"/>
                    </a:lnTo>
                    <a:lnTo>
                      <a:pt x="106" y="0"/>
                    </a:lnTo>
                    <a:lnTo>
                      <a:pt x="0" y="19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28" name="Rectangle 375"/>
              <p:cNvSpPr>
                <a:spLocks noChangeArrowheads="1"/>
              </p:cNvSpPr>
              <p:nvPr/>
            </p:nvSpPr>
            <p:spPr bwMode="auto">
              <a:xfrm>
                <a:off x="-9956800" y="7350125"/>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29" name="Freeform 376"/>
              <p:cNvSpPr>
                <a:spLocks noEditPoints="1"/>
              </p:cNvSpPr>
              <p:nvPr/>
            </p:nvSpPr>
            <p:spPr bwMode="auto">
              <a:xfrm>
                <a:off x="-12341225" y="7327900"/>
                <a:ext cx="2384425" cy="22225"/>
              </a:xfrm>
              <a:custGeom>
                <a:avLst/>
                <a:gdLst>
                  <a:gd name="T0" fmla="*/ 3130 w 3130"/>
                  <a:gd name="T1" fmla="*/ 29 h 29"/>
                  <a:gd name="T2" fmla="*/ 0 w 3130"/>
                  <a:gd name="T3" fmla="*/ 0 h 29"/>
                  <a:gd name="T4" fmla="*/ 0 w 3130"/>
                  <a:gd name="T5" fmla="*/ 0 h 29"/>
                  <a:gd name="T6" fmla="*/ 3130 w 3130"/>
                  <a:gd name="T7" fmla="*/ 29 h 29"/>
                  <a:gd name="T8" fmla="*/ 3130 w 3130"/>
                  <a:gd name="T9" fmla="*/ 29 h 29"/>
                  <a:gd name="T10" fmla="*/ 0 w 3130"/>
                  <a:gd name="T11" fmla="*/ 0 h 29"/>
                  <a:gd name="T12" fmla="*/ 0 w 3130"/>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130" h="29">
                    <a:moveTo>
                      <a:pt x="3130" y="29"/>
                    </a:moveTo>
                    <a:lnTo>
                      <a:pt x="0" y="0"/>
                    </a:lnTo>
                    <a:lnTo>
                      <a:pt x="0" y="0"/>
                    </a:lnTo>
                    <a:lnTo>
                      <a:pt x="3130" y="29"/>
                    </a:lnTo>
                    <a:lnTo>
                      <a:pt x="3130" y="29"/>
                    </a:lnTo>
                    <a:moveTo>
                      <a:pt x="0" y="0"/>
                    </a:moveTo>
                    <a:lnTo>
                      <a:pt x="0" y="0"/>
                    </a:lnTo>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30" name="Freeform 377"/>
              <p:cNvSpPr>
                <a:spLocks/>
              </p:cNvSpPr>
              <p:nvPr/>
            </p:nvSpPr>
            <p:spPr bwMode="auto">
              <a:xfrm>
                <a:off x="-8159750" y="-2909888"/>
                <a:ext cx="2633663" cy="1504950"/>
              </a:xfrm>
              <a:custGeom>
                <a:avLst/>
                <a:gdLst>
                  <a:gd name="T0" fmla="*/ 1659 w 1659"/>
                  <a:gd name="T1" fmla="*/ 948 h 948"/>
                  <a:gd name="T2" fmla="*/ 0 w 1659"/>
                  <a:gd name="T3" fmla="*/ 583 h 948"/>
                  <a:gd name="T4" fmla="*/ 0 w 1659"/>
                  <a:gd name="T5" fmla="*/ 583 h 948"/>
                  <a:gd name="T6" fmla="*/ 0 w 1659"/>
                  <a:gd name="T7" fmla="*/ 583 h 948"/>
                  <a:gd name="T8" fmla="*/ 0 w 1659"/>
                  <a:gd name="T9" fmla="*/ 583 h 948"/>
                  <a:gd name="T10" fmla="*/ 772 w 1659"/>
                  <a:gd name="T11" fmla="*/ 0 h 948"/>
                  <a:gd name="T12" fmla="*/ 772 w 1659"/>
                  <a:gd name="T13" fmla="*/ 0 h 948"/>
                  <a:gd name="T14" fmla="*/ 772 w 1659"/>
                  <a:gd name="T15" fmla="*/ 0 h 948"/>
                  <a:gd name="T16" fmla="*/ 772 w 1659"/>
                  <a:gd name="T17" fmla="*/ 0 h 948"/>
                  <a:gd name="T18" fmla="*/ 772 w 1659"/>
                  <a:gd name="T19" fmla="*/ 0 h 948"/>
                  <a:gd name="T20" fmla="*/ 1224 w 1659"/>
                  <a:gd name="T21" fmla="*/ 483 h 948"/>
                  <a:gd name="T22" fmla="*/ 1659 w 1659"/>
                  <a:gd name="T23" fmla="*/ 948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9" h="948">
                    <a:moveTo>
                      <a:pt x="1659" y="948"/>
                    </a:moveTo>
                    <a:lnTo>
                      <a:pt x="0" y="583"/>
                    </a:lnTo>
                    <a:lnTo>
                      <a:pt x="0" y="583"/>
                    </a:lnTo>
                    <a:lnTo>
                      <a:pt x="0" y="583"/>
                    </a:lnTo>
                    <a:lnTo>
                      <a:pt x="0" y="583"/>
                    </a:lnTo>
                    <a:lnTo>
                      <a:pt x="772" y="0"/>
                    </a:lnTo>
                    <a:lnTo>
                      <a:pt x="772" y="0"/>
                    </a:lnTo>
                    <a:lnTo>
                      <a:pt x="772" y="0"/>
                    </a:lnTo>
                    <a:lnTo>
                      <a:pt x="772" y="0"/>
                    </a:lnTo>
                    <a:lnTo>
                      <a:pt x="772" y="0"/>
                    </a:lnTo>
                    <a:lnTo>
                      <a:pt x="1224" y="483"/>
                    </a:lnTo>
                    <a:lnTo>
                      <a:pt x="1659" y="948"/>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31" name="Freeform 378"/>
              <p:cNvSpPr>
                <a:spLocks/>
              </p:cNvSpPr>
              <p:nvPr/>
            </p:nvSpPr>
            <p:spPr bwMode="auto">
              <a:xfrm>
                <a:off x="-7967663" y="-4110038"/>
                <a:ext cx="1346200" cy="1200150"/>
              </a:xfrm>
              <a:custGeom>
                <a:avLst/>
                <a:gdLst>
                  <a:gd name="T0" fmla="*/ 651 w 848"/>
                  <a:gd name="T1" fmla="*/ 756 h 756"/>
                  <a:gd name="T2" fmla="*/ 0 w 848"/>
                  <a:gd name="T3" fmla="*/ 0 h 756"/>
                  <a:gd name="T4" fmla="*/ 848 w 848"/>
                  <a:gd name="T5" fmla="*/ 0 h 756"/>
                  <a:gd name="T6" fmla="*/ 651 w 848"/>
                  <a:gd name="T7" fmla="*/ 756 h 756"/>
                </a:gdLst>
                <a:ahLst/>
                <a:cxnLst>
                  <a:cxn ang="0">
                    <a:pos x="T0" y="T1"/>
                  </a:cxn>
                  <a:cxn ang="0">
                    <a:pos x="T2" y="T3"/>
                  </a:cxn>
                  <a:cxn ang="0">
                    <a:pos x="T4" y="T5"/>
                  </a:cxn>
                  <a:cxn ang="0">
                    <a:pos x="T6" y="T7"/>
                  </a:cxn>
                </a:cxnLst>
                <a:rect l="0" t="0" r="r" b="b"/>
                <a:pathLst>
                  <a:path w="848" h="756">
                    <a:moveTo>
                      <a:pt x="651" y="756"/>
                    </a:moveTo>
                    <a:lnTo>
                      <a:pt x="0" y="0"/>
                    </a:lnTo>
                    <a:lnTo>
                      <a:pt x="848" y="0"/>
                    </a:lnTo>
                    <a:lnTo>
                      <a:pt x="651" y="756"/>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32" name="Freeform 379"/>
              <p:cNvSpPr>
                <a:spLocks/>
              </p:cNvSpPr>
              <p:nvPr/>
            </p:nvSpPr>
            <p:spPr bwMode="auto">
              <a:xfrm>
                <a:off x="-6934200" y="-3540126"/>
                <a:ext cx="1468438" cy="2135188"/>
              </a:xfrm>
              <a:custGeom>
                <a:avLst/>
                <a:gdLst>
                  <a:gd name="T0" fmla="*/ 887 w 925"/>
                  <a:gd name="T1" fmla="*/ 1345 h 1345"/>
                  <a:gd name="T2" fmla="*/ 452 w 925"/>
                  <a:gd name="T3" fmla="*/ 880 h 1345"/>
                  <a:gd name="T4" fmla="*/ 0 w 925"/>
                  <a:gd name="T5" fmla="*/ 397 h 1345"/>
                  <a:gd name="T6" fmla="*/ 925 w 925"/>
                  <a:gd name="T7" fmla="*/ 0 h 1345"/>
                  <a:gd name="T8" fmla="*/ 925 w 925"/>
                  <a:gd name="T9" fmla="*/ 0 h 1345"/>
                  <a:gd name="T10" fmla="*/ 888 w 925"/>
                  <a:gd name="T11" fmla="*/ 1294 h 1345"/>
                  <a:gd name="T12" fmla="*/ 887 w 925"/>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925" h="1345">
                    <a:moveTo>
                      <a:pt x="887" y="1345"/>
                    </a:moveTo>
                    <a:lnTo>
                      <a:pt x="452" y="880"/>
                    </a:lnTo>
                    <a:lnTo>
                      <a:pt x="0" y="397"/>
                    </a:lnTo>
                    <a:lnTo>
                      <a:pt x="925" y="0"/>
                    </a:lnTo>
                    <a:lnTo>
                      <a:pt x="925" y="0"/>
                    </a:lnTo>
                    <a:lnTo>
                      <a:pt x="888" y="1294"/>
                    </a:lnTo>
                    <a:lnTo>
                      <a:pt x="887" y="1345"/>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33" name="Freeform 380"/>
              <p:cNvSpPr>
                <a:spLocks/>
              </p:cNvSpPr>
              <p:nvPr/>
            </p:nvSpPr>
            <p:spPr bwMode="auto">
              <a:xfrm>
                <a:off x="-9058275" y="-4110038"/>
                <a:ext cx="2124075" cy="1200150"/>
              </a:xfrm>
              <a:custGeom>
                <a:avLst/>
                <a:gdLst>
                  <a:gd name="T0" fmla="*/ 1338 w 1338"/>
                  <a:gd name="T1" fmla="*/ 756 h 756"/>
                  <a:gd name="T2" fmla="*/ 1338 w 1338"/>
                  <a:gd name="T3" fmla="*/ 756 h 756"/>
                  <a:gd name="T4" fmla="*/ 0 w 1338"/>
                  <a:gd name="T5" fmla="*/ 359 h 756"/>
                  <a:gd name="T6" fmla="*/ 338 w 1338"/>
                  <a:gd name="T7" fmla="*/ 0 h 756"/>
                  <a:gd name="T8" fmla="*/ 687 w 1338"/>
                  <a:gd name="T9" fmla="*/ 0 h 756"/>
                  <a:gd name="T10" fmla="*/ 1338 w 1338"/>
                  <a:gd name="T11" fmla="*/ 756 h 756"/>
                </a:gdLst>
                <a:ahLst/>
                <a:cxnLst>
                  <a:cxn ang="0">
                    <a:pos x="T0" y="T1"/>
                  </a:cxn>
                  <a:cxn ang="0">
                    <a:pos x="T2" y="T3"/>
                  </a:cxn>
                  <a:cxn ang="0">
                    <a:pos x="T4" y="T5"/>
                  </a:cxn>
                  <a:cxn ang="0">
                    <a:pos x="T6" y="T7"/>
                  </a:cxn>
                  <a:cxn ang="0">
                    <a:pos x="T8" y="T9"/>
                  </a:cxn>
                  <a:cxn ang="0">
                    <a:pos x="T10" y="T11"/>
                  </a:cxn>
                </a:cxnLst>
                <a:rect l="0" t="0" r="r" b="b"/>
                <a:pathLst>
                  <a:path w="1338" h="756">
                    <a:moveTo>
                      <a:pt x="1338" y="756"/>
                    </a:moveTo>
                    <a:lnTo>
                      <a:pt x="1338" y="756"/>
                    </a:lnTo>
                    <a:lnTo>
                      <a:pt x="0" y="359"/>
                    </a:lnTo>
                    <a:lnTo>
                      <a:pt x="338" y="0"/>
                    </a:lnTo>
                    <a:lnTo>
                      <a:pt x="687" y="0"/>
                    </a:lnTo>
                    <a:lnTo>
                      <a:pt x="1338"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34" name="Freeform 381"/>
              <p:cNvSpPr>
                <a:spLocks/>
              </p:cNvSpPr>
              <p:nvPr/>
            </p:nvSpPr>
            <p:spPr bwMode="auto">
              <a:xfrm>
                <a:off x="-6934200" y="-4110038"/>
                <a:ext cx="1468438" cy="1200150"/>
              </a:xfrm>
              <a:custGeom>
                <a:avLst/>
                <a:gdLst>
                  <a:gd name="T0" fmla="*/ 0 w 925"/>
                  <a:gd name="T1" fmla="*/ 756 h 756"/>
                  <a:gd name="T2" fmla="*/ 0 w 925"/>
                  <a:gd name="T3" fmla="*/ 756 h 756"/>
                  <a:gd name="T4" fmla="*/ 197 w 925"/>
                  <a:gd name="T5" fmla="*/ 0 h 756"/>
                  <a:gd name="T6" fmla="*/ 718 w 925"/>
                  <a:gd name="T7" fmla="*/ 0 h 756"/>
                  <a:gd name="T8" fmla="*/ 925 w 925"/>
                  <a:gd name="T9" fmla="*/ 359 h 756"/>
                  <a:gd name="T10" fmla="*/ 925 w 925"/>
                  <a:gd name="T11" fmla="*/ 359 h 756"/>
                  <a:gd name="T12" fmla="*/ 925 w 925"/>
                  <a:gd name="T13" fmla="*/ 359 h 756"/>
                  <a:gd name="T14" fmla="*/ 925 w 925"/>
                  <a:gd name="T15" fmla="*/ 359 h 756"/>
                  <a:gd name="T16" fmla="*/ 925 w 925"/>
                  <a:gd name="T17" fmla="*/ 359 h 756"/>
                  <a:gd name="T18" fmla="*/ 925 w 925"/>
                  <a:gd name="T19" fmla="*/ 359 h 756"/>
                  <a:gd name="T20" fmla="*/ 0 w 925"/>
                  <a:gd name="T21" fmla="*/ 756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5" h="756">
                    <a:moveTo>
                      <a:pt x="0" y="756"/>
                    </a:moveTo>
                    <a:lnTo>
                      <a:pt x="0" y="756"/>
                    </a:lnTo>
                    <a:lnTo>
                      <a:pt x="197" y="0"/>
                    </a:lnTo>
                    <a:lnTo>
                      <a:pt x="718" y="0"/>
                    </a:lnTo>
                    <a:lnTo>
                      <a:pt x="925" y="359"/>
                    </a:lnTo>
                    <a:lnTo>
                      <a:pt x="925" y="359"/>
                    </a:lnTo>
                    <a:lnTo>
                      <a:pt x="925" y="359"/>
                    </a:lnTo>
                    <a:lnTo>
                      <a:pt x="925" y="359"/>
                    </a:lnTo>
                    <a:lnTo>
                      <a:pt x="925" y="359"/>
                    </a:lnTo>
                    <a:lnTo>
                      <a:pt x="925" y="359"/>
                    </a:lnTo>
                    <a:lnTo>
                      <a:pt x="0" y="75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35" name="Freeform 382"/>
              <p:cNvSpPr>
                <a:spLocks/>
              </p:cNvSpPr>
              <p:nvPr/>
            </p:nvSpPr>
            <p:spPr bwMode="auto">
              <a:xfrm>
                <a:off x="-9058275" y="-3540126"/>
                <a:ext cx="2124075" cy="1555750"/>
              </a:xfrm>
              <a:custGeom>
                <a:avLst/>
                <a:gdLst>
                  <a:gd name="T0" fmla="*/ 566 w 1338"/>
                  <a:gd name="T1" fmla="*/ 980 h 980"/>
                  <a:gd name="T2" fmla="*/ 0 w 1338"/>
                  <a:gd name="T3" fmla="*/ 0 h 980"/>
                  <a:gd name="T4" fmla="*/ 1338 w 1338"/>
                  <a:gd name="T5" fmla="*/ 397 h 980"/>
                  <a:gd name="T6" fmla="*/ 566 w 1338"/>
                  <a:gd name="T7" fmla="*/ 980 h 980"/>
                </a:gdLst>
                <a:ahLst/>
                <a:cxnLst>
                  <a:cxn ang="0">
                    <a:pos x="T0" y="T1"/>
                  </a:cxn>
                  <a:cxn ang="0">
                    <a:pos x="T2" y="T3"/>
                  </a:cxn>
                  <a:cxn ang="0">
                    <a:pos x="T4" y="T5"/>
                  </a:cxn>
                  <a:cxn ang="0">
                    <a:pos x="T6" y="T7"/>
                  </a:cxn>
                </a:cxnLst>
                <a:rect l="0" t="0" r="r" b="b"/>
                <a:pathLst>
                  <a:path w="1338" h="980">
                    <a:moveTo>
                      <a:pt x="566" y="980"/>
                    </a:moveTo>
                    <a:lnTo>
                      <a:pt x="0" y="0"/>
                    </a:lnTo>
                    <a:lnTo>
                      <a:pt x="1338" y="397"/>
                    </a:lnTo>
                    <a:lnTo>
                      <a:pt x="566" y="9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36" name="Freeform 383"/>
              <p:cNvSpPr>
                <a:spLocks/>
              </p:cNvSpPr>
              <p:nvPr/>
            </p:nvSpPr>
            <p:spPr bwMode="auto">
              <a:xfrm>
                <a:off x="-8159750" y="-2909888"/>
                <a:ext cx="1225550" cy="925513"/>
              </a:xfrm>
              <a:custGeom>
                <a:avLst/>
                <a:gdLst>
                  <a:gd name="T0" fmla="*/ 0 w 772"/>
                  <a:gd name="T1" fmla="*/ 583 h 583"/>
                  <a:gd name="T2" fmla="*/ 0 w 772"/>
                  <a:gd name="T3" fmla="*/ 583 h 583"/>
                  <a:gd name="T4" fmla="*/ 772 w 772"/>
                  <a:gd name="T5" fmla="*/ 0 h 583"/>
                  <a:gd name="T6" fmla="*/ 772 w 772"/>
                  <a:gd name="T7" fmla="*/ 0 h 583"/>
                  <a:gd name="T8" fmla="*/ 0 w 772"/>
                  <a:gd name="T9" fmla="*/ 583 h 583"/>
                </a:gdLst>
                <a:ahLst/>
                <a:cxnLst>
                  <a:cxn ang="0">
                    <a:pos x="T0" y="T1"/>
                  </a:cxn>
                  <a:cxn ang="0">
                    <a:pos x="T2" y="T3"/>
                  </a:cxn>
                  <a:cxn ang="0">
                    <a:pos x="T4" y="T5"/>
                  </a:cxn>
                  <a:cxn ang="0">
                    <a:pos x="T6" y="T7"/>
                  </a:cxn>
                  <a:cxn ang="0">
                    <a:pos x="T8" y="T9"/>
                  </a:cxn>
                </a:cxnLst>
                <a:rect l="0" t="0" r="r" b="b"/>
                <a:pathLst>
                  <a:path w="772" h="583">
                    <a:moveTo>
                      <a:pt x="0" y="583"/>
                    </a:moveTo>
                    <a:lnTo>
                      <a:pt x="0" y="583"/>
                    </a:lnTo>
                    <a:lnTo>
                      <a:pt x="772" y="0"/>
                    </a:lnTo>
                    <a:lnTo>
                      <a:pt x="772" y="0"/>
                    </a:lnTo>
                    <a:lnTo>
                      <a:pt x="0" y="58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37" name="Freeform 384"/>
              <p:cNvSpPr>
                <a:spLocks noEditPoints="1"/>
              </p:cNvSpPr>
              <p:nvPr/>
            </p:nvSpPr>
            <p:spPr bwMode="auto">
              <a:xfrm>
                <a:off x="-5465763" y="-4110038"/>
                <a:ext cx="1797050" cy="569913"/>
              </a:xfrm>
              <a:custGeom>
                <a:avLst/>
                <a:gdLst>
                  <a:gd name="T0" fmla="*/ 2358 w 2358"/>
                  <a:gd name="T1" fmla="*/ 748 h 748"/>
                  <a:gd name="T2" fmla="*/ 1 w 2358"/>
                  <a:gd name="T3" fmla="*/ 748 h 748"/>
                  <a:gd name="T4" fmla="*/ 247 w 2358"/>
                  <a:gd name="T5" fmla="*/ 0 h 748"/>
                  <a:gd name="T6" fmla="*/ 1489 w 2358"/>
                  <a:gd name="T7" fmla="*/ 0 h 748"/>
                  <a:gd name="T8" fmla="*/ 2358 w 2358"/>
                  <a:gd name="T9" fmla="*/ 748 h 748"/>
                  <a:gd name="T10" fmla="*/ 1 w 2358"/>
                  <a:gd name="T11" fmla="*/ 748 h 748"/>
                  <a:gd name="T12" fmla="*/ 0 w 2358"/>
                  <a:gd name="T13" fmla="*/ 748 h 748"/>
                  <a:gd name="T14" fmla="*/ 0 w 2358"/>
                  <a:gd name="T15" fmla="*/ 747 h 748"/>
                  <a:gd name="T16" fmla="*/ 0 w 2358"/>
                  <a:gd name="T17" fmla="*/ 747 h 748"/>
                  <a:gd name="T18" fmla="*/ 1 w 2358"/>
                  <a:gd name="T19"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8" h="748">
                    <a:moveTo>
                      <a:pt x="2358" y="748"/>
                    </a:moveTo>
                    <a:lnTo>
                      <a:pt x="1" y="748"/>
                    </a:lnTo>
                    <a:lnTo>
                      <a:pt x="247" y="0"/>
                    </a:lnTo>
                    <a:lnTo>
                      <a:pt x="1489" y="0"/>
                    </a:lnTo>
                    <a:lnTo>
                      <a:pt x="2358" y="748"/>
                    </a:lnTo>
                    <a:moveTo>
                      <a:pt x="1" y="748"/>
                    </a:moveTo>
                    <a:lnTo>
                      <a:pt x="0" y="748"/>
                    </a:lnTo>
                    <a:lnTo>
                      <a:pt x="0" y="747"/>
                    </a:lnTo>
                    <a:lnTo>
                      <a:pt x="0" y="747"/>
                    </a:lnTo>
                    <a:lnTo>
                      <a:pt x="1" y="748"/>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38" name="Freeform 385"/>
              <p:cNvSpPr>
                <a:spLocks/>
              </p:cNvSpPr>
              <p:nvPr/>
            </p:nvSpPr>
            <p:spPr bwMode="auto">
              <a:xfrm>
                <a:off x="-4330700" y="-4110038"/>
                <a:ext cx="1114425" cy="569913"/>
              </a:xfrm>
              <a:custGeom>
                <a:avLst/>
                <a:gdLst>
                  <a:gd name="T0" fmla="*/ 417 w 702"/>
                  <a:gd name="T1" fmla="*/ 359 h 359"/>
                  <a:gd name="T2" fmla="*/ 417 w 702"/>
                  <a:gd name="T3" fmla="*/ 359 h 359"/>
                  <a:gd name="T4" fmla="*/ 417 w 702"/>
                  <a:gd name="T5" fmla="*/ 359 h 359"/>
                  <a:gd name="T6" fmla="*/ 0 w 702"/>
                  <a:gd name="T7" fmla="*/ 0 h 359"/>
                  <a:gd name="T8" fmla="*/ 702 w 702"/>
                  <a:gd name="T9" fmla="*/ 0 h 359"/>
                  <a:gd name="T10" fmla="*/ 417 w 702"/>
                  <a:gd name="T11" fmla="*/ 359 h 359"/>
                  <a:gd name="T12" fmla="*/ 417 w 702"/>
                  <a:gd name="T13" fmla="*/ 359 h 359"/>
                  <a:gd name="T14" fmla="*/ 417 w 702"/>
                  <a:gd name="T15" fmla="*/ 359 h 359"/>
                  <a:gd name="T16" fmla="*/ 417 w 702"/>
                  <a:gd name="T17"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2" h="359">
                    <a:moveTo>
                      <a:pt x="417" y="359"/>
                    </a:moveTo>
                    <a:lnTo>
                      <a:pt x="417" y="359"/>
                    </a:lnTo>
                    <a:lnTo>
                      <a:pt x="417" y="359"/>
                    </a:lnTo>
                    <a:lnTo>
                      <a:pt x="0" y="0"/>
                    </a:lnTo>
                    <a:lnTo>
                      <a:pt x="702" y="0"/>
                    </a:lnTo>
                    <a:lnTo>
                      <a:pt x="417" y="359"/>
                    </a:lnTo>
                    <a:lnTo>
                      <a:pt x="417" y="359"/>
                    </a:lnTo>
                    <a:lnTo>
                      <a:pt x="417" y="359"/>
                    </a:lnTo>
                    <a:lnTo>
                      <a:pt x="417"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39" name="Freeform 386"/>
              <p:cNvSpPr>
                <a:spLocks/>
              </p:cNvSpPr>
              <p:nvPr/>
            </p:nvSpPr>
            <p:spPr bwMode="auto">
              <a:xfrm>
                <a:off x="-4330700" y="-4110038"/>
                <a:ext cx="661988" cy="569913"/>
              </a:xfrm>
              <a:custGeom>
                <a:avLst/>
                <a:gdLst>
                  <a:gd name="T0" fmla="*/ 417 w 417"/>
                  <a:gd name="T1" fmla="*/ 359 h 359"/>
                  <a:gd name="T2" fmla="*/ 417 w 417"/>
                  <a:gd name="T3" fmla="*/ 359 h 359"/>
                  <a:gd name="T4" fmla="*/ 0 w 417"/>
                  <a:gd name="T5" fmla="*/ 0 h 359"/>
                  <a:gd name="T6" fmla="*/ 0 w 417"/>
                  <a:gd name="T7" fmla="*/ 0 h 359"/>
                  <a:gd name="T8" fmla="*/ 417 w 417"/>
                  <a:gd name="T9" fmla="*/ 359 h 359"/>
                </a:gdLst>
                <a:ahLst/>
                <a:cxnLst>
                  <a:cxn ang="0">
                    <a:pos x="T0" y="T1"/>
                  </a:cxn>
                  <a:cxn ang="0">
                    <a:pos x="T2" y="T3"/>
                  </a:cxn>
                  <a:cxn ang="0">
                    <a:pos x="T4" y="T5"/>
                  </a:cxn>
                  <a:cxn ang="0">
                    <a:pos x="T6" y="T7"/>
                  </a:cxn>
                  <a:cxn ang="0">
                    <a:pos x="T8" y="T9"/>
                  </a:cxn>
                </a:cxnLst>
                <a:rect l="0" t="0" r="r" b="b"/>
                <a:pathLst>
                  <a:path w="417" h="359">
                    <a:moveTo>
                      <a:pt x="417" y="359"/>
                    </a:moveTo>
                    <a:lnTo>
                      <a:pt x="417" y="359"/>
                    </a:lnTo>
                    <a:lnTo>
                      <a:pt x="0" y="0"/>
                    </a:lnTo>
                    <a:lnTo>
                      <a:pt x="0" y="0"/>
                    </a:lnTo>
                    <a:lnTo>
                      <a:pt x="417"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40" name="Freeform 387"/>
              <p:cNvSpPr>
                <a:spLocks/>
              </p:cNvSpPr>
              <p:nvPr/>
            </p:nvSpPr>
            <p:spPr bwMode="auto">
              <a:xfrm>
                <a:off x="-5794375" y="-4110038"/>
                <a:ext cx="517525" cy="569913"/>
              </a:xfrm>
              <a:custGeom>
                <a:avLst/>
                <a:gdLst>
                  <a:gd name="T0" fmla="*/ 207 w 326"/>
                  <a:gd name="T1" fmla="*/ 359 h 359"/>
                  <a:gd name="T2" fmla="*/ 0 w 326"/>
                  <a:gd name="T3" fmla="*/ 0 h 359"/>
                  <a:gd name="T4" fmla="*/ 326 w 326"/>
                  <a:gd name="T5" fmla="*/ 0 h 359"/>
                  <a:gd name="T6" fmla="*/ 207 w 326"/>
                  <a:gd name="T7" fmla="*/ 359 h 359"/>
                </a:gdLst>
                <a:ahLst/>
                <a:cxnLst>
                  <a:cxn ang="0">
                    <a:pos x="T0" y="T1"/>
                  </a:cxn>
                  <a:cxn ang="0">
                    <a:pos x="T2" y="T3"/>
                  </a:cxn>
                  <a:cxn ang="0">
                    <a:pos x="T4" y="T5"/>
                  </a:cxn>
                  <a:cxn ang="0">
                    <a:pos x="T6" y="T7"/>
                  </a:cxn>
                </a:cxnLst>
                <a:rect l="0" t="0" r="r" b="b"/>
                <a:pathLst>
                  <a:path w="326" h="359">
                    <a:moveTo>
                      <a:pt x="207" y="359"/>
                    </a:moveTo>
                    <a:lnTo>
                      <a:pt x="0" y="0"/>
                    </a:lnTo>
                    <a:lnTo>
                      <a:pt x="326" y="0"/>
                    </a:lnTo>
                    <a:lnTo>
                      <a:pt x="207" y="35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41" name="Freeform 388"/>
              <p:cNvSpPr>
                <a:spLocks/>
              </p:cNvSpPr>
              <p:nvPr/>
            </p:nvSpPr>
            <p:spPr bwMode="auto">
              <a:xfrm>
                <a:off x="-5465763" y="-4110038"/>
                <a:ext cx="188913" cy="569913"/>
              </a:xfrm>
              <a:custGeom>
                <a:avLst/>
                <a:gdLst>
                  <a:gd name="T0" fmla="*/ 0 w 119"/>
                  <a:gd name="T1" fmla="*/ 359 h 359"/>
                  <a:gd name="T2" fmla="*/ 0 w 119"/>
                  <a:gd name="T3" fmla="*/ 359 h 359"/>
                  <a:gd name="T4" fmla="*/ 0 w 119"/>
                  <a:gd name="T5" fmla="*/ 359 h 359"/>
                  <a:gd name="T6" fmla="*/ 119 w 119"/>
                  <a:gd name="T7" fmla="*/ 0 h 359"/>
                  <a:gd name="T8" fmla="*/ 119 w 119"/>
                  <a:gd name="T9" fmla="*/ 0 h 359"/>
                  <a:gd name="T10" fmla="*/ 0 w 119"/>
                  <a:gd name="T11" fmla="*/ 359 h 359"/>
                </a:gdLst>
                <a:ahLst/>
                <a:cxnLst>
                  <a:cxn ang="0">
                    <a:pos x="T0" y="T1"/>
                  </a:cxn>
                  <a:cxn ang="0">
                    <a:pos x="T2" y="T3"/>
                  </a:cxn>
                  <a:cxn ang="0">
                    <a:pos x="T4" y="T5"/>
                  </a:cxn>
                  <a:cxn ang="0">
                    <a:pos x="T6" y="T7"/>
                  </a:cxn>
                  <a:cxn ang="0">
                    <a:pos x="T8" y="T9"/>
                  </a:cxn>
                  <a:cxn ang="0">
                    <a:pos x="T10" y="T11"/>
                  </a:cxn>
                </a:cxnLst>
                <a:rect l="0" t="0" r="r" b="b"/>
                <a:pathLst>
                  <a:path w="119" h="359">
                    <a:moveTo>
                      <a:pt x="0" y="359"/>
                    </a:moveTo>
                    <a:lnTo>
                      <a:pt x="0" y="359"/>
                    </a:lnTo>
                    <a:lnTo>
                      <a:pt x="0" y="359"/>
                    </a:lnTo>
                    <a:lnTo>
                      <a:pt x="119" y="0"/>
                    </a:lnTo>
                    <a:lnTo>
                      <a:pt x="119" y="0"/>
                    </a:lnTo>
                    <a:lnTo>
                      <a:pt x="0"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42" name="Freeform 389"/>
              <p:cNvSpPr>
                <a:spLocks noEditPoints="1"/>
              </p:cNvSpPr>
              <p:nvPr/>
            </p:nvSpPr>
            <p:spPr bwMode="auto">
              <a:xfrm>
                <a:off x="-8159750" y="-428626"/>
                <a:ext cx="1795463" cy="1554163"/>
              </a:xfrm>
              <a:custGeom>
                <a:avLst/>
                <a:gdLst>
                  <a:gd name="T0" fmla="*/ 2358 w 2358"/>
                  <a:gd name="T1" fmla="*/ 2041 h 2041"/>
                  <a:gd name="T2" fmla="*/ 1 w 2358"/>
                  <a:gd name="T3" fmla="*/ 2041 h 2041"/>
                  <a:gd name="T4" fmla="*/ 1179 w 2358"/>
                  <a:gd name="T5" fmla="*/ 0 h 2041"/>
                  <a:gd name="T6" fmla="*/ 1179 w 2358"/>
                  <a:gd name="T7" fmla="*/ 0 h 2041"/>
                  <a:gd name="T8" fmla="*/ 1179 w 2358"/>
                  <a:gd name="T9" fmla="*/ 0 h 2041"/>
                  <a:gd name="T10" fmla="*/ 1507 w 2358"/>
                  <a:gd name="T11" fmla="*/ 567 h 2041"/>
                  <a:gd name="T12" fmla="*/ 2358 w 2358"/>
                  <a:gd name="T13" fmla="*/ 2041 h 2041"/>
                  <a:gd name="T14" fmla="*/ 1 w 2358"/>
                  <a:gd name="T15" fmla="*/ 2041 h 2041"/>
                  <a:gd name="T16" fmla="*/ 0 w 2358"/>
                  <a:gd name="T17" fmla="*/ 2041 h 2041"/>
                  <a:gd name="T18" fmla="*/ 1 w 2358"/>
                  <a:gd name="T19" fmla="*/ 2041 h 2041"/>
                  <a:gd name="T20" fmla="*/ 1 w 2358"/>
                  <a:gd name="T21" fmla="*/ 2041 h 2041"/>
                  <a:gd name="T22" fmla="*/ 1179 w 2358"/>
                  <a:gd name="T23" fmla="*/ 0 h 2041"/>
                  <a:gd name="T24" fmla="*/ 1179 w 2358"/>
                  <a:gd name="T25" fmla="*/ 0 h 2041"/>
                  <a:gd name="T26" fmla="*/ 1179 w 2358"/>
                  <a:gd name="T27" fmla="*/ 0 h 2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58" h="2041">
                    <a:moveTo>
                      <a:pt x="2358" y="2041"/>
                    </a:moveTo>
                    <a:lnTo>
                      <a:pt x="1" y="2041"/>
                    </a:lnTo>
                    <a:lnTo>
                      <a:pt x="1179" y="0"/>
                    </a:lnTo>
                    <a:lnTo>
                      <a:pt x="1179" y="0"/>
                    </a:lnTo>
                    <a:lnTo>
                      <a:pt x="1179" y="0"/>
                    </a:lnTo>
                    <a:lnTo>
                      <a:pt x="1507" y="567"/>
                    </a:lnTo>
                    <a:lnTo>
                      <a:pt x="2358" y="2041"/>
                    </a:lnTo>
                    <a:moveTo>
                      <a:pt x="1" y="2041"/>
                    </a:moveTo>
                    <a:lnTo>
                      <a:pt x="0" y="2041"/>
                    </a:lnTo>
                    <a:lnTo>
                      <a:pt x="1" y="2041"/>
                    </a:lnTo>
                    <a:lnTo>
                      <a:pt x="1" y="2041"/>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43" name="Freeform 390"/>
              <p:cNvSpPr>
                <a:spLocks/>
              </p:cNvSpPr>
              <p:nvPr/>
            </p:nvSpPr>
            <p:spPr bwMode="auto">
              <a:xfrm>
                <a:off x="-8159750" y="-1984376"/>
                <a:ext cx="2633663" cy="1555750"/>
              </a:xfrm>
              <a:custGeom>
                <a:avLst/>
                <a:gdLst>
                  <a:gd name="T0" fmla="*/ 566 w 1659"/>
                  <a:gd name="T1" fmla="*/ 980 h 980"/>
                  <a:gd name="T2" fmla="*/ 566 w 1659"/>
                  <a:gd name="T3" fmla="*/ 980 h 980"/>
                  <a:gd name="T4" fmla="*/ 307 w 1659"/>
                  <a:gd name="T5" fmla="*/ 532 h 980"/>
                  <a:gd name="T6" fmla="*/ 0 w 1659"/>
                  <a:gd name="T7" fmla="*/ 0 h 980"/>
                  <a:gd name="T8" fmla="*/ 0 w 1659"/>
                  <a:gd name="T9" fmla="*/ 0 h 980"/>
                  <a:gd name="T10" fmla="*/ 1659 w 1659"/>
                  <a:gd name="T11" fmla="*/ 365 h 980"/>
                  <a:gd name="T12" fmla="*/ 566 w 1659"/>
                  <a:gd name="T13" fmla="*/ 980 h 980"/>
                </a:gdLst>
                <a:ahLst/>
                <a:cxnLst>
                  <a:cxn ang="0">
                    <a:pos x="T0" y="T1"/>
                  </a:cxn>
                  <a:cxn ang="0">
                    <a:pos x="T2" y="T3"/>
                  </a:cxn>
                  <a:cxn ang="0">
                    <a:pos x="T4" y="T5"/>
                  </a:cxn>
                  <a:cxn ang="0">
                    <a:pos x="T6" y="T7"/>
                  </a:cxn>
                  <a:cxn ang="0">
                    <a:pos x="T8" y="T9"/>
                  </a:cxn>
                  <a:cxn ang="0">
                    <a:pos x="T10" y="T11"/>
                  </a:cxn>
                  <a:cxn ang="0">
                    <a:pos x="T12" y="T13"/>
                  </a:cxn>
                </a:cxnLst>
                <a:rect l="0" t="0" r="r" b="b"/>
                <a:pathLst>
                  <a:path w="1659" h="980">
                    <a:moveTo>
                      <a:pt x="566" y="980"/>
                    </a:moveTo>
                    <a:lnTo>
                      <a:pt x="566" y="980"/>
                    </a:lnTo>
                    <a:lnTo>
                      <a:pt x="307" y="532"/>
                    </a:lnTo>
                    <a:lnTo>
                      <a:pt x="0" y="0"/>
                    </a:lnTo>
                    <a:lnTo>
                      <a:pt x="0" y="0"/>
                    </a:lnTo>
                    <a:lnTo>
                      <a:pt x="1659" y="36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44" name="Freeform 391"/>
              <p:cNvSpPr>
                <a:spLocks/>
              </p:cNvSpPr>
              <p:nvPr/>
            </p:nvSpPr>
            <p:spPr bwMode="auto">
              <a:xfrm>
                <a:off x="-7261225" y="-428626"/>
                <a:ext cx="1735138" cy="1554163"/>
              </a:xfrm>
              <a:custGeom>
                <a:avLst/>
                <a:gdLst>
                  <a:gd name="T0" fmla="*/ 565 w 1093"/>
                  <a:gd name="T1" fmla="*/ 979 h 979"/>
                  <a:gd name="T2" fmla="*/ 157 w 1093"/>
                  <a:gd name="T3" fmla="*/ 272 h 979"/>
                  <a:gd name="T4" fmla="*/ 0 w 1093"/>
                  <a:gd name="T5" fmla="*/ 0 h 979"/>
                  <a:gd name="T6" fmla="*/ 1093 w 1093"/>
                  <a:gd name="T7" fmla="*/ 684 h 979"/>
                  <a:gd name="T8" fmla="*/ 1093 w 1093"/>
                  <a:gd name="T9" fmla="*/ 684 h 979"/>
                  <a:gd name="T10" fmla="*/ 1093 w 1093"/>
                  <a:gd name="T11" fmla="*/ 684 h 979"/>
                  <a:gd name="T12" fmla="*/ 1093 w 1093"/>
                  <a:gd name="T13" fmla="*/ 684 h 979"/>
                  <a:gd name="T14" fmla="*/ 1093 w 1093"/>
                  <a:gd name="T15" fmla="*/ 684 h 979"/>
                  <a:gd name="T16" fmla="*/ 965 w 1093"/>
                  <a:gd name="T17" fmla="*/ 756 h 979"/>
                  <a:gd name="T18" fmla="*/ 565 w 1093"/>
                  <a:gd name="T19" fmla="*/ 979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3" h="979">
                    <a:moveTo>
                      <a:pt x="565" y="979"/>
                    </a:moveTo>
                    <a:lnTo>
                      <a:pt x="157" y="272"/>
                    </a:lnTo>
                    <a:lnTo>
                      <a:pt x="0" y="0"/>
                    </a:lnTo>
                    <a:lnTo>
                      <a:pt x="1093" y="684"/>
                    </a:lnTo>
                    <a:lnTo>
                      <a:pt x="1093" y="684"/>
                    </a:lnTo>
                    <a:lnTo>
                      <a:pt x="1093" y="684"/>
                    </a:lnTo>
                    <a:lnTo>
                      <a:pt x="1093" y="684"/>
                    </a:lnTo>
                    <a:lnTo>
                      <a:pt x="1093" y="684"/>
                    </a:lnTo>
                    <a:lnTo>
                      <a:pt x="965" y="756"/>
                    </a:lnTo>
                    <a:lnTo>
                      <a:pt x="565" y="97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45" name="Freeform 392"/>
              <p:cNvSpPr>
                <a:spLocks noEditPoints="1"/>
              </p:cNvSpPr>
              <p:nvPr/>
            </p:nvSpPr>
            <p:spPr bwMode="auto">
              <a:xfrm>
                <a:off x="-9456738" y="-1984376"/>
                <a:ext cx="2195513" cy="1555750"/>
              </a:xfrm>
              <a:custGeom>
                <a:avLst/>
                <a:gdLst>
                  <a:gd name="T0" fmla="*/ 2879 w 2879"/>
                  <a:gd name="T1" fmla="*/ 2042 h 2042"/>
                  <a:gd name="T2" fmla="*/ 0 w 2879"/>
                  <a:gd name="T3" fmla="*/ 1320 h 2042"/>
                  <a:gd name="T4" fmla="*/ 444 w 2879"/>
                  <a:gd name="T5" fmla="*/ 976 h 2042"/>
                  <a:gd name="T6" fmla="*/ 1701 w 2879"/>
                  <a:gd name="T7" fmla="*/ 1 h 2042"/>
                  <a:gd name="T8" fmla="*/ 2340 w 2879"/>
                  <a:gd name="T9" fmla="*/ 1109 h 2042"/>
                  <a:gd name="T10" fmla="*/ 2879 w 2879"/>
                  <a:gd name="T11" fmla="*/ 2042 h 2042"/>
                  <a:gd name="T12" fmla="*/ 2879 w 2879"/>
                  <a:gd name="T13" fmla="*/ 2042 h 2042"/>
                  <a:gd name="T14" fmla="*/ 1701 w 2879"/>
                  <a:gd name="T15" fmla="*/ 1 h 2042"/>
                  <a:gd name="T16" fmla="*/ 1700 w 2879"/>
                  <a:gd name="T17" fmla="*/ 1 h 2042"/>
                  <a:gd name="T18" fmla="*/ 1701 w 2879"/>
                  <a:gd name="T19" fmla="*/ 0 h 2042"/>
                  <a:gd name="T20" fmla="*/ 1701 w 2879"/>
                  <a:gd name="T21" fmla="*/ 1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9" h="2042">
                    <a:moveTo>
                      <a:pt x="2879" y="2042"/>
                    </a:moveTo>
                    <a:lnTo>
                      <a:pt x="0" y="1320"/>
                    </a:lnTo>
                    <a:lnTo>
                      <a:pt x="444" y="976"/>
                    </a:lnTo>
                    <a:lnTo>
                      <a:pt x="1701" y="1"/>
                    </a:lnTo>
                    <a:lnTo>
                      <a:pt x="2340" y="1109"/>
                    </a:lnTo>
                    <a:lnTo>
                      <a:pt x="2879" y="2042"/>
                    </a:lnTo>
                    <a:lnTo>
                      <a:pt x="2879" y="2042"/>
                    </a:lnTo>
                    <a:moveTo>
                      <a:pt x="1701" y="1"/>
                    </a:moveTo>
                    <a:lnTo>
                      <a:pt x="1700" y="1"/>
                    </a:lnTo>
                    <a:lnTo>
                      <a:pt x="1701" y="0"/>
                    </a:lnTo>
                    <a:lnTo>
                      <a:pt x="170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46" name="Freeform 393"/>
              <p:cNvSpPr>
                <a:spLocks/>
              </p:cNvSpPr>
              <p:nvPr/>
            </p:nvSpPr>
            <p:spPr bwMode="auto">
              <a:xfrm>
                <a:off x="-9117013" y="-1984376"/>
                <a:ext cx="957263" cy="742950"/>
              </a:xfrm>
              <a:custGeom>
                <a:avLst/>
                <a:gdLst>
                  <a:gd name="T0" fmla="*/ 0 w 603"/>
                  <a:gd name="T1" fmla="*/ 468 h 468"/>
                  <a:gd name="T2" fmla="*/ 603 w 603"/>
                  <a:gd name="T3" fmla="*/ 0 h 468"/>
                  <a:gd name="T4" fmla="*/ 603 w 603"/>
                  <a:gd name="T5" fmla="*/ 0 h 468"/>
                  <a:gd name="T6" fmla="*/ 603 w 603"/>
                  <a:gd name="T7" fmla="*/ 0 h 468"/>
                  <a:gd name="T8" fmla="*/ 0 w 603"/>
                  <a:gd name="T9" fmla="*/ 468 h 468"/>
                </a:gdLst>
                <a:ahLst/>
                <a:cxnLst>
                  <a:cxn ang="0">
                    <a:pos x="T0" y="T1"/>
                  </a:cxn>
                  <a:cxn ang="0">
                    <a:pos x="T2" y="T3"/>
                  </a:cxn>
                  <a:cxn ang="0">
                    <a:pos x="T4" y="T5"/>
                  </a:cxn>
                  <a:cxn ang="0">
                    <a:pos x="T6" y="T7"/>
                  </a:cxn>
                  <a:cxn ang="0">
                    <a:pos x="T8" y="T9"/>
                  </a:cxn>
                </a:cxnLst>
                <a:rect l="0" t="0" r="r" b="b"/>
                <a:pathLst>
                  <a:path w="603" h="468">
                    <a:moveTo>
                      <a:pt x="0" y="468"/>
                    </a:moveTo>
                    <a:lnTo>
                      <a:pt x="603" y="0"/>
                    </a:lnTo>
                    <a:lnTo>
                      <a:pt x="603" y="0"/>
                    </a:lnTo>
                    <a:lnTo>
                      <a:pt x="603" y="0"/>
                    </a:lnTo>
                    <a:lnTo>
                      <a:pt x="0" y="468"/>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47" name="Freeform 394"/>
              <p:cNvSpPr>
                <a:spLocks/>
              </p:cNvSpPr>
              <p:nvPr/>
            </p:nvSpPr>
            <p:spPr bwMode="auto">
              <a:xfrm>
                <a:off x="-8159750" y="-1984376"/>
                <a:ext cx="487363" cy="844550"/>
              </a:xfrm>
              <a:custGeom>
                <a:avLst/>
                <a:gdLst>
                  <a:gd name="T0" fmla="*/ 307 w 307"/>
                  <a:gd name="T1" fmla="*/ 532 h 532"/>
                  <a:gd name="T2" fmla="*/ 0 w 307"/>
                  <a:gd name="T3" fmla="*/ 0 h 532"/>
                  <a:gd name="T4" fmla="*/ 0 w 307"/>
                  <a:gd name="T5" fmla="*/ 0 h 532"/>
                  <a:gd name="T6" fmla="*/ 0 w 307"/>
                  <a:gd name="T7" fmla="*/ 0 h 532"/>
                  <a:gd name="T8" fmla="*/ 0 w 307"/>
                  <a:gd name="T9" fmla="*/ 0 h 532"/>
                  <a:gd name="T10" fmla="*/ 307 w 307"/>
                  <a:gd name="T11" fmla="*/ 532 h 532"/>
                </a:gdLst>
                <a:ahLst/>
                <a:cxnLst>
                  <a:cxn ang="0">
                    <a:pos x="T0" y="T1"/>
                  </a:cxn>
                  <a:cxn ang="0">
                    <a:pos x="T2" y="T3"/>
                  </a:cxn>
                  <a:cxn ang="0">
                    <a:pos x="T4" y="T5"/>
                  </a:cxn>
                  <a:cxn ang="0">
                    <a:pos x="T6" y="T7"/>
                  </a:cxn>
                  <a:cxn ang="0">
                    <a:pos x="T8" y="T9"/>
                  </a:cxn>
                  <a:cxn ang="0">
                    <a:pos x="T10" y="T11"/>
                  </a:cxn>
                </a:cxnLst>
                <a:rect l="0" t="0" r="r" b="b"/>
                <a:pathLst>
                  <a:path w="307" h="532">
                    <a:moveTo>
                      <a:pt x="307" y="532"/>
                    </a:moveTo>
                    <a:lnTo>
                      <a:pt x="0" y="0"/>
                    </a:lnTo>
                    <a:lnTo>
                      <a:pt x="0" y="0"/>
                    </a:lnTo>
                    <a:lnTo>
                      <a:pt x="0" y="0"/>
                    </a:lnTo>
                    <a:lnTo>
                      <a:pt x="0" y="0"/>
                    </a:lnTo>
                    <a:lnTo>
                      <a:pt x="307" y="5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48" name="Freeform 395"/>
              <p:cNvSpPr>
                <a:spLocks noEditPoints="1"/>
              </p:cNvSpPr>
              <p:nvPr/>
            </p:nvSpPr>
            <p:spPr bwMode="auto">
              <a:xfrm>
                <a:off x="-7261225" y="-1404938"/>
                <a:ext cx="1735138" cy="2062163"/>
              </a:xfrm>
              <a:custGeom>
                <a:avLst/>
                <a:gdLst>
                  <a:gd name="T0" fmla="*/ 2278 w 2278"/>
                  <a:gd name="T1" fmla="*/ 2707 h 2707"/>
                  <a:gd name="T2" fmla="*/ 2278 w 2278"/>
                  <a:gd name="T3" fmla="*/ 2707 h 2707"/>
                  <a:gd name="T4" fmla="*/ 2278 w 2278"/>
                  <a:gd name="T5" fmla="*/ 2707 h 2707"/>
                  <a:gd name="T6" fmla="*/ 2278 w 2278"/>
                  <a:gd name="T7" fmla="*/ 2707 h 2707"/>
                  <a:gd name="T8" fmla="*/ 2278 w 2278"/>
                  <a:gd name="T9" fmla="*/ 2707 h 2707"/>
                  <a:gd name="T10" fmla="*/ 0 w 2278"/>
                  <a:gd name="T11" fmla="*/ 1281 h 2707"/>
                  <a:gd name="T12" fmla="*/ 0 w 2278"/>
                  <a:gd name="T13" fmla="*/ 1281 h 2707"/>
                  <a:gd name="T14" fmla="*/ 2278 w 2278"/>
                  <a:gd name="T15" fmla="*/ 0 h 2707"/>
                  <a:gd name="T16" fmla="*/ 2278 w 2278"/>
                  <a:gd name="T17" fmla="*/ 2707 h 2707"/>
                  <a:gd name="T18" fmla="*/ 2278 w 2278"/>
                  <a:gd name="T19" fmla="*/ 2707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8" h="2707">
                    <a:moveTo>
                      <a:pt x="2278" y="2707"/>
                    </a:moveTo>
                    <a:lnTo>
                      <a:pt x="2278" y="2707"/>
                    </a:lnTo>
                    <a:lnTo>
                      <a:pt x="2278" y="2707"/>
                    </a:lnTo>
                    <a:lnTo>
                      <a:pt x="2278" y="2707"/>
                    </a:lnTo>
                    <a:moveTo>
                      <a:pt x="2278" y="2707"/>
                    </a:moveTo>
                    <a:lnTo>
                      <a:pt x="0" y="1281"/>
                    </a:lnTo>
                    <a:lnTo>
                      <a:pt x="0" y="1281"/>
                    </a:lnTo>
                    <a:lnTo>
                      <a:pt x="2278" y="0"/>
                    </a:lnTo>
                    <a:lnTo>
                      <a:pt x="2278" y="2707"/>
                    </a:lnTo>
                    <a:lnTo>
                      <a:pt x="2278" y="2707"/>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49" name="Freeform 396"/>
              <p:cNvSpPr>
                <a:spLocks/>
              </p:cNvSpPr>
              <p:nvPr/>
            </p:nvSpPr>
            <p:spPr bwMode="auto">
              <a:xfrm>
                <a:off x="-9456738" y="-979488"/>
                <a:ext cx="2195513" cy="2105025"/>
              </a:xfrm>
              <a:custGeom>
                <a:avLst/>
                <a:gdLst>
                  <a:gd name="T0" fmla="*/ 817 w 1383"/>
                  <a:gd name="T1" fmla="*/ 1326 h 1326"/>
                  <a:gd name="T2" fmla="*/ 0 w 1383"/>
                  <a:gd name="T3" fmla="*/ 0 h 1326"/>
                  <a:gd name="T4" fmla="*/ 1383 w 1383"/>
                  <a:gd name="T5" fmla="*/ 347 h 1326"/>
                  <a:gd name="T6" fmla="*/ 817 w 1383"/>
                  <a:gd name="T7" fmla="*/ 1326 h 1326"/>
                </a:gdLst>
                <a:ahLst/>
                <a:cxnLst>
                  <a:cxn ang="0">
                    <a:pos x="T0" y="T1"/>
                  </a:cxn>
                  <a:cxn ang="0">
                    <a:pos x="T2" y="T3"/>
                  </a:cxn>
                  <a:cxn ang="0">
                    <a:pos x="T4" y="T5"/>
                  </a:cxn>
                  <a:cxn ang="0">
                    <a:pos x="T6" y="T7"/>
                  </a:cxn>
                </a:cxnLst>
                <a:rect l="0" t="0" r="r" b="b"/>
                <a:pathLst>
                  <a:path w="1383" h="1326">
                    <a:moveTo>
                      <a:pt x="817" y="1326"/>
                    </a:moveTo>
                    <a:lnTo>
                      <a:pt x="0" y="0"/>
                    </a:lnTo>
                    <a:lnTo>
                      <a:pt x="1383" y="347"/>
                    </a:lnTo>
                    <a:lnTo>
                      <a:pt x="817" y="132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50" name="Freeform 397"/>
              <p:cNvSpPr>
                <a:spLocks/>
              </p:cNvSpPr>
              <p:nvPr/>
            </p:nvSpPr>
            <p:spPr bwMode="auto">
              <a:xfrm>
                <a:off x="-8159750" y="-428626"/>
                <a:ext cx="898525" cy="1554163"/>
              </a:xfrm>
              <a:custGeom>
                <a:avLst/>
                <a:gdLst>
                  <a:gd name="T0" fmla="*/ 0 w 566"/>
                  <a:gd name="T1" fmla="*/ 979 h 979"/>
                  <a:gd name="T2" fmla="*/ 0 w 566"/>
                  <a:gd name="T3" fmla="*/ 979 h 979"/>
                  <a:gd name="T4" fmla="*/ 0 w 566"/>
                  <a:gd name="T5" fmla="*/ 979 h 979"/>
                  <a:gd name="T6" fmla="*/ 566 w 566"/>
                  <a:gd name="T7" fmla="*/ 0 h 979"/>
                  <a:gd name="T8" fmla="*/ 566 w 566"/>
                  <a:gd name="T9" fmla="*/ 0 h 979"/>
                  <a:gd name="T10" fmla="*/ 0 w 566"/>
                  <a:gd name="T11" fmla="*/ 979 h 979"/>
                </a:gdLst>
                <a:ahLst/>
                <a:cxnLst>
                  <a:cxn ang="0">
                    <a:pos x="T0" y="T1"/>
                  </a:cxn>
                  <a:cxn ang="0">
                    <a:pos x="T2" y="T3"/>
                  </a:cxn>
                  <a:cxn ang="0">
                    <a:pos x="T4" y="T5"/>
                  </a:cxn>
                  <a:cxn ang="0">
                    <a:pos x="T6" y="T7"/>
                  </a:cxn>
                  <a:cxn ang="0">
                    <a:pos x="T8" y="T9"/>
                  </a:cxn>
                  <a:cxn ang="0">
                    <a:pos x="T10" y="T11"/>
                  </a:cxn>
                </a:cxnLst>
                <a:rect l="0" t="0" r="r" b="b"/>
                <a:pathLst>
                  <a:path w="566" h="979">
                    <a:moveTo>
                      <a:pt x="0" y="979"/>
                    </a:moveTo>
                    <a:lnTo>
                      <a:pt x="0" y="979"/>
                    </a:ln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51" name="Freeform 398"/>
              <p:cNvSpPr>
                <a:spLocks noEditPoints="1"/>
              </p:cNvSpPr>
              <p:nvPr/>
            </p:nvSpPr>
            <p:spPr bwMode="auto">
              <a:xfrm>
                <a:off x="-5526088" y="-1984376"/>
                <a:ext cx="2544763" cy="2641600"/>
              </a:xfrm>
              <a:custGeom>
                <a:avLst/>
                <a:gdLst>
                  <a:gd name="T0" fmla="*/ 0 w 3339"/>
                  <a:gd name="T1" fmla="*/ 3468 h 3468"/>
                  <a:gd name="T2" fmla="*/ 0 w 3339"/>
                  <a:gd name="T3" fmla="*/ 3468 h 3468"/>
                  <a:gd name="T4" fmla="*/ 0 w 3339"/>
                  <a:gd name="T5" fmla="*/ 3468 h 3468"/>
                  <a:gd name="T6" fmla="*/ 0 w 3339"/>
                  <a:gd name="T7" fmla="*/ 3468 h 3468"/>
                  <a:gd name="T8" fmla="*/ 0 w 3339"/>
                  <a:gd name="T9" fmla="*/ 3468 h 3468"/>
                  <a:gd name="T10" fmla="*/ 0 w 3339"/>
                  <a:gd name="T11" fmla="*/ 3468 h 3468"/>
                  <a:gd name="T12" fmla="*/ 0 w 3339"/>
                  <a:gd name="T13" fmla="*/ 3468 h 3468"/>
                  <a:gd name="T14" fmla="*/ 0 w 3339"/>
                  <a:gd name="T15" fmla="*/ 3468 h 3468"/>
                  <a:gd name="T16" fmla="*/ 1258 w 3339"/>
                  <a:gd name="T17" fmla="*/ 0 h 3468"/>
                  <a:gd name="T18" fmla="*/ 3339 w 3339"/>
                  <a:gd name="T19" fmla="*/ 2815 h 3468"/>
                  <a:gd name="T20" fmla="*/ 0 w 3339"/>
                  <a:gd name="T21" fmla="*/ 3468 h 3468"/>
                  <a:gd name="T22" fmla="*/ 3339 w 3339"/>
                  <a:gd name="T23" fmla="*/ 2815 h 3468"/>
                  <a:gd name="T24" fmla="*/ 3339 w 3339"/>
                  <a:gd name="T25" fmla="*/ 2815 h 3468"/>
                  <a:gd name="T26" fmla="*/ 3339 w 3339"/>
                  <a:gd name="T27" fmla="*/ 2815 h 3468"/>
                  <a:gd name="T28" fmla="*/ 1258 w 3339"/>
                  <a:gd name="T29" fmla="*/ 0 h 3468"/>
                  <a:gd name="T30" fmla="*/ 1258 w 3339"/>
                  <a:gd name="T31" fmla="*/ 0 h 3468"/>
                  <a:gd name="T32" fmla="*/ 1258 w 3339"/>
                  <a:gd name="T33" fmla="*/ 1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39" h="3468">
                    <a:moveTo>
                      <a:pt x="0" y="3468"/>
                    </a:moveTo>
                    <a:lnTo>
                      <a:pt x="0" y="3468"/>
                    </a:lnTo>
                    <a:lnTo>
                      <a:pt x="0" y="3468"/>
                    </a:lnTo>
                    <a:lnTo>
                      <a:pt x="0" y="3468"/>
                    </a:lnTo>
                    <a:lnTo>
                      <a:pt x="0" y="3468"/>
                    </a:lnTo>
                    <a:lnTo>
                      <a:pt x="0" y="3468"/>
                    </a:lnTo>
                    <a:lnTo>
                      <a:pt x="0" y="3468"/>
                    </a:lnTo>
                    <a:moveTo>
                      <a:pt x="0" y="3468"/>
                    </a:moveTo>
                    <a:lnTo>
                      <a:pt x="1258" y="0"/>
                    </a:lnTo>
                    <a:lnTo>
                      <a:pt x="3339" y="2815"/>
                    </a:lnTo>
                    <a:lnTo>
                      <a:pt x="0" y="3468"/>
                    </a:lnTo>
                    <a:moveTo>
                      <a:pt x="3339" y="2815"/>
                    </a:moveTo>
                    <a:lnTo>
                      <a:pt x="3339" y="2815"/>
                    </a:lnTo>
                    <a:lnTo>
                      <a:pt x="3339" y="2815"/>
                    </a:lnTo>
                    <a:moveTo>
                      <a:pt x="1258" y="0"/>
                    </a:moveTo>
                    <a:lnTo>
                      <a:pt x="1258" y="0"/>
                    </a:lnTo>
                    <a:lnTo>
                      <a:pt x="1258" y="1"/>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52" name="Freeform 399"/>
              <p:cNvSpPr>
                <a:spLocks/>
              </p:cNvSpPr>
              <p:nvPr/>
            </p:nvSpPr>
            <p:spPr bwMode="auto">
              <a:xfrm>
                <a:off x="-5465763" y="-3540126"/>
                <a:ext cx="1797050" cy="1555750"/>
              </a:xfrm>
              <a:custGeom>
                <a:avLst/>
                <a:gdLst>
                  <a:gd name="T0" fmla="*/ 566 w 1132"/>
                  <a:gd name="T1" fmla="*/ 980 h 980"/>
                  <a:gd name="T2" fmla="*/ 566 w 1132"/>
                  <a:gd name="T3" fmla="*/ 980 h 980"/>
                  <a:gd name="T4" fmla="*/ 0 w 1132"/>
                  <a:gd name="T5" fmla="*/ 0 h 980"/>
                  <a:gd name="T6" fmla="*/ 0 w 1132"/>
                  <a:gd name="T7" fmla="*/ 0 h 980"/>
                  <a:gd name="T8" fmla="*/ 1132 w 1132"/>
                  <a:gd name="T9" fmla="*/ 0 h 980"/>
                  <a:gd name="T10" fmla="*/ 566 w 1132"/>
                  <a:gd name="T11" fmla="*/ 980 h 980"/>
                </a:gdLst>
                <a:ahLst/>
                <a:cxnLst>
                  <a:cxn ang="0">
                    <a:pos x="T0" y="T1"/>
                  </a:cxn>
                  <a:cxn ang="0">
                    <a:pos x="T2" y="T3"/>
                  </a:cxn>
                  <a:cxn ang="0">
                    <a:pos x="T4" y="T5"/>
                  </a:cxn>
                  <a:cxn ang="0">
                    <a:pos x="T6" y="T7"/>
                  </a:cxn>
                  <a:cxn ang="0">
                    <a:pos x="T8" y="T9"/>
                  </a:cxn>
                  <a:cxn ang="0">
                    <a:pos x="T10" y="T11"/>
                  </a:cxn>
                </a:cxnLst>
                <a:rect l="0" t="0" r="r" b="b"/>
                <a:pathLst>
                  <a:path w="1132" h="980">
                    <a:moveTo>
                      <a:pt x="566" y="980"/>
                    </a:moveTo>
                    <a:lnTo>
                      <a:pt x="566" y="980"/>
                    </a:lnTo>
                    <a:lnTo>
                      <a:pt x="0" y="0"/>
                    </a:lnTo>
                    <a:lnTo>
                      <a:pt x="0" y="0"/>
                    </a:lnTo>
                    <a:lnTo>
                      <a:pt x="1132" y="0"/>
                    </a:lnTo>
                    <a:lnTo>
                      <a:pt x="566" y="980"/>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53" name="Freeform 400"/>
              <p:cNvSpPr>
                <a:spLocks/>
              </p:cNvSpPr>
              <p:nvPr/>
            </p:nvSpPr>
            <p:spPr bwMode="auto">
              <a:xfrm>
                <a:off x="-5465763" y="-354012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99D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54" name="Rectangle 401"/>
              <p:cNvSpPr>
                <a:spLocks noChangeArrowheads="1"/>
              </p:cNvSpPr>
              <p:nvPr/>
            </p:nvSpPr>
            <p:spPr bwMode="auto">
              <a:xfrm>
                <a:off x="-5465763" y="-3540126"/>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55" name="Freeform 402"/>
              <p:cNvSpPr>
                <a:spLocks noEditPoints="1"/>
              </p:cNvSpPr>
              <p:nvPr/>
            </p:nvSpPr>
            <p:spPr bwMode="auto">
              <a:xfrm>
                <a:off x="-4567238" y="-1984376"/>
                <a:ext cx="1585913" cy="2144713"/>
              </a:xfrm>
              <a:custGeom>
                <a:avLst/>
                <a:gdLst>
                  <a:gd name="T0" fmla="*/ 2081 w 2081"/>
                  <a:gd name="T1" fmla="*/ 2815 h 2815"/>
                  <a:gd name="T2" fmla="*/ 2081 w 2081"/>
                  <a:gd name="T3" fmla="*/ 2815 h 2815"/>
                  <a:gd name="T4" fmla="*/ 2081 w 2081"/>
                  <a:gd name="T5" fmla="*/ 2815 h 2815"/>
                  <a:gd name="T6" fmla="*/ 2081 w 2081"/>
                  <a:gd name="T7" fmla="*/ 2815 h 2815"/>
                  <a:gd name="T8" fmla="*/ 0 w 2081"/>
                  <a:gd name="T9" fmla="*/ 0 h 2815"/>
                  <a:gd name="T10" fmla="*/ 0 w 2081"/>
                  <a:gd name="T11" fmla="*/ 0 h 2815"/>
                  <a:gd name="T12" fmla="*/ 1627 w 2081"/>
                  <a:gd name="T13" fmla="*/ 645 h 2815"/>
                  <a:gd name="T14" fmla="*/ 2081 w 2081"/>
                  <a:gd name="T15" fmla="*/ 2815 h 28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1" h="2815">
                    <a:moveTo>
                      <a:pt x="2081" y="2815"/>
                    </a:moveTo>
                    <a:lnTo>
                      <a:pt x="2081" y="2815"/>
                    </a:lnTo>
                    <a:lnTo>
                      <a:pt x="2081" y="2815"/>
                    </a:lnTo>
                    <a:moveTo>
                      <a:pt x="2081" y="2815"/>
                    </a:moveTo>
                    <a:lnTo>
                      <a:pt x="0" y="0"/>
                    </a:lnTo>
                    <a:lnTo>
                      <a:pt x="0" y="0"/>
                    </a:lnTo>
                    <a:lnTo>
                      <a:pt x="1627" y="645"/>
                    </a:lnTo>
                    <a:lnTo>
                      <a:pt x="2081" y="2815"/>
                    </a:lnTo>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56" name="Freeform 403"/>
              <p:cNvSpPr>
                <a:spLocks/>
              </p:cNvSpPr>
              <p:nvPr/>
            </p:nvSpPr>
            <p:spPr bwMode="auto">
              <a:xfrm>
                <a:off x="-4567238" y="-1984376"/>
                <a:ext cx="1585913" cy="2144713"/>
              </a:xfrm>
              <a:custGeom>
                <a:avLst/>
                <a:gdLst>
                  <a:gd name="T0" fmla="*/ 999 w 999"/>
                  <a:gd name="T1" fmla="*/ 1351 h 1351"/>
                  <a:gd name="T2" fmla="*/ 0 w 999"/>
                  <a:gd name="T3" fmla="*/ 0 h 1351"/>
                  <a:gd name="T4" fmla="*/ 0 w 999"/>
                  <a:gd name="T5" fmla="*/ 0 h 1351"/>
                  <a:gd name="T6" fmla="*/ 999 w 999"/>
                  <a:gd name="T7" fmla="*/ 1351 h 1351"/>
                  <a:gd name="T8" fmla="*/ 999 w 999"/>
                  <a:gd name="T9" fmla="*/ 1351 h 1351"/>
                  <a:gd name="T10" fmla="*/ 999 w 999"/>
                  <a:gd name="T11" fmla="*/ 1351 h 1351"/>
                </a:gdLst>
                <a:ahLst/>
                <a:cxnLst>
                  <a:cxn ang="0">
                    <a:pos x="T0" y="T1"/>
                  </a:cxn>
                  <a:cxn ang="0">
                    <a:pos x="T2" y="T3"/>
                  </a:cxn>
                  <a:cxn ang="0">
                    <a:pos x="T4" y="T5"/>
                  </a:cxn>
                  <a:cxn ang="0">
                    <a:pos x="T6" y="T7"/>
                  </a:cxn>
                  <a:cxn ang="0">
                    <a:pos x="T8" y="T9"/>
                  </a:cxn>
                  <a:cxn ang="0">
                    <a:pos x="T10" y="T11"/>
                  </a:cxn>
                </a:cxnLst>
                <a:rect l="0" t="0" r="r" b="b"/>
                <a:pathLst>
                  <a:path w="999" h="1351">
                    <a:moveTo>
                      <a:pt x="999" y="1351"/>
                    </a:moveTo>
                    <a:lnTo>
                      <a:pt x="0" y="0"/>
                    </a:lnTo>
                    <a:lnTo>
                      <a:pt x="0" y="0"/>
                    </a:lnTo>
                    <a:lnTo>
                      <a:pt x="999" y="1351"/>
                    </a:lnTo>
                    <a:lnTo>
                      <a:pt x="999" y="1351"/>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57" name="Rectangle 404"/>
              <p:cNvSpPr>
                <a:spLocks noChangeArrowheads="1"/>
              </p:cNvSpPr>
              <p:nvPr/>
            </p:nvSpPr>
            <p:spPr bwMode="auto">
              <a:xfrm>
                <a:off x="-4567238" y="-1984376"/>
                <a:ext cx="1588" cy="1588"/>
              </a:xfrm>
              <a:prstGeom prst="rect">
                <a:avLst/>
              </a:prstGeom>
              <a:solidFill>
                <a:srgbClr val="5697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58" name="Freeform 405"/>
              <p:cNvSpPr>
                <a:spLocks/>
              </p:cNvSpPr>
              <p:nvPr/>
            </p:nvSpPr>
            <p:spPr bwMode="auto">
              <a:xfrm>
                <a:off x="-5526088" y="-3540126"/>
                <a:ext cx="958850" cy="2135188"/>
              </a:xfrm>
              <a:custGeom>
                <a:avLst/>
                <a:gdLst>
                  <a:gd name="T0" fmla="*/ 0 w 604"/>
                  <a:gd name="T1" fmla="*/ 1345 h 1345"/>
                  <a:gd name="T2" fmla="*/ 1 w 604"/>
                  <a:gd name="T3" fmla="*/ 1294 h 1345"/>
                  <a:gd name="T4" fmla="*/ 38 w 604"/>
                  <a:gd name="T5" fmla="*/ 0 h 1345"/>
                  <a:gd name="T6" fmla="*/ 38 w 604"/>
                  <a:gd name="T7" fmla="*/ 0 h 1345"/>
                  <a:gd name="T8" fmla="*/ 38 w 604"/>
                  <a:gd name="T9" fmla="*/ 0 h 1345"/>
                  <a:gd name="T10" fmla="*/ 604 w 604"/>
                  <a:gd name="T11" fmla="*/ 980 h 1345"/>
                  <a:gd name="T12" fmla="*/ 0 w 604"/>
                  <a:gd name="T13" fmla="*/ 1345 h 1345"/>
                </a:gdLst>
                <a:ahLst/>
                <a:cxnLst>
                  <a:cxn ang="0">
                    <a:pos x="T0" y="T1"/>
                  </a:cxn>
                  <a:cxn ang="0">
                    <a:pos x="T2" y="T3"/>
                  </a:cxn>
                  <a:cxn ang="0">
                    <a:pos x="T4" y="T5"/>
                  </a:cxn>
                  <a:cxn ang="0">
                    <a:pos x="T6" y="T7"/>
                  </a:cxn>
                  <a:cxn ang="0">
                    <a:pos x="T8" y="T9"/>
                  </a:cxn>
                  <a:cxn ang="0">
                    <a:pos x="T10" y="T11"/>
                  </a:cxn>
                  <a:cxn ang="0">
                    <a:pos x="T12" y="T13"/>
                  </a:cxn>
                </a:cxnLst>
                <a:rect l="0" t="0" r="r" b="b"/>
                <a:pathLst>
                  <a:path w="604" h="1345">
                    <a:moveTo>
                      <a:pt x="0" y="1345"/>
                    </a:moveTo>
                    <a:lnTo>
                      <a:pt x="1" y="1294"/>
                    </a:lnTo>
                    <a:lnTo>
                      <a:pt x="38" y="0"/>
                    </a:lnTo>
                    <a:lnTo>
                      <a:pt x="38" y="0"/>
                    </a:lnTo>
                    <a:lnTo>
                      <a:pt x="38" y="0"/>
                    </a:lnTo>
                    <a:lnTo>
                      <a:pt x="604" y="980"/>
                    </a:lnTo>
                    <a:lnTo>
                      <a:pt x="0" y="134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59" name="Freeform 406"/>
              <p:cNvSpPr>
                <a:spLocks/>
              </p:cNvSpPr>
              <p:nvPr/>
            </p:nvSpPr>
            <p:spPr bwMode="auto">
              <a:xfrm>
                <a:off x="-4567238" y="-3540126"/>
                <a:ext cx="1239838" cy="2046288"/>
              </a:xfrm>
              <a:custGeom>
                <a:avLst/>
                <a:gdLst>
                  <a:gd name="T0" fmla="*/ 781 w 781"/>
                  <a:gd name="T1" fmla="*/ 1289 h 1289"/>
                  <a:gd name="T2" fmla="*/ 0 w 781"/>
                  <a:gd name="T3" fmla="*/ 980 h 1289"/>
                  <a:gd name="T4" fmla="*/ 566 w 781"/>
                  <a:gd name="T5" fmla="*/ 0 h 1289"/>
                  <a:gd name="T6" fmla="*/ 716 w 781"/>
                  <a:gd name="T7" fmla="*/ 902 h 1289"/>
                  <a:gd name="T8" fmla="*/ 781 w 781"/>
                  <a:gd name="T9" fmla="*/ 1289 h 1289"/>
                </a:gdLst>
                <a:ahLst/>
                <a:cxnLst>
                  <a:cxn ang="0">
                    <a:pos x="T0" y="T1"/>
                  </a:cxn>
                  <a:cxn ang="0">
                    <a:pos x="T2" y="T3"/>
                  </a:cxn>
                  <a:cxn ang="0">
                    <a:pos x="T4" y="T5"/>
                  </a:cxn>
                  <a:cxn ang="0">
                    <a:pos x="T6" y="T7"/>
                  </a:cxn>
                  <a:cxn ang="0">
                    <a:pos x="T8" y="T9"/>
                  </a:cxn>
                </a:cxnLst>
                <a:rect l="0" t="0" r="r" b="b"/>
                <a:pathLst>
                  <a:path w="781" h="1289">
                    <a:moveTo>
                      <a:pt x="781" y="1289"/>
                    </a:moveTo>
                    <a:lnTo>
                      <a:pt x="0" y="980"/>
                    </a:lnTo>
                    <a:lnTo>
                      <a:pt x="566" y="0"/>
                    </a:lnTo>
                    <a:lnTo>
                      <a:pt x="716" y="902"/>
                    </a:lnTo>
                    <a:lnTo>
                      <a:pt x="781" y="128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60" name="Freeform 407"/>
              <p:cNvSpPr>
                <a:spLocks noEditPoints="1"/>
              </p:cNvSpPr>
              <p:nvPr/>
            </p:nvSpPr>
            <p:spPr bwMode="auto">
              <a:xfrm>
                <a:off x="-5526088" y="-1984376"/>
                <a:ext cx="958850" cy="2641600"/>
              </a:xfrm>
              <a:custGeom>
                <a:avLst/>
                <a:gdLst>
                  <a:gd name="T0" fmla="*/ 0 w 1258"/>
                  <a:gd name="T1" fmla="*/ 3467 h 3467"/>
                  <a:gd name="T2" fmla="*/ 0 w 1258"/>
                  <a:gd name="T3" fmla="*/ 3467 h 3467"/>
                  <a:gd name="T4" fmla="*/ 0 w 1258"/>
                  <a:gd name="T5" fmla="*/ 3467 h 3467"/>
                  <a:gd name="T6" fmla="*/ 0 w 1258"/>
                  <a:gd name="T7" fmla="*/ 3467 h 3467"/>
                  <a:gd name="T8" fmla="*/ 0 w 1258"/>
                  <a:gd name="T9" fmla="*/ 3467 h 3467"/>
                  <a:gd name="T10" fmla="*/ 0 w 1258"/>
                  <a:gd name="T11" fmla="*/ 760 h 3467"/>
                  <a:gd name="T12" fmla="*/ 1258 w 1258"/>
                  <a:gd name="T13" fmla="*/ 0 h 3467"/>
                  <a:gd name="T14" fmla="*/ 0 w 1258"/>
                  <a:gd name="T15" fmla="*/ 3467 h 3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8" h="3467">
                    <a:moveTo>
                      <a:pt x="0" y="3467"/>
                    </a:moveTo>
                    <a:lnTo>
                      <a:pt x="0" y="3467"/>
                    </a:lnTo>
                    <a:lnTo>
                      <a:pt x="0" y="3467"/>
                    </a:lnTo>
                    <a:lnTo>
                      <a:pt x="0" y="3467"/>
                    </a:lnTo>
                    <a:moveTo>
                      <a:pt x="0" y="3467"/>
                    </a:moveTo>
                    <a:lnTo>
                      <a:pt x="0" y="760"/>
                    </a:lnTo>
                    <a:lnTo>
                      <a:pt x="1258" y="0"/>
                    </a:lnTo>
                    <a:lnTo>
                      <a:pt x="0" y="3467"/>
                    </a:lnTo>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61" name="Freeform 408"/>
              <p:cNvSpPr>
                <a:spLocks/>
              </p:cNvSpPr>
              <p:nvPr/>
            </p:nvSpPr>
            <p:spPr bwMode="auto">
              <a:xfrm>
                <a:off x="-5526088" y="-1984376"/>
                <a:ext cx="958850" cy="2641600"/>
              </a:xfrm>
              <a:custGeom>
                <a:avLst/>
                <a:gdLst>
                  <a:gd name="T0" fmla="*/ 0 w 604"/>
                  <a:gd name="T1" fmla="*/ 1664 h 1664"/>
                  <a:gd name="T2" fmla="*/ 0 w 604"/>
                  <a:gd name="T3" fmla="*/ 1664 h 1664"/>
                  <a:gd name="T4" fmla="*/ 604 w 604"/>
                  <a:gd name="T5" fmla="*/ 0 h 1664"/>
                  <a:gd name="T6" fmla="*/ 604 w 604"/>
                  <a:gd name="T7" fmla="*/ 0 h 1664"/>
                  <a:gd name="T8" fmla="*/ 604 w 604"/>
                  <a:gd name="T9" fmla="*/ 0 h 1664"/>
                  <a:gd name="T10" fmla="*/ 0 w 604"/>
                  <a:gd name="T11" fmla="*/ 1664 h 1664"/>
                  <a:gd name="T12" fmla="*/ 0 w 604"/>
                  <a:gd name="T13" fmla="*/ 1664 h 1664"/>
                </a:gdLst>
                <a:ahLst/>
                <a:cxnLst>
                  <a:cxn ang="0">
                    <a:pos x="T0" y="T1"/>
                  </a:cxn>
                  <a:cxn ang="0">
                    <a:pos x="T2" y="T3"/>
                  </a:cxn>
                  <a:cxn ang="0">
                    <a:pos x="T4" y="T5"/>
                  </a:cxn>
                  <a:cxn ang="0">
                    <a:pos x="T6" y="T7"/>
                  </a:cxn>
                  <a:cxn ang="0">
                    <a:pos x="T8" y="T9"/>
                  </a:cxn>
                  <a:cxn ang="0">
                    <a:pos x="T10" y="T11"/>
                  </a:cxn>
                  <a:cxn ang="0">
                    <a:pos x="T12" y="T13"/>
                  </a:cxn>
                </a:cxnLst>
                <a:rect l="0" t="0" r="r" b="b"/>
                <a:pathLst>
                  <a:path w="604" h="1664">
                    <a:moveTo>
                      <a:pt x="0" y="1664"/>
                    </a:moveTo>
                    <a:lnTo>
                      <a:pt x="0" y="1664"/>
                    </a:lnTo>
                    <a:lnTo>
                      <a:pt x="604" y="0"/>
                    </a:lnTo>
                    <a:lnTo>
                      <a:pt x="604" y="0"/>
                    </a:lnTo>
                    <a:lnTo>
                      <a:pt x="604" y="0"/>
                    </a:lnTo>
                    <a:lnTo>
                      <a:pt x="0" y="1664"/>
                    </a:lnTo>
                    <a:lnTo>
                      <a:pt x="0" y="166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62" name="Freeform 409"/>
              <p:cNvSpPr>
                <a:spLocks/>
              </p:cNvSpPr>
              <p:nvPr/>
            </p:nvSpPr>
            <p:spPr bwMode="auto">
              <a:xfrm>
                <a:off x="-4567238" y="-19843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63" name="Freeform 410"/>
              <p:cNvSpPr>
                <a:spLocks noEditPoints="1"/>
              </p:cNvSpPr>
              <p:nvPr/>
            </p:nvSpPr>
            <p:spPr bwMode="auto">
              <a:xfrm>
                <a:off x="-8159750" y="2682875"/>
                <a:ext cx="1141413" cy="1914525"/>
              </a:xfrm>
              <a:custGeom>
                <a:avLst/>
                <a:gdLst>
                  <a:gd name="T0" fmla="*/ 1498 w 1498"/>
                  <a:gd name="T1" fmla="*/ 2514 h 2514"/>
                  <a:gd name="T2" fmla="*/ 1 w 1498"/>
                  <a:gd name="T3" fmla="*/ 2041 h 2514"/>
                  <a:gd name="T4" fmla="*/ 0 w 1498"/>
                  <a:gd name="T5" fmla="*/ 2041 h 2514"/>
                  <a:gd name="T6" fmla="*/ 1 w 1498"/>
                  <a:gd name="T7" fmla="*/ 2041 h 2514"/>
                  <a:gd name="T8" fmla="*/ 1179 w 1498"/>
                  <a:gd name="T9" fmla="*/ 0 h 2514"/>
                  <a:gd name="T10" fmla="*/ 1179 w 1498"/>
                  <a:gd name="T11" fmla="*/ 0 h 2514"/>
                  <a:gd name="T12" fmla="*/ 1179 w 1498"/>
                  <a:gd name="T13" fmla="*/ 0 h 2514"/>
                  <a:gd name="T14" fmla="*/ 1179 w 1498"/>
                  <a:gd name="T15" fmla="*/ 0 h 2514"/>
                  <a:gd name="T16" fmla="*/ 1179 w 1498"/>
                  <a:gd name="T17" fmla="*/ 0 h 2514"/>
                  <a:gd name="T18" fmla="*/ 1234 w 1498"/>
                  <a:gd name="T19" fmla="*/ 432 h 2514"/>
                  <a:gd name="T20" fmla="*/ 1498 w 1498"/>
                  <a:gd name="T21" fmla="*/ 2514 h 2514"/>
                  <a:gd name="T22" fmla="*/ 1179 w 1498"/>
                  <a:gd name="T23" fmla="*/ 0 h 2514"/>
                  <a:gd name="T24" fmla="*/ 1179 w 1498"/>
                  <a:gd name="T25" fmla="*/ 0 h 2514"/>
                  <a:gd name="T26" fmla="*/ 1179 w 1498"/>
                  <a:gd name="T27" fmla="*/ 0 h 2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8" h="2514">
                    <a:moveTo>
                      <a:pt x="1498" y="2514"/>
                    </a:moveTo>
                    <a:lnTo>
                      <a:pt x="1" y="2041"/>
                    </a:lnTo>
                    <a:lnTo>
                      <a:pt x="0" y="2041"/>
                    </a:lnTo>
                    <a:lnTo>
                      <a:pt x="1" y="2041"/>
                    </a:lnTo>
                    <a:lnTo>
                      <a:pt x="1179" y="0"/>
                    </a:lnTo>
                    <a:lnTo>
                      <a:pt x="1179" y="0"/>
                    </a:lnTo>
                    <a:lnTo>
                      <a:pt x="1179" y="0"/>
                    </a:lnTo>
                    <a:lnTo>
                      <a:pt x="1179" y="0"/>
                    </a:lnTo>
                    <a:lnTo>
                      <a:pt x="1179" y="0"/>
                    </a:lnTo>
                    <a:lnTo>
                      <a:pt x="1234" y="432"/>
                    </a:lnTo>
                    <a:lnTo>
                      <a:pt x="1498" y="2514"/>
                    </a:lnTo>
                    <a:moveTo>
                      <a:pt x="1179" y="0"/>
                    </a:moveTo>
                    <a:lnTo>
                      <a:pt x="1179" y="0"/>
                    </a:lnTo>
                    <a:lnTo>
                      <a:pt x="1179"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64" name="Freeform 411"/>
              <p:cNvSpPr>
                <a:spLocks/>
              </p:cNvSpPr>
              <p:nvPr/>
            </p:nvSpPr>
            <p:spPr bwMode="auto">
              <a:xfrm>
                <a:off x="-8159750" y="1125537"/>
                <a:ext cx="1795463" cy="1557338"/>
              </a:xfrm>
              <a:custGeom>
                <a:avLst/>
                <a:gdLst>
                  <a:gd name="T0" fmla="*/ 566 w 1131"/>
                  <a:gd name="T1" fmla="*/ 981 h 981"/>
                  <a:gd name="T2" fmla="*/ 4 w 1131"/>
                  <a:gd name="T3" fmla="*/ 7 h 981"/>
                  <a:gd name="T4" fmla="*/ 0 w 1131"/>
                  <a:gd name="T5" fmla="*/ 0 h 981"/>
                  <a:gd name="T6" fmla="*/ 0 w 1131"/>
                  <a:gd name="T7" fmla="*/ 0 h 981"/>
                  <a:gd name="T8" fmla="*/ 0 w 1131"/>
                  <a:gd name="T9" fmla="*/ 0 h 981"/>
                  <a:gd name="T10" fmla="*/ 0 w 1131"/>
                  <a:gd name="T11" fmla="*/ 0 h 981"/>
                  <a:gd name="T12" fmla="*/ 1131 w 1131"/>
                  <a:gd name="T13" fmla="*/ 0 h 981"/>
                  <a:gd name="T14" fmla="*/ 566 w 1131"/>
                  <a:gd name="T15" fmla="*/ 981 h 9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981">
                    <a:moveTo>
                      <a:pt x="566" y="981"/>
                    </a:moveTo>
                    <a:lnTo>
                      <a:pt x="4" y="7"/>
                    </a:lnTo>
                    <a:lnTo>
                      <a:pt x="0" y="0"/>
                    </a:lnTo>
                    <a:lnTo>
                      <a:pt x="0" y="0"/>
                    </a:lnTo>
                    <a:lnTo>
                      <a:pt x="0" y="0"/>
                    </a:lnTo>
                    <a:lnTo>
                      <a:pt x="0" y="0"/>
                    </a:lnTo>
                    <a:lnTo>
                      <a:pt x="1131" y="0"/>
                    </a:lnTo>
                    <a:lnTo>
                      <a:pt x="566" y="98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65" name="Freeform 412"/>
              <p:cNvSpPr>
                <a:spLocks noEditPoints="1"/>
              </p:cNvSpPr>
              <p:nvPr/>
            </p:nvSpPr>
            <p:spPr bwMode="auto">
              <a:xfrm>
                <a:off x="-7261225" y="2655887"/>
                <a:ext cx="1047750" cy="1941513"/>
              </a:xfrm>
              <a:custGeom>
                <a:avLst/>
                <a:gdLst>
                  <a:gd name="T0" fmla="*/ 319 w 1375"/>
                  <a:gd name="T1" fmla="*/ 2549 h 2549"/>
                  <a:gd name="T2" fmla="*/ 55 w 1375"/>
                  <a:gd name="T3" fmla="*/ 467 h 2549"/>
                  <a:gd name="T4" fmla="*/ 0 w 1375"/>
                  <a:gd name="T5" fmla="*/ 35 h 2549"/>
                  <a:gd name="T6" fmla="*/ 1375 w 1375"/>
                  <a:gd name="T7" fmla="*/ 0 h 2549"/>
                  <a:gd name="T8" fmla="*/ 1375 w 1375"/>
                  <a:gd name="T9" fmla="*/ 0 h 2549"/>
                  <a:gd name="T10" fmla="*/ 319 w 1375"/>
                  <a:gd name="T11" fmla="*/ 2549 h 2549"/>
                  <a:gd name="T12" fmla="*/ 1375 w 1375"/>
                  <a:gd name="T13" fmla="*/ 0 h 2549"/>
                  <a:gd name="T14" fmla="*/ 1375 w 1375"/>
                  <a:gd name="T15" fmla="*/ 0 h 2549"/>
                  <a:gd name="T16" fmla="*/ 1375 w 1375"/>
                  <a:gd name="T17" fmla="*/ 0 h 2549"/>
                  <a:gd name="T18" fmla="*/ 1375 w 1375"/>
                  <a:gd name="T19" fmla="*/ 0 h 2549"/>
                  <a:gd name="T20" fmla="*/ 1375 w 1375"/>
                  <a:gd name="T21" fmla="*/ 0 h 2549"/>
                  <a:gd name="T22" fmla="*/ 1375 w 1375"/>
                  <a:gd name="T23" fmla="*/ 0 h 2549"/>
                  <a:gd name="T24" fmla="*/ 1375 w 1375"/>
                  <a:gd name="T25" fmla="*/ 0 h 2549"/>
                  <a:gd name="T26" fmla="*/ 1375 w 1375"/>
                  <a:gd name="T27" fmla="*/ 0 h 2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5" h="2549">
                    <a:moveTo>
                      <a:pt x="319" y="2549"/>
                    </a:moveTo>
                    <a:lnTo>
                      <a:pt x="55" y="467"/>
                    </a:lnTo>
                    <a:lnTo>
                      <a:pt x="0" y="35"/>
                    </a:lnTo>
                    <a:lnTo>
                      <a:pt x="1375" y="0"/>
                    </a:lnTo>
                    <a:lnTo>
                      <a:pt x="1375" y="0"/>
                    </a:lnTo>
                    <a:lnTo>
                      <a:pt x="319" y="2549"/>
                    </a:lnTo>
                    <a:moveTo>
                      <a:pt x="1375" y="0"/>
                    </a:moveTo>
                    <a:lnTo>
                      <a:pt x="1375" y="0"/>
                    </a:lnTo>
                    <a:lnTo>
                      <a:pt x="1375" y="0"/>
                    </a:lnTo>
                    <a:lnTo>
                      <a:pt x="1375" y="0"/>
                    </a:lnTo>
                    <a:moveTo>
                      <a:pt x="1375" y="0"/>
                    </a:moveTo>
                    <a:lnTo>
                      <a:pt x="1375" y="0"/>
                    </a:lnTo>
                    <a:lnTo>
                      <a:pt x="1375" y="0"/>
                    </a:lnTo>
                    <a:lnTo>
                      <a:pt x="1375"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66" name="Freeform 413"/>
              <p:cNvSpPr>
                <a:spLocks noEditPoints="1"/>
              </p:cNvSpPr>
              <p:nvPr/>
            </p:nvSpPr>
            <p:spPr bwMode="auto">
              <a:xfrm>
                <a:off x="-9488488" y="1125537"/>
                <a:ext cx="2227263" cy="2085975"/>
              </a:xfrm>
              <a:custGeom>
                <a:avLst/>
                <a:gdLst>
                  <a:gd name="T0" fmla="*/ 0 w 2922"/>
                  <a:gd name="T1" fmla="*/ 2737 h 2737"/>
                  <a:gd name="T2" fmla="*/ 0 w 2922"/>
                  <a:gd name="T3" fmla="*/ 2737 h 2737"/>
                  <a:gd name="T4" fmla="*/ 0 w 2922"/>
                  <a:gd name="T5" fmla="*/ 2737 h 2737"/>
                  <a:gd name="T6" fmla="*/ 0 w 2922"/>
                  <a:gd name="T7" fmla="*/ 2737 h 2737"/>
                  <a:gd name="T8" fmla="*/ 1744 w 2922"/>
                  <a:gd name="T9" fmla="*/ 0 h 2737"/>
                  <a:gd name="T10" fmla="*/ 1752 w 2922"/>
                  <a:gd name="T11" fmla="*/ 14 h 2737"/>
                  <a:gd name="T12" fmla="*/ 2922 w 2922"/>
                  <a:gd name="T13" fmla="*/ 2042 h 2737"/>
                  <a:gd name="T14" fmla="*/ 2922 w 2922"/>
                  <a:gd name="T15" fmla="*/ 2042 h 2737"/>
                  <a:gd name="T16" fmla="*/ 0 w 2922"/>
                  <a:gd name="T17" fmla="*/ 2737 h 2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22" h="2737">
                    <a:moveTo>
                      <a:pt x="0" y="2737"/>
                    </a:moveTo>
                    <a:lnTo>
                      <a:pt x="0" y="2737"/>
                    </a:lnTo>
                    <a:lnTo>
                      <a:pt x="0" y="2737"/>
                    </a:lnTo>
                    <a:moveTo>
                      <a:pt x="0" y="2737"/>
                    </a:moveTo>
                    <a:lnTo>
                      <a:pt x="1744" y="0"/>
                    </a:lnTo>
                    <a:lnTo>
                      <a:pt x="1752" y="14"/>
                    </a:lnTo>
                    <a:lnTo>
                      <a:pt x="2922" y="2042"/>
                    </a:lnTo>
                    <a:lnTo>
                      <a:pt x="2922" y="2042"/>
                    </a:lnTo>
                    <a:lnTo>
                      <a:pt x="0" y="2737"/>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67" name="Freeform 414"/>
              <p:cNvSpPr>
                <a:spLocks/>
              </p:cNvSpPr>
              <p:nvPr/>
            </p:nvSpPr>
            <p:spPr bwMode="auto">
              <a:xfrm>
                <a:off x="-7261225" y="1125537"/>
                <a:ext cx="1047750" cy="1557338"/>
              </a:xfrm>
              <a:custGeom>
                <a:avLst/>
                <a:gdLst>
                  <a:gd name="T0" fmla="*/ 0 w 660"/>
                  <a:gd name="T1" fmla="*/ 981 h 981"/>
                  <a:gd name="T2" fmla="*/ 0 w 660"/>
                  <a:gd name="T3" fmla="*/ 981 h 981"/>
                  <a:gd name="T4" fmla="*/ 565 w 660"/>
                  <a:gd name="T5" fmla="*/ 0 h 981"/>
                  <a:gd name="T6" fmla="*/ 565 w 660"/>
                  <a:gd name="T7" fmla="*/ 0 h 981"/>
                  <a:gd name="T8" fmla="*/ 565 w 660"/>
                  <a:gd name="T9" fmla="*/ 0 h 981"/>
                  <a:gd name="T10" fmla="*/ 660 w 660"/>
                  <a:gd name="T11" fmla="*/ 963 h 981"/>
                  <a:gd name="T12" fmla="*/ 660 w 660"/>
                  <a:gd name="T13" fmla="*/ 963 h 981"/>
                  <a:gd name="T14" fmla="*/ 660 w 660"/>
                  <a:gd name="T15" fmla="*/ 964 h 981"/>
                  <a:gd name="T16" fmla="*/ 660 w 660"/>
                  <a:gd name="T17" fmla="*/ 964 h 981"/>
                  <a:gd name="T18" fmla="*/ 0 w 660"/>
                  <a:gd name="T19" fmla="*/ 981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0" h="981">
                    <a:moveTo>
                      <a:pt x="0" y="981"/>
                    </a:moveTo>
                    <a:lnTo>
                      <a:pt x="0" y="981"/>
                    </a:lnTo>
                    <a:lnTo>
                      <a:pt x="565" y="0"/>
                    </a:lnTo>
                    <a:lnTo>
                      <a:pt x="565" y="0"/>
                    </a:lnTo>
                    <a:lnTo>
                      <a:pt x="565" y="0"/>
                    </a:lnTo>
                    <a:lnTo>
                      <a:pt x="660" y="963"/>
                    </a:lnTo>
                    <a:lnTo>
                      <a:pt x="660" y="963"/>
                    </a:lnTo>
                    <a:lnTo>
                      <a:pt x="660" y="964"/>
                    </a:lnTo>
                    <a:lnTo>
                      <a:pt x="660" y="964"/>
                    </a:lnTo>
                    <a:lnTo>
                      <a:pt x="0"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68" name="Freeform 415"/>
              <p:cNvSpPr>
                <a:spLocks/>
              </p:cNvSpPr>
              <p:nvPr/>
            </p:nvSpPr>
            <p:spPr bwMode="auto">
              <a:xfrm>
                <a:off x="-9488488" y="2682875"/>
                <a:ext cx="2227263" cy="1554163"/>
              </a:xfrm>
              <a:custGeom>
                <a:avLst/>
                <a:gdLst>
                  <a:gd name="T0" fmla="*/ 1744 w 2922"/>
                  <a:gd name="T1" fmla="*/ 2041 h 2041"/>
                  <a:gd name="T2" fmla="*/ 0 w 2922"/>
                  <a:gd name="T3" fmla="*/ 695 h 2041"/>
                  <a:gd name="T4" fmla="*/ 2922 w 2922"/>
                  <a:gd name="T5" fmla="*/ 0 h 2041"/>
                  <a:gd name="T6" fmla="*/ 1743 w 2922"/>
                  <a:gd name="T7" fmla="*/ 2041 h 2041"/>
                </a:gdLst>
                <a:ahLst/>
                <a:cxnLst>
                  <a:cxn ang="0">
                    <a:pos x="T0" y="T1"/>
                  </a:cxn>
                  <a:cxn ang="0">
                    <a:pos x="T2" y="T3"/>
                  </a:cxn>
                  <a:cxn ang="0">
                    <a:pos x="T4" y="T5"/>
                  </a:cxn>
                  <a:cxn ang="0">
                    <a:pos x="T6" y="T7"/>
                  </a:cxn>
                </a:cxnLst>
                <a:rect l="0" t="0" r="r" b="b"/>
                <a:pathLst>
                  <a:path w="2922" h="2041">
                    <a:moveTo>
                      <a:pt x="1744" y="2041"/>
                    </a:moveTo>
                    <a:lnTo>
                      <a:pt x="0" y="695"/>
                    </a:lnTo>
                    <a:lnTo>
                      <a:pt x="2922" y="0"/>
                    </a:lnTo>
                    <a:lnTo>
                      <a:pt x="1743" y="204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69" name="Freeform 416"/>
              <p:cNvSpPr>
                <a:spLocks/>
              </p:cNvSpPr>
              <p:nvPr/>
            </p:nvSpPr>
            <p:spPr bwMode="auto">
              <a:xfrm>
                <a:off x="-8159750" y="2682875"/>
                <a:ext cx="898525" cy="1554163"/>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70" name="Freeform 417"/>
              <p:cNvSpPr>
                <a:spLocks/>
              </p:cNvSpPr>
              <p:nvPr/>
            </p:nvSpPr>
            <p:spPr bwMode="auto">
              <a:xfrm>
                <a:off x="-9488488" y="2682875"/>
                <a:ext cx="2227263" cy="528638"/>
              </a:xfrm>
              <a:custGeom>
                <a:avLst/>
                <a:gdLst>
                  <a:gd name="T0" fmla="*/ 0 w 1403"/>
                  <a:gd name="T1" fmla="*/ 333 h 333"/>
                  <a:gd name="T2" fmla="*/ 0 w 1403"/>
                  <a:gd name="T3" fmla="*/ 333 h 333"/>
                  <a:gd name="T4" fmla="*/ 1403 w 1403"/>
                  <a:gd name="T5" fmla="*/ 0 h 333"/>
                  <a:gd name="T6" fmla="*/ 1403 w 1403"/>
                  <a:gd name="T7" fmla="*/ 0 h 333"/>
                  <a:gd name="T8" fmla="*/ 0 w 1403"/>
                  <a:gd name="T9" fmla="*/ 333 h 333"/>
                </a:gdLst>
                <a:ahLst/>
                <a:cxnLst>
                  <a:cxn ang="0">
                    <a:pos x="T0" y="T1"/>
                  </a:cxn>
                  <a:cxn ang="0">
                    <a:pos x="T2" y="T3"/>
                  </a:cxn>
                  <a:cxn ang="0">
                    <a:pos x="T4" y="T5"/>
                  </a:cxn>
                  <a:cxn ang="0">
                    <a:pos x="T6" y="T7"/>
                  </a:cxn>
                  <a:cxn ang="0">
                    <a:pos x="T8" y="T9"/>
                  </a:cxn>
                </a:cxnLst>
                <a:rect l="0" t="0" r="r" b="b"/>
                <a:pathLst>
                  <a:path w="1403" h="333">
                    <a:moveTo>
                      <a:pt x="0" y="333"/>
                    </a:moveTo>
                    <a:lnTo>
                      <a:pt x="0" y="333"/>
                    </a:lnTo>
                    <a:lnTo>
                      <a:pt x="1403" y="0"/>
                    </a:lnTo>
                    <a:lnTo>
                      <a:pt x="1403" y="0"/>
                    </a:lnTo>
                    <a:lnTo>
                      <a:pt x="0" y="33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71" name="Freeform 418"/>
              <p:cNvSpPr>
                <a:spLocks noEditPoints="1"/>
              </p:cNvSpPr>
              <p:nvPr/>
            </p:nvSpPr>
            <p:spPr bwMode="auto">
              <a:xfrm>
                <a:off x="-6213475" y="1125537"/>
                <a:ext cx="1800225" cy="1987550"/>
              </a:xfrm>
              <a:custGeom>
                <a:avLst/>
                <a:gdLst>
                  <a:gd name="T0" fmla="*/ 2364 w 2364"/>
                  <a:gd name="T1" fmla="*/ 2608 h 2608"/>
                  <a:gd name="T2" fmla="*/ 0 w 2364"/>
                  <a:gd name="T3" fmla="*/ 2007 h 2608"/>
                  <a:gd name="T4" fmla="*/ 0 w 2364"/>
                  <a:gd name="T5" fmla="*/ 2006 h 2608"/>
                  <a:gd name="T6" fmla="*/ 0 w 2364"/>
                  <a:gd name="T7" fmla="*/ 2006 h 2608"/>
                  <a:gd name="T8" fmla="*/ 0 w 2364"/>
                  <a:gd name="T9" fmla="*/ 2006 h 2608"/>
                  <a:gd name="T10" fmla="*/ 2161 w 2364"/>
                  <a:gd name="T11" fmla="*/ 0 h 2608"/>
                  <a:gd name="T12" fmla="*/ 2364 w 2364"/>
                  <a:gd name="T13" fmla="*/ 2608 h 2608"/>
                  <a:gd name="T14" fmla="*/ 2161 w 2364"/>
                  <a:gd name="T15" fmla="*/ 0 h 2608"/>
                  <a:gd name="T16" fmla="*/ 2161 w 2364"/>
                  <a:gd name="T17" fmla="*/ 0 h 2608"/>
                  <a:gd name="T18" fmla="*/ 2161 w 2364"/>
                  <a:gd name="T19" fmla="*/ 0 h 2608"/>
                  <a:gd name="T20" fmla="*/ 2161 w 2364"/>
                  <a:gd name="T21" fmla="*/ 0 h 2608"/>
                  <a:gd name="T22" fmla="*/ 2161 w 2364"/>
                  <a:gd name="T23" fmla="*/ 0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64" h="2608">
                    <a:moveTo>
                      <a:pt x="2364" y="2608"/>
                    </a:moveTo>
                    <a:lnTo>
                      <a:pt x="0" y="2007"/>
                    </a:lnTo>
                    <a:lnTo>
                      <a:pt x="0" y="2006"/>
                    </a:lnTo>
                    <a:lnTo>
                      <a:pt x="0" y="2006"/>
                    </a:lnTo>
                    <a:lnTo>
                      <a:pt x="0" y="2006"/>
                    </a:lnTo>
                    <a:lnTo>
                      <a:pt x="2161" y="0"/>
                    </a:lnTo>
                    <a:lnTo>
                      <a:pt x="2364" y="2608"/>
                    </a:lnTo>
                    <a:moveTo>
                      <a:pt x="2161" y="0"/>
                    </a:moveTo>
                    <a:lnTo>
                      <a:pt x="2161" y="0"/>
                    </a:lnTo>
                    <a:lnTo>
                      <a:pt x="2161" y="0"/>
                    </a:lnTo>
                    <a:lnTo>
                      <a:pt x="2161" y="0"/>
                    </a:lnTo>
                    <a:lnTo>
                      <a:pt x="2161" y="0"/>
                    </a:lnTo>
                  </a:path>
                </a:pathLst>
              </a:custGeom>
              <a:solidFill>
                <a:srgbClr val="59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72" name="Rectangle 419"/>
              <p:cNvSpPr>
                <a:spLocks noChangeArrowheads="1"/>
              </p:cNvSpPr>
              <p:nvPr/>
            </p:nvSpPr>
            <p:spPr bwMode="auto">
              <a:xfrm>
                <a:off x="-6213475" y="2654300"/>
                <a:ext cx="1588" cy="1588"/>
              </a:xfrm>
              <a:prstGeom prst="rect">
                <a:avLst/>
              </a:prstGeom>
              <a:solidFill>
                <a:srgbClr val="5BA4BF"/>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73" name="Freeform 420"/>
              <p:cNvSpPr>
                <a:spLocks/>
              </p:cNvSpPr>
              <p:nvPr/>
            </p:nvSpPr>
            <p:spPr bwMode="auto">
              <a:xfrm>
                <a:off x="-5526088" y="160337"/>
                <a:ext cx="2544763" cy="965200"/>
              </a:xfrm>
              <a:custGeom>
                <a:avLst/>
                <a:gdLst>
                  <a:gd name="T0" fmla="*/ 604 w 1603"/>
                  <a:gd name="T1" fmla="*/ 608 h 608"/>
                  <a:gd name="T2" fmla="*/ 62 w 1603"/>
                  <a:gd name="T3" fmla="*/ 344 h 608"/>
                  <a:gd name="T4" fmla="*/ 0 w 1603"/>
                  <a:gd name="T5" fmla="*/ 313 h 608"/>
                  <a:gd name="T6" fmla="*/ 0 w 1603"/>
                  <a:gd name="T7" fmla="*/ 313 h 608"/>
                  <a:gd name="T8" fmla="*/ 1603 w 1603"/>
                  <a:gd name="T9" fmla="*/ 0 h 608"/>
                  <a:gd name="T10" fmla="*/ 1508 w 1603"/>
                  <a:gd name="T11" fmla="*/ 57 h 608"/>
                  <a:gd name="T12" fmla="*/ 604 w 1603"/>
                  <a:gd name="T13" fmla="*/ 608 h 608"/>
                </a:gdLst>
                <a:ahLst/>
                <a:cxnLst>
                  <a:cxn ang="0">
                    <a:pos x="T0" y="T1"/>
                  </a:cxn>
                  <a:cxn ang="0">
                    <a:pos x="T2" y="T3"/>
                  </a:cxn>
                  <a:cxn ang="0">
                    <a:pos x="T4" y="T5"/>
                  </a:cxn>
                  <a:cxn ang="0">
                    <a:pos x="T6" y="T7"/>
                  </a:cxn>
                  <a:cxn ang="0">
                    <a:pos x="T8" y="T9"/>
                  </a:cxn>
                  <a:cxn ang="0">
                    <a:pos x="T10" y="T11"/>
                  </a:cxn>
                  <a:cxn ang="0">
                    <a:pos x="T12" y="T13"/>
                  </a:cxn>
                </a:cxnLst>
                <a:rect l="0" t="0" r="r" b="b"/>
                <a:pathLst>
                  <a:path w="1603" h="608">
                    <a:moveTo>
                      <a:pt x="604" y="608"/>
                    </a:moveTo>
                    <a:lnTo>
                      <a:pt x="62" y="344"/>
                    </a:lnTo>
                    <a:lnTo>
                      <a:pt x="0" y="313"/>
                    </a:lnTo>
                    <a:lnTo>
                      <a:pt x="0" y="313"/>
                    </a:lnTo>
                    <a:lnTo>
                      <a:pt x="1603" y="0"/>
                    </a:lnTo>
                    <a:lnTo>
                      <a:pt x="1508" y="57"/>
                    </a:lnTo>
                    <a:lnTo>
                      <a:pt x="604" y="608"/>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74" name="Freeform 421"/>
              <p:cNvSpPr>
                <a:spLocks/>
              </p:cNvSpPr>
              <p:nvPr/>
            </p:nvSpPr>
            <p:spPr bwMode="auto">
              <a:xfrm>
                <a:off x="-5526088" y="65722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89C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75" name="Freeform 422"/>
              <p:cNvSpPr>
                <a:spLocks/>
              </p:cNvSpPr>
              <p:nvPr/>
            </p:nvSpPr>
            <p:spPr bwMode="auto">
              <a:xfrm>
                <a:off x="-4567238" y="1125537"/>
                <a:ext cx="1795463" cy="1987550"/>
              </a:xfrm>
              <a:custGeom>
                <a:avLst/>
                <a:gdLst>
                  <a:gd name="T0" fmla="*/ 97 w 1131"/>
                  <a:gd name="T1" fmla="*/ 1252 h 1252"/>
                  <a:gd name="T2" fmla="*/ 97 w 1131"/>
                  <a:gd name="T3" fmla="*/ 1252 h 1252"/>
                  <a:gd name="T4" fmla="*/ 0 w 1131"/>
                  <a:gd name="T5" fmla="*/ 0 h 1252"/>
                  <a:gd name="T6" fmla="*/ 0 w 1131"/>
                  <a:gd name="T7" fmla="*/ 0 h 1252"/>
                  <a:gd name="T8" fmla="*/ 1131 w 1131"/>
                  <a:gd name="T9" fmla="*/ 0 h 1252"/>
                  <a:gd name="T10" fmla="*/ 97 w 1131"/>
                  <a:gd name="T11" fmla="*/ 1252 h 1252"/>
                  <a:gd name="T12" fmla="*/ 97 w 1131"/>
                  <a:gd name="T13" fmla="*/ 1252 h 1252"/>
                  <a:gd name="T14" fmla="*/ 97 w 1131"/>
                  <a:gd name="T15" fmla="*/ 1252 h 1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1252">
                    <a:moveTo>
                      <a:pt x="97" y="1252"/>
                    </a:moveTo>
                    <a:lnTo>
                      <a:pt x="97" y="1252"/>
                    </a:lnTo>
                    <a:lnTo>
                      <a:pt x="0" y="0"/>
                    </a:lnTo>
                    <a:lnTo>
                      <a:pt x="0" y="0"/>
                    </a:lnTo>
                    <a:lnTo>
                      <a:pt x="1131" y="0"/>
                    </a:lnTo>
                    <a:lnTo>
                      <a:pt x="97" y="1252"/>
                    </a:lnTo>
                    <a:lnTo>
                      <a:pt x="97" y="1252"/>
                    </a:lnTo>
                    <a:lnTo>
                      <a:pt x="97" y="1252"/>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76" name="Freeform 423"/>
              <p:cNvSpPr>
                <a:spLocks/>
              </p:cNvSpPr>
              <p:nvPr/>
            </p:nvSpPr>
            <p:spPr bwMode="auto">
              <a:xfrm>
                <a:off x="-4567238" y="1125537"/>
                <a:ext cx="153988" cy="1987550"/>
              </a:xfrm>
              <a:custGeom>
                <a:avLst/>
                <a:gdLst>
                  <a:gd name="T0" fmla="*/ 97 w 97"/>
                  <a:gd name="T1" fmla="*/ 1252 h 1252"/>
                  <a:gd name="T2" fmla="*/ 97 w 97"/>
                  <a:gd name="T3" fmla="*/ 1252 h 1252"/>
                  <a:gd name="T4" fmla="*/ 0 w 97"/>
                  <a:gd name="T5" fmla="*/ 0 h 1252"/>
                  <a:gd name="T6" fmla="*/ 0 w 97"/>
                  <a:gd name="T7" fmla="*/ 0 h 1252"/>
                  <a:gd name="T8" fmla="*/ 97 w 97"/>
                  <a:gd name="T9" fmla="*/ 1252 h 1252"/>
                </a:gdLst>
                <a:ahLst/>
                <a:cxnLst>
                  <a:cxn ang="0">
                    <a:pos x="T0" y="T1"/>
                  </a:cxn>
                  <a:cxn ang="0">
                    <a:pos x="T2" y="T3"/>
                  </a:cxn>
                  <a:cxn ang="0">
                    <a:pos x="T4" y="T5"/>
                  </a:cxn>
                  <a:cxn ang="0">
                    <a:pos x="T6" y="T7"/>
                  </a:cxn>
                  <a:cxn ang="0">
                    <a:pos x="T8" y="T9"/>
                  </a:cxn>
                </a:cxnLst>
                <a:rect l="0" t="0" r="r" b="b"/>
                <a:pathLst>
                  <a:path w="97" h="1252">
                    <a:moveTo>
                      <a:pt x="97" y="1252"/>
                    </a:moveTo>
                    <a:lnTo>
                      <a:pt x="97" y="1252"/>
                    </a:lnTo>
                    <a:lnTo>
                      <a:pt x="0" y="0"/>
                    </a:lnTo>
                    <a:lnTo>
                      <a:pt x="0" y="0"/>
                    </a:lnTo>
                    <a:lnTo>
                      <a:pt x="97" y="1252"/>
                    </a:lnTo>
                    <a:close/>
                  </a:path>
                </a:pathLst>
              </a:custGeom>
              <a:solidFill>
                <a:srgbClr val="5BA2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77" name="Freeform 424"/>
              <p:cNvSpPr>
                <a:spLocks noEditPoints="1"/>
              </p:cNvSpPr>
              <p:nvPr/>
            </p:nvSpPr>
            <p:spPr bwMode="auto">
              <a:xfrm>
                <a:off x="-6364288" y="657225"/>
                <a:ext cx="1797050" cy="468313"/>
              </a:xfrm>
              <a:custGeom>
                <a:avLst/>
                <a:gdLst>
                  <a:gd name="T0" fmla="*/ 0 w 2357"/>
                  <a:gd name="T1" fmla="*/ 615 h 615"/>
                  <a:gd name="T2" fmla="*/ 0 w 2357"/>
                  <a:gd name="T3" fmla="*/ 615 h 615"/>
                  <a:gd name="T4" fmla="*/ 0 w 2357"/>
                  <a:gd name="T5" fmla="*/ 615 h 615"/>
                  <a:gd name="T6" fmla="*/ 0 w 2357"/>
                  <a:gd name="T7" fmla="*/ 615 h 615"/>
                  <a:gd name="T8" fmla="*/ 0 w 2357"/>
                  <a:gd name="T9" fmla="*/ 615 h 615"/>
                  <a:gd name="T10" fmla="*/ 2357 w 2357"/>
                  <a:gd name="T11" fmla="*/ 615 h 615"/>
                  <a:gd name="T12" fmla="*/ 0 w 2357"/>
                  <a:gd name="T13" fmla="*/ 615 h 615"/>
                  <a:gd name="T14" fmla="*/ 833 w 2357"/>
                  <a:gd name="T15" fmla="*/ 149 h 615"/>
                  <a:gd name="T16" fmla="*/ 1099 w 2357"/>
                  <a:gd name="T17" fmla="*/ 0 h 615"/>
                  <a:gd name="T18" fmla="*/ 1228 w 2357"/>
                  <a:gd name="T19" fmla="*/ 64 h 615"/>
                  <a:gd name="T20" fmla="*/ 2357 w 2357"/>
                  <a:gd name="T21" fmla="*/ 615 h 615"/>
                  <a:gd name="T22" fmla="*/ 2357 w 2357"/>
                  <a:gd name="T23"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7" h="615">
                    <a:moveTo>
                      <a:pt x="0" y="615"/>
                    </a:moveTo>
                    <a:lnTo>
                      <a:pt x="0" y="615"/>
                    </a:lnTo>
                    <a:lnTo>
                      <a:pt x="0" y="615"/>
                    </a:lnTo>
                    <a:lnTo>
                      <a:pt x="0" y="615"/>
                    </a:lnTo>
                    <a:lnTo>
                      <a:pt x="0" y="615"/>
                    </a:lnTo>
                    <a:moveTo>
                      <a:pt x="2357" y="615"/>
                    </a:moveTo>
                    <a:lnTo>
                      <a:pt x="0" y="615"/>
                    </a:lnTo>
                    <a:lnTo>
                      <a:pt x="833" y="149"/>
                    </a:lnTo>
                    <a:lnTo>
                      <a:pt x="1099" y="0"/>
                    </a:lnTo>
                    <a:lnTo>
                      <a:pt x="1228" y="64"/>
                    </a:lnTo>
                    <a:lnTo>
                      <a:pt x="2357" y="615"/>
                    </a:lnTo>
                    <a:lnTo>
                      <a:pt x="2357" y="615"/>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78" name="Freeform 425"/>
              <p:cNvSpPr>
                <a:spLocks/>
              </p:cNvSpPr>
              <p:nvPr/>
            </p:nvSpPr>
            <p:spPr bwMode="auto">
              <a:xfrm>
                <a:off x="-5729288" y="657225"/>
                <a:ext cx="203200" cy="114300"/>
              </a:xfrm>
              <a:custGeom>
                <a:avLst/>
                <a:gdLst>
                  <a:gd name="T0" fmla="*/ 0 w 128"/>
                  <a:gd name="T1" fmla="*/ 72 h 72"/>
                  <a:gd name="T2" fmla="*/ 128 w 128"/>
                  <a:gd name="T3" fmla="*/ 0 h 72"/>
                  <a:gd name="T4" fmla="*/ 128 w 128"/>
                  <a:gd name="T5" fmla="*/ 0 h 72"/>
                  <a:gd name="T6" fmla="*/ 0 w 128"/>
                  <a:gd name="T7" fmla="*/ 72 h 72"/>
                </a:gdLst>
                <a:ahLst/>
                <a:cxnLst>
                  <a:cxn ang="0">
                    <a:pos x="T0" y="T1"/>
                  </a:cxn>
                  <a:cxn ang="0">
                    <a:pos x="T2" y="T3"/>
                  </a:cxn>
                  <a:cxn ang="0">
                    <a:pos x="T4" y="T5"/>
                  </a:cxn>
                  <a:cxn ang="0">
                    <a:pos x="T6" y="T7"/>
                  </a:cxn>
                </a:cxnLst>
                <a:rect l="0" t="0" r="r" b="b"/>
                <a:pathLst>
                  <a:path w="128" h="72">
                    <a:moveTo>
                      <a:pt x="0" y="72"/>
                    </a:moveTo>
                    <a:lnTo>
                      <a:pt x="128" y="0"/>
                    </a:lnTo>
                    <a:lnTo>
                      <a:pt x="128" y="0"/>
                    </a:lnTo>
                    <a:lnTo>
                      <a:pt x="0" y="72"/>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79" name="Freeform 426"/>
              <p:cNvSpPr>
                <a:spLocks/>
              </p:cNvSpPr>
              <p:nvPr/>
            </p:nvSpPr>
            <p:spPr bwMode="auto">
              <a:xfrm>
                <a:off x="-5526088" y="657225"/>
                <a:ext cx="98425" cy="49213"/>
              </a:xfrm>
              <a:custGeom>
                <a:avLst/>
                <a:gdLst>
                  <a:gd name="T0" fmla="*/ 62 w 62"/>
                  <a:gd name="T1" fmla="*/ 31 h 31"/>
                  <a:gd name="T2" fmla="*/ 0 w 62"/>
                  <a:gd name="T3" fmla="*/ 0 h 31"/>
                  <a:gd name="T4" fmla="*/ 0 w 62"/>
                  <a:gd name="T5" fmla="*/ 0 h 31"/>
                  <a:gd name="T6" fmla="*/ 62 w 62"/>
                  <a:gd name="T7" fmla="*/ 31 h 31"/>
                </a:gdLst>
                <a:ahLst/>
                <a:cxnLst>
                  <a:cxn ang="0">
                    <a:pos x="T0" y="T1"/>
                  </a:cxn>
                  <a:cxn ang="0">
                    <a:pos x="T2" y="T3"/>
                  </a:cxn>
                  <a:cxn ang="0">
                    <a:pos x="T4" y="T5"/>
                  </a:cxn>
                  <a:cxn ang="0">
                    <a:pos x="T6" y="T7"/>
                  </a:cxn>
                </a:cxnLst>
                <a:rect l="0" t="0" r="r" b="b"/>
                <a:pathLst>
                  <a:path w="62" h="31">
                    <a:moveTo>
                      <a:pt x="62" y="31"/>
                    </a:moveTo>
                    <a:lnTo>
                      <a:pt x="0" y="0"/>
                    </a:lnTo>
                    <a:lnTo>
                      <a:pt x="0" y="0"/>
                    </a:lnTo>
                    <a:lnTo>
                      <a:pt x="62" y="31"/>
                    </a:lnTo>
                    <a:close/>
                  </a:path>
                </a:pathLst>
              </a:custGeom>
              <a:solidFill>
                <a:srgbClr val="5390B5"/>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80" name="Rectangle 427"/>
              <p:cNvSpPr>
                <a:spLocks noChangeArrowheads="1"/>
              </p:cNvSpPr>
              <p:nvPr/>
            </p:nvSpPr>
            <p:spPr bwMode="auto">
              <a:xfrm>
                <a:off x="-5526088" y="657225"/>
                <a:ext cx="1588" cy="1588"/>
              </a:xfrm>
              <a:prstGeom prst="rect">
                <a:avLst/>
              </a:prstGeom>
              <a:solidFill>
                <a:srgbClr val="589CBB"/>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81" name="Freeform 428"/>
              <p:cNvSpPr>
                <a:spLocks/>
              </p:cNvSpPr>
              <p:nvPr/>
            </p:nvSpPr>
            <p:spPr bwMode="auto">
              <a:xfrm>
                <a:off x="-4567238" y="160337"/>
                <a:ext cx="1795463" cy="965200"/>
              </a:xfrm>
              <a:custGeom>
                <a:avLst/>
                <a:gdLst>
                  <a:gd name="T0" fmla="*/ 0 w 1131"/>
                  <a:gd name="T1" fmla="*/ 608 h 608"/>
                  <a:gd name="T2" fmla="*/ 0 w 1131"/>
                  <a:gd name="T3" fmla="*/ 608 h 608"/>
                  <a:gd name="T4" fmla="*/ 904 w 1131"/>
                  <a:gd name="T5" fmla="*/ 57 h 608"/>
                  <a:gd name="T6" fmla="*/ 999 w 1131"/>
                  <a:gd name="T7" fmla="*/ 0 h 608"/>
                  <a:gd name="T8" fmla="*/ 999 w 1131"/>
                  <a:gd name="T9" fmla="*/ 0 h 608"/>
                  <a:gd name="T10" fmla="*/ 1077 w 1131"/>
                  <a:gd name="T11" fmla="*/ 359 h 608"/>
                  <a:gd name="T12" fmla="*/ 1131 w 1131"/>
                  <a:gd name="T13" fmla="*/ 608 h 608"/>
                  <a:gd name="T14" fmla="*/ 0 w 1131"/>
                  <a:gd name="T15" fmla="*/ 608 h 6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608">
                    <a:moveTo>
                      <a:pt x="0" y="608"/>
                    </a:moveTo>
                    <a:lnTo>
                      <a:pt x="0" y="608"/>
                    </a:lnTo>
                    <a:lnTo>
                      <a:pt x="904" y="57"/>
                    </a:lnTo>
                    <a:lnTo>
                      <a:pt x="999" y="0"/>
                    </a:lnTo>
                    <a:lnTo>
                      <a:pt x="999" y="0"/>
                    </a:lnTo>
                    <a:lnTo>
                      <a:pt x="1077" y="359"/>
                    </a:lnTo>
                    <a:lnTo>
                      <a:pt x="1131" y="608"/>
                    </a:lnTo>
                    <a:lnTo>
                      <a:pt x="0" y="608"/>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82" name="Freeform 429"/>
              <p:cNvSpPr>
                <a:spLocks/>
              </p:cNvSpPr>
              <p:nvPr/>
            </p:nvSpPr>
            <p:spPr bwMode="auto">
              <a:xfrm>
                <a:off x="-3132138" y="160337"/>
                <a:ext cx="150813" cy="90488"/>
              </a:xfrm>
              <a:custGeom>
                <a:avLst/>
                <a:gdLst>
                  <a:gd name="T0" fmla="*/ 0 w 95"/>
                  <a:gd name="T1" fmla="*/ 57 h 57"/>
                  <a:gd name="T2" fmla="*/ 95 w 95"/>
                  <a:gd name="T3" fmla="*/ 0 h 57"/>
                  <a:gd name="T4" fmla="*/ 95 w 95"/>
                  <a:gd name="T5" fmla="*/ 0 h 57"/>
                  <a:gd name="T6" fmla="*/ 0 w 95"/>
                  <a:gd name="T7" fmla="*/ 57 h 57"/>
                </a:gdLst>
                <a:ahLst/>
                <a:cxnLst>
                  <a:cxn ang="0">
                    <a:pos x="T0" y="T1"/>
                  </a:cxn>
                  <a:cxn ang="0">
                    <a:pos x="T2" y="T3"/>
                  </a:cxn>
                  <a:cxn ang="0">
                    <a:pos x="T4" y="T5"/>
                  </a:cxn>
                  <a:cxn ang="0">
                    <a:pos x="T6" y="T7"/>
                  </a:cxn>
                </a:cxnLst>
                <a:rect l="0" t="0" r="r" b="b"/>
                <a:pathLst>
                  <a:path w="95" h="57">
                    <a:moveTo>
                      <a:pt x="0" y="57"/>
                    </a:moveTo>
                    <a:lnTo>
                      <a:pt x="95" y="0"/>
                    </a:lnTo>
                    <a:lnTo>
                      <a:pt x="95" y="0"/>
                    </a:lnTo>
                    <a:lnTo>
                      <a:pt x="0" y="57"/>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83" name="Freeform 430"/>
              <p:cNvSpPr>
                <a:spLocks noEditPoints="1"/>
              </p:cNvSpPr>
              <p:nvPr/>
            </p:nvSpPr>
            <p:spPr bwMode="auto">
              <a:xfrm>
                <a:off x="-6364288" y="1125537"/>
                <a:ext cx="1797050" cy="1528763"/>
              </a:xfrm>
              <a:custGeom>
                <a:avLst/>
                <a:gdLst>
                  <a:gd name="T0" fmla="*/ 196 w 2357"/>
                  <a:gd name="T1" fmla="*/ 2006 h 2006"/>
                  <a:gd name="T2" fmla="*/ 0 w 2357"/>
                  <a:gd name="T3" fmla="*/ 0 h 2006"/>
                  <a:gd name="T4" fmla="*/ 2357 w 2357"/>
                  <a:gd name="T5" fmla="*/ 0 h 2006"/>
                  <a:gd name="T6" fmla="*/ 196 w 2357"/>
                  <a:gd name="T7" fmla="*/ 2006 h 2006"/>
                  <a:gd name="T8" fmla="*/ 2357 w 2357"/>
                  <a:gd name="T9" fmla="*/ 0 h 2006"/>
                  <a:gd name="T10" fmla="*/ 2357 w 2357"/>
                  <a:gd name="T11" fmla="*/ 0 h 2006"/>
                  <a:gd name="T12" fmla="*/ 2357 w 2357"/>
                  <a:gd name="T13" fmla="*/ 0 h 2006"/>
                  <a:gd name="T14" fmla="*/ 0 w 2357"/>
                  <a:gd name="T15" fmla="*/ 0 h 2006"/>
                  <a:gd name="T16" fmla="*/ 0 w 2357"/>
                  <a:gd name="T17" fmla="*/ 0 h 2006"/>
                  <a:gd name="T18" fmla="*/ 0 w 2357"/>
                  <a:gd name="T19" fmla="*/ 0 h 2006"/>
                  <a:gd name="T20" fmla="*/ 0 w 2357"/>
                  <a:gd name="T21" fmla="*/ 0 h 2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7" h="2006">
                    <a:moveTo>
                      <a:pt x="196" y="2006"/>
                    </a:moveTo>
                    <a:lnTo>
                      <a:pt x="0" y="0"/>
                    </a:lnTo>
                    <a:lnTo>
                      <a:pt x="2357" y="0"/>
                    </a:lnTo>
                    <a:lnTo>
                      <a:pt x="196" y="2006"/>
                    </a:lnTo>
                    <a:moveTo>
                      <a:pt x="2357" y="0"/>
                    </a:moveTo>
                    <a:lnTo>
                      <a:pt x="2357" y="0"/>
                    </a:lnTo>
                    <a:lnTo>
                      <a:pt x="2357" y="0"/>
                    </a:lnTo>
                    <a:moveTo>
                      <a:pt x="0" y="0"/>
                    </a:moveTo>
                    <a:lnTo>
                      <a:pt x="0" y="0"/>
                    </a:lnTo>
                    <a:lnTo>
                      <a:pt x="0" y="0"/>
                    </a:lnTo>
                    <a:lnTo>
                      <a:pt x="0" y="0"/>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84" name="Freeform 431"/>
              <p:cNvSpPr>
                <a:spLocks/>
              </p:cNvSpPr>
              <p:nvPr/>
            </p:nvSpPr>
            <p:spPr bwMode="auto">
              <a:xfrm>
                <a:off x="-6213475" y="1125537"/>
                <a:ext cx="1646238" cy="1528763"/>
              </a:xfrm>
              <a:custGeom>
                <a:avLst/>
                <a:gdLst>
                  <a:gd name="T0" fmla="*/ 0 w 1037"/>
                  <a:gd name="T1" fmla="*/ 963 h 963"/>
                  <a:gd name="T2" fmla="*/ 0 w 1037"/>
                  <a:gd name="T3" fmla="*/ 963 h 963"/>
                  <a:gd name="T4" fmla="*/ 1037 w 1037"/>
                  <a:gd name="T5" fmla="*/ 0 h 963"/>
                  <a:gd name="T6" fmla="*/ 1037 w 1037"/>
                  <a:gd name="T7" fmla="*/ 0 h 963"/>
                  <a:gd name="T8" fmla="*/ 1037 w 1037"/>
                  <a:gd name="T9" fmla="*/ 0 h 963"/>
                  <a:gd name="T10" fmla="*/ 1037 w 1037"/>
                  <a:gd name="T11" fmla="*/ 0 h 963"/>
                  <a:gd name="T12" fmla="*/ 0 w 1037"/>
                  <a:gd name="T13" fmla="*/ 963 h 963"/>
                </a:gdLst>
                <a:ahLst/>
                <a:cxnLst>
                  <a:cxn ang="0">
                    <a:pos x="T0" y="T1"/>
                  </a:cxn>
                  <a:cxn ang="0">
                    <a:pos x="T2" y="T3"/>
                  </a:cxn>
                  <a:cxn ang="0">
                    <a:pos x="T4" y="T5"/>
                  </a:cxn>
                  <a:cxn ang="0">
                    <a:pos x="T6" y="T7"/>
                  </a:cxn>
                  <a:cxn ang="0">
                    <a:pos x="T8" y="T9"/>
                  </a:cxn>
                  <a:cxn ang="0">
                    <a:pos x="T10" y="T11"/>
                  </a:cxn>
                  <a:cxn ang="0">
                    <a:pos x="T12" y="T13"/>
                  </a:cxn>
                </a:cxnLst>
                <a:rect l="0" t="0" r="r" b="b"/>
                <a:pathLst>
                  <a:path w="1037" h="963">
                    <a:moveTo>
                      <a:pt x="0" y="963"/>
                    </a:moveTo>
                    <a:lnTo>
                      <a:pt x="0" y="963"/>
                    </a:lnTo>
                    <a:lnTo>
                      <a:pt x="1037" y="0"/>
                    </a:lnTo>
                    <a:lnTo>
                      <a:pt x="1037" y="0"/>
                    </a:lnTo>
                    <a:lnTo>
                      <a:pt x="1037" y="0"/>
                    </a:lnTo>
                    <a:lnTo>
                      <a:pt x="1037" y="0"/>
                    </a:lnTo>
                    <a:lnTo>
                      <a:pt x="0" y="963"/>
                    </a:lnTo>
                    <a:close/>
                  </a:path>
                </a:pathLst>
              </a:custGeom>
              <a:solidFill>
                <a:srgbClr val="5AA1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85" name="Freeform 432"/>
              <p:cNvSpPr>
                <a:spLocks noEditPoints="1"/>
              </p:cNvSpPr>
              <p:nvPr/>
            </p:nvSpPr>
            <p:spPr bwMode="auto">
              <a:xfrm>
                <a:off x="-8323263" y="5514975"/>
                <a:ext cx="1782763" cy="2144713"/>
              </a:xfrm>
              <a:custGeom>
                <a:avLst/>
                <a:gdLst>
                  <a:gd name="T0" fmla="*/ 893 w 2339"/>
                  <a:gd name="T1" fmla="*/ 2815 h 2815"/>
                  <a:gd name="T2" fmla="*/ 0 w 2339"/>
                  <a:gd name="T3" fmla="*/ 2815 h 2815"/>
                  <a:gd name="T4" fmla="*/ 290 w 2339"/>
                  <a:gd name="T5" fmla="*/ 1 h 2815"/>
                  <a:gd name="T6" fmla="*/ 290 w 2339"/>
                  <a:gd name="T7" fmla="*/ 0 h 2815"/>
                  <a:gd name="T8" fmla="*/ 291 w 2339"/>
                  <a:gd name="T9" fmla="*/ 1 h 2815"/>
                  <a:gd name="T10" fmla="*/ 290 w 2339"/>
                  <a:gd name="T11" fmla="*/ 1 h 2815"/>
                  <a:gd name="T12" fmla="*/ 1731 w 2339"/>
                  <a:gd name="T13" fmla="*/ 1291 h 2815"/>
                  <a:gd name="T14" fmla="*/ 2339 w 2339"/>
                  <a:gd name="T15" fmla="*/ 1834 h 2815"/>
                  <a:gd name="T16" fmla="*/ 893 w 2339"/>
                  <a:gd name="T17" fmla="*/ 2815 h 2815"/>
                  <a:gd name="T18" fmla="*/ 291 w 2339"/>
                  <a:gd name="T19" fmla="*/ 1 h 2815"/>
                  <a:gd name="T20" fmla="*/ 290 w 2339"/>
                  <a:gd name="T21" fmla="*/ 1 h 2815"/>
                  <a:gd name="T22" fmla="*/ 291 w 2339"/>
                  <a:gd name="T23" fmla="*/ 1 h 2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39" h="2815">
                    <a:moveTo>
                      <a:pt x="893" y="2815"/>
                    </a:moveTo>
                    <a:lnTo>
                      <a:pt x="0" y="2815"/>
                    </a:lnTo>
                    <a:lnTo>
                      <a:pt x="290" y="1"/>
                    </a:lnTo>
                    <a:lnTo>
                      <a:pt x="290" y="0"/>
                    </a:lnTo>
                    <a:lnTo>
                      <a:pt x="291" y="1"/>
                    </a:lnTo>
                    <a:lnTo>
                      <a:pt x="290" y="1"/>
                    </a:lnTo>
                    <a:lnTo>
                      <a:pt x="1731" y="1291"/>
                    </a:lnTo>
                    <a:lnTo>
                      <a:pt x="2339" y="1834"/>
                    </a:lnTo>
                    <a:lnTo>
                      <a:pt x="893" y="2815"/>
                    </a:lnTo>
                    <a:moveTo>
                      <a:pt x="291" y="1"/>
                    </a:moveTo>
                    <a:lnTo>
                      <a:pt x="290" y="1"/>
                    </a:lnTo>
                    <a:lnTo>
                      <a:pt x="291" y="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86" name="Freeform 433"/>
              <p:cNvSpPr>
                <a:spLocks/>
              </p:cNvSpPr>
              <p:nvPr/>
            </p:nvSpPr>
            <p:spPr bwMode="auto">
              <a:xfrm>
                <a:off x="-8159750" y="4237037"/>
                <a:ext cx="1141413" cy="1277938"/>
              </a:xfrm>
              <a:custGeom>
                <a:avLst/>
                <a:gdLst>
                  <a:gd name="T0" fmla="*/ 36 w 719"/>
                  <a:gd name="T1" fmla="*/ 805 h 805"/>
                  <a:gd name="T2" fmla="*/ 36 w 719"/>
                  <a:gd name="T3" fmla="*/ 805 h 805"/>
                  <a:gd name="T4" fmla="*/ 32 w 719"/>
                  <a:gd name="T5" fmla="*/ 713 h 805"/>
                  <a:gd name="T6" fmla="*/ 0 w 719"/>
                  <a:gd name="T7" fmla="*/ 1 h 805"/>
                  <a:gd name="T8" fmla="*/ 0 w 719"/>
                  <a:gd name="T9" fmla="*/ 1 h 805"/>
                  <a:gd name="T10" fmla="*/ 0 w 719"/>
                  <a:gd name="T11" fmla="*/ 0 h 805"/>
                  <a:gd name="T12" fmla="*/ 0 w 719"/>
                  <a:gd name="T13" fmla="*/ 0 h 805"/>
                  <a:gd name="T14" fmla="*/ 719 w 719"/>
                  <a:gd name="T15" fmla="*/ 227 h 805"/>
                  <a:gd name="T16" fmla="*/ 36 w 719"/>
                  <a:gd name="T17" fmla="*/ 805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9" h="805">
                    <a:moveTo>
                      <a:pt x="36" y="805"/>
                    </a:moveTo>
                    <a:lnTo>
                      <a:pt x="36" y="805"/>
                    </a:lnTo>
                    <a:lnTo>
                      <a:pt x="32" y="713"/>
                    </a:lnTo>
                    <a:lnTo>
                      <a:pt x="0" y="1"/>
                    </a:lnTo>
                    <a:lnTo>
                      <a:pt x="0" y="1"/>
                    </a:lnTo>
                    <a:lnTo>
                      <a:pt x="0" y="0"/>
                    </a:lnTo>
                    <a:lnTo>
                      <a:pt x="0" y="0"/>
                    </a:lnTo>
                    <a:lnTo>
                      <a:pt x="719" y="227"/>
                    </a:lnTo>
                    <a:lnTo>
                      <a:pt x="36" y="80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87" name="Freeform 434"/>
              <p:cNvSpPr>
                <a:spLocks/>
              </p:cNvSpPr>
              <p:nvPr/>
            </p:nvSpPr>
            <p:spPr bwMode="auto">
              <a:xfrm>
                <a:off x="-8101013" y="5514975"/>
                <a:ext cx="2635250" cy="1397000"/>
              </a:xfrm>
              <a:custGeom>
                <a:avLst/>
                <a:gdLst>
                  <a:gd name="T0" fmla="*/ 983 w 1660"/>
                  <a:gd name="T1" fmla="*/ 880 h 880"/>
                  <a:gd name="T2" fmla="*/ 691 w 1660"/>
                  <a:gd name="T3" fmla="*/ 619 h 880"/>
                  <a:gd name="T4" fmla="*/ 0 w 1660"/>
                  <a:gd name="T5" fmla="*/ 0 h 880"/>
                  <a:gd name="T6" fmla="*/ 1660 w 1660"/>
                  <a:gd name="T7" fmla="*/ 175 h 880"/>
                  <a:gd name="T8" fmla="*/ 1660 w 1660"/>
                  <a:gd name="T9" fmla="*/ 175 h 880"/>
                  <a:gd name="T10" fmla="*/ 1660 w 1660"/>
                  <a:gd name="T11" fmla="*/ 175 h 880"/>
                  <a:gd name="T12" fmla="*/ 1660 w 1660"/>
                  <a:gd name="T13" fmla="*/ 175 h 880"/>
                  <a:gd name="T14" fmla="*/ 983 w 1660"/>
                  <a:gd name="T15" fmla="*/ 880 h 8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0" h="880">
                    <a:moveTo>
                      <a:pt x="983" y="880"/>
                    </a:moveTo>
                    <a:lnTo>
                      <a:pt x="691" y="619"/>
                    </a:lnTo>
                    <a:lnTo>
                      <a:pt x="0" y="0"/>
                    </a:lnTo>
                    <a:lnTo>
                      <a:pt x="1660" y="175"/>
                    </a:lnTo>
                    <a:lnTo>
                      <a:pt x="1660" y="175"/>
                    </a:lnTo>
                    <a:lnTo>
                      <a:pt x="1660" y="175"/>
                    </a:lnTo>
                    <a:lnTo>
                      <a:pt x="1660" y="175"/>
                    </a:lnTo>
                    <a:lnTo>
                      <a:pt x="983" y="88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88" name="Freeform 435"/>
              <p:cNvSpPr>
                <a:spLocks/>
              </p:cNvSpPr>
              <p:nvPr/>
            </p:nvSpPr>
            <p:spPr bwMode="auto">
              <a:xfrm>
                <a:off x="-8102600" y="5514975"/>
                <a:ext cx="1098550" cy="982663"/>
              </a:xfrm>
              <a:custGeom>
                <a:avLst/>
                <a:gdLst>
                  <a:gd name="T0" fmla="*/ 692 w 692"/>
                  <a:gd name="T1" fmla="*/ 619 h 619"/>
                  <a:gd name="T2" fmla="*/ 0 w 692"/>
                  <a:gd name="T3" fmla="*/ 0 h 619"/>
                  <a:gd name="T4" fmla="*/ 1 w 692"/>
                  <a:gd name="T5" fmla="*/ 0 h 619"/>
                  <a:gd name="T6" fmla="*/ 692 w 692"/>
                  <a:gd name="T7" fmla="*/ 619 h 619"/>
                </a:gdLst>
                <a:ahLst/>
                <a:cxnLst>
                  <a:cxn ang="0">
                    <a:pos x="T0" y="T1"/>
                  </a:cxn>
                  <a:cxn ang="0">
                    <a:pos x="T2" y="T3"/>
                  </a:cxn>
                  <a:cxn ang="0">
                    <a:pos x="T4" y="T5"/>
                  </a:cxn>
                  <a:cxn ang="0">
                    <a:pos x="T6" y="T7"/>
                  </a:cxn>
                </a:cxnLst>
                <a:rect l="0" t="0" r="r" b="b"/>
                <a:pathLst>
                  <a:path w="692" h="619">
                    <a:moveTo>
                      <a:pt x="692" y="619"/>
                    </a:moveTo>
                    <a:lnTo>
                      <a:pt x="0" y="0"/>
                    </a:lnTo>
                    <a:lnTo>
                      <a:pt x="1" y="0"/>
                    </a:lnTo>
                    <a:lnTo>
                      <a:pt x="692" y="61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89" name="Freeform 436"/>
              <p:cNvSpPr>
                <a:spLocks noEditPoints="1"/>
              </p:cNvSpPr>
              <p:nvPr/>
            </p:nvSpPr>
            <p:spPr bwMode="auto">
              <a:xfrm>
                <a:off x="-9909175" y="4238625"/>
                <a:ext cx="1806575" cy="2339975"/>
              </a:xfrm>
              <a:custGeom>
                <a:avLst/>
                <a:gdLst>
                  <a:gd name="T0" fmla="*/ 0 w 2371"/>
                  <a:gd name="T1" fmla="*/ 3072 h 3072"/>
                  <a:gd name="T2" fmla="*/ 0 w 2371"/>
                  <a:gd name="T3" fmla="*/ 3072 h 3072"/>
                  <a:gd name="T4" fmla="*/ 0 w 2371"/>
                  <a:gd name="T5" fmla="*/ 3072 h 3072"/>
                  <a:gd name="T6" fmla="*/ 0 w 2371"/>
                  <a:gd name="T7" fmla="*/ 3072 h 3072"/>
                  <a:gd name="T8" fmla="*/ 2296 w 2371"/>
                  <a:gd name="T9" fmla="*/ 0 h 3072"/>
                  <a:gd name="T10" fmla="*/ 2363 w 2371"/>
                  <a:gd name="T11" fmla="*/ 1484 h 3072"/>
                  <a:gd name="T12" fmla="*/ 2371 w 2371"/>
                  <a:gd name="T13" fmla="*/ 1676 h 3072"/>
                  <a:gd name="T14" fmla="*/ 2371 w 2371"/>
                  <a:gd name="T15" fmla="*/ 1676 h 3072"/>
                  <a:gd name="T16" fmla="*/ 0 w 2371"/>
                  <a:gd name="T17" fmla="*/ 3072 h 3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1" h="3072">
                    <a:moveTo>
                      <a:pt x="0" y="3072"/>
                    </a:moveTo>
                    <a:lnTo>
                      <a:pt x="0" y="3072"/>
                    </a:lnTo>
                    <a:lnTo>
                      <a:pt x="0" y="3072"/>
                    </a:lnTo>
                    <a:moveTo>
                      <a:pt x="0" y="3072"/>
                    </a:moveTo>
                    <a:lnTo>
                      <a:pt x="2296" y="0"/>
                    </a:lnTo>
                    <a:lnTo>
                      <a:pt x="2363" y="1484"/>
                    </a:lnTo>
                    <a:lnTo>
                      <a:pt x="2371" y="1676"/>
                    </a:lnTo>
                    <a:lnTo>
                      <a:pt x="2371" y="1676"/>
                    </a:lnTo>
                    <a:lnTo>
                      <a:pt x="0" y="3072"/>
                    </a:lnTo>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90" name="Freeform 437"/>
              <p:cNvSpPr>
                <a:spLocks/>
              </p:cNvSpPr>
              <p:nvPr/>
            </p:nvSpPr>
            <p:spPr bwMode="auto">
              <a:xfrm>
                <a:off x="-8102600" y="551497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28FB4"/>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91" name="Freeform 438"/>
              <p:cNvSpPr>
                <a:spLocks/>
              </p:cNvSpPr>
              <p:nvPr/>
            </p:nvSpPr>
            <p:spPr bwMode="auto">
              <a:xfrm>
                <a:off x="-8159750" y="4238625"/>
                <a:ext cx="50800" cy="1130300"/>
              </a:xfrm>
              <a:custGeom>
                <a:avLst/>
                <a:gdLst>
                  <a:gd name="T0" fmla="*/ 32 w 32"/>
                  <a:gd name="T1" fmla="*/ 712 h 712"/>
                  <a:gd name="T2" fmla="*/ 0 w 32"/>
                  <a:gd name="T3" fmla="*/ 0 h 712"/>
                  <a:gd name="T4" fmla="*/ 0 w 32"/>
                  <a:gd name="T5" fmla="*/ 0 h 712"/>
                  <a:gd name="T6" fmla="*/ 32 w 32"/>
                  <a:gd name="T7" fmla="*/ 712 h 712"/>
                </a:gdLst>
                <a:ahLst/>
                <a:cxnLst>
                  <a:cxn ang="0">
                    <a:pos x="T0" y="T1"/>
                  </a:cxn>
                  <a:cxn ang="0">
                    <a:pos x="T2" y="T3"/>
                  </a:cxn>
                  <a:cxn ang="0">
                    <a:pos x="T4" y="T5"/>
                  </a:cxn>
                  <a:cxn ang="0">
                    <a:pos x="T6" y="T7"/>
                  </a:cxn>
                </a:cxnLst>
                <a:rect l="0" t="0" r="r" b="b"/>
                <a:pathLst>
                  <a:path w="32" h="712">
                    <a:moveTo>
                      <a:pt x="32" y="712"/>
                    </a:moveTo>
                    <a:lnTo>
                      <a:pt x="0" y="0"/>
                    </a:lnTo>
                    <a:lnTo>
                      <a:pt x="0" y="0"/>
                    </a:lnTo>
                    <a:lnTo>
                      <a:pt x="32" y="71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92" name="Freeform 439"/>
              <p:cNvSpPr>
                <a:spLocks/>
              </p:cNvSpPr>
              <p:nvPr/>
            </p:nvSpPr>
            <p:spPr bwMode="auto">
              <a:xfrm>
                <a:off x="-8101013" y="4597400"/>
                <a:ext cx="2635250" cy="1195388"/>
              </a:xfrm>
              <a:custGeom>
                <a:avLst/>
                <a:gdLst>
                  <a:gd name="T0" fmla="*/ 1660 w 1660"/>
                  <a:gd name="T1" fmla="*/ 753 h 753"/>
                  <a:gd name="T2" fmla="*/ 0 w 1660"/>
                  <a:gd name="T3" fmla="*/ 578 h 753"/>
                  <a:gd name="T4" fmla="*/ 0 w 1660"/>
                  <a:gd name="T5" fmla="*/ 578 h 753"/>
                  <a:gd name="T6" fmla="*/ 682 w 1660"/>
                  <a:gd name="T7" fmla="*/ 0 h 753"/>
                  <a:gd name="T8" fmla="*/ 1660 w 1660"/>
                  <a:gd name="T9" fmla="*/ 753 h 753"/>
                  <a:gd name="T10" fmla="*/ 1660 w 1660"/>
                  <a:gd name="T11" fmla="*/ 753 h 753"/>
                </a:gdLst>
                <a:ahLst/>
                <a:cxnLst>
                  <a:cxn ang="0">
                    <a:pos x="T0" y="T1"/>
                  </a:cxn>
                  <a:cxn ang="0">
                    <a:pos x="T2" y="T3"/>
                  </a:cxn>
                  <a:cxn ang="0">
                    <a:pos x="T4" y="T5"/>
                  </a:cxn>
                  <a:cxn ang="0">
                    <a:pos x="T6" y="T7"/>
                  </a:cxn>
                  <a:cxn ang="0">
                    <a:pos x="T8" y="T9"/>
                  </a:cxn>
                  <a:cxn ang="0">
                    <a:pos x="T10" y="T11"/>
                  </a:cxn>
                </a:cxnLst>
                <a:rect l="0" t="0" r="r" b="b"/>
                <a:pathLst>
                  <a:path w="1660" h="753">
                    <a:moveTo>
                      <a:pt x="1660" y="753"/>
                    </a:moveTo>
                    <a:lnTo>
                      <a:pt x="0" y="578"/>
                    </a:lnTo>
                    <a:lnTo>
                      <a:pt x="0" y="578"/>
                    </a:lnTo>
                    <a:lnTo>
                      <a:pt x="682" y="0"/>
                    </a:lnTo>
                    <a:lnTo>
                      <a:pt x="1660" y="753"/>
                    </a:lnTo>
                    <a:lnTo>
                      <a:pt x="1660" y="753"/>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93" name="Freeform 440"/>
              <p:cNvSpPr>
                <a:spLocks/>
              </p:cNvSpPr>
              <p:nvPr/>
            </p:nvSpPr>
            <p:spPr bwMode="auto">
              <a:xfrm>
                <a:off x="-8102600" y="5514975"/>
                <a:ext cx="1588"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94" name="Freeform 441"/>
              <p:cNvSpPr>
                <a:spLocks/>
              </p:cNvSpPr>
              <p:nvPr/>
            </p:nvSpPr>
            <p:spPr bwMode="auto">
              <a:xfrm>
                <a:off x="-9909175" y="5514975"/>
                <a:ext cx="1806575" cy="2144713"/>
              </a:xfrm>
              <a:custGeom>
                <a:avLst/>
                <a:gdLst>
                  <a:gd name="T0" fmla="*/ 999 w 1138"/>
                  <a:gd name="T1" fmla="*/ 1351 h 1351"/>
                  <a:gd name="T2" fmla="*/ 662 w 1138"/>
                  <a:gd name="T3" fmla="*/ 1351 h 1351"/>
                  <a:gd name="T4" fmla="*/ 0 w 1138"/>
                  <a:gd name="T5" fmla="*/ 670 h 1351"/>
                  <a:gd name="T6" fmla="*/ 0 w 1138"/>
                  <a:gd name="T7" fmla="*/ 670 h 1351"/>
                  <a:gd name="T8" fmla="*/ 1138 w 1138"/>
                  <a:gd name="T9" fmla="*/ 0 h 1351"/>
                  <a:gd name="T10" fmla="*/ 999 w 1138"/>
                  <a:gd name="T11" fmla="*/ 1351 h 1351"/>
                </a:gdLst>
                <a:ahLst/>
                <a:cxnLst>
                  <a:cxn ang="0">
                    <a:pos x="T0" y="T1"/>
                  </a:cxn>
                  <a:cxn ang="0">
                    <a:pos x="T2" y="T3"/>
                  </a:cxn>
                  <a:cxn ang="0">
                    <a:pos x="T4" y="T5"/>
                  </a:cxn>
                  <a:cxn ang="0">
                    <a:pos x="T6" y="T7"/>
                  </a:cxn>
                  <a:cxn ang="0">
                    <a:pos x="T8" y="T9"/>
                  </a:cxn>
                  <a:cxn ang="0">
                    <a:pos x="T10" y="T11"/>
                  </a:cxn>
                </a:cxnLst>
                <a:rect l="0" t="0" r="r" b="b"/>
                <a:pathLst>
                  <a:path w="1138" h="1351">
                    <a:moveTo>
                      <a:pt x="999" y="1351"/>
                    </a:moveTo>
                    <a:lnTo>
                      <a:pt x="662" y="1351"/>
                    </a:lnTo>
                    <a:lnTo>
                      <a:pt x="0" y="670"/>
                    </a:lnTo>
                    <a:lnTo>
                      <a:pt x="0" y="670"/>
                    </a:lnTo>
                    <a:lnTo>
                      <a:pt x="1138" y="0"/>
                    </a:lnTo>
                    <a:lnTo>
                      <a:pt x="999" y="135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95" name="Freeform 442"/>
              <p:cNvSpPr>
                <a:spLocks/>
              </p:cNvSpPr>
              <p:nvPr/>
            </p:nvSpPr>
            <p:spPr bwMode="auto">
              <a:xfrm>
                <a:off x="-5465763" y="4816475"/>
                <a:ext cx="1250950" cy="1479550"/>
              </a:xfrm>
              <a:custGeom>
                <a:avLst/>
                <a:gdLst>
                  <a:gd name="T0" fmla="*/ 788 w 788"/>
                  <a:gd name="T1" fmla="*/ 932 h 932"/>
                  <a:gd name="T2" fmla="*/ 0 w 788"/>
                  <a:gd name="T3" fmla="*/ 615 h 932"/>
                  <a:gd name="T4" fmla="*/ 0 w 788"/>
                  <a:gd name="T5" fmla="*/ 615 h 932"/>
                  <a:gd name="T6" fmla="*/ 0 w 788"/>
                  <a:gd name="T7" fmla="*/ 615 h 932"/>
                  <a:gd name="T8" fmla="*/ 498 w 788"/>
                  <a:gd name="T9" fmla="*/ 0 h 932"/>
                  <a:gd name="T10" fmla="*/ 788 w 788"/>
                  <a:gd name="T11" fmla="*/ 932 h 932"/>
                </a:gdLst>
                <a:ahLst/>
                <a:cxnLst>
                  <a:cxn ang="0">
                    <a:pos x="T0" y="T1"/>
                  </a:cxn>
                  <a:cxn ang="0">
                    <a:pos x="T2" y="T3"/>
                  </a:cxn>
                  <a:cxn ang="0">
                    <a:pos x="T4" y="T5"/>
                  </a:cxn>
                  <a:cxn ang="0">
                    <a:pos x="T6" y="T7"/>
                  </a:cxn>
                  <a:cxn ang="0">
                    <a:pos x="T8" y="T9"/>
                  </a:cxn>
                  <a:cxn ang="0">
                    <a:pos x="T10" y="T11"/>
                  </a:cxn>
                </a:cxnLst>
                <a:rect l="0" t="0" r="r" b="b"/>
                <a:pathLst>
                  <a:path w="788" h="932">
                    <a:moveTo>
                      <a:pt x="788" y="932"/>
                    </a:moveTo>
                    <a:lnTo>
                      <a:pt x="0" y="615"/>
                    </a:lnTo>
                    <a:lnTo>
                      <a:pt x="0" y="615"/>
                    </a:lnTo>
                    <a:lnTo>
                      <a:pt x="0" y="615"/>
                    </a:lnTo>
                    <a:lnTo>
                      <a:pt x="498" y="0"/>
                    </a:lnTo>
                    <a:lnTo>
                      <a:pt x="788"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96" name="Freeform 443"/>
              <p:cNvSpPr>
                <a:spLocks/>
              </p:cNvSpPr>
              <p:nvPr/>
            </p:nvSpPr>
            <p:spPr bwMode="auto">
              <a:xfrm>
                <a:off x="-6213475" y="2655887"/>
                <a:ext cx="1800225" cy="2160588"/>
              </a:xfrm>
              <a:custGeom>
                <a:avLst/>
                <a:gdLst>
                  <a:gd name="T0" fmla="*/ 969 w 1134"/>
                  <a:gd name="T1" fmla="*/ 1361 h 1361"/>
                  <a:gd name="T2" fmla="*/ 969 w 1134"/>
                  <a:gd name="T3" fmla="*/ 1361 h 1361"/>
                  <a:gd name="T4" fmla="*/ 0 w 1134"/>
                  <a:gd name="T5" fmla="*/ 0 h 1361"/>
                  <a:gd name="T6" fmla="*/ 0 w 1134"/>
                  <a:gd name="T7" fmla="*/ 0 h 1361"/>
                  <a:gd name="T8" fmla="*/ 1134 w 1134"/>
                  <a:gd name="T9" fmla="*/ 288 h 1361"/>
                  <a:gd name="T10" fmla="*/ 969 w 1134"/>
                  <a:gd name="T11" fmla="*/ 1361 h 1361"/>
                </a:gdLst>
                <a:ahLst/>
                <a:cxnLst>
                  <a:cxn ang="0">
                    <a:pos x="T0" y="T1"/>
                  </a:cxn>
                  <a:cxn ang="0">
                    <a:pos x="T2" y="T3"/>
                  </a:cxn>
                  <a:cxn ang="0">
                    <a:pos x="T4" y="T5"/>
                  </a:cxn>
                  <a:cxn ang="0">
                    <a:pos x="T6" y="T7"/>
                  </a:cxn>
                  <a:cxn ang="0">
                    <a:pos x="T8" y="T9"/>
                  </a:cxn>
                  <a:cxn ang="0">
                    <a:pos x="T10" y="T11"/>
                  </a:cxn>
                </a:cxnLst>
                <a:rect l="0" t="0" r="r" b="b"/>
                <a:pathLst>
                  <a:path w="1134" h="1361">
                    <a:moveTo>
                      <a:pt x="969" y="1361"/>
                    </a:moveTo>
                    <a:lnTo>
                      <a:pt x="969" y="1361"/>
                    </a:lnTo>
                    <a:lnTo>
                      <a:pt x="0" y="0"/>
                    </a:lnTo>
                    <a:lnTo>
                      <a:pt x="0" y="0"/>
                    </a:lnTo>
                    <a:lnTo>
                      <a:pt x="1134" y="288"/>
                    </a:lnTo>
                    <a:lnTo>
                      <a:pt x="969" y="1361"/>
                    </a:lnTo>
                    <a:close/>
                  </a:path>
                </a:pathLst>
              </a:custGeom>
              <a:solidFill>
                <a:srgbClr val="4F8AB1"/>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97" name="Rectangle 444"/>
              <p:cNvSpPr>
                <a:spLocks noChangeArrowheads="1"/>
              </p:cNvSpPr>
              <p:nvPr/>
            </p:nvSpPr>
            <p:spPr bwMode="auto">
              <a:xfrm>
                <a:off x="-6213475" y="2655887"/>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98" name="Rectangle 445"/>
              <p:cNvSpPr>
                <a:spLocks noChangeArrowheads="1"/>
              </p:cNvSpPr>
              <p:nvPr/>
            </p:nvSpPr>
            <p:spPr bwMode="auto">
              <a:xfrm>
                <a:off x="-6213475" y="2655887"/>
                <a:ext cx="1588" cy="1588"/>
              </a:xfrm>
              <a:prstGeom prst="rect">
                <a:avLst/>
              </a:prstGeom>
              <a:solidFill>
                <a:srgbClr val="5391B5"/>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199" name="Freeform 446"/>
              <p:cNvSpPr>
                <a:spLocks/>
              </p:cNvSpPr>
              <p:nvPr/>
            </p:nvSpPr>
            <p:spPr bwMode="auto">
              <a:xfrm>
                <a:off x="-4675188" y="4237037"/>
                <a:ext cx="1903413" cy="2058988"/>
              </a:xfrm>
              <a:custGeom>
                <a:avLst/>
                <a:gdLst>
                  <a:gd name="T0" fmla="*/ 290 w 1199"/>
                  <a:gd name="T1" fmla="*/ 1297 h 1297"/>
                  <a:gd name="T2" fmla="*/ 290 w 1199"/>
                  <a:gd name="T3" fmla="*/ 1297 h 1297"/>
                  <a:gd name="T4" fmla="*/ 0 w 1199"/>
                  <a:gd name="T5" fmla="*/ 365 h 1297"/>
                  <a:gd name="T6" fmla="*/ 0 w 1199"/>
                  <a:gd name="T7" fmla="*/ 365 h 1297"/>
                  <a:gd name="T8" fmla="*/ 0 w 1199"/>
                  <a:gd name="T9" fmla="*/ 365 h 1297"/>
                  <a:gd name="T10" fmla="*/ 0 w 1199"/>
                  <a:gd name="T11" fmla="*/ 365 h 1297"/>
                  <a:gd name="T12" fmla="*/ 1199 w 1199"/>
                  <a:gd name="T13" fmla="*/ 0 h 1297"/>
                  <a:gd name="T14" fmla="*/ 290 w 1199"/>
                  <a:gd name="T15" fmla="*/ 1297 h 1297"/>
                  <a:gd name="T16" fmla="*/ 290 w 1199"/>
                  <a:gd name="T17" fmla="*/ 1297 h 1297"/>
                  <a:gd name="T18" fmla="*/ 290 w 1199"/>
                  <a:gd name="T19" fmla="*/ 129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9" h="1297">
                    <a:moveTo>
                      <a:pt x="290" y="1297"/>
                    </a:moveTo>
                    <a:lnTo>
                      <a:pt x="290" y="1297"/>
                    </a:lnTo>
                    <a:lnTo>
                      <a:pt x="0" y="365"/>
                    </a:lnTo>
                    <a:lnTo>
                      <a:pt x="0" y="365"/>
                    </a:lnTo>
                    <a:lnTo>
                      <a:pt x="0" y="365"/>
                    </a:lnTo>
                    <a:lnTo>
                      <a:pt x="0" y="365"/>
                    </a:lnTo>
                    <a:lnTo>
                      <a:pt x="1199" y="0"/>
                    </a:lnTo>
                    <a:lnTo>
                      <a:pt x="290" y="1297"/>
                    </a:lnTo>
                    <a:lnTo>
                      <a:pt x="290" y="1297"/>
                    </a:lnTo>
                    <a:lnTo>
                      <a:pt x="290" y="1297"/>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00" name="Freeform 447"/>
              <p:cNvSpPr>
                <a:spLocks/>
              </p:cNvSpPr>
              <p:nvPr/>
            </p:nvSpPr>
            <p:spPr bwMode="auto">
              <a:xfrm>
                <a:off x="-4675188" y="4816475"/>
                <a:ext cx="460375" cy="1479550"/>
              </a:xfrm>
              <a:custGeom>
                <a:avLst/>
                <a:gdLst>
                  <a:gd name="T0" fmla="*/ 290 w 290"/>
                  <a:gd name="T1" fmla="*/ 932 h 932"/>
                  <a:gd name="T2" fmla="*/ 290 w 290"/>
                  <a:gd name="T3" fmla="*/ 932 h 932"/>
                  <a:gd name="T4" fmla="*/ 0 w 290"/>
                  <a:gd name="T5" fmla="*/ 0 h 932"/>
                  <a:gd name="T6" fmla="*/ 0 w 290"/>
                  <a:gd name="T7" fmla="*/ 0 h 932"/>
                  <a:gd name="T8" fmla="*/ 290 w 290"/>
                  <a:gd name="T9" fmla="*/ 932 h 932"/>
                </a:gdLst>
                <a:ahLst/>
                <a:cxnLst>
                  <a:cxn ang="0">
                    <a:pos x="T0" y="T1"/>
                  </a:cxn>
                  <a:cxn ang="0">
                    <a:pos x="T2" y="T3"/>
                  </a:cxn>
                  <a:cxn ang="0">
                    <a:pos x="T4" y="T5"/>
                  </a:cxn>
                  <a:cxn ang="0">
                    <a:pos x="T6" y="T7"/>
                  </a:cxn>
                  <a:cxn ang="0">
                    <a:pos x="T8" y="T9"/>
                  </a:cxn>
                </a:cxnLst>
                <a:rect l="0" t="0" r="r" b="b"/>
                <a:pathLst>
                  <a:path w="290" h="932">
                    <a:moveTo>
                      <a:pt x="290" y="932"/>
                    </a:moveTo>
                    <a:lnTo>
                      <a:pt x="290" y="932"/>
                    </a:lnTo>
                    <a:lnTo>
                      <a:pt x="0" y="0"/>
                    </a:lnTo>
                    <a:lnTo>
                      <a:pt x="0" y="0"/>
                    </a:lnTo>
                    <a:lnTo>
                      <a:pt x="290" y="93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01" name="Freeform 448"/>
              <p:cNvSpPr>
                <a:spLocks/>
              </p:cNvSpPr>
              <p:nvPr/>
            </p:nvSpPr>
            <p:spPr bwMode="auto">
              <a:xfrm>
                <a:off x="-7018338" y="2655887"/>
                <a:ext cx="2343150" cy="2160588"/>
              </a:xfrm>
              <a:custGeom>
                <a:avLst/>
                <a:gdLst>
                  <a:gd name="T0" fmla="*/ 1476 w 1476"/>
                  <a:gd name="T1" fmla="*/ 1361 h 1361"/>
                  <a:gd name="T2" fmla="*/ 0 w 1476"/>
                  <a:gd name="T3" fmla="*/ 1223 h 1361"/>
                  <a:gd name="T4" fmla="*/ 507 w 1476"/>
                  <a:gd name="T5" fmla="*/ 0 h 1361"/>
                  <a:gd name="T6" fmla="*/ 1476 w 1476"/>
                  <a:gd name="T7" fmla="*/ 1361 h 1361"/>
                </a:gdLst>
                <a:ahLst/>
                <a:cxnLst>
                  <a:cxn ang="0">
                    <a:pos x="T0" y="T1"/>
                  </a:cxn>
                  <a:cxn ang="0">
                    <a:pos x="T2" y="T3"/>
                  </a:cxn>
                  <a:cxn ang="0">
                    <a:pos x="T4" y="T5"/>
                  </a:cxn>
                  <a:cxn ang="0">
                    <a:pos x="T6" y="T7"/>
                  </a:cxn>
                </a:cxnLst>
                <a:rect l="0" t="0" r="r" b="b"/>
                <a:pathLst>
                  <a:path w="1476" h="1361">
                    <a:moveTo>
                      <a:pt x="1476" y="1361"/>
                    </a:moveTo>
                    <a:lnTo>
                      <a:pt x="0" y="1223"/>
                    </a:lnTo>
                    <a:lnTo>
                      <a:pt x="507" y="0"/>
                    </a:lnTo>
                    <a:lnTo>
                      <a:pt x="1476" y="1361"/>
                    </a:lnTo>
                    <a:close/>
                  </a:path>
                </a:pathLst>
              </a:custGeom>
              <a:solidFill>
                <a:srgbClr val="5493B6"/>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02" name="Freeform 449"/>
              <p:cNvSpPr>
                <a:spLocks/>
              </p:cNvSpPr>
              <p:nvPr/>
            </p:nvSpPr>
            <p:spPr bwMode="auto">
              <a:xfrm>
                <a:off x="-7018338" y="2655887"/>
                <a:ext cx="804863" cy="1941513"/>
              </a:xfrm>
              <a:custGeom>
                <a:avLst/>
                <a:gdLst>
                  <a:gd name="T0" fmla="*/ 0 w 507"/>
                  <a:gd name="T1" fmla="*/ 1223 h 1223"/>
                  <a:gd name="T2" fmla="*/ 507 w 507"/>
                  <a:gd name="T3" fmla="*/ 0 h 1223"/>
                  <a:gd name="T4" fmla="*/ 507 w 507"/>
                  <a:gd name="T5" fmla="*/ 0 h 1223"/>
                  <a:gd name="T6" fmla="*/ 0 w 507"/>
                  <a:gd name="T7" fmla="*/ 1223 h 1223"/>
                </a:gdLst>
                <a:ahLst/>
                <a:cxnLst>
                  <a:cxn ang="0">
                    <a:pos x="T0" y="T1"/>
                  </a:cxn>
                  <a:cxn ang="0">
                    <a:pos x="T2" y="T3"/>
                  </a:cxn>
                  <a:cxn ang="0">
                    <a:pos x="T4" y="T5"/>
                  </a:cxn>
                  <a:cxn ang="0">
                    <a:pos x="T6" y="T7"/>
                  </a:cxn>
                </a:cxnLst>
                <a:rect l="0" t="0" r="r" b="b"/>
                <a:pathLst>
                  <a:path w="507" h="1223">
                    <a:moveTo>
                      <a:pt x="0" y="1223"/>
                    </a:moveTo>
                    <a:lnTo>
                      <a:pt x="507" y="0"/>
                    </a:lnTo>
                    <a:lnTo>
                      <a:pt x="507" y="0"/>
                    </a:lnTo>
                    <a:lnTo>
                      <a:pt x="0" y="1223"/>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03" name="Rectangle 450"/>
              <p:cNvSpPr>
                <a:spLocks noChangeArrowheads="1"/>
              </p:cNvSpPr>
              <p:nvPr/>
            </p:nvSpPr>
            <p:spPr bwMode="auto">
              <a:xfrm>
                <a:off x="-6213475" y="2655887"/>
                <a:ext cx="1588" cy="1588"/>
              </a:xfrm>
              <a:prstGeom prst="rect">
                <a:avLst/>
              </a:prstGeom>
              <a:solidFill>
                <a:srgbClr val="5698B9"/>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04" name="Freeform 451"/>
              <p:cNvSpPr>
                <a:spLocks/>
              </p:cNvSpPr>
              <p:nvPr/>
            </p:nvSpPr>
            <p:spPr bwMode="auto">
              <a:xfrm>
                <a:off x="-6213475" y="2655887"/>
                <a:ext cx="1538288" cy="2160588"/>
              </a:xfrm>
              <a:custGeom>
                <a:avLst/>
                <a:gdLst>
                  <a:gd name="T0" fmla="*/ 969 w 969"/>
                  <a:gd name="T1" fmla="*/ 1361 h 1361"/>
                  <a:gd name="T2" fmla="*/ 969 w 969"/>
                  <a:gd name="T3" fmla="*/ 1361 h 1361"/>
                  <a:gd name="T4" fmla="*/ 0 w 969"/>
                  <a:gd name="T5" fmla="*/ 0 h 1361"/>
                  <a:gd name="T6" fmla="*/ 0 w 969"/>
                  <a:gd name="T7" fmla="*/ 0 h 1361"/>
                  <a:gd name="T8" fmla="*/ 969 w 969"/>
                  <a:gd name="T9" fmla="*/ 1361 h 1361"/>
                </a:gdLst>
                <a:ahLst/>
                <a:cxnLst>
                  <a:cxn ang="0">
                    <a:pos x="T0" y="T1"/>
                  </a:cxn>
                  <a:cxn ang="0">
                    <a:pos x="T2" y="T3"/>
                  </a:cxn>
                  <a:cxn ang="0">
                    <a:pos x="T4" y="T5"/>
                  </a:cxn>
                  <a:cxn ang="0">
                    <a:pos x="T6" y="T7"/>
                  </a:cxn>
                  <a:cxn ang="0">
                    <a:pos x="T8" y="T9"/>
                  </a:cxn>
                </a:cxnLst>
                <a:rect l="0" t="0" r="r" b="b"/>
                <a:pathLst>
                  <a:path w="969" h="1361">
                    <a:moveTo>
                      <a:pt x="969" y="1361"/>
                    </a:moveTo>
                    <a:lnTo>
                      <a:pt x="969" y="1361"/>
                    </a:lnTo>
                    <a:lnTo>
                      <a:pt x="0" y="0"/>
                    </a:lnTo>
                    <a:lnTo>
                      <a:pt x="0" y="0"/>
                    </a:lnTo>
                    <a:lnTo>
                      <a:pt x="969" y="1361"/>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05" name="Freeform 452"/>
              <p:cNvSpPr>
                <a:spLocks/>
              </p:cNvSpPr>
              <p:nvPr/>
            </p:nvSpPr>
            <p:spPr bwMode="auto">
              <a:xfrm>
                <a:off x="-6213475" y="2655887"/>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06" name="Freeform 453"/>
              <p:cNvSpPr>
                <a:spLocks/>
              </p:cNvSpPr>
              <p:nvPr/>
            </p:nvSpPr>
            <p:spPr bwMode="auto">
              <a:xfrm>
                <a:off x="-4675188" y="3113087"/>
                <a:ext cx="1903413" cy="1703388"/>
              </a:xfrm>
              <a:custGeom>
                <a:avLst/>
                <a:gdLst>
                  <a:gd name="T0" fmla="*/ 0 w 1199"/>
                  <a:gd name="T1" fmla="*/ 1073 h 1073"/>
                  <a:gd name="T2" fmla="*/ 165 w 1199"/>
                  <a:gd name="T3" fmla="*/ 0 h 1073"/>
                  <a:gd name="T4" fmla="*/ 1199 w 1199"/>
                  <a:gd name="T5" fmla="*/ 708 h 1073"/>
                  <a:gd name="T6" fmla="*/ 0 w 1199"/>
                  <a:gd name="T7" fmla="*/ 1073 h 1073"/>
                </a:gdLst>
                <a:ahLst/>
                <a:cxnLst>
                  <a:cxn ang="0">
                    <a:pos x="T0" y="T1"/>
                  </a:cxn>
                  <a:cxn ang="0">
                    <a:pos x="T2" y="T3"/>
                  </a:cxn>
                  <a:cxn ang="0">
                    <a:pos x="T4" y="T5"/>
                  </a:cxn>
                  <a:cxn ang="0">
                    <a:pos x="T6" y="T7"/>
                  </a:cxn>
                </a:cxnLst>
                <a:rect l="0" t="0" r="r" b="b"/>
                <a:pathLst>
                  <a:path w="1199" h="1073">
                    <a:moveTo>
                      <a:pt x="0" y="1073"/>
                    </a:moveTo>
                    <a:lnTo>
                      <a:pt x="165" y="0"/>
                    </a:lnTo>
                    <a:lnTo>
                      <a:pt x="1199" y="708"/>
                    </a:lnTo>
                    <a:lnTo>
                      <a:pt x="0" y="1073"/>
                    </a:lnTo>
                    <a:close/>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07" name="Freeform 454"/>
              <p:cNvSpPr>
                <a:spLocks/>
              </p:cNvSpPr>
              <p:nvPr/>
            </p:nvSpPr>
            <p:spPr bwMode="auto">
              <a:xfrm>
                <a:off x="-7018338" y="4597400"/>
                <a:ext cx="2343150" cy="1195388"/>
              </a:xfrm>
              <a:custGeom>
                <a:avLst/>
                <a:gdLst>
                  <a:gd name="T0" fmla="*/ 978 w 1476"/>
                  <a:gd name="T1" fmla="*/ 753 h 753"/>
                  <a:gd name="T2" fmla="*/ 978 w 1476"/>
                  <a:gd name="T3" fmla="*/ 753 h 753"/>
                  <a:gd name="T4" fmla="*/ 0 w 1476"/>
                  <a:gd name="T5" fmla="*/ 0 h 753"/>
                  <a:gd name="T6" fmla="*/ 1476 w 1476"/>
                  <a:gd name="T7" fmla="*/ 138 h 753"/>
                  <a:gd name="T8" fmla="*/ 978 w 1476"/>
                  <a:gd name="T9" fmla="*/ 753 h 753"/>
                </a:gdLst>
                <a:ahLst/>
                <a:cxnLst>
                  <a:cxn ang="0">
                    <a:pos x="T0" y="T1"/>
                  </a:cxn>
                  <a:cxn ang="0">
                    <a:pos x="T2" y="T3"/>
                  </a:cxn>
                  <a:cxn ang="0">
                    <a:pos x="T4" y="T5"/>
                  </a:cxn>
                  <a:cxn ang="0">
                    <a:pos x="T6" y="T7"/>
                  </a:cxn>
                  <a:cxn ang="0">
                    <a:pos x="T8" y="T9"/>
                  </a:cxn>
                </a:cxnLst>
                <a:rect l="0" t="0" r="r" b="b"/>
                <a:pathLst>
                  <a:path w="1476" h="753">
                    <a:moveTo>
                      <a:pt x="978" y="753"/>
                    </a:moveTo>
                    <a:lnTo>
                      <a:pt x="978" y="753"/>
                    </a:lnTo>
                    <a:lnTo>
                      <a:pt x="0" y="0"/>
                    </a:lnTo>
                    <a:lnTo>
                      <a:pt x="1476" y="138"/>
                    </a:lnTo>
                    <a:lnTo>
                      <a:pt x="978" y="7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08" name="Line 455"/>
              <p:cNvSpPr>
                <a:spLocks noChangeShapeType="1"/>
              </p:cNvSpPr>
              <p:nvPr/>
            </p:nvSpPr>
            <p:spPr bwMode="auto">
              <a:xfrm>
                <a:off x="-7643813" y="76596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09" name="Freeform 456"/>
              <p:cNvSpPr>
                <a:spLocks/>
              </p:cNvSpPr>
              <p:nvPr/>
            </p:nvSpPr>
            <p:spPr bwMode="auto">
              <a:xfrm>
                <a:off x="-7643813" y="6911975"/>
                <a:ext cx="1103313" cy="747713"/>
              </a:xfrm>
              <a:custGeom>
                <a:avLst/>
                <a:gdLst>
                  <a:gd name="T0" fmla="*/ 0 w 695"/>
                  <a:gd name="T1" fmla="*/ 471 h 471"/>
                  <a:gd name="T2" fmla="*/ 0 w 695"/>
                  <a:gd name="T3" fmla="*/ 471 h 471"/>
                  <a:gd name="T4" fmla="*/ 695 w 695"/>
                  <a:gd name="T5" fmla="*/ 0 h 471"/>
                  <a:gd name="T6" fmla="*/ 0 w 695"/>
                  <a:gd name="T7" fmla="*/ 471 h 471"/>
                </a:gdLst>
                <a:ahLst/>
                <a:cxnLst>
                  <a:cxn ang="0">
                    <a:pos x="T0" y="T1"/>
                  </a:cxn>
                  <a:cxn ang="0">
                    <a:pos x="T2" y="T3"/>
                  </a:cxn>
                  <a:cxn ang="0">
                    <a:pos x="T4" y="T5"/>
                  </a:cxn>
                  <a:cxn ang="0">
                    <a:pos x="T6" y="T7"/>
                  </a:cxn>
                </a:cxnLst>
                <a:rect l="0" t="0" r="r" b="b"/>
                <a:pathLst>
                  <a:path w="695" h="471">
                    <a:moveTo>
                      <a:pt x="0" y="471"/>
                    </a:moveTo>
                    <a:lnTo>
                      <a:pt x="0" y="471"/>
                    </a:lnTo>
                    <a:lnTo>
                      <a:pt x="695" y="0"/>
                    </a:lnTo>
                    <a:lnTo>
                      <a:pt x="0" y="471"/>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10" name="Freeform 457"/>
              <p:cNvSpPr>
                <a:spLocks/>
              </p:cNvSpPr>
              <p:nvPr/>
            </p:nvSpPr>
            <p:spPr bwMode="auto">
              <a:xfrm>
                <a:off x="-5465763" y="5792787"/>
                <a:ext cx="1524000" cy="1866900"/>
              </a:xfrm>
              <a:custGeom>
                <a:avLst/>
                <a:gdLst>
                  <a:gd name="T0" fmla="*/ 960 w 960"/>
                  <a:gd name="T1" fmla="*/ 1176 h 1176"/>
                  <a:gd name="T2" fmla="*/ 823 w 960"/>
                  <a:gd name="T3" fmla="*/ 1176 h 1176"/>
                  <a:gd name="T4" fmla="*/ 0 w 960"/>
                  <a:gd name="T5" fmla="*/ 0 h 1176"/>
                  <a:gd name="T6" fmla="*/ 788 w 960"/>
                  <a:gd name="T7" fmla="*/ 317 h 1176"/>
                  <a:gd name="T8" fmla="*/ 960 w 960"/>
                  <a:gd name="T9" fmla="*/ 1176 h 1176"/>
                </a:gdLst>
                <a:ahLst/>
                <a:cxnLst>
                  <a:cxn ang="0">
                    <a:pos x="T0" y="T1"/>
                  </a:cxn>
                  <a:cxn ang="0">
                    <a:pos x="T2" y="T3"/>
                  </a:cxn>
                  <a:cxn ang="0">
                    <a:pos x="T4" y="T5"/>
                  </a:cxn>
                  <a:cxn ang="0">
                    <a:pos x="T6" y="T7"/>
                  </a:cxn>
                  <a:cxn ang="0">
                    <a:pos x="T8" y="T9"/>
                  </a:cxn>
                </a:cxnLst>
                <a:rect l="0" t="0" r="r" b="b"/>
                <a:pathLst>
                  <a:path w="960" h="1176">
                    <a:moveTo>
                      <a:pt x="960" y="1176"/>
                    </a:moveTo>
                    <a:lnTo>
                      <a:pt x="823" y="1176"/>
                    </a:lnTo>
                    <a:lnTo>
                      <a:pt x="0" y="0"/>
                    </a:lnTo>
                    <a:lnTo>
                      <a:pt x="788" y="317"/>
                    </a:lnTo>
                    <a:lnTo>
                      <a:pt x="960" y="117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11" name="Rectangle 458"/>
              <p:cNvSpPr>
                <a:spLocks noChangeArrowheads="1"/>
              </p:cNvSpPr>
              <p:nvPr/>
            </p:nvSpPr>
            <p:spPr bwMode="auto">
              <a:xfrm>
                <a:off x="-5465763" y="5792787"/>
                <a:ext cx="1588" cy="1588"/>
              </a:xfrm>
              <a:prstGeom prst="rect">
                <a:avLst/>
              </a:prstGeom>
              <a:solidFill>
                <a:srgbClr val="599FBD"/>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12" name="Freeform 459"/>
              <p:cNvSpPr>
                <a:spLocks/>
              </p:cNvSpPr>
              <p:nvPr/>
            </p:nvSpPr>
            <p:spPr bwMode="auto">
              <a:xfrm>
                <a:off x="-6540500" y="5792787"/>
                <a:ext cx="2381250" cy="1866900"/>
              </a:xfrm>
              <a:custGeom>
                <a:avLst/>
                <a:gdLst>
                  <a:gd name="T0" fmla="*/ 1500 w 1500"/>
                  <a:gd name="T1" fmla="*/ 1176 h 1176"/>
                  <a:gd name="T2" fmla="*/ 1072 w 1500"/>
                  <a:gd name="T3" fmla="*/ 1176 h 1176"/>
                  <a:gd name="T4" fmla="*/ 0 w 1500"/>
                  <a:gd name="T5" fmla="*/ 705 h 1176"/>
                  <a:gd name="T6" fmla="*/ 677 w 1500"/>
                  <a:gd name="T7" fmla="*/ 0 h 1176"/>
                  <a:gd name="T8" fmla="*/ 677 w 1500"/>
                  <a:gd name="T9" fmla="*/ 0 h 1176"/>
                  <a:gd name="T10" fmla="*/ 1500 w 1500"/>
                  <a:gd name="T11" fmla="*/ 1176 h 1176"/>
                </a:gdLst>
                <a:ahLst/>
                <a:cxnLst>
                  <a:cxn ang="0">
                    <a:pos x="T0" y="T1"/>
                  </a:cxn>
                  <a:cxn ang="0">
                    <a:pos x="T2" y="T3"/>
                  </a:cxn>
                  <a:cxn ang="0">
                    <a:pos x="T4" y="T5"/>
                  </a:cxn>
                  <a:cxn ang="0">
                    <a:pos x="T6" y="T7"/>
                  </a:cxn>
                  <a:cxn ang="0">
                    <a:pos x="T8" y="T9"/>
                  </a:cxn>
                  <a:cxn ang="0">
                    <a:pos x="T10" y="T11"/>
                  </a:cxn>
                </a:cxnLst>
                <a:rect l="0" t="0" r="r" b="b"/>
                <a:pathLst>
                  <a:path w="1500" h="1176">
                    <a:moveTo>
                      <a:pt x="1500" y="1176"/>
                    </a:moveTo>
                    <a:lnTo>
                      <a:pt x="1072" y="1176"/>
                    </a:lnTo>
                    <a:lnTo>
                      <a:pt x="0" y="705"/>
                    </a:lnTo>
                    <a:lnTo>
                      <a:pt x="677" y="0"/>
                    </a:lnTo>
                    <a:lnTo>
                      <a:pt x="677" y="0"/>
                    </a:lnTo>
                    <a:lnTo>
                      <a:pt x="150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13" name="Freeform 460"/>
              <p:cNvSpPr>
                <a:spLocks/>
              </p:cNvSpPr>
              <p:nvPr/>
            </p:nvSpPr>
            <p:spPr bwMode="auto">
              <a:xfrm>
                <a:off x="-4214813" y="6296025"/>
                <a:ext cx="1620838" cy="1363663"/>
              </a:xfrm>
              <a:custGeom>
                <a:avLst/>
                <a:gdLst>
                  <a:gd name="T0" fmla="*/ 1021 w 1021"/>
                  <a:gd name="T1" fmla="*/ 859 h 859"/>
                  <a:gd name="T2" fmla="*/ 172 w 1021"/>
                  <a:gd name="T3" fmla="*/ 859 h 859"/>
                  <a:gd name="T4" fmla="*/ 0 w 1021"/>
                  <a:gd name="T5" fmla="*/ 0 h 859"/>
                  <a:gd name="T6" fmla="*/ 1021 w 1021"/>
                  <a:gd name="T7" fmla="*/ 859 h 859"/>
                </a:gdLst>
                <a:ahLst/>
                <a:cxnLst>
                  <a:cxn ang="0">
                    <a:pos x="T0" y="T1"/>
                  </a:cxn>
                  <a:cxn ang="0">
                    <a:pos x="T2" y="T3"/>
                  </a:cxn>
                  <a:cxn ang="0">
                    <a:pos x="T4" y="T5"/>
                  </a:cxn>
                  <a:cxn ang="0">
                    <a:pos x="T6" y="T7"/>
                  </a:cxn>
                </a:cxnLst>
                <a:rect l="0" t="0" r="r" b="b"/>
                <a:pathLst>
                  <a:path w="1021" h="859">
                    <a:moveTo>
                      <a:pt x="1021" y="859"/>
                    </a:moveTo>
                    <a:lnTo>
                      <a:pt x="172" y="859"/>
                    </a:lnTo>
                    <a:lnTo>
                      <a:pt x="0" y="0"/>
                    </a:lnTo>
                    <a:lnTo>
                      <a:pt x="1021" y="8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14" name="Freeform 461"/>
              <p:cNvSpPr>
                <a:spLocks/>
              </p:cNvSpPr>
              <p:nvPr/>
            </p:nvSpPr>
            <p:spPr bwMode="auto">
              <a:xfrm>
                <a:off x="-6540500" y="6911975"/>
                <a:ext cx="1701800" cy="747713"/>
              </a:xfrm>
              <a:custGeom>
                <a:avLst/>
                <a:gdLst>
                  <a:gd name="T0" fmla="*/ 1072 w 1072"/>
                  <a:gd name="T1" fmla="*/ 471 h 471"/>
                  <a:gd name="T2" fmla="*/ 254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254" y="471"/>
                    </a:lnTo>
                    <a:lnTo>
                      <a:pt x="0" y="0"/>
                    </a:lnTo>
                    <a:lnTo>
                      <a:pt x="1072" y="471"/>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15" name="Line 462"/>
              <p:cNvSpPr>
                <a:spLocks noChangeShapeType="1"/>
              </p:cNvSpPr>
              <p:nvPr/>
            </p:nvSpPr>
            <p:spPr bwMode="auto">
              <a:xfrm>
                <a:off x="-6137275" y="7659687"/>
                <a:ext cx="0" cy="0"/>
              </a:xfrm>
              <a:prstGeom prst="line">
                <a:avLst/>
              </a:prstGeom>
              <a:noFill/>
              <a:ln w="317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16" name="Freeform 463"/>
              <p:cNvSpPr>
                <a:spLocks/>
              </p:cNvSpPr>
              <p:nvPr/>
            </p:nvSpPr>
            <p:spPr bwMode="auto">
              <a:xfrm>
                <a:off x="-6540500" y="6911975"/>
                <a:ext cx="403225" cy="747713"/>
              </a:xfrm>
              <a:custGeom>
                <a:avLst/>
                <a:gdLst>
                  <a:gd name="T0" fmla="*/ 254 w 254"/>
                  <a:gd name="T1" fmla="*/ 471 h 471"/>
                  <a:gd name="T2" fmla="*/ 254 w 254"/>
                  <a:gd name="T3" fmla="*/ 471 h 471"/>
                  <a:gd name="T4" fmla="*/ 0 w 254"/>
                  <a:gd name="T5" fmla="*/ 0 h 471"/>
                  <a:gd name="T6" fmla="*/ 254 w 254"/>
                  <a:gd name="T7" fmla="*/ 471 h 471"/>
                </a:gdLst>
                <a:ahLst/>
                <a:cxnLst>
                  <a:cxn ang="0">
                    <a:pos x="T0" y="T1"/>
                  </a:cxn>
                  <a:cxn ang="0">
                    <a:pos x="T2" y="T3"/>
                  </a:cxn>
                  <a:cxn ang="0">
                    <a:pos x="T4" y="T5"/>
                  </a:cxn>
                  <a:cxn ang="0">
                    <a:pos x="T6" y="T7"/>
                  </a:cxn>
                </a:cxnLst>
                <a:rect l="0" t="0" r="r" b="b"/>
                <a:pathLst>
                  <a:path w="254" h="471">
                    <a:moveTo>
                      <a:pt x="254" y="471"/>
                    </a:moveTo>
                    <a:lnTo>
                      <a:pt x="254" y="471"/>
                    </a:lnTo>
                    <a:lnTo>
                      <a:pt x="0" y="0"/>
                    </a:lnTo>
                    <a:lnTo>
                      <a:pt x="254" y="471"/>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17" name="Freeform 464"/>
              <p:cNvSpPr>
                <a:spLocks/>
              </p:cNvSpPr>
              <p:nvPr/>
            </p:nvSpPr>
            <p:spPr bwMode="auto">
              <a:xfrm>
                <a:off x="-6540500" y="6911975"/>
                <a:ext cx="1701800" cy="747713"/>
              </a:xfrm>
              <a:custGeom>
                <a:avLst/>
                <a:gdLst>
                  <a:gd name="T0" fmla="*/ 1072 w 1072"/>
                  <a:gd name="T1" fmla="*/ 471 h 471"/>
                  <a:gd name="T2" fmla="*/ 1072 w 1072"/>
                  <a:gd name="T3" fmla="*/ 471 h 471"/>
                  <a:gd name="T4" fmla="*/ 0 w 1072"/>
                  <a:gd name="T5" fmla="*/ 0 h 471"/>
                  <a:gd name="T6" fmla="*/ 1072 w 1072"/>
                  <a:gd name="T7" fmla="*/ 471 h 471"/>
                </a:gdLst>
                <a:ahLst/>
                <a:cxnLst>
                  <a:cxn ang="0">
                    <a:pos x="T0" y="T1"/>
                  </a:cxn>
                  <a:cxn ang="0">
                    <a:pos x="T2" y="T3"/>
                  </a:cxn>
                  <a:cxn ang="0">
                    <a:pos x="T4" y="T5"/>
                  </a:cxn>
                  <a:cxn ang="0">
                    <a:pos x="T6" y="T7"/>
                  </a:cxn>
                </a:cxnLst>
                <a:rect l="0" t="0" r="r" b="b"/>
                <a:pathLst>
                  <a:path w="1072" h="471">
                    <a:moveTo>
                      <a:pt x="1072" y="471"/>
                    </a:moveTo>
                    <a:lnTo>
                      <a:pt x="1072" y="471"/>
                    </a:lnTo>
                    <a:lnTo>
                      <a:pt x="0" y="0"/>
                    </a:lnTo>
                    <a:lnTo>
                      <a:pt x="1072" y="47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18" name="Freeform 465"/>
              <p:cNvSpPr>
                <a:spLocks/>
              </p:cNvSpPr>
              <p:nvPr/>
            </p:nvSpPr>
            <p:spPr bwMode="auto">
              <a:xfrm>
                <a:off x="-3327400" y="-3540126"/>
                <a:ext cx="2473325" cy="2046288"/>
              </a:xfrm>
              <a:custGeom>
                <a:avLst/>
                <a:gdLst>
                  <a:gd name="T0" fmla="*/ 0 w 1558"/>
                  <a:gd name="T1" fmla="*/ 1289 h 1289"/>
                  <a:gd name="T2" fmla="*/ 916 w 1558"/>
                  <a:gd name="T3" fmla="*/ 0 h 1289"/>
                  <a:gd name="T4" fmla="*/ 1558 w 1558"/>
                  <a:gd name="T5" fmla="*/ 541 h 1289"/>
                  <a:gd name="T6" fmla="*/ 1558 w 1558"/>
                  <a:gd name="T7" fmla="*/ 890 h 1289"/>
                  <a:gd name="T8" fmla="*/ 0 w 1558"/>
                  <a:gd name="T9" fmla="*/ 1289 h 1289"/>
                </a:gdLst>
                <a:ahLst/>
                <a:cxnLst>
                  <a:cxn ang="0">
                    <a:pos x="T0" y="T1"/>
                  </a:cxn>
                  <a:cxn ang="0">
                    <a:pos x="T2" y="T3"/>
                  </a:cxn>
                  <a:cxn ang="0">
                    <a:pos x="T4" y="T5"/>
                  </a:cxn>
                  <a:cxn ang="0">
                    <a:pos x="T6" y="T7"/>
                  </a:cxn>
                  <a:cxn ang="0">
                    <a:pos x="T8" y="T9"/>
                  </a:cxn>
                </a:cxnLst>
                <a:rect l="0" t="0" r="r" b="b"/>
                <a:pathLst>
                  <a:path w="1558" h="1289">
                    <a:moveTo>
                      <a:pt x="0" y="1289"/>
                    </a:moveTo>
                    <a:lnTo>
                      <a:pt x="916" y="0"/>
                    </a:lnTo>
                    <a:lnTo>
                      <a:pt x="1558" y="541"/>
                    </a:lnTo>
                    <a:lnTo>
                      <a:pt x="1558" y="890"/>
                    </a:lnTo>
                    <a:lnTo>
                      <a:pt x="0" y="128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19" name="Freeform 466"/>
              <p:cNvSpPr>
                <a:spLocks/>
              </p:cNvSpPr>
              <p:nvPr/>
            </p:nvSpPr>
            <p:spPr bwMode="auto">
              <a:xfrm>
                <a:off x="-2697163" y="-4110038"/>
                <a:ext cx="1154113" cy="569913"/>
              </a:xfrm>
              <a:custGeom>
                <a:avLst/>
                <a:gdLst>
                  <a:gd name="T0" fmla="*/ 519 w 727"/>
                  <a:gd name="T1" fmla="*/ 359 h 359"/>
                  <a:gd name="T2" fmla="*/ 519 w 727"/>
                  <a:gd name="T3" fmla="*/ 359 h 359"/>
                  <a:gd name="T4" fmla="*/ 0 w 727"/>
                  <a:gd name="T5" fmla="*/ 0 h 359"/>
                  <a:gd name="T6" fmla="*/ 727 w 727"/>
                  <a:gd name="T7" fmla="*/ 0 h 359"/>
                  <a:gd name="T8" fmla="*/ 519 w 727"/>
                  <a:gd name="T9" fmla="*/ 359 h 359"/>
                </a:gdLst>
                <a:ahLst/>
                <a:cxnLst>
                  <a:cxn ang="0">
                    <a:pos x="T0" y="T1"/>
                  </a:cxn>
                  <a:cxn ang="0">
                    <a:pos x="T2" y="T3"/>
                  </a:cxn>
                  <a:cxn ang="0">
                    <a:pos x="T4" y="T5"/>
                  </a:cxn>
                  <a:cxn ang="0">
                    <a:pos x="T6" y="T7"/>
                  </a:cxn>
                  <a:cxn ang="0">
                    <a:pos x="T8" y="T9"/>
                  </a:cxn>
                </a:cxnLst>
                <a:rect l="0" t="0" r="r" b="b"/>
                <a:pathLst>
                  <a:path w="727" h="359">
                    <a:moveTo>
                      <a:pt x="519" y="359"/>
                    </a:moveTo>
                    <a:lnTo>
                      <a:pt x="519" y="359"/>
                    </a:lnTo>
                    <a:lnTo>
                      <a:pt x="0" y="0"/>
                    </a:lnTo>
                    <a:lnTo>
                      <a:pt x="727" y="0"/>
                    </a:lnTo>
                    <a:lnTo>
                      <a:pt x="519" y="35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20" name="Freeform 467"/>
              <p:cNvSpPr>
                <a:spLocks/>
              </p:cNvSpPr>
              <p:nvPr/>
            </p:nvSpPr>
            <p:spPr bwMode="auto">
              <a:xfrm>
                <a:off x="-1873250" y="-3540126"/>
                <a:ext cx="1019175" cy="858838"/>
              </a:xfrm>
              <a:custGeom>
                <a:avLst/>
                <a:gdLst>
                  <a:gd name="T0" fmla="*/ 642 w 642"/>
                  <a:gd name="T1" fmla="*/ 541 h 541"/>
                  <a:gd name="T2" fmla="*/ 0 w 642"/>
                  <a:gd name="T3" fmla="*/ 0 h 541"/>
                  <a:gd name="T4" fmla="*/ 642 w 642"/>
                  <a:gd name="T5" fmla="*/ 0 h 541"/>
                  <a:gd name="T6" fmla="*/ 642 w 642"/>
                  <a:gd name="T7" fmla="*/ 541 h 541"/>
                </a:gdLst>
                <a:ahLst/>
                <a:cxnLst>
                  <a:cxn ang="0">
                    <a:pos x="T0" y="T1"/>
                  </a:cxn>
                  <a:cxn ang="0">
                    <a:pos x="T2" y="T3"/>
                  </a:cxn>
                  <a:cxn ang="0">
                    <a:pos x="T4" y="T5"/>
                  </a:cxn>
                  <a:cxn ang="0">
                    <a:pos x="T6" y="T7"/>
                  </a:cxn>
                </a:cxnLst>
                <a:rect l="0" t="0" r="r" b="b"/>
                <a:pathLst>
                  <a:path w="642" h="541">
                    <a:moveTo>
                      <a:pt x="642" y="541"/>
                    </a:moveTo>
                    <a:lnTo>
                      <a:pt x="0" y="0"/>
                    </a:lnTo>
                    <a:lnTo>
                      <a:pt x="642" y="0"/>
                    </a:lnTo>
                    <a:lnTo>
                      <a:pt x="642" y="541"/>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21" name="Freeform 468"/>
              <p:cNvSpPr>
                <a:spLocks/>
              </p:cNvSpPr>
              <p:nvPr/>
            </p:nvSpPr>
            <p:spPr bwMode="auto">
              <a:xfrm>
                <a:off x="-3668713" y="-4110038"/>
                <a:ext cx="1795463" cy="569913"/>
              </a:xfrm>
              <a:custGeom>
                <a:avLst/>
                <a:gdLst>
                  <a:gd name="T0" fmla="*/ 1131 w 1131"/>
                  <a:gd name="T1" fmla="*/ 359 h 359"/>
                  <a:gd name="T2" fmla="*/ 0 w 1131"/>
                  <a:gd name="T3" fmla="*/ 359 h 359"/>
                  <a:gd name="T4" fmla="*/ 285 w 1131"/>
                  <a:gd name="T5" fmla="*/ 0 h 359"/>
                  <a:gd name="T6" fmla="*/ 612 w 1131"/>
                  <a:gd name="T7" fmla="*/ 0 h 359"/>
                  <a:gd name="T8" fmla="*/ 1131 w 1131"/>
                  <a:gd name="T9" fmla="*/ 359 h 359"/>
                </a:gdLst>
                <a:ahLst/>
                <a:cxnLst>
                  <a:cxn ang="0">
                    <a:pos x="T0" y="T1"/>
                  </a:cxn>
                  <a:cxn ang="0">
                    <a:pos x="T2" y="T3"/>
                  </a:cxn>
                  <a:cxn ang="0">
                    <a:pos x="T4" y="T5"/>
                  </a:cxn>
                  <a:cxn ang="0">
                    <a:pos x="T6" y="T7"/>
                  </a:cxn>
                  <a:cxn ang="0">
                    <a:pos x="T8" y="T9"/>
                  </a:cxn>
                </a:cxnLst>
                <a:rect l="0" t="0" r="r" b="b"/>
                <a:pathLst>
                  <a:path w="1131" h="359">
                    <a:moveTo>
                      <a:pt x="1131" y="359"/>
                    </a:moveTo>
                    <a:lnTo>
                      <a:pt x="0" y="359"/>
                    </a:lnTo>
                    <a:lnTo>
                      <a:pt x="285" y="0"/>
                    </a:lnTo>
                    <a:lnTo>
                      <a:pt x="612" y="0"/>
                    </a:lnTo>
                    <a:lnTo>
                      <a:pt x="1131" y="35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22" name="Freeform 469"/>
              <p:cNvSpPr>
                <a:spLocks/>
              </p:cNvSpPr>
              <p:nvPr/>
            </p:nvSpPr>
            <p:spPr bwMode="auto">
              <a:xfrm>
                <a:off x="-1873250" y="-4110038"/>
                <a:ext cx="1019175" cy="569913"/>
              </a:xfrm>
              <a:custGeom>
                <a:avLst/>
                <a:gdLst>
                  <a:gd name="T0" fmla="*/ 642 w 642"/>
                  <a:gd name="T1" fmla="*/ 359 h 359"/>
                  <a:gd name="T2" fmla="*/ 0 w 642"/>
                  <a:gd name="T3" fmla="*/ 359 h 359"/>
                  <a:gd name="T4" fmla="*/ 208 w 642"/>
                  <a:gd name="T5" fmla="*/ 0 h 359"/>
                  <a:gd name="T6" fmla="*/ 642 w 642"/>
                  <a:gd name="T7" fmla="*/ 0 h 359"/>
                  <a:gd name="T8" fmla="*/ 642 w 642"/>
                  <a:gd name="T9" fmla="*/ 359 h 359"/>
                </a:gdLst>
                <a:ahLst/>
                <a:cxnLst>
                  <a:cxn ang="0">
                    <a:pos x="T0" y="T1"/>
                  </a:cxn>
                  <a:cxn ang="0">
                    <a:pos x="T2" y="T3"/>
                  </a:cxn>
                  <a:cxn ang="0">
                    <a:pos x="T4" y="T5"/>
                  </a:cxn>
                  <a:cxn ang="0">
                    <a:pos x="T6" y="T7"/>
                  </a:cxn>
                  <a:cxn ang="0">
                    <a:pos x="T8" y="T9"/>
                  </a:cxn>
                </a:cxnLst>
                <a:rect l="0" t="0" r="r" b="b"/>
                <a:pathLst>
                  <a:path w="642" h="359">
                    <a:moveTo>
                      <a:pt x="642" y="359"/>
                    </a:moveTo>
                    <a:lnTo>
                      <a:pt x="0" y="359"/>
                    </a:lnTo>
                    <a:lnTo>
                      <a:pt x="208" y="0"/>
                    </a:lnTo>
                    <a:lnTo>
                      <a:pt x="642" y="0"/>
                    </a:lnTo>
                    <a:lnTo>
                      <a:pt x="642" y="35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23" name="Freeform 470"/>
              <p:cNvSpPr>
                <a:spLocks/>
              </p:cNvSpPr>
              <p:nvPr/>
            </p:nvSpPr>
            <p:spPr bwMode="auto">
              <a:xfrm>
                <a:off x="-3668713" y="-3540126"/>
                <a:ext cx="1795463" cy="2046288"/>
              </a:xfrm>
              <a:custGeom>
                <a:avLst/>
                <a:gdLst>
                  <a:gd name="T0" fmla="*/ 215 w 1131"/>
                  <a:gd name="T1" fmla="*/ 1289 h 1289"/>
                  <a:gd name="T2" fmla="*/ 150 w 1131"/>
                  <a:gd name="T3" fmla="*/ 902 h 1289"/>
                  <a:gd name="T4" fmla="*/ 0 w 1131"/>
                  <a:gd name="T5" fmla="*/ 0 h 1289"/>
                  <a:gd name="T6" fmla="*/ 0 w 1131"/>
                  <a:gd name="T7" fmla="*/ 0 h 1289"/>
                  <a:gd name="T8" fmla="*/ 0 w 1131"/>
                  <a:gd name="T9" fmla="*/ 0 h 1289"/>
                  <a:gd name="T10" fmla="*/ 1131 w 1131"/>
                  <a:gd name="T11" fmla="*/ 0 h 1289"/>
                  <a:gd name="T12" fmla="*/ 215 w 1131"/>
                  <a:gd name="T13" fmla="*/ 1289 h 1289"/>
                </a:gdLst>
                <a:ahLst/>
                <a:cxnLst>
                  <a:cxn ang="0">
                    <a:pos x="T0" y="T1"/>
                  </a:cxn>
                  <a:cxn ang="0">
                    <a:pos x="T2" y="T3"/>
                  </a:cxn>
                  <a:cxn ang="0">
                    <a:pos x="T4" y="T5"/>
                  </a:cxn>
                  <a:cxn ang="0">
                    <a:pos x="T6" y="T7"/>
                  </a:cxn>
                  <a:cxn ang="0">
                    <a:pos x="T8" y="T9"/>
                  </a:cxn>
                  <a:cxn ang="0">
                    <a:pos x="T10" y="T11"/>
                  </a:cxn>
                  <a:cxn ang="0">
                    <a:pos x="T12" y="T13"/>
                  </a:cxn>
                </a:cxnLst>
                <a:rect l="0" t="0" r="r" b="b"/>
                <a:pathLst>
                  <a:path w="1131" h="1289">
                    <a:moveTo>
                      <a:pt x="215" y="1289"/>
                    </a:moveTo>
                    <a:lnTo>
                      <a:pt x="150" y="902"/>
                    </a:lnTo>
                    <a:lnTo>
                      <a:pt x="0" y="0"/>
                    </a:lnTo>
                    <a:lnTo>
                      <a:pt x="0" y="0"/>
                    </a:lnTo>
                    <a:lnTo>
                      <a:pt x="0" y="0"/>
                    </a:lnTo>
                    <a:lnTo>
                      <a:pt x="1131" y="0"/>
                    </a:lnTo>
                    <a:lnTo>
                      <a:pt x="215" y="1289"/>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24" name="Freeform 471"/>
              <p:cNvSpPr>
                <a:spLocks/>
              </p:cNvSpPr>
              <p:nvPr/>
            </p:nvSpPr>
            <p:spPr bwMode="auto">
              <a:xfrm>
                <a:off x="-3668713" y="-35401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5698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25" name="Freeform 472"/>
              <p:cNvSpPr>
                <a:spLocks/>
              </p:cNvSpPr>
              <p:nvPr/>
            </p:nvSpPr>
            <p:spPr bwMode="auto">
              <a:xfrm>
                <a:off x="-3668713" y="-3540126"/>
                <a:ext cx="238125" cy="1431925"/>
              </a:xfrm>
              <a:custGeom>
                <a:avLst/>
                <a:gdLst>
                  <a:gd name="T0" fmla="*/ 150 w 150"/>
                  <a:gd name="T1" fmla="*/ 902 h 902"/>
                  <a:gd name="T2" fmla="*/ 0 w 150"/>
                  <a:gd name="T3" fmla="*/ 0 h 902"/>
                  <a:gd name="T4" fmla="*/ 0 w 150"/>
                  <a:gd name="T5" fmla="*/ 0 h 902"/>
                  <a:gd name="T6" fmla="*/ 150 w 150"/>
                  <a:gd name="T7" fmla="*/ 902 h 902"/>
                </a:gdLst>
                <a:ahLst/>
                <a:cxnLst>
                  <a:cxn ang="0">
                    <a:pos x="T0" y="T1"/>
                  </a:cxn>
                  <a:cxn ang="0">
                    <a:pos x="T2" y="T3"/>
                  </a:cxn>
                  <a:cxn ang="0">
                    <a:pos x="T4" y="T5"/>
                  </a:cxn>
                  <a:cxn ang="0">
                    <a:pos x="T6" y="T7"/>
                  </a:cxn>
                </a:cxnLst>
                <a:rect l="0" t="0" r="r" b="b"/>
                <a:pathLst>
                  <a:path w="150" h="902">
                    <a:moveTo>
                      <a:pt x="150" y="902"/>
                    </a:moveTo>
                    <a:lnTo>
                      <a:pt x="0" y="0"/>
                    </a:lnTo>
                    <a:lnTo>
                      <a:pt x="0" y="0"/>
                    </a:lnTo>
                    <a:lnTo>
                      <a:pt x="150" y="902"/>
                    </a:lnTo>
                    <a:close/>
                  </a:path>
                </a:pathLst>
              </a:custGeom>
              <a:solidFill>
                <a:srgbClr val="599E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26" name="Freeform 473"/>
              <p:cNvSpPr>
                <a:spLocks/>
              </p:cNvSpPr>
              <p:nvPr/>
            </p:nvSpPr>
            <p:spPr bwMode="auto">
              <a:xfrm>
                <a:off x="-2771775" y="-428626"/>
                <a:ext cx="1917700" cy="2205038"/>
              </a:xfrm>
              <a:custGeom>
                <a:avLst/>
                <a:gdLst>
                  <a:gd name="T0" fmla="*/ 1208 w 1208"/>
                  <a:gd name="T1" fmla="*/ 1389 h 1389"/>
                  <a:gd name="T2" fmla="*/ 0 w 1208"/>
                  <a:gd name="T3" fmla="*/ 979 h 1389"/>
                  <a:gd name="T4" fmla="*/ 566 w 1208"/>
                  <a:gd name="T5" fmla="*/ 0 h 1389"/>
                  <a:gd name="T6" fmla="*/ 566 w 1208"/>
                  <a:gd name="T7" fmla="*/ 0 h 1389"/>
                  <a:gd name="T8" fmla="*/ 566 w 1208"/>
                  <a:gd name="T9" fmla="*/ 0 h 1389"/>
                  <a:gd name="T10" fmla="*/ 566 w 1208"/>
                  <a:gd name="T11" fmla="*/ 0 h 1389"/>
                  <a:gd name="T12" fmla="*/ 566 w 1208"/>
                  <a:gd name="T13" fmla="*/ 0 h 1389"/>
                  <a:gd name="T14" fmla="*/ 1104 w 1208"/>
                  <a:gd name="T15" fmla="*/ 901 h 1389"/>
                  <a:gd name="T16" fmla="*/ 1208 w 1208"/>
                  <a:gd name="T17" fmla="*/ 1075 h 1389"/>
                  <a:gd name="T18" fmla="*/ 1208 w 1208"/>
                  <a:gd name="T19" fmla="*/ 1389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8" h="1389">
                    <a:moveTo>
                      <a:pt x="1208" y="1389"/>
                    </a:moveTo>
                    <a:lnTo>
                      <a:pt x="0" y="979"/>
                    </a:lnTo>
                    <a:lnTo>
                      <a:pt x="566" y="0"/>
                    </a:lnTo>
                    <a:lnTo>
                      <a:pt x="566" y="0"/>
                    </a:lnTo>
                    <a:lnTo>
                      <a:pt x="566" y="0"/>
                    </a:lnTo>
                    <a:lnTo>
                      <a:pt x="566" y="0"/>
                    </a:lnTo>
                    <a:lnTo>
                      <a:pt x="566" y="0"/>
                    </a:lnTo>
                    <a:lnTo>
                      <a:pt x="1104" y="901"/>
                    </a:lnTo>
                    <a:lnTo>
                      <a:pt x="1208" y="1075"/>
                    </a:lnTo>
                    <a:lnTo>
                      <a:pt x="1208" y="1389"/>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27" name="Freeform 474"/>
              <p:cNvSpPr>
                <a:spLocks/>
              </p:cNvSpPr>
              <p:nvPr/>
            </p:nvSpPr>
            <p:spPr bwMode="auto">
              <a:xfrm>
                <a:off x="-3327400" y="-2127251"/>
                <a:ext cx="2473325" cy="1698625"/>
              </a:xfrm>
              <a:custGeom>
                <a:avLst/>
                <a:gdLst>
                  <a:gd name="T0" fmla="*/ 916 w 1558"/>
                  <a:gd name="T1" fmla="*/ 1070 h 1070"/>
                  <a:gd name="T2" fmla="*/ 916 w 1558"/>
                  <a:gd name="T3" fmla="*/ 1070 h 1070"/>
                  <a:gd name="T4" fmla="*/ 0 w 1558"/>
                  <a:gd name="T5" fmla="*/ 399 h 1070"/>
                  <a:gd name="T6" fmla="*/ 1558 w 1558"/>
                  <a:gd name="T7" fmla="*/ 0 h 1070"/>
                  <a:gd name="T8" fmla="*/ 1558 w 1558"/>
                  <a:gd name="T9" fmla="*/ 299 h 1070"/>
                  <a:gd name="T10" fmla="*/ 1515 w 1558"/>
                  <a:gd name="T11" fmla="*/ 350 h 1070"/>
                  <a:gd name="T12" fmla="*/ 916 w 1558"/>
                  <a:gd name="T13" fmla="*/ 1070 h 1070"/>
                </a:gdLst>
                <a:ahLst/>
                <a:cxnLst>
                  <a:cxn ang="0">
                    <a:pos x="T0" y="T1"/>
                  </a:cxn>
                  <a:cxn ang="0">
                    <a:pos x="T2" y="T3"/>
                  </a:cxn>
                  <a:cxn ang="0">
                    <a:pos x="T4" y="T5"/>
                  </a:cxn>
                  <a:cxn ang="0">
                    <a:pos x="T6" y="T7"/>
                  </a:cxn>
                  <a:cxn ang="0">
                    <a:pos x="T8" y="T9"/>
                  </a:cxn>
                  <a:cxn ang="0">
                    <a:pos x="T10" y="T11"/>
                  </a:cxn>
                  <a:cxn ang="0">
                    <a:pos x="T12" y="T13"/>
                  </a:cxn>
                </a:cxnLst>
                <a:rect l="0" t="0" r="r" b="b"/>
                <a:pathLst>
                  <a:path w="1558" h="1070">
                    <a:moveTo>
                      <a:pt x="916" y="1070"/>
                    </a:moveTo>
                    <a:lnTo>
                      <a:pt x="916" y="1070"/>
                    </a:lnTo>
                    <a:lnTo>
                      <a:pt x="0" y="399"/>
                    </a:lnTo>
                    <a:lnTo>
                      <a:pt x="1558" y="0"/>
                    </a:lnTo>
                    <a:lnTo>
                      <a:pt x="1558" y="299"/>
                    </a:lnTo>
                    <a:lnTo>
                      <a:pt x="1515" y="350"/>
                    </a:lnTo>
                    <a:lnTo>
                      <a:pt x="916" y="1070"/>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28" name="Freeform 475"/>
              <p:cNvSpPr>
                <a:spLocks/>
              </p:cNvSpPr>
              <p:nvPr/>
            </p:nvSpPr>
            <p:spPr bwMode="auto">
              <a:xfrm>
                <a:off x="-1873250" y="-428626"/>
                <a:ext cx="1019175" cy="1706563"/>
              </a:xfrm>
              <a:custGeom>
                <a:avLst/>
                <a:gdLst>
                  <a:gd name="T0" fmla="*/ 642 w 642"/>
                  <a:gd name="T1" fmla="*/ 1075 h 1075"/>
                  <a:gd name="T2" fmla="*/ 538 w 642"/>
                  <a:gd name="T3" fmla="*/ 901 h 1075"/>
                  <a:gd name="T4" fmla="*/ 0 w 642"/>
                  <a:gd name="T5" fmla="*/ 0 h 1075"/>
                  <a:gd name="T6" fmla="*/ 642 w 642"/>
                  <a:gd name="T7" fmla="*/ 193 h 1075"/>
                  <a:gd name="T8" fmla="*/ 642 w 642"/>
                  <a:gd name="T9" fmla="*/ 1075 h 1075"/>
                </a:gdLst>
                <a:ahLst/>
                <a:cxnLst>
                  <a:cxn ang="0">
                    <a:pos x="T0" y="T1"/>
                  </a:cxn>
                  <a:cxn ang="0">
                    <a:pos x="T2" y="T3"/>
                  </a:cxn>
                  <a:cxn ang="0">
                    <a:pos x="T4" y="T5"/>
                  </a:cxn>
                  <a:cxn ang="0">
                    <a:pos x="T6" y="T7"/>
                  </a:cxn>
                  <a:cxn ang="0">
                    <a:pos x="T8" y="T9"/>
                  </a:cxn>
                </a:cxnLst>
                <a:rect l="0" t="0" r="r" b="b"/>
                <a:pathLst>
                  <a:path w="642" h="1075">
                    <a:moveTo>
                      <a:pt x="642" y="1075"/>
                    </a:moveTo>
                    <a:lnTo>
                      <a:pt x="538" y="901"/>
                    </a:lnTo>
                    <a:lnTo>
                      <a:pt x="0" y="0"/>
                    </a:lnTo>
                    <a:lnTo>
                      <a:pt x="642" y="193"/>
                    </a:lnTo>
                    <a:lnTo>
                      <a:pt x="642" y="1075"/>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29" name="Freeform 476"/>
              <p:cNvSpPr>
                <a:spLocks/>
              </p:cNvSpPr>
              <p:nvPr/>
            </p:nvSpPr>
            <p:spPr bwMode="auto">
              <a:xfrm>
                <a:off x="-3327400" y="-1493838"/>
                <a:ext cx="1454150" cy="1654175"/>
              </a:xfrm>
              <a:custGeom>
                <a:avLst/>
                <a:gdLst>
                  <a:gd name="T0" fmla="*/ 218 w 916"/>
                  <a:gd name="T1" fmla="*/ 1042 h 1042"/>
                  <a:gd name="T2" fmla="*/ 218 w 916"/>
                  <a:gd name="T3" fmla="*/ 1042 h 1042"/>
                  <a:gd name="T4" fmla="*/ 0 w 916"/>
                  <a:gd name="T5" fmla="*/ 0 h 1042"/>
                  <a:gd name="T6" fmla="*/ 916 w 916"/>
                  <a:gd name="T7" fmla="*/ 671 h 1042"/>
                  <a:gd name="T8" fmla="*/ 916 w 916"/>
                  <a:gd name="T9" fmla="*/ 671 h 1042"/>
                  <a:gd name="T10" fmla="*/ 218 w 916"/>
                  <a:gd name="T11" fmla="*/ 1042 h 1042"/>
                </a:gdLst>
                <a:ahLst/>
                <a:cxnLst>
                  <a:cxn ang="0">
                    <a:pos x="T0" y="T1"/>
                  </a:cxn>
                  <a:cxn ang="0">
                    <a:pos x="T2" y="T3"/>
                  </a:cxn>
                  <a:cxn ang="0">
                    <a:pos x="T4" y="T5"/>
                  </a:cxn>
                  <a:cxn ang="0">
                    <a:pos x="T6" y="T7"/>
                  </a:cxn>
                  <a:cxn ang="0">
                    <a:pos x="T8" y="T9"/>
                  </a:cxn>
                  <a:cxn ang="0">
                    <a:pos x="T10" y="T11"/>
                  </a:cxn>
                </a:cxnLst>
                <a:rect l="0" t="0" r="r" b="b"/>
                <a:pathLst>
                  <a:path w="916" h="1042">
                    <a:moveTo>
                      <a:pt x="218" y="1042"/>
                    </a:moveTo>
                    <a:lnTo>
                      <a:pt x="218" y="1042"/>
                    </a:lnTo>
                    <a:lnTo>
                      <a:pt x="0" y="0"/>
                    </a:lnTo>
                    <a:lnTo>
                      <a:pt x="916" y="671"/>
                    </a:lnTo>
                    <a:lnTo>
                      <a:pt x="916" y="671"/>
                    </a:lnTo>
                    <a:lnTo>
                      <a:pt x="218" y="1042"/>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30" name="Freeform 477"/>
              <p:cNvSpPr>
                <a:spLocks/>
              </p:cNvSpPr>
              <p:nvPr/>
            </p:nvSpPr>
            <p:spPr bwMode="auto">
              <a:xfrm>
                <a:off x="-1873250" y="-1652588"/>
                <a:ext cx="1019175" cy="1530350"/>
              </a:xfrm>
              <a:custGeom>
                <a:avLst/>
                <a:gdLst>
                  <a:gd name="T0" fmla="*/ 642 w 642"/>
                  <a:gd name="T1" fmla="*/ 964 h 964"/>
                  <a:gd name="T2" fmla="*/ 0 w 642"/>
                  <a:gd name="T3" fmla="*/ 771 h 964"/>
                  <a:gd name="T4" fmla="*/ 0 w 642"/>
                  <a:gd name="T5" fmla="*/ 771 h 964"/>
                  <a:gd name="T6" fmla="*/ 599 w 642"/>
                  <a:gd name="T7" fmla="*/ 51 h 964"/>
                  <a:gd name="T8" fmla="*/ 642 w 642"/>
                  <a:gd name="T9" fmla="*/ 0 h 964"/>
                  <a:gd name="T10" fmla="*/ 642 w 642"/>
                  <a:gd name="T11" fmla="*/ 964 h 964"/>
                </a:gdLst>
                <a:ahLst/>
                <a:cxnLst>
                  <a:cxn ang="0">
                    <a:pos x="T0" y="T1"/>
                  </a:cxn>
                  <a:cxn ang="0">
                    <a:pos x="T2" y="T3"/>
                  </a:cxn>
                  <a:cxn ang="0">
                    <a:pos x="T4" y="T5"/>
                  </a:cxn>
                  <a:cxn ang="0">
                    <a:pos x="T6" y="T7"/>
                  </a:cxn>
                  <a:cxn ang="0">
                    <a:pos x="T8" y="T9"/>
                  </a:cxn>
                  <a:cxn ang="0">
                    <a:pos x="T10" y="T11"/>
                  </a:cxn>
                </a:cxnLst>
                <a:rect l="0" t="0" r="r" b="b"/>
                <a:pathLst>
                  <a:path w="642" h="964">
                    <a:moveTo>
                      <a:pt x="642" y="964"/>
                    </a:moveTo>
                    <a:lnTo>
                      <a:pt x="0" y="771"/>
                    </a:lnTo>
                    <a:lnTo>
                      <a:pt x="0" y="771"/>
                    </a:lnTo>
                    <a:lnTo>
                      <a:pt x="599" y="51"/>
                    </a:lnTo>
                    <a:lnTo>
                      <a:pt x="642" y="0"/>
                    </a:lnTo>
                    <a:lnTo>
                      <a:pt x="642" y="964"/>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31" name="Freeform 478"/>
              <p:cNvSpPr>
                <a:spLocks/>
              </p:cNvSpPr>
              <p:nvPr/>
            </p:nvSpPr>
            <p:spPr bwMode="auto">
              <a:xfrm>
                <a:off x="-922338" y="-1652588"/>
                <a:ext cx="68263" cy="80963"/>
              </a:xfrm>
              <a:custGeom>
                <a:avLst/>
                <a:gdLst>
                  <a:gd name="T0" fmla="*/ 0 w 43"/>
                  <a:gd name="T1" fmla="*/ 51 h 51"/>
                  <a:gd name="T2" fmla="*/ 43 w 43"/>
                  <a:gd name="T3" fmla="*/ 0 h 51"/>
                  <a:gd name="T4" fmla="*/ 43 w 43"/>
                  <a:gd name="T5" fmla="*/ 0 h 51"/>
                  <a:gd name="T6" fmla="*/ 0 w 43"/>
                  <a:gd name="T7" fmla="*/ 51 h 51"/>
                </a:gdLst>
                <a:ahLst/>
                <a:cxnLst>
                  <a:cxn ang="0">
                    <a:pos x="T0" y="T1"/>
                  </a:cxn>
                  <a:cxn ang="0">
                    <a:pos x="T2" y="T3"/>
                  </a:cxn>
                  <a:cxn ang="0">
                    <a:pos x="T4" y="T5"/>
                  </a:cxn>
                  <a:cxn ang="0">
                    <a:pos x="T6" y="T7"/>
                  </a:cxn>
                </a:cxnLst>
                <a:rect l="0" t="0" r="r" b="b"/>
                <a:pathLst>
                  <a:path w="43" h="51">
                    <a:moveTo>
                      <a:pt x="0" y="51"/>
                    </a:moveTo>
                    <a:lnTo>
                      <a:pt x="43" y="0"/>
                    </a:lnTo>
                    <a:lnTo>
                      <a:pt x="43" y="0"/>
                    </a:lnTo>
                    <a:lnTo>
                      <a:pt x="0" y="51"/>
                    </a:lnTo>
                    <a:close/>
                  </a:path>
                </a:pathLst>
              </a:custGeom>
              <a:solidFill>
                <a:srgbClr val="5AA1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32" name="Freeform 479"/>
              <p:cNvSpPr>
                <a:spLocks/>
              </p:cNvSpPr>
              <p:nvPr/>
            </p:nvSpPr>
            <p:spPr bwMode="auto">
              <a:xfrm>
                <a:off x="-2981325" y="-428626"/>
                <a:ext cx="1108075" cy="1554163"/>
              </a:xfrm>
              <a:custGeom>
                <a:avLst/>
                <a:gdLst>
                  <a:gd name="T0" fmla="*/ 132 w 698"/>
                  <a:gd name="T1" fmla="*/ 979 h 979"/>
                  <a:gd name="T2" fmla="*/ 78 w 698"/>
                  <a:gd name="T3" fmla="*/ 730 h 979"/>
                  <a:gd name="T4" fmla="*/ 0 w 698"/>
                  <a:gd name="T5" fmla="*/ 371 h 979"/>
                  <a:gd name="T6" fmla="*/ 0 w 698"/>
                  <a:gd name="T7" fmla="*/ 371 h 979"/>
                  <a:gd name="T8" fmla="*/ 698 w 698"/>
                  <a:gd name="T9" fmla="*/ 0 h 979"/>
                  <a:gd name="T10" fmla="*/ 132 w 698"/>
                  <a:gd name="T11" fmla="*/ 979 h 979"/>
                </a:gdLst>
                <a:ahLst/>
                <a:cxnLst>
                  <a:cxn ang="0">
                    <a:pos x="T0" y="T1"/>
                  </a:cxn>
                  <a:cxn ang="0">
                    <a:pos x="T2" y="T3"/>
                  </a:cxn>
                  <a:cxn ang="0">
                    <a:pos x="T4" y="T5"/>
                  </a:cxn>
                  <a:cxn ang="0">
                    <a:pos x="T6" y="T7"/>
                  </a:cxn>
                  <a:cxn ang="0">
                    <a:pos x="T8" y="T9"/>
                  </a:cxn>
                  <a:cxn ang="0">
                    <a:pos x="T10" y="T11"/>
                  </a:cxn>
                </a:cxnLst>
                <a:rect l="0" t="0" r="r" b="b"/>
                <a:pathLst>
                  <a:path w="698" h="979">
                    <a:moveTo>
                      <a:pt x="132" y="979"/>
                    </a:moveTo>
                    <a:lnTo>
                      <a:pt x="78" y="730"/>
                    </a:lnTo>
                    <a:lnTo>
                      <a:pt x="0" y="371"/>
                    </a:lnTo>
                    <a:lnTo>
                      <a:pt x="0" y="371"/>
                    </a:lnTo>
                    <a:lnTo>
                      <a:pt x="698" y="0"/>
                    </a:lnTo>
                    <a:lnTo>
                      <a:pt x="132" y="979"/>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33" name="Freeform 480"/>
              <p:cNvSpPr>
                <a:spLocks/>
              </p:cNvSpPr>
              <p:nvPr/>
            </p:nvSpPr>
            <p:spPr bwMode="auto">
              <a:xfrm>
                <a:off x="-2981325" y="160337"/>
                <a:ext cx="123825" cy="569913"/>
              </a:xfrm>
              <a:custGeom>
                <a:avLst/>
                <a:gdLst>
                  <a:gd name="T0" fmla="*/ 78 w 78"/>
                  <a:gd name="T1" fmla="*/ 359 h 359"/>
                  <a:gd name="T2" fmla="*/ 0 w 78"/>
                  <a:gd name="T3" fmla="*/ 0 h 359"/>
                  <a:gd name="T4" fmla="*/ 0 w 78"/>
                  <a:gd name="T5" fmla="*/ 0 h 359"/>
                  <a:gd name="T6" fmla="*/ 78 w 78"/>
                  <a:gd name="T7" fmla="*/ 359 h 359"/>
                </a:gdLst>
                <a:ahLst/>
                <a:cxnLst>
                  <a:cxn ang="0">
                    <a:pos x="T0" y="T1"/>
                  </a:cxn>
                  <a:cxn ang="0">
                    <a:pos x="T2" y="T3"/>
                  </a:cxn>
                  <a:cxn ang="0">
                    <a:pos x="T4" y="T5"/>
                  </a:cxn>
                  <a:cxn ang="0">
                    <a:pos x="T6" y="T7"/>
                  </a:cxn>
                </a:cxnLst>
                <a:rect l="0" t="0" r="r" b="b"/>
                <a:pathLst>
                  <a:path w="78" h="359">
                    <a:moveTo>
                      <a:pt x="78" y="359"/>
                    </a:moveTo>
                    <a:lnTo>
                      <a:pt x="0" y="0"/>
                    </a:lnTo>
                    <a:lnTo>
                      <a:pt x="0" y="0"/>
                    </a:lnTo>
                    <a:lnTo>
                      <a:pt x="78" y="359"/>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34" name="Freeform 481"/>
              <p:cNvSpPr>
                <a:spLocks/>
              </p:cNvSpPr>
              <p:nvPr/>
            </p:nvSpPr>
            <p:spPr bwMode="auto">
              <a:xfrm>
                <a:off x="-2771775" y="-428626"/>
                <a:ext cx="898525" cy="1554163"/>
              </a:xfrm>
              <a:custGeom>
                <a:avLst/>
                <a:gdLst>
                  <a:gd name="T0" fmla="*/ 0 w 566"/>
                  <a:gd name="T1" fmla="*/ 979 h 979"/>
                  <a:gd name="T2" fmla="*/ 0 w 566"/>
                  <a:gd name="T3" fmla="*/ 979 h 979"/>
                  <a:gd name="T4" fmla="*/ 566 w 566"/>
                  <a:gd name="T5" fmla="*/ 0 h 979"/>
                  <a:gd name="T6" fmla="*/ 566 w 566"/>
                  <a:gd name="T7" fmla="*/ 0 h 979"/>
                  <a:gd name="T8" fmla="*/ 0 w 566"/>
                  <a:gd name="T9" fmla="*/ 979 h 979"/>
                </a:gdLst>
                <a:ahLst/>
                <a:cxnLst>
                  <a:cxn ang="0">
                    <a:pos x="T0" y="T1"/>
                  </a:cxn>
                  <a:cxn ang="0">
                    <a:pos x="T2" y="T3"/>
                  </a:cxn>
                  <a:cxn ang="0">
                    <a:pos x="T4" y="T5"/>
                  </a:cxn>
                  <a:cxn ang="0">
                    <a:pos x="T6" y="T7"/>
                  </a:cxn>
                  <a:cxn ang="0">
                    <a:pos x="T8" y="T9"/>
                  </a:cxn>
                </a:cxnLst>
                <a:rect l="0" t="0" r="r" b="b"/>
                <a:pathLst>
                  <a:path w="566" h="979">
                    <a:moveTo>
                      <a:pt x="0" y="979"/>
                    </a:moveTo>
                    <a:lnTo>
                      <a:pt x="0" y="979"/>
                    </a:lnTo>
                    <a:lnTo>
                      <a:pt x="566" y="0"/>
                    </a:lnTo>
                    <a:lnTo>
                      <a:pt x="566" y="0"/>
                    </a:lnTo>
                    <a:lnTo>
                      <a:pt x="0" y="979"/>
                    </a:lnTo>
                    <a:close/>
                  </a:path>
                </a:pathLst>
              </a:custGeom>
              <a:solidFill>
                <a:srgbClr val="579BBB"/>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35" name="Freeform 482"/>
              <p:cNvSpPr>
                <a:spLocks noEditPoints="1"/>
              </p:cNvSpPr>
              <p:nvPr/>
            </p:nvSpPr>
            <p:spPr bwMode="auto">
              <a:xfrm>
                <a:off x="-2771775" y="2682875"/>
                <a:ext cx="898525" cy="2232025"/>
              </a:xfrm>
              <a:custGeom>
                <a:avLst/>
                <a:gdLst>
                  <a:gd name="T0" fmla="*/ 940 w 1179"/>
                  <a:gd name="T1" fmla="*/ 2930 h 2930"/>
                  <a:gd name="T2" fmla="*/ 0 w 1179"/>
                  <a:gd name="T3" fmla="*/ 2041 h 2930"/>
                  <a:gd name="T4" fmla="*/ 1179 w 1179"/>
                  <a:gd name="T5" fmla="*/ 0 h 2930"/>
                  <a:gd name="T6" fmla="*/ 940 w 1179"/>
                  <a:gd name="T7" fmla="*/ 2930 h 2930"/>
                  <a:gd name="T8" fmla="*/ 1179 w 1179"/>
                  <a:gd name="T9" fmla="*/ 0 h 2930"/>
                  <a:gd name="T10" fmla="*/ 1179 w 1179"/>
                  <a:gd name="T11" fmla="*/ 0 h 2930"/>
                </a:gdLst>
                <a:ahLst/>
                <a:cxnLst>
                  <a:cxn ang="0">
                    <a:pos x="T0" y="T1"/>
                  </a:cxn>
                  <a:cxn ang="0">
                    <a:pos x="T2" y="T3"/>
                  </a:cxn>
                  <a:cxn ang="0">
                    <a:pos x="T4" y="T5"/>
                  </a:cxn>
                  <a:cxn ang="0">
                    <a:pos x="T6" y="T7"/>
                  </a:cxn>
                  <a:cxn ang="0">
                    <a:pos x="T8" y="T9"/>
                  </a:cxn>
                  <a:cxn ang="0">
                    <a:pos x="T10" y="T11"/>
                  </a:cxn>
                </a:cxnLst>
                <a:rect l="0" t="0" r="r" b="b"/>
                <a:pathLst>
                  <a:path w="1179" h="2930">
                    <a:moveTo>
                      <a:pt x="940" y="2930"/>
                    </a:moveTo>
                    <a:lnTo>
                      <a:pt x="0" y="2041"/>
                    </a:lnTo>
                    <a:lnTo>
                      <a:pt x="1179" y="0"/>
                    </a:lnTo>
                    <a:lnTo>
                      <a:pt x="940" y="2930"/>
                    </a:lnTo>
                    <a:moveTo>
                      <a:pt x="1179" y="0"/>
                    </a:moveTo>
                    <a:lnTo>
                      <a:pt x="1179" y="0"/>
                    </a:lnTo>
                  </a:path>
                </a:pathLst>
              </a:custGeom>
              <a:solidFill>
                <a:srgbClr val="4D84AD"/>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36" name="Freeform 483"/>
              <p:cNvSpPr>
                <a:spLocks/>
              </p:cNvSpPr>
              <p:nvPr/>
            </p:nvSpPr>
            <p:spPr bwMode="auto">
              <a:xfrm>
                <a:off x="-2771775" y="1125537"/>
                <a:ext cx="1917700" cy="1557338"/>
              </a:xfrm>
              <a:custGeom>
                <a:avLst/>
                <a:gdLst>
                  <a:gd name="T0" fmla="*/ 566 w 1208"/>
                  <a:gd name="T1" fmla="*/ 981 h 981"/>
                  <a:gd name="T2" fmla="*/ 566 w 1208"/>
                  <a:gd name="T3" fmla="*/ 981 h 981"/>
                  <a:gd name="T4" fmla="*/ 0 w 1208"/>
                  <a:gd name="T5" fmla="*/ 0 h 981"/>
                  <a:gd name="T6" fmla="*/ 1208 w 1208"/>
                  <a:gd name="T7" fmla="*/ 410 h 981"/>
                  <a:gd name="T8" fmla="*/ 1208 w 1208"/>
                  <a:gd name="T9" fmla="*/ 621 h 981"/>
                  <a:gd name="T10" fmla="*/ 933 w 1208"/>
                  <a:gd name="T11" fmla="*/ 775 h 981"/>
                  <a:gd name="T12" fmla="*/ 566 w 1208"/>
                  <a:gd name="T13" fmla="*/ 981 h 981"/>
                </a:gdLst>
                <a:ahLst/>
                <a:cxnLst>
                  <a:cxn ang="0">
                    <a:pos x="T0" y="T1"/>
                  </a:cxn>
                  <a:cxn ang="0">
                    <a:pos x="T2" y="T3"/>
                  </a:cxn>
                  <a:cxn ang="0">
                    <a:pos x="T4" y="T5"/>
                  </a:cxn>
                  <a:cxn ang="0">
                    <a:pos x="T6" y="T7"/>
                  </a:cxn>
                  <a:cxn ang="0">
                    <a:pos x="T8" y="T9"/>
                  </a:cxn>
                  <a:cxn ang="0">
                    <a:pos x="T10" y="T11"/>
                  </a:cxn>
                  <a:cxn ang="0">
                    <a:pos x="T12" y="T13"/>
                  </a:cxn>
                </a:cxnLst>
                <a:rect l="0" t="0" r="r" b="b"/>
                <a:pathLst>
                  <a:path w="1208" h="981">
                    <a:moveTo>
                      <a:pt x="566" y="981"/>
                    </a:moveTo>
                    <a:lnTo>
                      <a:pt x="566" y="981"/>
                    </a:lnTo>
                    <a:lnTo>
                      <a:pt x="0" y="0"/>
                    </a:lnTo>
                    <a:lnTo>
                      <a:pt x="1208" y="410"/>
                    </a:lnTo>
                    <a:lnTo>
                      <a:pt x="1208" y="621"/>
                    </a:lnTo>
                    <a:lnTo>
                      <a:pt x="933" y="775"/>
                    </a:lnTo>
                    <a:lnTo>
                      <a:pt x="566" y="981"/>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37" name="Freeform 484"/>
              <p:cNvSpPr>
                <a:spLocks/>
              </p:cNvSpPr>
              <p:nvPr/>
            </p:nvSpPr>
            <p:spPr bwMode="auto">
              <a:xfrm>
                <a:off x="-2054225" y="2682875"/>
                <a:ext cx="1200150" cy="2232025"/>
              </a:xfrm>
              <a:custGeom>
                <a:avLst/>
                <a:gdLst>
                  <a:gd name="T0" fmla="*/ 0 w 756"/>
                  <a:gd name="T1" fmla="*/ 1406 h 1406"/>
                  <a:gd name="T2" fmla="*/ 114 w 756"/>
                  <a:gd name="T3" fmla="*/ 0 h 1406"/>
                  <a:gd name="T4" fmla="*/ 756 w 756"/>
                  <a:gd name="T5" fmla="*/ 0 h 1406"/>
                  <a:gd name="T6" fmla="*/ 756 w 756"/>
                  <a:gd name="T7" fmla="*/ 553 h 1406"/>
                  <a:gd name="T8" fmla="*/ 0 w 756"/>
                  <a:gd name="T9" fmla="*/ 1406 h 1406"/>
                </a:gdLst>
                <a:ahLst/>
                <a:cxnLst>
                  <a:cxn ang="0">
                    <a:pos x="T0" y="T1"/>
                  </a:cxn>
                  <a:cxn ang="0">
                    <a:pos x="T2" y="T3"/>
                  </a:cxn>
                  <a:cxn ang="0">
                    <a:pos x="T4" y="T5"/>
                  </a:cxn>
                  <a:cxn ang="0">
                    <a:pos x="T6" y="T7"/>
                  </a:cxn>
                  <a:cxn ang="0">
                    <a:pos x="T8" y="T9"/>
                  </a:cxn>
                </a:cxnLst>
                <a:rect l="0" t="0" r="r" b="b"/>
                <a:pathLst>
                  <a:path w="756" h="1406">
                    <a:moveTo>
                      <a:pt x="0" y="1406"/>
                    </a:moveTo>
                    <a:lnTo>
                      <a:pt x="114" y="0"/>
                    </a:lnTo>
                    <a:lnTo>
                      <a:pt x="756" y="0"/>
                    </a:lnTo>
                    <a:lnTo>
                      <a:pt x="756" y="553"/>
                    </a:lnTo>
                    <a:lnTo>
                      <a:pt x="0" y="1406"/>
                    </a:lnTo>
                    <a:close/>
                  </a:path>
                </a:pathLst>
              </a:custGeom>
              <a:solidFill>
                <a:srgbClr val="5697B9"/>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38" name="Freeform 485"/>
              <p:cNvSpPr>
                <a:spLocks noEditPoints="1"/>
              </p:cNvSpPr>
              <p:nvPr/>
            </p:nvSpPr>
            <p:spPr bwMode="auto">
              <a:xfrm>
                <a:off x="-4413250" y="1125537"/>
                <a:ext cx="2540000" cy="1987550"/>
              </a:xfrm>
              <a:custGeom>
                <a:avLst/>
                <a:gdLst>
                  <a:gd name="T0" fmla="*/ 0 w 3333"/>
                  <a:gd name="T1" fmla="*/ 2608 h 2608"/>
                  <a:gd name="T2" fmla="*/ 0 w 3333"/>
                  <a:gd name="T3" fmla="*/ 2608 h 2608"/>
                  <a:gd name="T4" fmla="*/ 0 w 3333"/>
                  <a:gd name="T5" fmla="*/ 2608 h 2608"/>
                  <a:gd name="T6" fmla="*/ 0 w 3333"/>
                  <a:gd name="T7" fmla="*/ 2608 h 2608"/>
                  <a:gd name="T8" fmla="*/ 0 w 3333"/>
                  <a:gd name="T9" fmla="*/ 2608 h 2608"/>
                  <a:gd name="T10" fmla="*/ 2154 w 3333"/>
                  <a:gd name="T11" fmla="*/ 0 h 2608"/>
                  <a:gd name="T12" fmla="*/ 3333 w 3333"/>
                  <a:gd name="T13" fmla="*/ 2042 h 2608"/>
                  <a:gd name="T14" fmla="*/ 3333 w 3333"/>
                  <a:gd name="T15" fmla="*/ 2042 h 2608"/>
                  <a:gd name="T16" fmla="*/ 0 w 3333"/>
                  <a:gd name="T17" fmla="*/ 2608 h 2608"/>
                  <a:gd name="T18" fmla="*/ 3333 w 3333"/>
                  <a:gd name="T19" fmla="*/ 2042 h 2608"/>
                  <a:gd name="T20" fmla="*/ 3333 w 3333"/>
                  <a:gd name="T21" fmla="*/ 2042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33" h="2608">
                    <a:moveTo>
                      <a:pt x="0" y="2608"/>
                    </a:moveTo>
                    <a:lnTo>
                      <a:pt x="0" y="2608"/>
                    </a:lnTo>
                    <a:lnTo>
                      <a:pt x="0" y="2608"/>
                    </a:lnTo>
                    <a:lnTo>
                      <a:pt x="0" y="2608"/>
                    </a:lnTo>
                    <a:moveTo>
                      <a:pt x="0" y="2608"/>
                    </a:moveTo>
                    <a:lnTo>
                      <a:pt x="2154" y="0"/>
                    </a:lnTo>
                    <a:lnTo>
                      <a:pt x="3333" y="2042"/>
                    </a:lnTo>
                    <a:lnTo>
                      <a:pt x="3333" y="2042"/>
                    </a:lnTo>
                    <a:lnTo>
                      <a:pt x="0" y="2608"/>
                    </a:lnTo>
                    <a:moveTo>
                      <a:pt x="3333" y="2042"/>
                    </a:moveTo>
                    <a:lnTo>
                      <a:pt x="3333" y="2042"/>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39" name="Freeform 486"/>
              <p:cNvSpPr>
                <a:spLocks/>
              </p:cNvSpPr>
              <p:nvPr/>
            </p:nvSpPr>
            <p:spPr bwMode="auto">
              <a:xfrm>
                <a:off x="-1873250" y="2111375"/>
                <a:ext cx="1019175" cy="571500"/>
              </a:xfrm>
              <a:custGeom>
                <a:avLst/>
                <a:gdLst>
                  <a:gd name="T0" fmla="*/ 0 w 642"/>
                  <a:gd name="T1" fmla="*/ 360 h 360"/>
                  <a:gd name="T2" fmla="*/ 0 w 642"/>
                  <a:gd name="T3" fmla="*/ 360 h 360"/>
                  <a:gd name="T4" fmla="*/ 367 w 642"/>
                  <a:gd name="T5" fmla="*/ 154 h 360"/>
                  <a:gd name="T6" fmla="*/ 642 w 642"/>
                  <a:gd name="T7" fmla="*/ 0 h 360"/>
                  <a:gd name="T8" fmla="*/ 642 w 642"/>
                  <a:gd name="T9" fmla="*/ 360 h 360"/>
                  <a:gd name="T10" fmla="*/ 0 w 642"/>
                  <a:gd name="T11" fmla="*/ 360 h 360"/>
                </a:gdLst>
                <a:ahLst/>
                <a:cxnLst>
                  <a:cxn ang="0">
                    <a:pos x="T0" y="T1"/>
                  </a:cxn>
                  <a:cxn ang="0">
                    <a:pos x="T2" y="T3"/>
                  </a:cxn>
                  <a:cxn ang="0">
                    <a:pos x="T4" y="T5"/>
                  </a:cxn>
                  <a:cxn ang="0">
                    <a:pos x="T6" y="T7"/>
                  </a:cxn>
                  <a:cxn ang="0">
                    <a:pos x="T8" y="T9"/>
                  </a:cxn>
                  <a:cxn ang="0">
                    <a:pos x="T10" y="T11"/>
                  </a:cxn>
                </a:cxnLst>
                <a:rect l="0" t="0" r="r" b="b"/>
                <a:pathLst>
                  <a:path w="642" h="360">
                    <a:moveTo>
                      <a:pt x="0" y="360"/>
                    </a:moveTo>
                    <a:lnTo>
                      <a:pt x="0" y="360"/>
                    </a:lnTo>
                    <a:lnTo>
                      <a:pt x="367" y="154"/>
                    </a:lnTo>
                    <a:lnTo>
                      <a:pt x="642" y="0"/>
                    </a:lnTo>
                    <a:lnTo>
                      <a:pt x="642" y="360"/>
                    </a:lnTo>
                    <a:lnTo>
                      <a:pt x="0" y="360"/>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40" name="Freeform 487"/>
              <p:cNvSpPr>
                <a:spLocks/>
              </p:cNvSpPr>
              <p:nvPr/>
            </p:nvSpPr>
            <p:spPr bwMode="auto">
              <a:xfrm>
                <a:off x="-1290638" y="2111375"/>
                <a:ext cx="436563" cy="244475"/>
              </a:xfrm>
              <a:custGeom>
                <a:avLst/>
                <a:gdLst>
                  <a:gd name="T0" fmla="*/ 0 w 275"/>
                  <a:gd name="T1" fmla="*/ 154 h 154"/>
                  <a:gd name="T2" fmla="*/ 275 w 275"/>
                  <a:gd name="T3" fmla="*/ 0 h 154"/>
                  <a:gd name="T4" fmla="*/ 275 w 275"/>
                  <a:gd name="T5" fmla="*/ 0 h 154"/>
                  <a:gd name="T6" fmla="*/ 0 w 275"/>
                  <a:gd name="T7" fmla="*/ 154 h 154"/>
                </a:gdLst>
                <a:ahLst/>
                <a:cxnLst>
                  <a:cxn ang="0">
                    <a:pos x="T0" y="T1"/>
                  </a:cxn>
                  <a:cxn ang="0">
                    <a:pos x="T2" y="T3"/>
                  </a:cxn>
                  <a:cxn ang="0">
                    <a:pos x="T4" y="T5"/>
                  </a:cxn>
                  <a:cxn ang="0">
                    <a:pos x="T6" y="T7"/>
                  </a:cxn>
                </a:cxnLst>
                <a:rect l="0" t="0" r="r" b="b"/>
                <a:pathLst>
                  <a:path w="275" h="154">
                    <a:moveTo>
                      <a:pt x="0" y="154"/>
                    </a:moveTo>
                    <a:lnTo>
                      <a:pt x="275" y="0"/>
                    </a:lnTo>
                    <a:lnTo>
                      <a:pt x="275" y="0"/>
                    </a:lnTo>
                    <a:lnTo>
                      <a:pt x="0" y="154"/>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41" name="Freeform 488"/>
              <p:cNvSpPr>
                <a:spLocks/>
              </p:cNvSpPr>
              <p:nvPr/>
            </p:nvSpPr>
            <p:spPr bwMode="auto">
              <a:xfrm>
                <a:off x="-4413250" y="2682875"/>
                <a:ext cx="2540000" cy="1554163"/>
              </a:xfrm>
              <a:custGeom>
                <a:avLst/>
                <a:gdLst>
                  <a:gd name="T0" fmla="*/ 1034 w 1600"/>
                  <a:gd name="T1" fmla="*/ 979 h 979"/>
                  <a:gd name="T2" fmla="*/ 0 w 1600"/>
                  <a:gd name="T3" fmla="*/ 271 h 979"/>
                  <a:gd name="T4" fmla="*/ 0 w 1600"/>
                  <a:gd name="T5" fmla="*/ 271 h 979"/>
                  <a:gd name="T6" fmla="*/ 1600 w 1600"/>
                  <a:gd name="T7" fmla="*/ 0 h 979"/>
                  <a:gd name="T8" fmla="*/ 1034 w 1600"/>
                  <a:gd name="T9" fmla="*/ 979 h 979"/>
                </a:gdLst>
                <a:ahLst/>
                <a:cxnLst>
                  <a:cxn ang="0">
                    <a:pos x="T0" y="T1"/>
                  </a:cxn>
                  <a:cxn ang="0">
                    <a:pos x="T2" y="T3"/>
                  </a:cxn>
                  <a:cxn ang="0">
                    <a:pos x="T4" y="T5"/>
                  </a:cxn>
                  <a:cxn ang="0">
                    <a:pos x="T6" y="T7"/>
                  </a:cxn>
                  <a:cxn ang="0">
                    <a:pos x="T8" y="T9"/>
                  </a:cxn>
                </a:cxnLst>
                <a:rect l="0" t="0" r="r" b="b"/>
                <a:pathLst>
                  <a:path w="1600" h="979">
                    <a:moveTo>
                      <a:pt x="1034" y="979"/>
                    </a:moveTo>
                    <a:lnTo>
                      <a:pt x="0" y="271"/>
                    </a:lnTo>
                    <a:lnTo>
                      <a:pt x="0" y="271"/>
                    </a:lnTo>
                    <a:lnTo>
                      <a:pt x="1600" y="0"/>
                    </a:lnTo>
                    <a:lnTo>
                      <a:pt x="1034" y="979"/>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42" name="Freeform 489"/>
              <p:cNvSpPr>
                <a:spLocks noEditPoints="1"/>
              </p:cNvSpPr>
              <p:nvPr/>
            </p:nvSpPr>
            <p:spPr bwMode="auto">
              <a:xfrm>
                <a:off x="-2438400" y="5792787"/>
                <a:ext cx="1517650" cy="1866900"/>
              </a:xfrm>
              <a:custGeom>
                <a:avLst/>
                <a:gdLst>
                  <a:gd name="T0" fmla="*/ 184 w 1992"/>
                  <a:gd name="T1" fmla="*/ 2449 h 2449"/>
                  <a:gd name="T2" fmla="*/ 0 w 1992"/>
                  <a:gd name="T3" fmla="*/ 2449 h 2449"/>
                  <a:gd name="T4" fmla="*/ 742 w 1992"/>
                  <a:gd name="T5" fmla="*/ 0 h 2449"/>
                  <a:gd name="T6" fmla="*/ 1342 w 1992"/>
                  <a:gd name="T7" fmla="*/ 650 h 2449"/>
                  <a:gd name="T8" fmla="*/ 1992 w 1992"/>
                  <a:gd name="T9" fmla="*/ 1354 h 2449"/>
                  <a:gd name="T10" fmla="*/ 184 w 1992"/>
                  <a:gd name="T11" fmla="*/ 2449 h 2449"/>
                  <a:gd name="T12" fmla="*/ 742 w 1992"/>
                  <a:gd name="T13" fmla="*/ 0 h 2449"/>
                  <a:gd name="T14" fmla="*/ 742 w 1992"/>
                  <a:gd name="T15" fmla="*/ 0 h 2449"/>
                  <a:gd name="T16" fmla="*/ 742 w 1992"/>
                  <a:gd name="T17" fmla="*/ 0 h 2449"/>
                  <a:gd name="T18" fmla="*/ 742 w 1992"/>
                  <a:gd name="T19" fmla="*/ 0 h 2449"/>
                  <a:gd name="T20" fmla="*/ 742 w 1992"/>
                  <a:gd name="T21" fmla="*/ 0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2" h="2449">
                    <a:moveTo>
                      <a:pt x="184" y="2449"/>
                    </a:moveTo>
                    <a:lnTo>
                      <a:pt x="0" y="2449"/>
                    </a:lnTo>
                    <a:lnTo>
                      <a:pt x="742" y="0"/>
                    </a:lnTo>
                    <a:lnTo>
                      <a:pt x="1342" y="650"/>
                    </a:lnTo>
                    <a:lnTo>
                      <a:pt x="1992" y="1354"/>
                    </a:lnTo>
                    <a:lnTo>
                      <a:pt x="184" y="2449"/>
                    </a:lnTo>
                    <a:moveTo>
                      <a:pt x="742" y="0"/>
                    </a:moveTo>
                    <a:lnTo>
                      <a:pt x="742" y="0"/>
                    </a:lnTo>
                    <a:moveTo>
                      <a:pt x="742" y="0"/>
                    </a:moveTo>
                    <a:lnTo>
                      <a:pt x="742" y="0"/>
                    </a:lnTo>
                    <a:lnTo>
                      <a:pt x="742" y="0"/>
                    </a:lnTo>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43" name="Freeform 490"/>
              <p:cNvSpPr>
                <a:spLocks/>
              </p:cNvSpPr>
              <p:nvPr/>
            </p:nvSpPr>
            <p:spPr bwMode="auto">
              <a:xfrm>
                <a:off x="-2771775" y="4237037"/>
                <a:ext cx="898525" cy="1555750"/>
              </a:xfrm>
              <a:custGeom>
                <a:avLst/>
                <a:gdLst>
                  <a:gd name="T0" fmla="*/ 566 w 566"/>
                  <a:gd name="T1" fmla="*/ 980 h 980"/>
                  <a:gd name="T2" fmla="*/ 0 w 566"/>
                  <a:gd name="T3" fmla="*/ 0 h 980"/>
                  <a:gd name="T4" fmla="*/ 452 w 566"/>
                  <a:gd name="T5" fmla="*/ 427 h 980"/>
                  <a:gd name="T6" fmla="*/ 547 w 566"/>
                  <a:gd name="T7" fmla="*/ 885 h 980"/>
                  <a:gd name="T8" fmla="*/ 566 w 566"/>
                  <a:gd name="T9" fmla="*/ 980 h 980"/>
                </a:gdLst>
                <a:ahLst/>
                <a:cxnLst>
                  <a:cxn ang="0">
                    <a:pos x="T0" y="T1"/>
                  </a:cxn>
                  <a:cxn ang="0">
                    <a:pos x="T2" y="T3"/>
                  </a:cxn>
                  <a:cxn ang="0">
                    <a:pos x="T4" y="T5"/>
                  </a:cxn>
                  <a:cxn ang="0">
                    <a:pos x="T6" y="T7"/>
                  </a:cxn>
                  <a:cxn ang="0">
                    <a:pos x="T8" y="T9"/>
                  </a:cxn>
                </a:cxnLst>
                <a:rect l="0" t="0" r="r" b="b"/>
                <a:pathLst>
                  <a:path w="566" h="980">
                    <a:moveTo>
                      <a:pt x="566" y="980"/>
                    </a:moveTo>
                    <a:lnTo>
                      <a:pt x="0" y="0"/>
                    </a:lnTo>
                    <a:lnTo>
                      <a:pt x="452" y="427"/>
                    </a:lnTo>
                    <a:lnTo>
                      <a:pt x="547" y="885"/>
                    </a:lnTo>
                    <a:lnTo>
                      <a:pt x="566" y="98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44" name="Freeform 491"/>
              <p:cNvSpPr>
                <a:spLocks/>
              </p:cNvSpPr>
              <p:nvPr/>
            </p:nvSpPr>
            <p:spPr bwMode="auto">
              <a:xfrm>
                <a:off x="-1873250" y="5792787"/>
                <a:ext cx="1019175" cy="1031875"/>
              </a:xfrm>
              <a:custGeom>
                <a:avLst/>
                <a:gdLst>
                  <a:gd name="T0" fmla="*/ 600 w 642"/>
                  <a:gd name="T1" fmla="*/ 650 h 650"/>
                  <a:gd name="T2" fmla="*/ 288 w 642"/>
                  <a:gd name="T3" fmla="*/ 312 h 650"/>
                  <a:gd name="T4" fmla="*/ 0 w 642"/>
                  <a:gd name="T5" fmla="*/ 0 h 650"/>
                  <a:gd name="T6" fmla="*/ 642 w 642"/>
                  <a:gd name="T7" fmla="*/ 0 h 650"/>
                  <a:gd name="T8" fmla="*/ 642 w 642"/>
                  <a:gd name="T9" fmla="*/ 600 h 650"/>
                  <a:gd name="T10" fmla="*/ 600 w 642"/>
                  <a:gd name="T11" fmla="*/ 650 h 650"/>
                </a:gdLst>
                <a:ahLst/>
                <a:cxnLst>
                  <a:cxn ang="0">
                    <a:pos x="T0" y="T1"/>
                  </a:cxn>
                  <a:cxn ang="0">
                    <a:pos x="T2" y="T3"/>
                  </a:cxn>
                  <a:cxn ang="0">
                    <a:pos x="T4" y="T5"/>
                  </a:cxn>
                  <a:cxn ang="0">
                    <a:pos x="T6" y="T7"/>
                  </a:cxn>
                  <a:cxn ang="0">
                    <a:pos x="T8" y="T9"/>
                  </a:cxn>
                  <a:cxn ang="0">
                    <a:pos x="T10" y="T11"/>
                  </a:cxn>
                </a:cxnLst>
                <a:rect l="0" t="0" r="r" b="b"/>
                <a:pathLst>
                  <a:path w="642" h="650">
                    <a:moveTo>
                      <a:pt x="600" y="650"/>
                    </a:moveTo>
                    <a:lnTo>
                      <a:pt x="288" y="312"/>
                    </a:lnTo>
                    <a:lnTo>
                      <a:pt x="0" y="0"/>
                    </a:lnTo>
                    <a:lnTo>
                      <a:pt x="642" y="0"/>
                    </a:lnTo>
                    <a:lnTo>
                      <a:pt x="642" y="600"/>
                    </a:lnTo>
                    <a:lnTo>
                      <a:pt x="600" y="650"/>
                    </a:lnTo>
                    <a:close/>
                  </a:path>
                </a:pathLst>
              </a:custGeom>
              <a:solidFill>
                <a:srgbClr val="4E86A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45" name="Freeform 492"/>
              <p:cNvSpPr>
                <a:spLocks noEditPoints="1"/>
              </p:cNvSpPr>
              <p:nvPr/>
            </p:nvSpPr>
            <p:spPr bwMode="auto">
              <a:xfrm>
                <a:off x="-4214813" y="4237037"/>
                <a:ext cx="2341563" cy="2058988"/>
              </a:xfrm>
              <a:custGeom>
                <a:avLst/>
                <a:gdLst>
                  <a:gd name="T0" fmla="*/ 0 w 3073"/>
                  <a:gd name="T1" fmla="*/ 2701 h 2701"/>
                  <a:gd name="T2" fmla="*/ 0 w 3073"/>
                  <a:gd name="T3" fmla="*/ 2701 h 2701"/>
                  <a:gd name="T4" fmla="*/ 0 w 3073"/>
                  <a:gd name="T5" fmla="*/ 2701 h 2701"/>
                  <a:gd name="T6" fmla="*/ 0 w 3073"/>
                  <a:gd name="T7" fmla="*/ 2701 h 2701"/>
                  <a:gd name="T8" fmla="*/ 0 w 3073"/>
                  <a:gd name="T9" fmla="*/ 2701 h 2701"/>
                  <a:gd name="T10" fmla="*/ 1894 w 3073"/>
                  <a:gd name="T11" fmla="*/ 0 h 2701"/>
                  <a:gd name="T12" fmla="*/ 3073 w 3073"/>
                  <a:gd name="T13" fmla="*/ 2042 h 2701"/>
                  <a:gd name="T14" fmla="*/ 3073 w 3073"/>
                  <a:gd name="T15" fmla="*/ 2042 h 2701"/>
                  <a:gd name="T16" fmla="*/ 0 w 3073"/>
                  <a:gd name="T17" fmla="*/ 2701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701">
                    <a:moveTo>
                      <a:pt x="0" y="2701"/>
                    </a:moveTo>
                    <a:lnTo>
                      <a:pt x="0" y="2701"/>
                    </a:lnTo>
                    <a:lnTo>
                      <a:pt x="0" y="2701"/>
                    </a:lnTo>
                    <a:lnTo>
                      <a:pt x="0" y="2701"/>
                    </a:lnTo>
                    <a:moveTo>
                      <a:pt x="0" y="2701"/>
                    </a:moveTo>
                    <a:lnTo>
                      <a:pt x="1894" y="0"/>
                    </a:lnTo>
                    <a:lnTo>
                      <a:pt x="3073" y="2042"/>
                    </a:lnTo>
                    <a:lnTo>
                      <a:pt x="3073" y="2042"/>
                    </a:lnTo>
                    <a:lnTo>
                      <a:pt x="0" y="2701"/>
                    </a:lnTo>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46" name="Freeform 493"/>
              <p:cNvSpPr>
                <a:spLocks/>
              </p:cNvSpPr>
              <p:nvPr/>
            </p:nvSpPr>
            <p:spPr bwMode="auto">
              <a:xfrm>
                <a:off x="-2054225" y="4914900"/>
                <a:ext cx="1200150" cy="877888"/>
              </a:xfrm>
              <a:custGeom>
                <a:avLst/>
                <a:gdLst>
                  <a:gd name="T0" fmla="*/ 114 w 756"/>
                  <a:gd name="T1" fmla="*/ 553 h 553"/>
                  <a:gd name="T2" fmla="*/ 114 w 756"/>
                  <a:gd name="T3" fmla="*/ 553 h 553"/>
                  <a:gd name="T4" fmla="*/ 114 w 756"/>
                  <a:gd name="T5" fmla="*/ 553 h 553"/>
                  <a:gd name="T6" fmla="*/ 95 w 756"/>
                  <a:gd name="T7" fmla="*/ 458 h 553"/>
                  <a:gd name="T8" fmla="*/ 0 w 756"/>
                  <a:gd name="T9" fmla="*/ 0 h 553"/>
                  <a:gd name="T10" fmla="*/ 756 w 756"/>
                  <a:gd name="T11" fmla="*/ 336 h 553"/>
                  <a:gd name="T12" fmla="*/ 756 w 756"/>
                  <a:gd name="T13" fmla="*/ 553 h 553"/>
                  <a:gd name="T14" fmla="*/ 114 w 756"/>
                  <a:gd name="T15" fmla="*/ 553 h 5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6" h="553">
                    <a:moveTo>
                      <a:pt x="114" y="553"/>
                    </a:moveTo>
                    <a:lnTo>
                      <a:pt x="114" y="553"/>
                    </a:lnTo>
                    <a:lnTo>
                      <a:pt x="114" y="553"/>
                    </a:lnTo>
                    <a:lnTo>
                      <a:pt x="95" y="458"/>
                    </a:lnTo>
                    <a:lnTo>
                      <a:pt x="0" y="0"/>
                    </a:lnTo>
                    <a:lnTo>
                      <a:pt x="756" y="336"/>
                    </a:lnTo>
                    <a:lnTo>
                      <a:pt x="756" y="553"/>
                    </a:lnTo>
                    <a:lnTo>
                      <a:pt x="114" y="553"/>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47" name="Freeform 494"/>
              <p:cNvSpPr>
                <a:spLocks noEditPoints="1"/>
              </p:cNvSpPr>
              <p:nvPr/>
            </p:nvSpPr>
            <p:spPr bwMode="auto">
              <a:xfrm>
                <a:off x="-4214813" y="5792787"/>
                <a:ext cx="2341563" cy="1866900"/>
              </a:xfrm>
              <a:custGeom>
                <a:avLst/>
                <a:gdLst>
                  <a:gd name="T0" fmla="*/ 2331 w 3073"/>
                  <a:gd name="T1" fmla="*/ 2449 h 2449"/>
                  <a:gd name="T2" fmla="*/ 2127 w 3073"/>
                  <a:gd name="T3" fmla="*/ 2449 h 2449"/>
                  <a:gd name="T4" fmla="*/ 0 w 3073"/>
                  <a:gd name="T5" fmla="*/ 659 h 2449"/>
                  <a:gd name="T6" fmla="*/ 3073 w 3073"/>
                  <a:gd name="T7" fmla="*/ 0 h 2449"/>
                  <a:gd name="T8" fmla="*/ 2331 w 3073"/>
                  <a:gd name="T9" fmla="*/ 2449 h 2449"/>
                  <a:gd name="T10" fmla="*/ 0 w 3073"/>
                  <a:gd name="T11" fmla="*/ 659 h 2449"/>
                  <a:gd name="T12" fmla="*/ 0 w 3073"/>
                  <a:gd name="T13" fmla="*/ 659 h 2449"/>
                  <a:gd name="T14" fmla="*/ 0 w 3073"/>
                  <a:gd name="T15" fmla="*/ 659 h 2449"/>
                  <a:gd name="T16" fmla="*/ 0 w 3073"/>
                  <a:gd name="T17" fmla="*/ 659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3" h="2449">
                    <a:moveTo>
                      <a:pt x="2331" y="2449"/>
                    </a:moveTo>
                    <a:lnTo>
                      <a:pt x="2127" y="2449"/>
                    </a:lnTo>
                    <a:lnTo>
                      <a:pt x="0" y="659"/>
                    </a:lnTo>
                    <a:lnTo>
                      <a:pt x="3073" y="0"/>
                    </a:lnTo>
                    <a:lnTo>
                      <a:pt x="2331" y="2449"/>
                    </a:lnTo>
                    <a:moveTo>
                      <a:pt x="0" y="659"/>
                    </a:moveTo>
                    <a:lnTo>
                      <a:pt x="0" y="659"/>
                    </a:lnTo>
                    <a:lnTo>
                      <a:pt x="0" y="659"/>
                    </a:lnTo>
                    <a:lnTo>
                      <a:pt x="0" y="659"/>
                    </a:lnTo>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48" name="Rectangle 495"/>
              <p:cNvSpPr>
                <a:spLocks noChangeArrowheads="1"/>
              </p:cNvSpPr>
              <p:nvPr/>
            </p:nvSpPr>
            <p:spPr bwMode="auto">
              <a:xfrm>
                <a:off x="-4214813" y="6296025"/>
                <a:ext cx="1588" cy="1588"/>
              </a:xfrm>
              <a:prstGeom prst="rect">
                <a:avLst/>
              </a:prstGeom>
              <a:solidFill>
                <a:srgbClr val="5AA1BE"/>
              </a:solidFill>
              <a:ln w="3175">
                <a:noFill/>
                <a:miter lim="800000"/>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49" name="Freeform 496"/>
              <p:cNvSpPr>
                <a:spLocks/>
              </p:cNvSpPr>
              <p:nvPr/>
            </p:nvSpPr>
            <p:spPr bwMode="auto">
              <a:xfrm>
                <a:off x="-2438400" y="5792787"/>
                <a:ext cx="565150" cy="1866900"/>
              </a:xfrm>
              <a:custGeom>
                <a:avLst/>
                <a:gdLst>
                  <a:gd name="T0" fmla="*/ 0 w 356"/>
                  <a:gd name="T1" fmla="*/ 1176 h 1176"/>
                  <a:gd name="T2" fmla="*/ 0 w 356"/>
                  <a:gd name="T3" fmla="*/ 1176 h 1176"/>
                  <a:gd name="T4" fmla="*/ 356 w 356"/>
                  <a:gd name="T5" fmla="*/ 0 h 1176"/>
                  <a:gd name="T6" fmla="*/ 356 w 356"/>
                  <a:gd name="T7" fmla="*/ 0 h 1176"/>
                  <a:gd name="T8" fmla="*/ 0 w 356"/>
                  <a:gd name="T9" fmla="*/ 1176 h 1176"/>
                </a:gdLst>
                <a:ahLst/>
                <a:cxnLst>
                  <a:cxn ang="0">
                    <a:pos x="T0" y="T1"/>
                  </a:cxn>
                  <a:cxn ang="0">
                    <a:pos x="T2" y="T3"/>
                  </a:cxn>
                  <a:cxn ang="0">
                    <a:pos x="T4" y="T5"/>
                  </a:cxn>
                  <a:cxn ang="0">
                    <a:pos x="T6" y="T7"/>
                  </a:cxn>
                  <a:cxn ang="0">
                    <a:pos x="T8" y="T9"/>
                  </a:cxn>
                </a:cxnLst>
                <a:rect l="0" t="0" r="r" b="b"/>
                <a:pathLst>
                  <a:path w="356" h="1176">
                    <a:moveTo>
                      <a:pt x="0" y="1176"/>
                    </a:moveTo>
                    <a:lnTo>
                      <a:pt x="0" y="1176"/>
                    </a:lnTo>
                    <a:lnTo>
                      <a:pt x="356" y="0"/>
                    </a:lnTo>
                    <a:lnTo>
                      <a:pt x="356" y="0"/>
                    </a:lnTo>
                    <a:lnTo>
                      <a:pt x="0" y="117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50" name="Freeform 497"/>
              <p:cNvSpPr>
                <a:spLocks/>
              </p:cNvSpPr>
              <p:nvPr/>
            </p:nvSpPr>
            <p:spPr bwMode="auto">
              <a:xfrm>
                <a:off x="-4214813" y="5792787"/>
                <a:ext cx="2341563" cy="503238"/>
              </a:xfrm>
              <a:custGeom>
                <a:avLst/>
                <a:gdLst>
                  <a:gd name="T0" fmla="*/ 0 w 1475"/>
                  <a:gd name="T1" fmla="*/ 317 h 317"/>
                  <a:gd name="T2" fmla="*/ 0 w 1475"/>
                  <a:gd name="T3" fmla="*/ 317 h 317"/>
                  <a:gd name="T4" fmla="*/ 0 w 1475"/>
                  <a:gd name="T5" fmla="*/ 317 h 317"/>
                  <a:gd name="T6" fmla="*/ 1475 w 1475"/>
                  <a:gd name="T7" fmla="*/ 0 h 317"/>
                  <a:gd name="T8" fmla="*/ 1475 w 1475"/>
                  <a:gd name="T9" fmla="*/ 0 h 317"/>
                  <a:gd name="T10" fmla="*/ 0 w 1475"/>
                  <a:gd name="T11" fmla="*/ 317 h 317"/>
                </a:gdLst>
                <a:ahLst/>
                <a:cxnLst>
                  <a:cxn ang="0">
                    <a:pos x="T0" y="T1"/>
                  </a:cxn>
                  <a:cxn ang="0">
                    <a:pos x="T2" y="T3"/>
                  </a:cxn>
                  <a:cxn ang="0">
                    <a:pos x="T4" y="T5"/>
                  </a:cxn>
                  <a:cxn ang="0">
                    <a:pos x="T6" y="T7"/>
                  </a:cxn>
                  <a:cxn ang="0">
                    <a:pos x="T8" y="T9"/>
                  </a:cxn>
                  <a:cxn ang="0">
                    <a:pos x="T10" y="T11"/>
                  </a:cxn>
                </a:cxnLst>
                <a:rect l="0" t="0" r="r" b="b"/>
                <a:pathLst>
                  <a:path w="1475" h="317">
                    <a:moveTo>
                      <a:pt x="0" y="317"/>
                    </a:moveTo>
                    <a:lnTo>
                      <a:pt x="0" y="317"/>
                    </a:lnTo>
                    <a:lnTo>
                      <a:pt x="0" y="317"/>
                    </a:lnTo>
                    <a:lnTo>
                      <a:pt x="1475" y="0"/>
                    </a:lnTo>
                    <a:lnTo>
                      <a:pt x="1475" y="0"/>
                    </a:lnTo>
                    <a:lnTo>
                      <a:pt x="0" y="317"/>
                    </a:lnTo>
                    <a:close/>
                  </a:path>
                </a:pathLst>
              </a:custGeom>
              <a:solidFill>
                <a:srgbClr val="599F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51" name="Freeform 498"/>
              <p:cNvSpPr>
                <a:spLocks/>
              </p:cNvSpPr>
              <p:nvPr/>
            </p:nvSpPr>
            <p:spPr bwMode="auto">
              <a:xfrm>
                <a:off x="-2054225" y="3560762"/>
                <a:ext cx="1200150" cy="1354138"/>
              </a:xfrm>
              <a:custGeom>
                <a:avLst/>
                <a:gdLst>
                  <a:gd name="T0" fmla="*/ 0 w 756"/>
                  <a:gd name="T1" fmla="*/ 853 h 853"/>
                  <a:gd name="T2" fmla="*/ 0 w 756"/>
                  <a:gd name="T3" fmla="*/ 853 h 853"/>
                  <a:gd name="T4" fmla="*/ 756 w 756"/>
                  <a:gd name="T5" fmla="*/ 0 h 853"/>
                  <a:gd name="T6" fmla="*/ 756 w 756"/>
                  <a:gd name="T7" fmla="*/ 675 h 853"/>
                  <a:gd name="T8" fmla="*/ 0 w 756"/>
                  <a:gd name="T9" fmla="*/ 853 h 853"/>
                </a:gdLst>
                <a:ahLst/>
                <a:cxnLst>
                  <a:cxn ang="0">
                    <a:pos x="T0" y="T1"/>
                  </a:cxn>
                  <a:cxn ang="0">
                    <a:pos x="T2" y="T3"/>
                  </a:cxn>
                  <a:cxn ang="0">
                    <a:pos x="T4" y="T5"/>
                  </a:cxn>
                  <a:cxn ang="0">
                    <a:pos x="T6" y="T7"/>
                  </a:cxn>
                  <a:cxn ang="0">
                    <a:pos x="T8" y="T9"/>
                  </a:cxn>
                </a:cxnLst>
                <a:rect l="0" t="0" r="r" b="b"/>
                <a:pathLst>
                  <a:path w="756" h="853">
                    <a:moveTo>
                      <a:pt x="0" y="853"/>
                    </a:moveTo>
                    <a:lnTo>
                      <a:pt x="0" y="853"/>
                    </a:lnTo>
                    <a:lnTo>
                      <a:pt x="756" y="0"/>
                    </a:lnTo>
                    <a:lnTo>
                      <a:pt x="756" y="675"/>
                    </a:lnTo>
                    <a:lnTo>
                      <a:pt x="0" y="853"/>
                    </a:lnTo>
                    <a:close/>
                  </a:path>
                </a:pathLst>
              </a:custGeom>
              <a:solidFill>
                <a:srgbClr val="579ABA"/>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52" name="Freeform 499"/>
              <p:cNvSpPr>
                <a:spLocks/>
              </p:cNvSpPr>
              <p:nvPr/>
            </p:nvSpPr>
            <p:spPr bwMode="auto">
              <a:xfrm>
                <a:off x="-2054225" y="3560762"/>
                <a:ext cx="1200150" cy="1354138"/>
              </a:xfrm>
              <a:custGeom>
                <a:avLst/>
                <a:gdLst>
                  <a:gd name="T0" fmla="*/ 0 w 756"/>
                  <a:gd name="T1" fmla="*/ 853 h 853"/>
                  <a:gd name="T2" fmla="*/ 756 w 756"/>
                  <a:gd name="T3" fmla="*/ 0 h 853"/>
                  <a:gd name="T4" fmla="*/ 756 w 756"/>
                  <a:gd name="T5" fmla="*/ 0 h 853"/>
                  <a:gd name="T6" fmla="*/ 0 w 756"/>
                  <a:gd name="T7" fmla="*/ 853 h 853"/>
                </a:gdLst>
                <a:ahLst/>
                <a:cxnLst>
                  <a:cxn ang="0">
                    <a:pos x="T0" y="T1"/>
                  </a:cxn>
                  <a:cxn ang="0">
                    <a:pos x="T2" y="T3"/>
                  </a:cxn>
                  <a:cxn ang="0">
                    <a:pos x="T4" y="T5"/>
                  </a:cxn>
                  <a:cxn ang="0">
                    <a:pos x="T6" y="T7"/>
                  </a:cxn>
                </a:cxnLst>
                <a:rect l="0" t="0" r="r" b="b"/>
                <a:pathLst>
                  <a:path w="756" h="853">
                    <a:moveTo>
                      <a:pt x="0" y="853"/>
                    </a:moveTo>
                    <a:lnTo>
                      <a:pt x="756" y="0"/>
                    </a:lnTo>
                    <a:lnTo>
                      <a:pt x="756" y="0"/>
                    </a:lnTo>
                    <a:lnTo>
                      <a:pt x="0" y="853"/>
                    </a:lnTo>
                    <a:close/>
                  </a:path>
                </a:pathLst>
              </a:custGeom>
              <a:solidFill>
                <a:srgbClr val="59A0BE"/>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53" name="Freeform 500"/>
              <p:cNvSpPr>
                <a:spLocks/>
              </p:cNvSpPr>
              <p:nvPr/>
            </p:nvSpPr>
            <p:spPr bwMode="auto">
              <a:xfrm>
                <a:off x="-2054225" y="4632325"/>
                <a:ext cx="1200150" cy="815975"/>
              </a:xfrm>
              <a:custGeom>
                <a:avLst/>
                <a:gdLst>
                  <a:gd name="T0" fmla="*/ 756 w 756"/>
                  <a:gd name="T1" fmla="*/ 514 h 514"/>
                  <a:gd name="T2" fmla="*/ 0 w 756"/>
                  <a:gd name="T3" fmla="*/ 178 h 514"/>
                  <a:gd name="T4" fmla="*/ 756 w 756"/>
                  <a:gd name="T5" fmla="*/ 0 h 514"/>
                  <a:gd name="T6" fmla="*/ 756 w 756"/>
                  <a:gd name="T7" fmla="*/ 514 h 514"/>
                </a:gdLst>
                <a:ahLst/>
                <a:cxnLst>
                  <a:cxn ang="0">
                    <a:pos x="T0" y="T1"/>
                  </a:cxn>
                  <a:cxn ang="0">
                    <a:pos x="T2" y="T3"/>
                  </a:cxn>
                  <a:cxn ang="0">
                    <a:pos x="T4" y="T5"/>
                  </a:cxn>
                  <a:cxn ang="0">
                    <a:pos x="T6" y="T7"/>
                  </a:cxn>
                </a:cxnLst>
                <a:rect l="0" t="0" r="r" b="b"/>
                <a:pathLst>
                  <a:path w="756" h="514">
                    <a:moveTo>
                      <a:pt x="756" y="514"/>
                    </a:moveTo>
                    <a:lnTo>
                      <a:pt x="0" y="178"/>
                    </a:lnTo>
                    <a:lnTo>
                      <a:pt x="756" y="0"/>
                    </a:lnTo>
                    <a:lnTo>
                      <a:pt x="756" y="514"/>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54" name="Freeform 501"/>
              <p:cNvSpPr>
                <a:spLocks/>
              </p:cNvSpPr>
              <p:nvPr/>
            </p:nvSpPr>
            <p:spPr bwMode="auto">
              <a:xfrm>
                <a:off x="-2298700" y="6824662"/>
                <a:ext cx="1377950" cy="835025"/>
              </a:xfrm>
              <a:custGeom>
                <a:avLst/>
                <a:gdLst>
                  <a:gd name="T0" fmla="*/ 661 w 868"/>
                  <a:gd name="T1" fmla="*/ 526 h 526"/>
                  <a:gd name="T2" fmla="*/ 0 w 868"/>
                  <a:gd name="T3" fmla="*/ 526 h 526"/>
                  <a:gd name="T4" fmla="*/ 868 w 868"/>
                  <a:gd name="T5" fmla="*/ 0 h 526"/>
                  <a:gd name="T6" fmla="*/ 661 w 868"/>
                  <a:gd name="T7" fmla="*/ 526 h 526"/>
                </a:gdLst>
                <a:ahLst/>
                <a:cxnLst>
                  <a:cxn ang="0">
                    <a:pos x="T0" y="T1"/>
                  </a:cxn>
                  <a:cxn ang="0">
                    <a:pos x="T2" y="T3"/>
                  </a:cxn>
                  <a:cxn ang="0">
                    <a:pos x="T4" y="T5"/>
                  </a:cxn>
                  <a:cxn ang="0">
                    <a:pos x="T6" y="T7"/>
                  </a:cxn>
                </a:cxnLst>
                <a:rect l="0" t="0" r="r" b="b"/>
                <a:pathLst>
                  <a:path w="868" h="526">
                    <a:moveTo>
                      <a:pt x="661" y="526"/>
                    </a:moveTo>
                    <a:lnTo>
                      <a:pt x="0" y="526"/>
                    </a:lnTo>
                    <a:lnTo>
                      <a:pt x="868" y="0"/>
                    </a:lnTo>
                    <a:lnTo>
                      <a:pt x="661" y="526"/>
                    </a:lnTo>
                    <a:close/>
                  </a:path>
                </a:pathLst>
              </a:custGeom>
              <a:solidFill>
                <a:srgbClr val="518DB3"/>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55" name="Freeform 502"/>
              <p:cNvSpPr>
                <a:spLocks/>
              </p:cNvSpPr>
              <p:nvPr/>
            </p:nvSpPr>
            <p:spPr bwMode="auto">
              <a:xfrm>
                <a:off x="-1249363" y="6824662"/>
                <a:ext cx="395288" cy="835025"/>
              </a:xfrm>
              <a:custGeom>
                <a:avLst/>
                <a:gdLst>
                  <a:gd name="T0" fmla="*/ 249 w 249"/>
                  <a:gd name="T1" fmla="*/ 526 h 526"/>
                  <a:gd name="T2" fmla="*/ 0 w 249"/>
                  <a:gd name="T3" fmla="*/ 526 h 526"/>
                  <a:gd name="T4" fmla="*/ 207 w 249"/>
                  <a:gd name="T5" fmla="*/ 0 h 526"/>
                  <a:gd name="T6" fmla="*/ 249 w 249"/>
                  <a:gd name="T7" fmla="*/ 166 h 526"/>
                  <a:gd name="T8" fmla="*/ 249 w 249"/>
                  <a:gd name="T9" fmla="*/ 526 h 526"/>
                </a:gdLst>
                <a:ahLst/>
                <a:cxnLst>
                  <a:cxn ang="0">
                    <a:pos x="T0" y="T1"/>
                  </a:cxn>
                  <a:cxn ang="0">
                    <a:pos x="T2" y="T3"/>
                  </a:cxn>
                  <a:cxn ang="0">
                    <a:pos x="T4" y="T5"/>
                  </a:cxn>
                  <a:cxn ang="0">
                    <a:pos x="T6" y="T7"/>
                  </a:cxn>
                  <a:cxn ang="0">
                    <a:pos x="T8" y="T9"/>
                  </a:cxn>
                </a:cxnLst>
                <a:rect l="0" t="0" r="r" b="b"/>
                <a:pathLst>
                  <a:path w="249" h="526">
                    <a:moveTo>
                      <a:pt x="249" y="526"/>
                    </a:moveTo>
                    <a:lnTo>
                      <a:pt x="0" y="526"/>
                    </a:lnTo>
                    <a:lnTo>
                      <a:pt x="207" y="0"/>
                    </a:lnTo>
                    <a:lnTo>
                      <a:pt x="249" y="166"/>
                    </a:lnTo>
                    <a:lnTo>
                      <a:pt x="249" y="526"/>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56" name="Freeform 503"/>
              <p:cNvSpPr>
                <a:spLocks/>
              </p:cNvSpPr>
              <p:nvPr/>
            </p:nvSpPr>
            <p:spPr bwMode="auto">
              <a:xfrm>
                <a:off x="-920750" y="6745287"/>
                <a:ext cx="66675" cy="79375"/>
              </a:xfrm>
              <a:custGeom>
                <a:avLst/>
                <a:gdLst>
                  <a:gd name="T0" fmla="*/ 0 w 42"/>
                  <a:gd name="T1" fmla="*/ 50 h 50"/>
                  <a:gd name="T2" fmla="*/ 0 w 42"/>
                  <a:gd name="T3" fmla="*/ 50 h 50"/>
                  <a:gd name="T4" fmla="*/ 42 w 42"/>
                  <a:gd name="T5" fmla="*/ 0 h 50"/>
                  <a:gd name="T6" fmla="*/ 42 w 42"/>
                  <a:gd name="T7" fmla="*/ 47 h 50"/>
                  <a:gd name="T8" fmla="*/ 0 w 42"/>
                  <a:gd name="T9" fmla="*/ 50 h 50"/>
                </a:gdLst>
                <a:ahLst/>
                <a:cxnLst>
                  <a:cxn ang="0">
                    <a:pos x="T0" y="T1"/>
                  </a:cxn>
                  <a:cxn ang="0">
                    <a:pos x="T2" y="T3"/>
                  </a:cxn>
                  <a:cxn ang="0">
                    <a:pos x="T4" y="T5"/>
                  </a:cxn>
                  <a:cxn ang="0">
                    <a:pos x="T6" y="T7"/>
                  </a:cxn>
                  <a:cxn ang="0">
                    <a:pos x="T8" y="T9"/>
                  </a:cxn>
                </a:cxnLst>
                <a:rect l="0" t="0" r="r" b="b"/>
                <a:pathLst>
                  <a:path w="42" h="50">
                    <a:moveTo>
                      <a:pt x="0" y="50"/>
                    </a:moveTo>
                    <a:lnTo>
                      <a:pt x="0" y="50"/>
                    </a:lnTo>
                    <a:lnTo>
                      <a:pt x="42" y="0"/>
                    </a:lnTo>
                    <a:lnTo>
                      <a:pt x="42" y="47"/>
                    </a:lnTo>
                    <a:lnTo>
                      <a:pt x="0" y="50"/>
                    </a:lnTo>
                    <a:close/>
                  </a:path>
                </a:pathLst>
              </a:custGeom>
              <a:solidFill>
                <a:srgbClr val="5BA4BF"/>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sp>
            <p:nvSpPr>
              <p:cNvPr id="257" name="Freeform 504"/>
              <p:cNvSpPr>
                <a:spLocks/>
              </p:cNvSpPr>
              <p:nvPr/>
            </p:nvSpPr>
            <p:spPr bwMode="auto">
              <a:xfrm>
                <a:off x="-920750" y="6819900"/>
                <a:ext cx="66675" cy="268288"/>
              </a:xfrm>
              <a:custGeom>
                <a:avLst/>
                <a:gdLst>
                  <a:gd name="T0" fmla="*/ 42 w 42"/>
                  <a:gd name="T1" fmla="*/ 169 h 169"/>
                  <a:gd name="T2" fmla="*/ 0 w 42"/>
                  <a:gd name="T3" fmla="*/ 3 h 169"/>
                  <a:gd name="T4" fmla="*/ 42 w 42"/>
                  <a:gd name="T5" fmla="*/ 0 h 169"/>
                  <a:gd name="T6" fmla="*/ 42 w 42"/>
                  <a:gd name="T7" fmla="*/ 169 h 169"/>
                </a:gdLst>
                <a:ahLst/>
                <a:cxnLst>
                  <a:cxn ang="0">
                    <a:pos x="T0" y="T1"/>
                  </a:cxn>
                  <a:cxn ang="0">
                    <a:pos x="T2" y="T3"/>
                  </a:cxn>
                  <a:cxn ang="0">
                    <a:pos x="T4" y="T5"/>
                  </a:cxn>
                  <a:cxn ang="0">
                    <a:pos x="T6" y="T7"/>
                  </a:cxn>
                </a:cxnLst>
                <a:rect l="0" t="0" r="r" b="b"/>
                <a:pathLst>
                  <a:path w="42" h="169">
                    <a:moveTo>
                      <a:pt x="42" y="169"/>
                    </a:moveTo>
                    <a:lnTo>
                      <a:pt x="0" y="3"/>
                    </a:lnTo>
                    <a:lnTo>
                      <a:pt x="42" y="0"/>
                    </a:lnTo>
                    <a:lnTo>
                      <a:pt x="42" y="169"/>
                    </a:lnTo>
                    <a:close/>
                  </a:path>
                </a:pathLst>
              </a:custGeom>
              <a:solidFill>
                <a:srgbClr val="599DBC"/>
              </a:solidFill>
              <a:ln w="3175">
                <a:noFill/>
                <a:round/>
                <a:headEnd/>
                <a:tailEnd/>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grpSp>
        <p:sp>
          <p:nvSpPr>
            <p:cNvPr id="49" name="AutoShape 303"/>
            <p:cNvSpPr>
              <a:spLocks noChangeArrowheads="1" noTextEdit="1"/>
            </p:cNvSpPr>
            <p:nvPr/>
          </p:nvSpPr>
          <p:spPr bwMode="auto">
            <a:xfrm>
              <a:off x="749301" y="-1"/>
              <a:ext cx="8961438" cy="6721475"/>
            </a:xfrm>
            <a:prstGeom prst="rect">
              <a:avLst/>
            </a:prstGeom>
            <a:solidFill>
              <a:schemeClr val="accent4">
                <a:alpha val="83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楷体" panose="02010609060101010101" pitchFamily="49" charset="-122"/>
              </a:endParaRPr>
            </a:p>
          </p:txBody>
        </p:sp>
      </p:grpSp>
      <p:sp>
        <p:nvSpPr>
          <p:cNvPr id="2" name="Title 1"/>
          <p:cNvSpPr>
            <a:spLocks noGrp="1"/>
          </p:cNvSpPr>
          <p:nvPr>
            <p:ph type="title"/>
          </p:nvPr>
        </p:nvSpPr>
        <p:spPr>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zh-CN" dirty="0">
                <a:solidFill>
                  <a:schemeClr val="bg1"/>
                </a:solidFill>
                <a:latin typeface="+mn-lt"/>
                <a:ea typeface="楷体" panose="02010609060101010101" pitchFamily="49" charset="-122"/>
                <a:cs typeface="SimSun"/>
              </a:rPr>
              <a:t>成功实施深度学习，需要有明确定义的问题、数据和基础设施</a:t>
            </a:r>
          </a:p>
        </p:txBody>
      </p:sp>
      <p:sp>
        <p:nvSpPr>
          <p:cNvPr id="5" name="5. Source"/>
          <p:cNvSpPr>
            <a:spLocks noChangeArrowheads="1"/>
          </p:cNvSpPr>
          <p:nvPr/>
        </p:nvSpPr>
        <p:spPr bwMode="auto">
          <a:xfrm>
            <a:off x="119063" y="6508273"/>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zh-CN" sz="800" dirty="0">
                <a:solidFill>
                  <a:schemeClr val="bg1"/>
                </a:solidFill>
                <a:latin typeface="+mn-lt"/>
                <a:ea typeface="楷体" panose="02010609060101010101" pitchFamily="49" charset="-122"/>
                <a:cs typeface="SimSun"/>
              </a:rPr>
              <a:t>资料来源：PD# 815749</a:t>
            </a:r>
          </a:p>
        </p:txBody>
      </p:sp>
      <p:grpSp>
        <p:nvGrpSpPr>
          <p:cNvPr id="64" name="Group 63"/>
          <p:cNvGrpSpPr/>
          <p:nvPr/>
        </p:nvGrpSpPr>
        <p:grpSpPr>
          <a:xfrm>
            <a:off x="8402124" y="285751"/>
            <a:ext cx="335476" cy="150811"/>
            <a:chOff x="7767846" y="285750"/>
            <a:chExt cx="969754" cy="212366"/>
          </a:xfrm>
        </p:grpSpPr>
        <p:sp>
          <p:nvSpPr>
            <p:cNvPr id="66" name="StickerRectangle"/>
            <p:cNvSpPr>
              <a:spLocks noChangeArrowheads="1"/>
            </p:cNvSpPr>
            <p:nvPr/>
          </p:nvSpPr>
          <p:spPr bwMode="auto">
            <a:xfrm>
              <a:off x="7767846" y="285750"/>
              <a:ext cx="96975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zh-CN" sz="800" dirty="0">
                  <a:solidFill>
                    <a:schemeClr val="bg1"/>
                  </a:solidFill>
                  <a:latin typeface="+mn-lt"/>
                  <a:ea typeface="楷体" panose="02010609060101010101" pitchFamily="49" charset="-122"/>
                  <a:cs typeface="SimSun"/>
                </a:rPr>
                <a:t>未穷尽</a:t>
              </a:r>
            </a:p>
          </p:txBody>
        </p:sp>
        <p:cxnSp>
          <p:nvCxnSpPr>
            <p:cNvPr id="67" name="AutoShape 31"/>
            <p:cNvCxnSpPr>
              <a:cxnSpLocks noChangeShapeType="1"/>
              <a:stCxn id="66" idx="2"/>
              <a:endCxn id="66" idx="4"/>
            </p:cNvCxnSpPr>
            <p:nvPr/>
          </p:nvCxnSpPr>
          <p:spPr bwMode="auto">
            <a:xfrm>
              <a:off x="7767846" y="285750"/>
              <a:ext cx="0" cy="212366"/>
            </a:xfrm>
            <a:prstGeom prst="straightConnector1">
              <a:avLst/>
            </a:prstGeom>
            <a:noFill/>
            <a:ln w="9525">
              <a:solidFill>
                <a:schemeClr val="bg1"/>
              </a:solidFill>
              <a:round/>
              <a:headEnd/>
              <a:tailEnd/>
            </a:ln>
            <a:extLst>
              <a:ext uri="{909E8E84-426E-40DD-AFC4-6F175D3DCCD1}">
                <a14:hiddenFill xmlns:a14="http://schemas.microsoft.com/office/drawing/2010/main">
                  <a:noFill/>
                </a14:hiddenFill>
              </a:ext>
            </a:extLst>
          </p:spPr>
        </p:cxnSp>
        <p:cxnSp>
          <p:nvCxnSpPr>
            <p:cNvPr id="68" name="AutoShape 32"/>
            <p:cNvCxnSpPr>
              <a:cxnSpLocks noChangeShapeType="1"/>
              <a:stCxn id="66" idx="4"/>
              <a:endCxn id="66" idx="6"/>
            </p:cNvCxnSpPr>
            <p:nvPr/>
          </p:nvCxnSpPr>
          <p:spPr bwMode="auto">
            <a:xfrm>
              <a:off x="7767846" y="498116"/>
              <a:ext cx="969754" cy="0"/>
            </a:xfrm>
            <a:prstGeom prst="straightConnector1">
              <a:avLst/>
            </a:prstGeom>
            <a:noFill/>
            <a:ln w="25400">
              <a:solidFill>
                <a:schemeClr val="bg1"/>
              </a:solidFill>
              <a:round/>
              <a:headEnd/>
              <a:tailEnd/>
            </a:ln>
            <a:extLst>
              <a:ext uri="{909E8E84-426E-40DD-AFC4-6F175D3DCCD1}">
                <a14:hiddenFill xmlns:a14="http://schemas.microsoft.com/office/drawing/2010/main">
                  <a:noFill/>
                </a14:hiddenFill>
              </a:ext>
            </a:extLst>
          </p:spPr>
        </p:cxnSp>
      </p:grpSp>
      <p:sp>
        <p:nvSpPr>
          <p:cNvPr id="39" name="4. Footnote"/>
          <p:cNvSpPr txBox="1">
            <a:spLocks noChangeArrowheads="1"/>
          </p:cNvSpPr>
          <p:nvPr/>
        </p:nvSpPr>
        <p:spPr bwMode="auto">
          <a:xfrm>
            <a:off x="119063" y="6306660"/>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defPPr>
              <a:defRPr lang="en-US"/>
            </a:defPPr>
            <a:lvl1pPr marL="104775" indent="-104775" defTabSz="895350">
              <a:defRPr sz="800">
                <a:solidFill>
                  <a:srgbClr val="808080"/>
                </a:solidFill>
                <a:latin typeface="Arial"/>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zh-CN" dirty="0">
                <a:solidFill>
                  <a:schemeClr val="bg1"/>
                </a:solidFill>
                <a:latin typeface="+mn-lt"/>
                <a:ea typeface="楷体" panose="02010609060101010101" pitchFamily="49" charset="-122"/>
                <a:cs typeface="SimSun"/>
              </a:rPr>
              <a:t>1 具体问题是预测不同</a:t>
            </a:r>
            <a:r>
              <a:rPr lang="zh-CN" altLang="en-US" dirty="0">
                <a:solidFill>
                  <a:schemeClr val="bg1"/>
                </a:solidFill>
                <a:latin typeface="+mn-lt"/>
                <a:ea typeface="楷体" panose="02010609060101010101" pitchFamily="49" charset="-122"/>
                <a:cs typeface="SimSun"/>
              </a:rPr>
              <a:t>分子</a:t>
            </a:r>
            <a:r>
              <a:rPr lang="zh-CN" dirty="0">
                <a:solidFill>
                  <a:schemeClr val="bg1"/>
                </a:solidFill>
                <a:latin typeface="+mn-lt"/>
                <a:ea typeface="楷体" panose="02010609060101010101" pitchFamily="49" charset="-122"/>
                <a:cs typeface="SimSun"/>
              </a:rPr>
              <a:t>在靶点内外的生物活性</a:t>
            </a:r>
          </a:p>
        </p:txBody>
      </p:sp>
      <p:cxnSp>
        <p:nvCxnSpPr>
          <p:cNvPr id="44" name="Straight Connector 43"/>
          <p:cNvCxnSpPr>
            <a:cxnSpLocks/>
          </p:cNvCxnSpPr>
          <p:nvPr>
            <p:custDataLst>
              <p:tags r:id="rId1"/>
            </p:custDataLst>
          </p:nvPr>
        </p:nvCxnSpPr>
        <p:spPr>
          <a:xfrm>
            <a:off x="7781562" y="3110961"/>
            <a:ext cx="929979" cy="0"/>
          </a:xfrm>
          <a:prstGeom prst="line">
            <a:avLst/>
          </a:prstGeom>
          <a:ln w="9525">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custDataLst>
              <p:tags r:id="rId2"/>
            </p:custDataLst>
          </p:nvPr>
        </p:nvCxnSpPr>
        <p:spPr>
          <a:xfrm>
            <a:off x="7781562" y="4587455"/>
            <a:ext cx="929979" cy="0"/>
          </a:xfrm>
          <a:prstGeom prst="line">
            <a:avLst/>
          </a:prstGeom>
          <a:ln w="9525">
            <a:solidFill>
              <a:schemeClr val="bg1"/>
            </a:solidFill>
            <a:prstDash val="sysDot"/>
          </a:ln>
        </p:spPr>
        <p:style>
          <a:lnRef idx="1">
            <a:schemeClr val="accent1"/>
          </a:lnRef>
          <a:fillRef idx="0">
            <a:schemeClr val="accent1"/>
          </a:fillRef>
          <a:effectRef idx="0">
            <a:schemeClr val="accent1"/>
          </a:effectRef>
          <a:fontRef idx="minor">
            <a:schemeClr val="tx1"/>
          </a:fontRef>
        </p:style>
      </p:cxnSp>
      <p:pic>
        <p:nvPicPr>
          <p:cNvPr id="30" name="Picture 29"/>
          <p:cNvPicPr>
            <a:picLocks/>
          </p:cNvPicPr>
          <p:nvPr/>
        </p:nvPicPr>
        <p:blipFill>
          <a:blip r:embed="rId19"/>
          <a:stretch>
            <a:fillRect/>
          </a:stretch>
        </p:blipFill>
        <p:spPr>
          <a:xfrm>
            <a:off x="7781562" y="3612731"/>
            <a:ext cx="513095" cy="472954"/>
          </a:xfrm>
          <a:prstGeom prst="roundRect">
            <a:avLst>
              <a:gd name="adj" fmla="val 8611"/>
            </a:avLst>
          </a:prstGeom>
        </p:spPr>
      </p:pic>
      <p:sp>
        <p:nvSpPr>
          <p:cNvPr id="9" name="TextBox 8"/>
          <p:cNvSpPr txBox="1">
            <a:spLocks/>
          </p:cNvSpPr>
          <p:nvPr>
            <p:custDataLst>
              <p:tags r:id="rId3"/>
            </p:custDataLst>
          </p:nvPr>
        </p:nvSpPr>
        <p:spPr>
          <a:xfrm>
            <a:off x="119063" y="1157776"/>
            <a:ext cx="1265154" cy="280451"/>
          </a:xfrm>
          <a:prstGeom prst="rect">
            <a:avLst/>
          </a:prstGeom>
          <a:noFill/>
          <a:ln>
            <a:noFill/>
          </a:ln>
          <a:effectLst/>
        </p:spPr>
        <p:txBody>
          <a:bodyPr wrap="square" lIns="0" tIns="0" rIns="0" bIns="18659" anchor="ctr">
            <a:spAutoFit/>
          </a:bodyPr>
          <a:lstStyle>
            <a:defPPr>
              <a:defRPr lang="en-US"/>
            </a:defPPr>
            <a:lvl1pPr>
              <a:defRPr sz="1800">
                <a:solidFill>
                  <a:srgbClr val="FFCA21"/>
                </a:solidFill>
                <a:latin typeface="Georgia" panose="02040502050405020303" pitchFamily="18" charset="0"/>
                <a:cs typeface="Times New Roman" panose="02020603050405020304" pitchFamily="18" charset="0"/>
              </a:defRPr>
            </a:lvl1pPr>
          </a:lstStyle>
          <a:p>
            <a:r>
              <a:rPr lang="zh-CN" sz="1700" dirty="0">
                <a:latin typeface="+mn-lt"/>
                <a:ea typeface="楷体" panose="02010609060101010101" pitchFamily="49" charset="-122"/>
                <a:cs typeface="SimSun"/>
              </a:rPr>
              <a:t>要求</a:t>
            </a:r>
          </a:p>
        </p:txBody>
      </p:sp>
      <p:cxnSp>
        <p:nvCxnSpPr>
          <p:cNvPr id="24" name="Straight Connector 23"/>
          <p:cNvCxnSpPr>
            <a:cxnSpLocks/>
          </p:cNvCxnSpPr>
          <p:nvPr>
            <p:custDataLst>
              <p:tags r:id="rId4"/>
            </p:custDataLst>
          </p:nvPr>
        </p:nvCxnSpPr>
        <p:spPr>
          <a:xfrm>
            <a:off x="119063" y="3110961"/>
            <a:ext cx="7141316" cy="0"/>
          </a:xfrm>
          <a:prstGeom prst="line">
            <a:avLst/>
          </a:prstGeom>
          <a:ln w="9525">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custDataLst>
              <p:tags r:id="rId5"/>
            </p:custDataLst>
          </p:nvPr>
        </p:nvCxnSpPr>
        <p:spPr>
          <a:xfrm>
            <a:off x="119063" y="4587455"/>
            <a:ext cx="7141316" cy="0"/>
          </a:xfrm>
          <a:prstGeom prst="line">
            <a:avLst/>
          </a:prstGeom>
          <a:ln w="9525">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TextBox 10"/>
          <p:cNvSpPr txBox="1">
            <a:spLocks/>
          </p:cNvSpPr>
          <p:nvPr>
            <p:custDataLst>
              <p:tags r:id="rId6"/>
            </p:custDataLst>
          </p:nvPr>
        </p:nvSpPr>
        <p:spPr>
          <a:xfrm>
            <a:off x="119063" y="3272127"/>
            <a:ext cx="1265154" cy="280451"/>
          </a:xfrm>
          <a:prstGeom prst="rect">
            <a:avLst/>
          </a:prstGeom>
          <a:noFill/>
          <a:ln>
            <a:noFill/>
          </a:ln>
          <a:effectLst/>
        </p:spPr>
        <p:txBody>
          <a:bodyPr wrap="square" lIns="0" tIns="0" rIns="0" bIns="18659" anchor="ctr">
            <a:spAutoFit/>
          </a:bodyPr>
          <a:lstStyle>
            <a:defPPr>
              <a:defRPr lang="en-US"/>
            </a:defPPr>
            <a:lvl1pPr>
              <a:defRPr sz="1800">
                <a:solidFill>
                  <a:srgbClr val="FFCA21"/>
                </a:solidFill>
                <a:latin typeface="Georgia" panose="02040502050405020303" pitchFamily="18" charset="0"/>
                <a:cs typeface="Times New Roman" panose="02020603050405020304" pitchFamily="18"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a:defRPr>
                <a:solidFill>
                  <a:schemeClr val="tx1"/>
                </a:solidFill>
                <a:latin typeface="Arial" charset="0"/>
              </a:defRPr>
            </a:lvl6pPr>
            <a:lvl7pPr>
              <a:defRPr>
                <a:solidFill>
                  <a:schemeClr val="tx1"/>
                </a:solidFill>
                <a:latin typeface="Arial" charset="0"/>
              </a:defRPr>
            </a:lvl7pPr>
            <a:lvl8pPr>
              <a:defRPr>
                <a:solidFill>
                  <a:schemeClr val="tx1"/>
                </a:solidFill>
                <a:latin typeface="Arial" charset="0"/>
              </a:defRPr>
            </a:lvl8pPr>
            <a:lvl9pPr>
              <a:defRPr>
                <a:solidFill>
                  <a:schemeClr val="tx1"/>
                </a:solidFill>
                <a:latin typeface="Arial" charset="0"/>
              </a:defRPr>
            </a:lvl9pPr>
          </a:lstStyle>
          <a:p>
            <a:r>
              <a:rPr lang="zh-CN" sz="1700" dirty="0">
                <a:latin typeface="+mn-lt"/>
                <a:ea typeface="楷体" panose="02010609060101010101" pitchFamily="49" charset="-122"/>
                <a:cs typeface="SimSun"/>
              </a:rPr>
              <a:t>数据</a:t>
            </a:r>
          </a:p>
        </p:txBody>
      </p:sp>
      <p:sp>
        <p:nvSpPr>
          <p:cNvPr id="12" name="TextBox 11"/>
          <p:cNvSpPr txBox="1">
            <a:spLocks/>
          </p:cNvSpPr>
          <p:nvPr>
            <p:custDataLst>
              <p:tags r:id="rId7"/>
            </p:custDataLst>
          </p:nvPr>
        </p:nvSpPr>
        <p:spPr>
          <a:xfrm>
            <a:off x="119063" y="4879425"/>
            <a:ext cx="1265154" cy="280451"/>
          </a:xfrm>
          <a:prstGeom prst="rect">
            <a:avLst/>
          </a:prstGeom>
          <a:noFill/>
          <a:ln>
            <a:noFill/>
          </a:ln>
          <a:effectLst/>
        </p:spPr>
        <p:txBody>
          <a:bodyPr wrap="square" lIns="0" tIns="0" rIns="0" bIns="18659" anchor="ctr">
            <a:spAutoFit/>
          </a:bodyPr>
          <a:lstStyle>
            <a:defPPr>
              <a:defRPr lang="en-US"/>
            </a:defPPr>
            <a:lvl1pPr>
              <a:defRPr sz="1800">
                <a:solidFill>
                  <a:srgbClr val="FFCA21"/>
                </a:solidFill>
                <a:latin typeface="Georgia" panose="02040502050405020303" pitchFamily="18" charset="0"/>
                <a:cs typeface="Times New Roman" panose="02020603050405020304" pitchFamily="18"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a:defRPr>
                <a:solidFill>
                  <a:schemeClr val="tx1"/>
                </a:solidFill>
                <a:latin typeface="Arial" charset="0"/>
              </a:defRPr>
            </a:lvl6pPr>
            <a:lvl7pPr>
              <a:defRPr>
                <a:solidFill>
                  <a:schemeClr val="tx1"/>
                </a:solidFill>
                <a:latin typeface="Arial" charset="0"/>
              </a:defRPr>
            </a:lvl7pPr>
            <a:lvl8pPr>
              <a:defRPr>
                <a:solidFill>
                  <a:schemeClr val="tx1"/>
                </a:solidFill>
                <a:latin typeface="Arial" charset="0"/>
              </a:defRPr>
            </a:lvl8pPr>
            <a:lvl9pPr>
              <a:defRPr>
                <a:solidFill>
                  <a:schemeClr val="tx1"/>
                </a:solidFill>
                <a:latin typeface="Arial" charset="0"/>
              </a:defRPr>
            </a:lvl9pPr>
          </a:lstStyle>
          <a:p>
            <a:r>
              <a:rPr lang="zh-CN" sz="1700" dirty="0">
                <a:latin typeface="+mn-lt"/>
                <a:ea typeface="楷体" panose="02010609060101010101" pitchFamily="49" charset="-122"/>
                <a:cs typeface="SimSun"/>
              </a:rPr>
              <a:t>基础设施</a:t>
            </a:r>
          </a:p>
        </p:txBody>
      </p:sp>
      <p:sp>
        <p:nvSpPr>
          <p:cNvPr id="17" name="TextBox 16"/>
          <p:cNvSpPr txBox="1">
            <a:spLocks/>
          </p:cNvSpPr>
          <p:nvPr>
            <p:custDataLst>
              <p:tags r:id="rId8"/>
            </p:custDataLst>
          </p:nvPr>
        </p:nvSpPr>
        <p:spPr>
          <a:xfrm>
            <a:off x="4944506" y="1157776"/>
            <a:ext cx="2315873" cy="280451"/>
          </a:xfrm>
          <a:prstGeom prst="rect">
            <a:avLst/>
          </a:prstGeom>
          <a:noFill/>
          <a:ln>
            <a:noFill/>
          </a:ln>
          <a:effectLst/>
        </p:spPr>
        <p:txBody>
          <a:bodyPr wrap="square" lIns="0" tIns="0" rIns="0" bIns="18659" anchor="ctr">
            <a:spAutoFit/>
          </a:bodyPr>
          <a:lstStyle>
            <a:defPPr>
              <a:defRPr lang="en-US"/>
            </a:defPPr>
            <a:lvl1pPr>
              <a:defRPr sz="1800">
                <a:solidFill>
                  <a:srgbClr val="FFCA21"/>
                </a:solidFill>
                <a:latin typeface="Georgia" panose="02040502050405020303" pitchFamily="18" charset="0"/>
                <a:cs typeface="Times New Roman" panose="02020603050405020304" pitchFamily="18" charset="0"/>
              </a:defRPr>
            </a:lvl1pPr>
          </a:lstStyle>
          <a:p>
            <a:r>
              <a:rPr lang="zh-CN" sz="1700" dirty="0">
                <a:latin typeface="+mn-lt"/>
                <a:ea typeface="楷体" panose="02010609060101010101" pitchFamily="49" charset="-122"/>
                <a:cs typeface="SimSun"/>
              </a:rPr>
              <a:t>示例</a:t>
            </a:r>
          </a:p>
        </p:txBody>
      </p:sp>
      <p:sp>
        <p:nvSpPr>
          <p:cNvPr id="18" name="TextBox 17"/>
          <p:cNvSpPr txBox="1">
            <a:spLocks/>
          </p:cNvSpPr>
          <p:nvPr>
            <p:custDataLst>
              <p:tags r:id="rId9"/>
            </p:custDataLst>
          </p:nvPr>
        </p:nvSpPr>
        <p:spPr>
          <a:xfrm>
            <a:off x="4944506" y="1580189"/>
            <a:ext cx="2315873" cy="646331"/>
          </a:xfrm>
          <a:prstGeom prst="rect">
            <a:avLst/>
          </a:prstGeom>
        </p:spPr>
        <p:txBody>
          <a:bodyPr vert="horz" wrap="square" lIns="0" tIns="0" rIns="0" bIns="0" rtlCol="0" anchor="t" anchorCtr="0">
            <a:spAutoFit/>
          </a:bodyPr>
          <a:lstStyle>
            <a:defPPr>
              <a:defRPr lang="en-US"/>
            </a:defPPr>
            <a:lvl2pPr marL="193675" lvl="1" indent="-192088" defTabSz="895350">
              <a:spcBef>
                <a:spcPts val="0"/>
              </a:spcBef>
              <a:spcAft>
                <a:spcPts val="600"/>
              </a:spcAft>
              <a:buClr>
                <a:schemeClr val="bg1"/>
              </a:buClr>
              <a:buSzPct val="125000"/>
              <a:buFont typeface="Arial" charset="0"/>
              <a:buChar char="▪"/>
              <a:defRPr sz="1100">
                <a:solidFill>
                  <a:schemeClr val="bg1"/>
                </a:solidFill>
                <a:latin typeface="+mn-lt"/>
              </a:defRPr>
            </a:lvl2pPr>
          </a:lstStyle>
          <a:p>
            <a:pPr lvl="1"/>
            <a:r>
              <a:rPr lang="zh-CN" sz="1400" dirty="0">
                <a:ea typeface="楷体" panose="02010609060101010101" pitchFamily="49" charset="-122"/>
                <a:cs typeface="SimSun"/>
              </a:rPr>
              <a:t>2012年，默克通过深度学习实现了有用候选药物预测能力提高15%</a:t>
            </a:r>
            <a:r>
              <a:rPr lang="zh-CN" sz="1400" baseline="30000" dirty="0">
                <a:ea typeface="楷体" panose="02010609060101010101" pitchFamily="49" charset="-122"/>
                <a:cs typeface="SimSun"/>
              </a:rPr>
              <a:t>1</a:t>
            </a:r>
            <a:r>
              <a:rPr lang="zh-CN" dirty="0">
                <a:ea typeface="楷体" panose="02010609060101010101" pitchFamily="49" charset="-122"/>
                <a:cs typeface="SimSun"/>
              </a:rPr>
              <a:t> </a:t>
            </a:r>
          </a:p>
        </p:txBody>
      </p:sp>
      <p:sp>
        <p:nvSpPr>
          <p:cNvPr id="19" name="TextBox 18"/>
          <p:cNvSpPr txBox="1">
            <a:spLocks/>
          </p:cNvSpPr>
          <p:nvPr>
            <p:custDataLst>
              <p:tags r:id="rId10"/>
            </p:custDataLst>
          </p:nvPr>
        </p:nvSpPr>
        <p:spPr>
          <a:xfrm>
            <a:off x="4944506" y="3272127"/>
            <a:ext cx="2315873" cy="430887"/>
          </a:xfrm>
          <a:prstGeom prst="rect">
            <a:avLst/>
          </a:prstGeom>
        </p:spPr>
        <p:txBody>
          <a:bodyPr vert="horz" wrap="square" lIns="0" tIns="0" rIns="0" bIns="0" rtlCol="0" anchor="t" anchorCtr="0">
            <a:spAutoFit/>
          </a:bodyPr>
          <a:lstStyle>
            <a:defPPr>
              <a:defRPr lang="en-US"/>
            </a:defPPr>
            <a:lvl2pPr marL="193675" lvl="1" indent="-192088" defTabSz="895350">
              <a:spcBef>
                <a:spcPts val="0"/>
              </a:spcBef>
              <a:spcAft>
                <a:spcPts val="600"/>
              </a:spcAft>
              <a:buClr>
                <a:schemeClr val="bg1"/>
              </a:buClr>
              <a:buSzPct val="125000"/>
              <a:buFont typeface="Arial" charset="0"/>
              <a:buChar char="▪"/>
              <a:defRPr sz="1100">
                <a:solidFill>
                  <a:schemeClr val="bg1"/>
                </a:solidFill>
                <a:latin typeface="+mn-lt"/>
              </a:defRPr>
            </a:lvl2pPr>
          </a:lstStyle>
          <a:p>
            <a:pPr lvl="1"/>
            <a:r>
              <a:rPr lang="zh-CN" sz="1400" dirty="0">
                <a:ea typeface="楷体" panose="02010609060101010101" pitchFamily="49" charset="-122"/>
                <a:cs typeface="SimSun"/>
              </a:rPr>
              <a:t>脸书利用先前标记的海量照片训练人脸识别算法</a:t>
            </a:r>
          </a:p>
        </p:txBody>
      </p:sp>
      <p:sp>
        <p:nvSpPr>
          <p:cNvPr id="20" name="TextBox 19"/>
          <p:cNvSpPr txBox="1">
            <a:spLocks/>
          </p:cNvSpPr>
          <p:nvPr>
            <p:custDataLst>
              <p:tags r:id="rId11"/>
            </p:custDataLst>
          </p:nvPr>
        </p:nvSpPr>
        <p:spPr>
          <a:xfrm>
            <a:off x="4944506" y="4748620"/>
            <a:ext cx="2315873" cy="861774"/>
          </a:xfrm>
          <a:prstGeom prst="rect">
            <a:avLst/>
          </a:prstGeom>
        </p:spPr>
        <p:txBody>
          <a:bodyPr vert="horz" wrap="square" lIns="0" tIns="0" rIns="0" bIns="0" rtlCol="0" anchor="t" anchorCtr="0">
            <a:spAutoFit/>
          </a:bodyPr>
          <a:lstStyle>
            <a:defPPr>
              <a:defRPr lang="en-US"/>
            </a:defPPr>
            <a:lvl2pPr marL="193675" lvl="1" indent="-192088" defTabSz="895350">
              <a:spcBef>
                <a:spcPts val="0"/>
              </a:spcBef>
              <a:spcAft>
                <a:spcPts val="600"/>
              </a:spcAft>
              <a:buClr>
                <a:schemeClr val="bg1"/>
              </a:buClr>
              <a:buSzPct val="125000"/>
              <a:buFont typeface="Arial" charset="0"/>
              <a:buChar char="▪"/>
              <a:defRPr sz="1100">
                <a:solidFill>
                  <a:schemeClr val="bg1"/>
                </a:solidFill>
                <a:latin typeface="+mn-lt"/>
              </a:defRPr>
            </a:lvl2pPr>
          </a:lstStyle>
          <a:p>
            <a:pPr lvl="1"/>
            <a:r>
              <a:rPr lang="zh-CN" sz="1400" dirty="0">
                <a:ea typeface="楷体" panose="02010609060101010101" pitchFamily="49" charset="-122"/>
                <a:cs typeface="SimSun"/>
              </a:rPr>
              <a:t>谷歌近期开展的分类试验</a:t>
            </a:r>
            <a:r>
              <a:rPr lang="zh-CN" altLang="en-US" sz="1400" dirty="0">
                <a:ea typeface="楷体" panose="02010609060101010101" pitchFamily="49" charset="-122"/>
                <a:cs typeface="SimSun"/>
              </a:rPr>
              <a:t>所使用</a:t>
            </a:r>
            <a:r>
              <a:rPr lang="zh-CN" sz="1400" dirty="0">
                <a:ea typeface="楷体" panose="02010609060101010101" pitchFamily="49" charset="-122"/>
                <a:cs typeface="SimSun"/>
              </a:rPr>
              <a:t>的硬件</a:t>
            </a:r>
            <a:r>
              <a:rPr lang="zh-CN" altLang="en-US" sz="1400" dirty="0">
                <a:ea typeface="楷体" panose="02010609060101010101" pitchFamily="49" charset="-122"/>
                <a:cs typeface="SimSun"/>
              </a:rPr>
              <a:t>包</a:t>
            </a:r>
            <a:r>
              <a:rPr lang="zh-CN" sz="1400" dirty="0">
                <a:ea typeface="楷体" panose="02010609060101010101" pitchFamily="49" charset="-122"/>
                <a:cs typeface="SimSun"/>
              </a:rPr>
              <a:t>含16,000余个计算机核心，成本高达500万美元</a:t>
            </a:r>
          </a:p>
        </p:txBody>
      </p:sp>
      <p:sp>
        <p:nvSpPr>
          <p:cNvPr id="15" name="TextBox 14"/>
          <p:cNvSpPr txBox="1">
            <a:spLocks/>
          </p:cNvSpPr>
          <p:nvPr>
            <p:custDataLst>
              <p:tags r:id="rId12"/>
            </p:custDataLst>
          </p:nvPr>
        </p:nvSpPr>
        <p:spPr>
          <a:xfrm>
            <a:off x="1751627" y="3272127"/>
            <a:ext cx="2951162" cy="723275"/>
          </a:xfrm>
          <a:prstGeom prst="rect">
            <a:avLst/>
          </a:prstGeom>
        </p:spPr>
        <p:txBody>
          <a:bodyPr vert="horz" wrap="square" lIns="0" tIns="0" rIns="0" bIns="0" rtlCol="0" anchor="t" anchorCtr="0">
            <a:spAutoFit/>
          </a:bodyPr>
          <a:lstStyle>
            <a:defPPr>
              <a:defRPr lang="en-US"/>
            </a:defPPr>
            <a:lvl2pPr marL="193675" lvl="1" indent="-192088" defTabSz="895350">
              <a:spcBef>
                <a:spcPts val="0"/>
              </a:spcBef>
              <a:spcAft>
                <a:spcPts val="600"/>
              </a:spcAft>
              <a:buClr>
                <a:schemeClr val="bg1"/>
              </a:buClr>
              <a:buSzPct val="125000"/>
              <a:buFont typeface="Arial" charset="0"/>
              <a:buChar char="▪"/>
              <a:defRPr sz="1100">
                <a:solidFill>
                  <a:schemeClr val="bg1"/>
                </a:solidFill>
                <a:latin typeface="+mn-lt"/>
              </a:defRPr>
            </a:lvl2pPr>
          </a:lstStyle>
          <a:p>
            <a:pPr lvl="1"/>
            <a:r>
              <a:rPr lang="zh-CN" sz="1400" dirty="0">
                <a:ea typeface="楷体" panose="02010609060101010101" pitchFamily="49" charset="-122"/>
                <a:cs typeface="SimSun"/>
              </a:rPr>
              <a:t>培训深度网络需要用到大量数据（约10000条以上记录）</a:t>
            </a:r>
          </a:p>
          <a:p>
            <a:pPr lvl="1"/>
            <a:r>
              <a:rPr lang="zh-CN" sz="1400" dirty="0">
                <a:ea typeface="楷体" panose="02010609060101010101" pitchFamily="49" charset="-122"/>
                <a:cs typeface="SimSun"/>
              </a:rPr>
              <a:t>深度学习可利用非传统数据来源</a:t>
            </a:r>
          </a:p>
        </p:txBody>
      </p:sp>
      <p:sp>
        <p:nvSpPr>
          <p:cNvPr id="16" name="TextBox 15"/>
          <p:cNvSpPr txBox="1">
            <a:spLocks/>
          </p:cNvSpPr>
          <p:nvPr>
            <p:custDataLst>
              <p:tags r:id="rId13"/>
            </p:custDataLst>
          </p:nvPr>
        </p:nvSpPr>
        <p:spPr>
          <a:xfrm>
            <a:off x="1751627" y="4748620"/>
            <a:ext cx="2951162" cy="430887"/>
          </a:xfrm>
          <a:prstGeom prst="rect">
            <a:avLst/>
          </a:prstGeom>
        </p:spPr>
        <p:txBody>
          <a:bodyPr vert="horz" wrap="square" lIns="0" tIns="0" rIns="0" bIns="0" rtlCol="0" anchor="t" anchorCtr="0">
            <a:spAutoFit/>
          </a:bodyPr>
          <a:lstStyle>
            <a:defPPr>
              <a:defRPr lang="en-US"/>
            </a:defPPr>
            <a:lvl2pPr marL="193675" lvl="1" indent="-192088" defTabSz="895350">
              <a:spcBef>
                <a:spcPts val="0"/>
              </a:spcBef>
              <a:spcAft>
                <a:spcPts val="600"/>
              </a:spcAft>
              <a:buClr>
                <a:schemeClr val="bg1"/>
              </a:buClr>
              <a:buSzPct val="125000"/>
              <a:buFont typeface="Arial" charset="0"/>
              <a:buChar char="▪"/>
              <a:defRPr sz="1100">
                <a:solidFill>
                  <a:schemeClr val="bg1"/>
                </a:solidFill>
                <a:latin typeface="+mn-lt"/>
              </a:defRPr>
            </a:lvl2pPr>
          </a:lstStyle>
          <a:p>
            <a:pPr lvl="1"/>
            <a:r>
              <a:rPr lang="zh-CN" sz="1400" dirty="0">
                <a:ea typeface="楷体" panose="02010609060101010101" pitchFamily="49" charset="-122"/>
                <a:cs typeface="SimSun"/>
              </a:rPr>
              <a:t>大规模深度学习需要</a:t>
            </a:r>
            <a:r>
              <a:rPr lang="zh-CN" altLang="en-US" sz="1400" dirty="0">
                <a:ea typeface="楷体" panose="02010609060101010101" pitchFamily="49" charset="-122"/>
                <a:cs typeface="SimSun"/>
              </a:rPr>
              <a:t>大量投入</a:t>
            </a:r>
            <a:r>
              <a:rPr lang="zh-CN" sz="1400" dirty="0">
                <a:ea typeface="楷体" panose="02010609060101010101" pitchFamily="49" charset="-122"/>
                <a:cs typeface="SimSun"/>
              </a:rPr>
              <a:t>基础设施，以处理大型数据集</a:t>
            </a:r>
          </a:p>
        </p:txBody>
      </p:sp>
      <p:sp>
        <p:nvSpPr>
          <p:cNvPr id="13" name="TextBox 12"/>
          <p:cNvSpPr txBox="1">
            <a:spLocks/>
          </p:cNvSpPr>
          <p:nvPr>
            <p:custDataLst>
              <p:tags r:id="rId14"/>
            </p:custDataLst>
          </p:nvPr>
        </p:nvSpPr>
        <p:spPr>
          <a:xfrm>
            <a:off x="1751627" y="1157776"/>
            <a:ext cx="2951162" cy="280451"/>
          </a:xfrm>
          <a:prstGeom prst="rect">
            <a:avLst/>
          </a:prstGeom>
          <a:noFill/>
          <a:ln>
            <a:noFill/>
          </a:ln>
          <a:effectLst/>
        </p:spPr>
        <p:txBody>
          <a:bodyPr wrap="square" lIns="0" tIns="0" rIns="0" bIns="18659" anchor="ctr">
            <a:spAutoFit/>
          </a:bodyPr>
          <a:lstStyle>
            <a:defPPr>
              <a:defRPr lang="en-US"/>
            </a:defPPr>
            <a:lvl1pPr>
              <a:defRPr sz="1800">
                <a:solidFill>
                  <a:srgbClr val="FFCA21"/>
                </a:solidFill>
                <a:latin typeface="Georgia" panose="02040502050405020303" pitchFamily="18" charset="0"/>
                <a:cs typeface="Times New Roman" panose="02020603050405020304" pitchFamily="18" charset="0"/>
              </a:defRPr>
            </a:lvl1pPr>
          </a:lstStyle>
          <a:p>
            <a:r>
              <a:rPr lang="zh-CN" sz="1700" dirty="0">
                <a:latin typeface="+mn-lt"/>
                <a:ea typeface="楷体" panose="02010609060101010101" pitchFamily="49" charset="-122"/>
                <a:cs typeface="SimSun"/>
              </a:rPr>
              <a:t>描述</a:t>
            </a:r>
          </a:p>
        </p:txBody>
      </p:sp>
      <p:sp>
        <p:nvSpPr>
          <p:cNvPr id="258" name="Slide Number"/>
          <p:cNvSpPr txBox="1">
            <a:spLocks/>
          </p:cNvSpPr>
          <p:nvPr/>
        </p:nvSpPr>
        <p:spPr bwMode="auto">
          <a:xfrm>
            <a:off x="8564563" y="6508272"/>
            <a:ext cx="115416"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r>
              <a:rPr lang="zh-CN" sz="800" dirty="0">
                <a:solidFill>
                  <a:schemeClr val="bg1"/>
                </a:solidFill>
                <a:ea typeface="楷体" panose="02010609060101010101" pitchFamily="49" charset="-122"/>
                <a:cs typeface="SimSun"/>
              </a:rPr>
              <a:t>12</a:t>
            </a:r>
          </a:p>
        </p:txBody>
      </p:sp>
      <p:sp>
        <p:nvSpPr>
          <p:cNvPr id="259" name="SlideLogoText"/>
          <p:cNvSpPr>
            <a:spLocks noChangeArrowheads="1"/>
          </p:cNvSpPr>
          <p:nvPr>
            <p:custDataLst>
              <p:tags r:id="rId15"/>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zh-CN" sz="800" dirty="0">
                <a:solidFill>
                  <a:schemeClr val="bg1"/>
                </a:solidFill>
                <a:latin typeface="+mn-lt"/>
                <a:ea typeface="楷体" panose="02010609060101010101" pitchFamily="49" charset="-122"/>
                <a:cs typeface="SimSun"/>
              </a:rPr>
              <a:t>McKinsey &amp; Company</a:t>
            </a:r>
          </a:p>
        </p:txBody>
      </p:sp>
      <p:sp>
        <p:nvSpPr>
          <p:cNvPr id="260" name="Rectangle 27"/>
          <p:cNvSpPr>
            <a:spLocks/>
          </p:cNvSpPr>
          <p:nvPr/>
        </p:nvSpPr>
        <p:spPr>
          <a:xfrm>
            <a:off x="7606513" y="1580189"/>
            <a:ext cx="1354925" cy="4245649"/>
          </a:xfrm>
          <a:custGeom>
            <a:avLst/>
            <a:gdLst>
              <a:gd name="connsiteX0" fmla="*/ 0 w 7533269"/>
              <a:gd name="connsiteY0" fmla="*/ 0 h 5230260"/>
              <a:gd name="connsiteX1" fmla="*/ 7533269 w 7533269"/>
              <a:gd name="connsiteY1" fmla="*/ 0 h 5230260"/>
              <a:gd name="connsiteX2" fmla="*/ 7533269 w 7533269"/>
              <a:gd name="connsiteY2" fmla="*/ 5230260 h 5230260"/>
              <a:gd name="connsiteX3" fmla="*/ 0 w 7533269"/>
              <a:gd name="connsiteY3" fmla="*/ 5230260 h 5230260"/>
              <a:gd name="connsiteX4" fmla="*/ 0 w 7533269"/>
              <a:gd name="connsiteY4" fmla="*/ 0 h 5230260"/>
              <a:gd name="connsiteX0" fmla="*/ 7533269 w 7624709"/>
              <a:gd name="connsiteY0" fmla="*/ 5230260 h 5321700"/>
              <a:gd name="connsiteX1" fmla="*/ 0 w 7624709"/>
              <a:gd name="connsiteY1" fmla="*/ 5230260 h 5321700"/>
              <a:gd name="connsiteX2" fmla="*/ 0 w 7624709"/>
              <a:gd name="connsiteY2" fmla="*/ 0 h 5321700"/>
              <a:gd name="connsiteX3" fmla="*/ 7533269 w 7624709"/>
              <a:gd name="connsiteY3" fmla="*/ 0 h 5321700"/>
              <a:gd name="connsiteX4" fmla="*/ 7624709 w 7624709"/>
              <a:gd name="connsiteY4" fmla="*/ 5321700 h 5321700"/>
              <a:gd name="connsiteX0" fmla="*/ 7533269 w 7533269"/>
              <a:gd name="connsiteY0" fmla="*/ 5230260 h 5230260"/>
              <a:gd name="connsiteX1" fmla="*/ 0 w 7533269"/>
              <a:gd name="connsiteY1" fmla="*/ 5230260 h 5230260"/>
              <a:gd name="connsiteX2" fmla="*/ 0 w 7533269"/>
              <a:gd name="connsiteY2" fmla="*/ 0 h 5230260"/>
              <a:gd name="connsiteX3" fmla="*/ 7533269 w 7533269"/>
              <a:gd name="connsiteY3" fmla="*/ 0 h 5230260"/>
            </a:gdLst>
            <a:ahLst/>
            <a:cxnLst>
              <a:cxn ang="0">
                <a:pos x="connsiteX0" y="connsiteY0"/>
              </a:cxn>
              <a:cxn ang="0">
                <a:pos x="connsiteX1" y="connsiteY1"/>
              </a:cxn>
              <a:cxn ang="0">
                <a:pos x="connsiteX2" y="connsiteY2"/>
              </a:cxn>
              <a:cxn ang="0">
                <a:pos x="connsiteX3" y="connsiteY3"/>
              </a:cxn>
            </a:cxnLst>
            <a:rect l="l" t="t" r="r" b="b"/>
            <a:pathLst>
              <a:path w="7533269" h="5230260">
                <a:moveTo>
                  <a:pt x="7533269" y="5230260"/>
                </a:moveTo>
                <a:lnTo>
                  <a:pt x="0" y="5230260"/>
                </a:lnTo>
                <a:lnTo>
                  <a:pt x="0" y="0"/>
                </a:lnTo>
                <a:lnTo>
                  <a:pt x="7533269" y="0"/>
                </a:lnTo>
              </a:path>
            </a:pathLst>
          </a:custGeom>
          <a:ln w="3175">
            <a:solidFill>
              <a:srgbClr val="FFCA2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dirty="0" err="1">
              <a:ea typeface="楷体" panose="02010609060101010101" pitchFamily="49" charset="-122"/>
            </a:endParaRPr>
          </a:p>
        </p:txBody>
      </p:sp>
      <p:sp>
        <p:nvSpPr>
          <p:cNvPr id="10" name="TextBox 9"/>
          <p:cNvSpPr txBox="1">
            <a:spLocks/>
          </p:cNvSpPr>
          <p:nvPr>
            <p:custDataLst>
              <p:tags r:id="rId16"/>
            </p:custDataLst>
          </p:nvPr>
        </p:nvSpPr>
        <p:spPr>
          <a:xfrm>
            <a:off x="119063" y="1580189"/>
            <a:ext cx="1265154" cy="542061"/>
          </a:xfrm>
          <a:prstGeom prst="rect">
            <a:avLst/>
          </a:prstGeom>
          <a:noFill/>
          <a:ln>
            <a:noFill/>
          </a:ln>
          <a:effectLst/>
        </p:spPr>
        <p:txBody>
          <a:bodyPr wrap="square" lIns="0" tIns="0" rIns="0" bIns="18659" anchor="ctr">
            <a:spAutoFit/>
          </a:bodyPr>
          <a:lstStyle>
            <a:defPPr>
              <a:defRPr lang="en-US"/>
            </a:defPPr>
            <a:lvl1pPr>
              <a:defRPr sz="1800">
                <a:solidFill>
                  <a:srgbClr val="FFCA21"/>
                </a:solidFill>
                <a:latin typeface="Georgia" panose="02040502050405020303" pitchFamily="18" charset="0"/>
                <a:cs typeface="Times New Roman" panose="02020603050405020304" pitchFamily="18"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a:defRPr>
                <a:solidFill>
                  <a:schemeClr val="tx1"/>
                </a:solidFill>
                <a:latin typeface="Arial" charset="0"/>
              </a:defRPr>
            </a:lvl6pPr>
            <a:lvl7pPr>
              <a:defRPr>
                <a:solidFill>
                  <a:schemeClr val="tx1"/>
                </a:solidFill>
                <a:latin typeface="Arial" charset="0"/>
              </a:defRPr>
            </a:lvl7pPr>
            <a:lvl8pPr>
              <a:defRPr>
                <a:solidFill>
                  <a:schemeClr val="tx1"/>
                </a:solidFill>
                <a:latin typeface="Arial" charset="0"/>
              </a:defRPr>
            </a:lvl8pPr>
            <a:lvl9pPr>
              <a:defRPr>
                <a:solidFill>
                  <a:schemeClr val="tx1"/>
                </a:solidFill>
                <a:latin typeface="Arial" charset="0"/>
              </a:defRPr>
            </a:lvl9pPr>
          </a:lstStyle>
          <a:p>
            <a:r>
              <a:rPr lang="zh-CN" sz="1700" dirty="0">
                <a:latin typeface="+mn-lt"/>
                <a:ea typeface="楷体" panose="02010609060101010101" pitchFamily="49" charset="-122"/>
                <a:cs typeface="SimSun"/>
              </a:rPr>
              <a:t>明确定义的问题</a:t>
            </a:r>
          </a:p>
        </p:txBody>
      </p:sp>
      <p:sp>
        <p:nvSpPr>
          <p:cNvPr id="14" name="TextBox 13"/>
          <p:cNvSpPr txBox="1">
            <a:spLocks/>
          </p:cNvSpPr>
          <p:nvPr>
            <p:custDataLst>
              <p:tags r:id="rId17"/>
            </p:custDataLst>
          </p:nvPr>
        </p:nvSpPr>
        <p:spPr>
          <a:xfrm>
            <a:off x="1751627" y="1580189"/>
            <a:ext cx="2951162" cy="723275"/>
          </a:xfrm>
          <a:prstGeom prst="rect">
            <a:avLst/>
          </a:prstGeom>
        </p:spPr>
        <p:txBody>
          <a:bodyPr vert="horz" wrap="square" lIns="0" tIns="0" rIns="0" bIns="0" rtlCol="0" anchor="t" anchorCtr="0">
            <a:spAutoFit/>
          </a:bodyPr>
          <a:lstStyle>
            <a:defPPr>
              <a:defRPr lang="en-US"/>
            </a:defPPr>
            <a:lvl2pPr marL="193675" lvl="1" indent="-192088" defTabSz="895350">
              <a:spcBef>
                <a:spcPts val="0"/>
              </a:spcBef>
              <a:spcAft>
                <a:spcPts val="600"/>
              </a:spcAft>
              <a:buClr>
                <a:schemeClr val="bg1"/>
              </a:buClr>
              <a:buSzPct val="125000"/>
              <a:buFont typeface="Arial" charset="0"/>
              <a:buChar char="▪"/>
              <a:defRPr sz="1100">
                <a:solidFill>
                  <a:schemeClr val="bg1"/>
                </a:solidFill>
                <a:latin typeface="+mn-lt"/>
              </a:defRPr>
            </a:lvl2pPr>
          </a:lstStyle>
          <a:p>
            <a:pPr lvl="1"/>
            <a:r>
              <a:rPr lang="zh-CN" sz="1400" dirty="0">
                <a:ea typeface="楷体" panose="02010609060101010101" pitchFamily="49" charset="-122"/>
                <a:cs typeface="SimSun"/>
              </a:rPr>
              <a:t>深度学习无法取代所有分析方法</a:t>
            </a:r>
          </a:p>
          <a:p>
            <a:pPr lvl="1"/>
            <a:r>
              <a:rPr lang="zh-CN" sz="1400" dirty="0">
                <a:ea typeface="楷体" panose="02010609060101010101" pitchFamily="49" charset="-122"/>
                <a:cs typeface="SimSun"/>
              </a:rPr>
              <a:t>它应当用于解决具体问题，如图像分类或语音识别</a:t>
            </a:r>
          </a:p>
        </p:txBody>
      </p:sp>
      <p:cxnSp>
        <p:nvCxnSpPr>
          <p:cNvPr id="261" name="Straight Connector 260"/>
          <p:cNvCxnSpPr>
            <a:cxnSpLocks/>
          </p:cNvCxnSpPr>
          <p:nvPr/>
        </p:nvCxnSpPr>
        <p:spPr>
          <a:xfrm>
            <a:off x="1567922" y="1580189"/>
            <a:ext cx="0" cy="1369606"/>
          </a:xfrm>
          <a:prstGeom prst="line">
            <a:avLst/>
          </a:prstGeom>
          <a:ln w="3175">
            <a:solidFill>
              <a:srgbClr val="FFCA21"/>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a:cxnSpLocks/>
          </p:cNvCxnSpPr>
          <p:nvPr/>
        </p:nvCxnSpPr>
        <p:spPr>
          <a:xfrm>
            <a:off x="1567922" y="3272127"/>
            <a:ext cx="0" cy="1154162"/>
          </a:xfrm>
          <a:prstGeom prst="line">
            <a:avLst/>
          </a:prstGeom>
          <a:ln w="3175">
            <a:solidFill>
              <a:srgbClr val="FFCA21"/>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a:cxnSpLocks/>
          </p:cNvCxnSpPr>
          <p:nvPr/>
        </p:nvCxnSpPr>
        <p:spPr>
          <a:xfrm>
            <a:off x="1567922" y="4748620"/>
            <a:ext cx="0" cy="1077218"/>
          </a:xfrm>
          <a:prstGeom prst="line">
            <a:avLst/>
          </a:prstGeom>
          <a:ln w="3175">
            <a:solidFill>
              <a:srgbClr val="FFCA21"/>
            </a:solidFill>
          </a:ln>
        </p:spPr>
        <p:style>
          <a:lnRef idx="1">
            <a:schemeClr val="accent1"/>
          </a:lnRef>
          <a:fillRef idx="0">
            <a:schemeClr val="accent1"/>
          </a:fillRef>
          <a:effectRef idx="0">
            <a:schemeClr val="accent1"/>
          </a:effectRef>
          <a:fontRef idx="minor">
            <a:schemeClr val="tx1"/>
          </a:fontRef>
        </p:style>
      </p:cxnSp>
      <p:pic>
        <p:nvPicPr>
          <p:cNvPr id="151666" name="Picture 114" descr="Image result for merck png"/>
          <p:cNvPicPr>
            <a:picLocks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781562" y="2130580"/>
            <a:ext cx="929979" cy="268824"/>
          </a:xfrm>
          <a:prstGeom prst="rect">
            <a:avLst/>
          </a:prstGeom>
          <a:noFill/>
          <a:extLst>
            <a:ext uri="{909E8E84-426E-40DD-AFC4-6F175D3DCCD1}">
              <a14:hiddenFill xmlns:a14="http://schemas.microsoft.com/office/drawing/2010/main">
                <a:solidFill>
                  <a:srgbClr val="FFFFFF"/>
                </a:solidFill>
              </a14:hiddenFill>
            </a:ext>
          </a:extLst>
        </p:spPr>
      </p:pic>
      <p:pic>
        <p:nvPicPr>
          <p:cNvPr id="151678" name="Picture 126" descr="Image result for google logo 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781562" y="5126278"/>
            <a:ext cx="886305" cy="2995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604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lt;root reqver=&quot;23045&quot;&gt;&lt;version val=&quot;2412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2.30048999999999990000E+000&quot;&gt;&lt;m_msothmcolidx val=&quot;0&quot;/&gt;&lt;m_rgb r=&quot;66&quot; g=&quot;66&quot; b=&quot;66&quot;/&gt;&lt;m_nBrightness val=&quot;0&quot;/&gt;&lt;/elem&gt;&lt;elem m_fUsage=&quot;1.00000000000000000000E+000&quot;&gt;&lt;m_msothmcolidx val=&quot;0&quot;/&gt;&lt;m_rgb r=&quot;F2&quot; g=&quot;7F&quot; b=&quot;00&quot;/&gt;&lt;m_nBrightness val=&quot;0&quot;/&gt;&lt;/elem&gt;&lt;elem m_fUsage=&quot;7.29000000000000090000E-001&quot;&gt;&lt;m_msothmcolidx val=&quot;0&quot;/&gt;&lt;m_rgb r=&quot;CD&quot; g=&quot;20&quot; b=&quot;2C&quot;/&gt;&lt;m_nBrightness val=&quot;0&quot;/&gt;&lt;/elem&gt;&lt;elem m_fUsage=&quot;6.56100000000000130000E-001&quot;&gt;&lt;m_msothmcolidx val=&quot;0&quot;/&gt;&lt;m_rgb r=&quot;A3&quot; g=&quot;B3&quot; b=&quot;00&quot;/&gt;&lt;m_nBrightness val=&quot;0&quot;/&gt;&lt;/elem&gt;&lt;/m_vecMRU&gt;&lt;/m_mruColor&gt;&lt;m_eweekdayFirstOfWeek val=&quot;2&quot;/&gt;&lt;m_eweekdayFirstOfWorkweek val=&quot;2&quot;/&gt;&lt;m_eweekdayFirstOfWeekend val=&quot;7&quot;/&gt;&lt;/CPresentation&gt;&lt;/root&gt;"/>
  <p:tag name="TPVERSION" val="5"/>
  <p:tag name="TPFULLVERSION" val="5.3.2.24"/>
  <p:tag name="PPTVERSION" val="14"/>
  <p:tag name="TPOS" val="2"/>
  <p:tag name="APLORISREVISION" val="9"/>
  <p:tag name="MTBTACCENT" val="Accent3"/>
  <p:tag name="ISNEWSLIDENUMBER" val="True"/>
  <p:tag name="NEWNAMES" val="True"/>
  <p:tag name="PREVIOUSNAME" val="C:\AA-Projects\AA&amp;ML knowledge sharing session.pptx"/>
  <p:tag name="THINKCELLUNDODONOTDELETE" val="0"/>
  <p:tag name="NEWVI" val="tru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NAME" val="Oval"/>
</p:tagLst>
</file>

<file path=ppt/tags/tag101.xml><?xml version="1.0" encoding="utf-8"?>
<p:tagLst xmlns:a="http://schemas.openxmlformats.org/drawingml/2006/main" xmlns:r="http://schemas.openxmlformats.org/officeDocument/2006/relationships" xmlns:p="http://schemas.openxmlformats.org/presentationml/2006/main">
  <p:tag name="NAME" val="Oval"/>
</p:tagLst>
</file>

<file path=ppt/tags/tag102.xml><?xml version="1.0" encoding="utf-8"?>
<p:tagLst xmlns:a="http://schemas.openxmlformats.org/drawingml/2006/main" xmlns:r="http://schemas.openxmlformats.org/officeDocument/2006/relationships" xmlns:p="http://schemas.openxmlformats.org/presentationml/2006/main">
  <p:tag name="NAME" val="Oval"/>
</p:tagLst>
</file>

<file path=ppt/tags/tag103.xml><?xml version="1.0" encoding="utf-8"?>
<p:tagLst xmlns:a="http://schemas.openxmlformats.org/drawingml/2006/main" xmlns:r="http://schemas.openxmlformats.org/officeDocument/2006/relationships" xmlns:p="http://schemas.openxmlformats.org/presentationml/2006/main">
  <p:tag name="NAME" val="Oval"/>
</p:tagLst>
</file>

<file path=ppt/tags/tag104.xml><?xml version="1.0" encoding="utf-8"?>
<p:tagLst xmlns:a="http://schemas.openxmlformats.org/drawingml/2006/main" xmlns:r="http://schemas.openxmlformats.org/officeDocument/2006/relationships" xmlns:p="http://schemas.openxmlformats.org/presentationml/2006/main">
  <p:tag name="NAME" val="Oval"/>
</p:tagLst>
</file>

<file path=ppt/tags/tag105.xml><?xml version="1.0" encoding="utf-8"?>
<p:tagLst xmlns:a="http://schemas.openxmlformats.org/drawingml/2006/main" xmlns:r="http://schemas.openxmlformats.org/officeDocument/2006/relationships" xmlns:p="http://schemas.openxmlformats.org/presentationml/2006/main">
  <p:tag name="NAME" val="Oval"/>
</p:tagLst>
</file>

<file path=ppt/tags/tag106.xml><?xml version="1.0" encoding="utf-8"?>
<p:tagLst xmlns:a="http://schemas.openxmlformats.org/drawingml/2006/main" xmlns:r="http://schemas.openxmlformats.org/officeDocument/2006/relationships" xmlns:p="http://schemas.openxmlformats.org/presentationml/2006/main">
  <p:tag name="NAME" val="Oval"/>
</p:tagLst>
</file>

<file path=ppt/tags/tag107.xml><?xml version="1.0" encoding="utf-8"?>
<p:tagLst xmlns:a="http://schemas.openxmlformats.org/drawingml/2006/main" xmlns:r="http://schemas.openxmlformats.org/officeDocument/2006/relationships" xmlns:p="http://schemas.openxmlformats.org/presentationml/2006/main">
  <p:tag name="NAME" val="Oval"/>
</p:tagLst>
</file>

<file path=ppt/tags/tag108.xml><?xml version="1.0" encoding="utf-8"?>
<p:tagLst xmlns:a="http://schemas.openxmlformats.org/drawingml/2006/main" xmlns:r="http://schemas.openxmlformats.org/officeDocument/2006/relationships" xmlns:p="http://schemas.openxmlformats.org/presentationml/2006/main">
  <p:tag name="NAME" val="Oval"/>
</p:tagLst>
</file>

<file path=ppt/tags/tag109.xml><?xml version="1.0" encoding="utf-8"?>
<p:tagLst xmlns:a="http://schemas.openxmlformats.org/drawingml/2006/main" xmlns:r="http://schemas.openxmlformats.org/officeDocument/2006/relationships" xmlns:p="http://schemas.openxmlformats.org/presentationml/2006/main">
  <p:tag name="NAME" val="Oval"/>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NAME" val="Oval"/>
</p:tagLst>
</file>

<file path=ppt/tags/tag111.xml><?xml version="1.0" encoding="utf-8"?>
<p:tagLst xmlns:a="http://schemas.openxmlformats.org/drawingml/2006/main" xmlns:r="http://schemas.openxmlformats.org/officeDocument/2006/relationships" xmlns:p="http://schemas.openxmlformats.org/presentationml/2006/main">
  <p:tag name="NAME" val="Oval"/>
</p:tagLst>
</file>

<file path=ppt/tags/tag112.xml><?xml version="1.0" encoding="utf-8"?>
<p:tagLst xmlns:a="http://schemas.openxmlformats.org/drawingml/2006/main" xmlns:r="http://schemas.openxmlformats.org/officeDocument/2006/relationships" xmlns:p="http://schemas.openxmlformats.org/presentationml/2006/main">
  <p:tag name="NAME" val="Oval"/>
</p:tagLst>
</file>

<file path=ppt/tags/tag113.xml><?xml version="1.0" encoding="utf-8"?>
<p:tagLst xmlns:a="http://schemas.openxmlformats.org/drawingml/2006/main" xmlns:r="http://schemas.openxmlformats.org/officeDocument/2006/relationships" xmlns:p="http://schemas.openxmlformats.org/presentationml/2006/main">
  <p:tag name="NAME" val="Oval"/>
</p:tagLst>
</file>

<file path=ppt/tags/tag114.xml><?xml version="1.0" encoding="utf-8"?>
<p:tagLst xmlns:a="http://schemas.openxmlformats.org/drawingml/2006/main" xmlns:r="http://schemas.openxmlformats.org/officeDocument/2006/relationships" xmlns:p="http://schemas.openxmlformats.org/presentationml/2006/main">
  <p:tag name="NAME" val="Oval"/>
</p:tagLst>
</file>

<file path=ppt/tags/tag115.xml><?xml version="1.0" encoding="utf-8"?>
<p:tagLst xmlns:a="http://schemas.openxmlformats.org/drawingml/2006/main" xmlns:r="http://schemas.openxmlformats.org/officeDocument/2006/relationships" xmlns:p="http://schemas.openxmlformats.org/presentationml/2006/main">
  <p:tag name="NAME" val="Oval"/>
</p:tagLst>
</file>

<file path=ppt/tags/tag116.xml><?xml version="1.0" encoding="utf-8"?>
<p:tagLst xmlns:a="http://schemas.openxmlformats.org/drawingml/2006/main" xmlns:r="http://schemas.openxmlformats.org/officeDocument/2006/relationships" xmlns:p="http://schemas.openxmlformats.org/presentationml/2006/main">
  <p:tag name="NAME" val="Oval"/>
</p:tagLst>
</file>

<file path=ppt/tags/tag117.xml><?xml version="1.0" encoding="utf-8"?>
<p:tagLst xmlns:a="http://schemas.openxmlformats.org/drawingml/2006/main" xmlns:r="http://schemas.openxmlformats.org/officeDocument/2006/relationships" xmlns:p="http://schemas.openxmlformats.org/presentationml/2006/main">
  <p:tag name="NAME" val="Oval"/>
</p:tagLst>
</file>

<file path=ppt/tags/tag118.xml><?xml version="1.0" encoding="utf-8"?>
<p:tagLst xmlns:a="http://schemas.openxmlformats.org/drawingml/2006/main" xmlns:r="http://schemas.openxmlformats.org/officeDocument/2006/relationships" xmlns:p="http://schemas.openxmlformats.org/presentationml/2006/main">
  <p:tag name="NAME" val="Oval"/>
</p:tagLst>
</file>

<file path=ppt/tags/tag119.xml><?xml version="1.0" encoding="utf-8"?>
<p:tagLst xmlns:a="http://schemas.openxmlformats.org/drawingml/2006/main" xmlns:r="http://schemas.openxmlformats.org/officeDocument/2006/relationships" xmlns:p="http://schemas.openxmlformats.org/presentationml/2006/main">
  <p:tag name="NAME" val="Oval"/>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Oval"/>
</p:tagLst>
</file>

<file path=ppt/tags/tag121.xml><?xml version="1.0" encoding="utf-8"?>
<p:tagLst xmlns:a="http://schemas.openxmlformats.org/drawingml/2006/main" xmlns:r="http://schemas.openxmlformats.org/officeDocument/2006/relationships" xmlns:p="http://schemas.openxmlformats.org/presentationml/2006/main">
  <p:tag name="NAME" val="Oval"/>
</p:tagLst>
</file>

<file path=ppt/tags/tag122.xml><?xml version="1.0" encoding="utf-8"?>
<p:tagLst xmlns:a="http://schemas.openxmlformats.org/drawingml/2006/main" xmlns:r="http://schemas.openxmlformats.org/officeDocument/2006/relationships" xmlns:p="http://schemas.openxmlformats.org/presentationml/2006/main">
  <p:tag name="NAME" val="Oval"/>
</p:tagLst>
</file>

<file path=ppt/tags/tag123.xml><?xml version="1.0" encoding="utf-8"?>
<p:tagLst xmlns:a="http://schemas.openxmlformats.org/drawingml/2006/main" xmlns:r="http://schemas.openxmlformats.org/officeDocument/2006/relationships" xmlns:p="http://schemas.openxmlformats.org/presentationml/2006/main">
  <p:tag name="NAME" val="Oval"/>
</p:tagLst>
</file>

<file path=ppt/tags/tag124.xml><?xml version="1.0" encoding="utf-8"?>
<p:tagLst xmlns:a="http://schemas.openxmlformats.org/drawingml/2006/main" xmlns:r="http://schemas.openxmlformats.org/officeDocument/2006/relationships" xmlns:p="http://schemas.openxmlformats.org/presentationml/2006/main">
  <p:tag name="NAME" val="Oval"/>
</p:tagLst>
</file>

<file path=ppt/tags/tag125.xml><?xml version="1.0" encoding="utf-8"?>
<p:tagLst xmlns:a="http://schemas.openxmlformats.org/drawingml/2006/main" xmlns:r="http://schemas.openxmlformats.org/officeDocument/2006/relationships" xmlns:p="http://schemas.openxmlformats.org/presentationml/2006/main">
  <p:tag name="NAME" val="Oval"/>
</p:tagLst>
</file>

<file path=ppt/tags/tag126.xml><?xml version="1.0" encoding="utf-8"?>
<p:tagLst xmlns:a="http://schemas.openxmlformats.org/drawingml/2006/main" xmlns:r="http://schemas.openxmlformats.org/officeDocument/2006/relationships" xmlns:p="http://schemas.openxmlformats.org/presentationml/2006/main">
  <p:tag name="NAME" val="Logo"/>
</p:tagLst>
</file>

<file path=ppt/tags/tag127.xml><?xml version="1.0" encoding="utf-8"?>
<p:tagLst xmlns:a="http://schemas.openxmlformats.org/drawingml/2006/main" xmlns:r="http://schemas.openxmlformats.org/officeDocument/2006/relationships" xmlns:p="http://schemas.openxmlformats.org/presentationml/2006/main">
  <p:tag name="NAME" val="Bracket"/>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78rbivT1S0edP.9BG_7f_A"/>
</p:tagLst>
</file>

<file path=ppt/tags/tag129.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SJJoF6VI50Kg8u_0C6.AEQ"/>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ZOYZN.enr0KF_2yzpVlj9g"/>
</p:tagLst>
</file>

<file path=ppt/tags/tag131.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RnlcfWY54UO4yjIUknVcFw"/>
</p:tagLst>
</file>

<file path=ppt/tags/tag132.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OlNJsUFitUKJoUxbVnclVw"/>
</p:tagLst>
</file>

<file path=ppt/tags/tag133.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p6d1UrCVr0eBD7vFdAJyQA"/>
</p:tagLst>
</file>

<file path=ppt/tags/tag134.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60p8CmBKkeU26aD8YWrgw"/>
</p:tagLst>
</file>

<file path=ppt/tags/tag135.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P3Jpl8FJHUirt15EMe3epw"/>
</p:tagLst>
</file>

<file path=ppt/tags/tag136.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KpMLh71JsEu48OAffhQtgQ"/>
</p:tagLst>
</file>

<file path=ppt/tags/tag137.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_imfaHn9FECP1HW05Z6iHg"/>
</p:tagLst>
</file>

<file path=ppt/tags/tag138.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rkdjn1OUEU.oYHXA4jTtaQ"/>
</p:tagLst>
</file>

<file path=ppt/tags/tag139.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_imfaHn9FECP1HW05Z6iHg"/>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0.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rkdjn1OUEU.oYHXA4jTta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78rbivT1S0edP.9BG_7f_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78rbivT1S0edP.9BG_7f_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78rbivT1S0edP.9BG_7f_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78rbivT1S0edP.9BG_7f_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78rbivT1S0edP.9BG_7f_A"/>
</p:tagLst>
</file>

<file path=ppt/tags/tag146.xml><?xml version="1.0" encoding="utf-8"?>
<p:tagLst xmlns:a="http://schemas.openxmlformats.org/drawingml/2006/main" xmlns:r="http://schemas.openxmlformats.org/officeDocument/2006/relationships" xmlns:p="http://schemas.openxmlformats.org/presentationml/2006/main">
  <p:tag name="NAME" val="Logo"/>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kZJZ4rT5oUiCsKvyqmVUQ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YHOx5JAoRUWMoaZvFnvIg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kZJZ4rT5oUiCsKvyqmVUQQ"/>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a1nvIyAxMUm2tUOG_ozT.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SpWNr_CrkkqjrHHQEckNG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39P1NVEKr0CgJvmtAp4A7w"/>
</p:tagLst>
</file>

<file path=ppt/tags/tag153.xml><?xml version="1.0" encoding="utf-8"?>
<p:tagLst xmlns:a="http://schemas.openxmlformats.org/drawingml/2006/main" xmlns:r="http://schemas.openxmlformats.org/officeDocument/2006/relationships" xmlns:p="http://schemas.openxmlformats.org/presentationml/2006/main">
  <p:tag name="NAME" val="Logo"/>
</p:tagLst>
</file>

<file path=ppt/tags/tag154.xml><?xml version="1.0" encoding="utf-8"?>
<p:tagLst xmlns:a="http://schemas.openxmlformats.org/drawingml/2006/main" xmlns:r="http://schemas.openxmlformats.org/officeDocument/2006/relationships" xmlns:p="http://schemas.openxmlformats.org/presentationml/2006/main">
  <p:tag name="NAME" val="Logo"/>
</p:tagLst>
</file>

<file path=ppt/tags/tag155.xml><?xml version="1.0" encoding="utf-8"?>
<p:tagLst xmlns:a="http://schemas.openxmlformats.org/drawingml/2006/main" xmlns:r="http://schemas.openxmlformats.org/officeDocument/2006/relationships" xmlns:p="http://schemas.openxmlformats.org/presentationml/2006/main">
  <p:tag name="NAME" val="Bracket"/>
</p:tagLst>
</file>

<file path=ppt/tags/tag156.xml><?xml version="1.0" encoding="utf-8"?>
<p:tagLst xmlns:a="http://schemas.openxmlformats.org/drawingml/2006/main" xmlns:r="http://schemas.openxmlformats.org/officeDocument/2006/relationships" xmlns:p="http://schemas.openxmlformats.org/presentationml/2006/main">
  <p:tag name="NAME" val="Bracket"/>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8_TAL2KhjECrz7Z5epUQW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wW1bde1rqkOrYkvEutVTFw"/>
</p:tagLst>
</file>

<file path=ppt/tags/tag159.xml><?xml version="1.0" encoding="utf-8"?>
<p:tagLst xmlns:a="http://schemas.openxmlformats.org/drawingml/2006/main" xmlns:r="http://schemas.openxmlformats.org/officeDocument/2006/relationships" xmlns:p="http://schemas.openxmlformats.org/presentationml/2006/main">
  <p:tag name="MTTABLE" val="HDiv"/>
  <p:tag name="MTNUMBER" val="0.504701088417648"/>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0.xml><?xml version="1.0" encoding="utf-8"?>
<p:tagLst xmlns:a="http://schemas.openxmlformats.org/drawingml/2006/main" xmlns:r="http://schemas.openxmlformats.org/officeDocument/2006/relationships" xmlns:p="http://schemas.openxmlformats.org/presentationml/2006/main">
  <p:tag name="MTTABLE" val="HDiv"/>
  <p:tag name="MTNUMBER" val="0.504701088417648"/>
</p:tagLst>
</file>

<file path=ppt/tags/tag161.xml><?xml version="1.0" encoding="utf-8"?>
<p:tagLst xmlns:a="http://schemas.openxmlformats.org/drawingml/2006/main" xmlns:r="http://schemas.openxmlformats.org/officeDocument/2006/relationships" xmlns:p="http://schemas.openxmlformats.org/presentationml/2006/main">
  <p:tag name="MTTABLE" val="Cell"/>
  <p:tag name="MTNUMBER" val="0.504701088417648"/>
  <p:tag name="LEFT" val="9.375039"/>
  <p:tag name="WIDTH" val="219.5417"/>
  <p:tag name="HEIGHT" val="19.38748"/>
  <p:tag name="TOP" val="80"/>
</p:tagLst>
</file>

<file path=ppt/tags/tag162.xml><?xml version="1.0" encoding="utf-8"?>
<p:tagLst xmlns:a="http://schemas.openxmlformats.org/drawingml/2006/main" xmlns:r="http://schemas.openxmlformats.org/officeDocument/2006/relationships" xmlns:p="http://schemas.openxmlformats.org/presentationml/2006/main">
  <p:tag name="MTTABLE" val="HDiv"/>
  <p:tag name="MTNUMBER" val="0.504701088417648"/>
</p:tagLst>
</file>

<file path=ppt/tags/tag163.xml><?xml version="1.0" encoding="utf-8"?>
<p:tagLst xmlns:a="http://schemas.openxmlformats.org/drawingml/2006/main" xmlns:r="http://schemas.openxmlformats.org/officeDocument/2006/relationships" xmlns:p="http://schemas.openxmlformats.org/presentationml/2006/main">
  <p:tag name="MTTABLE" val="HDiv"/>
  <p:tag name="MTNUMBER" val="0.504701088417648"/>
</p:tagLst>
</file>

<file path=ppt/tags/tag164.xml><?xml version="1.0" encoding="utf-8"?>
<p:tagLst xmlns:a="http://schemas.openxmlformats.org/drawingml/2006/main" xmlns:r="http://schemas.openxmlformats.org/officeDocument/2006/relationships" xmlns:p="http://schemas.openxmlformats.org/presentationml/2006/main">
  <p:tag name="MTTABLE" val="Cell"/>
  <p:tag name="MTNUMBER" val="0.504701088417648"/>
  <p:tag name="LEFT" val="9.375039"/>
  <p:tag name="WIDTH" val="219.5417"/>
  <p:tag name="TOP" val="229.3416"/>
  <p:tag name="HEIGHT" val="109.9542"/>
</p:tagLst>
</file>

<file path=ppt/tags/tag165.xml><?xml version="1.0" encoding="utf-8"?>
<p:tagLst xmlns:a="http://schemas.openxmlformats.org/drawingml/2006/main" xmlns:r="http://schemas.openxmlformats.org/officeDocument/2006/relationships" xmlns:p="http://schemas.openxmlformats.org/presentationml/2006/main">
  <p:tag name="MTTABLE" val="Cell"/>
  <p:tag name="MTNUMBER" val="0.504701088417648"/>
  <p:tag name="LEFT" val="9.375039"/>
  <p:tag name="WIDTH" val="219.5417"/>
  <p:tag name="TOP" val="349.2958"/>
  <p:tag name="HEIGHT" val="109.9542"/>
</p:tagLst>
</file>

<file path=ppt/tags/tag166.xml><?xml version="1.0" encoding="utf-8"?>
<p:tagLst xmlns:a="http://schemas.openxmlformats.org/drawingml/2006/main" xmlns:r="http://schemas.openxmlformats.org/officeDocument/2006/relationships" xmlns:p="http://schemas.openxmlformats.org/presentationml/2006/main">
  <p:tag name="MTTABLE" val="Cell"/>
  <p:tag name="MTNUMBER" val="0.504701088417648"/>
  <p:tag name="LEFT" val="468.4584"/>
  <p:tag name="WIDTH" val="219.5417"/>
  <p:tag name="HEIGHT" val="19.38748"/>
  <p:tag name="TOP" val="80"/>
</p:tagLst>
</file>

<file path=ppt/tags/tag167.xml><?xml version="1.0" encoding="utf-8"?>
<p:tagLst xmlns:a="http://schemas.openxmlformats.org/drawingml/2006/main" xmlns:r="http://schemas.openxmlformats.org/officeDocument/2006/relationships" xmlns:p="http://schemas.openxmlformats.org/presentationml/2006/main">
  <p:tag name="MTTABLE" val="Cell"/>
  <p:tag name="MTNUMBER" val="0.504701088417648"/>
  <p:tag name="LEFT" val="468.4584"/>
  <p:tag name="WIDTH" val="219.5417"/>
  <p:tag name="TOP" val="109.3875"/>
  <p:tag name="HEIGHT" val="109.9542"/>
</p:tagLst>
</file>

<file path=ppt/tags/tag168.xml><?xml version="1.0" encoding="utf-8"?>
<p:tagLst xmlns:a="http://schemas.openxmlformats.org/drawingml/2006/main" xmlns:r="http://schemas.openxmlformats.org/officeDocument/2006/relationships" xmlns:p="http://schemas.openxmlformats.org/presentationml/2006/main">
  <p:tag name="MTTABLE" val="Cell"/>
  <p:tag name="MTNUMBER" val="0.504701088417648"/>
  <p:tag name="LEFT" val="468.4584"/>
  <p:tag name="WIDTH" val="219.5417"/>
  <p:tag name="TOP" val="229.3416"/>
  <p:tag name="HEIGHT" val="109.9542"/>
</p:tagLst>
</file>

<file path=ppt/tags/tag169.xml><?xml version="1.0" encoding="utf-8"?>
<p:tagLst xmlns:a="http://schemas.openxmlformats.org/drawingml/2006/main" xmlns:r="http://schemas.openxmlformats.org/officeDocument/2006/relationships" xmlns:p="http://schemas.openxmlformats.org/presentationml/2006/main">
  <p:tag name="MTTABLE" val="Cell"/>
  <p:tag name="MTNUMBER" val="0.504701088417648"/>
  <p:tag name="LEFT" val="468.4584"/>
  <p:tag name="WIDTH" val="219.5417"/>
  <p:tag name="TOP" val="349.2958"/>
  <p:tag name="HEIGHT" val="109.954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0.xml><?xml version="1.0" encoding="utf-8"?>
<p:tagLst xmlns:a="http://schemas.openxmlformats.org/drawingml/2006/main" xmlns:r="http://schemas.openxmlformats.org/officeDocument/2006/relationships" xmlns:p="http://schemas.openxmlformats.org/presentationml/2006/main">
  <p:tag name="MTTABLE" val="Cell"/>
  <p:tag name="MTNUMBER" val="0.504701088417648"/>
  <p:tag name="LEFT" val="238.9167"/>
  <p:tag name="WIDTH" val="219.5417"/>
  <p:tag name="TOP" val="229.3416"/>
  <p:tag name="HEIGHT" val="109.9542"/>
</p:tagLst>
</file>

<file path=ppt/tags/tag171.xml><?xml version="1.0" encoding="utf-8"?>
<p:tagLst xmlns:a="http://schemas.openxmlformats.org/drawingml/2006/main" xmlns:r="http://schemas.openxmlformats.org/officeDocument/2006/relationships" xmlns:p="http://schemas.openxmlformats.org/presentationml/2006/main">
  <p:tag name="MTTABLE" val="Cell"/>
  <p:tag name="MTNUMBER" val="0.504701088417648"/>
  <p:tag name="LEFT" val="238.9167"/>
  <p:tag name="WIDTH" val="219.5417"/>
  <p:tag name="TOP" val="349.2958"/>
  <p:tag name="HEIGHT" val="109.9542"/>
</p:tagLst>
</file>

<file path=ppt/tags/tag172.xml><?xml version="1.0" encoding="utf-8"?>
<p:tagLst xmlns:a="http://schemas.openxmlformats.org/drawingml/2006/main" xmlns:r="http://schemas.openxmlformats.org/officeDocument/2006/relationships" xmlns:p="http://schemas.openxmlformats.org/presentationml/2006/main">
  <p:tag name="MTTABLE" val="Cell"/>
  <p:tag name="MTNUMBER" val="0.504701088417648"/>
  <p:tag name="LEFT" val="238.9167"/>
  <p:tag name="WIDTH" val="219.5417"/>
  <p:tag name="HEIGHT" val="19.38748"/>
  <p:tag name="TOP" val="80"/>
</p:tagLst>
</file>

<file path=ppt/tags/tag173.xml><?xml version="1.0" encoding="utf-8"?>
<p:tagLst xmlns:a="http://schemas.openxmlformats.org/drawingml/2006/main" xmlns:r="http://schemas.openxmlformats.org/officeDocument/2006/relationships" xmlns:p="http://schemas.openxmlformats.org/presentationml/2006/main">
  <p:tag name="NAME" val="Logo"/>
</p:tagLst>
</file>

<file path=ppt/tags/tag174.xml><?xml version="1.0" encoding="utf-8"?>
<p:tagLst xmlns:a="http://schemas.openxmlformats.org/drawingml/2006/main" xmlns:r="http://schemas.openxmlformats.org/officeDocument/2006/relationships" xmlns:p="http://schemas.openxmlformats.org/presentationml/2006/main">
  <p:tag name="MTTABLE" val="Cell"/>
  <p:tag name="MTNUMBER" val="0.504701088417648"/>
  <p:tag name="LEFT" val="9.375039"/>
  <p:tag name="WIDTH" val="219.5417"/>
  <p:tag name="TOP" val="109.3875"/>
  <p:tag name="HEIGHT" val="109.9542"/>
</p:tagLst>
</file>

<file path=ppt/tags/tag175.xml><?xml version="1.0" encoding="utf-8"?>
<p:tagLst xmlns:a="http://schemas.openxmlformats.org/drawingml/2006/main" xmlns:r="http://schemas.openxmlformats.org/officeDocument/2006/relationships" xmlns:p="http://schemas.openxmlformats.org/presentationml/2006/main">
  <p:tag name="MTTABLE" val="Cell"/>
  <p:tag name="MTNUMBER" val="0.504701088417648"/>
  <p:tag name="LEFT" val="238.9167"/>
  <p:tag name="WIDTH" val="219.5417"/>
  <p:tag name="TOP" val="109.3875"/>
  <p:tag name="HEIGHT" val="109.9542"/>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ugbenVg6n0m6jI.kqFvMM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STXbbPcuSJu20kGCLpyPa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qTwwLXceSxSLNJFPSI0kZ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daosN1qGSC6PsGIBdsW12w"/>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0HNrl4o_QUGshXsott0Sa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0_hdJcqqTSmCwDWcPETq1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raOBss.QQoisT41wHnVIB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jW.hHhdNRLOmt8BlVlqpz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nGOCK2W0R0mCPMOcVwgej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ugbenVg6n0m6jI.kqFvMMQ"/>
</p:tagLst>
</file>

<file path=ppt/tags/tag186.xml><?xml version="1.0" encoding="utf-8"?>
<p:tagLst xmlns:a="http://schemas.openxmlformats.org/drawingml/2006/main" xmlns:r="http://schemas.openxmlformats.org/officeDocument/2006/relationships" xmlns:p="http://schemas.openxmlformats.org/presentationml/2006/main">
  <p:tag name="NAME" val="Logo"/>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ugbenVg6n0m6jI.kqFvMM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IYCzXMkpTmCZjVzqnSHjr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Fm29yGilRAKT.D1S7sUe5Q"/>
</p:tagLst>
</file>

<file path=ppt/tags/tag19.xml><?xml version="1.0" encoding="utf-8"?>
<p:tagLst xmlns:a="http://schemas.openxmlformats.org/drawingml/2006/main" xmlns:r="http://schemas.openxmlformats.org/officeDocument/2006/relationships" xmlns:p="http://schemas.openxmlformats.org/presentationml/2006/main">
  <p:tag name="NAME" val="Logo"/>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IQ96RDc_QRGNZmqLMTOhn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tNCAG4BTu.oE_No.a1n5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LtvgXpn4RnSSQQ.WUUvRJ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yQGiBrVZQnCXzFFGU4N2F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_0UkIyVCT9ar4uWf8pc7S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UARctCa2QmyCHHhmb8Oxt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EzEMIjC9T3WFSvnbJlReR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bRaRk9AeQtWT0uV9k2x1c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INx3qjrdQVSVWuJ0tegXt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QDckwTb5SyWepNdKuU9n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Logo"/>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MK1qhAOwRfGNBCPHg8U0L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WNp4BDsgRH61c492FpX7y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qyWVesRkT2Cx_aaKIqlzb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m2FZMn6UR8GCfBeTWt0ye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F0.nHObUSLWitWGveP4gI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Ltv9qE4JQWOlDS0fGpTGE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SgmA8lIJQmOmd8zn.g2HQ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Q2imZwpQTfCPenp.bvQ01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Nw3GXfKcR_2q1morRVpHm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xmVAkjADS4O3jrHLP.DlL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r8xwoEZMTtuetv084tNbC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8OJX36eDTiCF7b0lu3paK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ugbenVg6n0m6jI.kqFvMM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ugbenVg6n0m6jI.kqFvMM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f6EjrLQ4SXWCrW3GDHbTG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pXoaVRZeSRqDj4DnFKjM.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8VgsBsj4R1CCbfBKSlZfx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NK66ARDORsesS8it2qzlX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52nqnPK.Rwes06cGjr.v3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rbZ__F9kTMq.Kb65M6RJF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5y4kA70jQmKsbE0eJeIvY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SZvxMsdPQzmxmvO1RUj4I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JjrpYb7qQA.MOceLFPwhvQ"/>
</p:tagLst>
</file>

<file path=ppt/tags/tag223.xml><?xml version="1.0" encoding="utf-8"?>
<p:tagLst xmlns:a="http://schemas.openxmlformats.org/drawingml/2006/main" xmlns:r="http://schemas.openxmlformats.org/officeDocument/2006/relationships" xmlns:p="http://schemas.openxmlformats.org/presentationml/2006/main">
  <p:tag name="NAME" val="Logo"/>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2G7VuG54SXquyvuwBByKt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oSisgmEdSGyaN67LlKjpI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t8ZTIetLTmqwxs8PgTAI.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_yW23hQdTw.rpEoJOOdkv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Ogxzf9gmTHysh3ofxj9r1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IBN90xeXT7ih327A7xko4w"/>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u6zFQSZvThmQHJlGH8UbF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SMvnMZo3QkWM9TNlSbeAH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jhHvVaueQi60Bap27ypKq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R91MqzH2RaKMvlWByYAAU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meWzPk1HRuOlS3qhn4695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9WuvPy3MQZ.mIFq8dNumc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rm2TPx8XSimrM2kgke03J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KTrWg989SCCRRj4PWhgPi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oc2DUZEmRjWhpRTYGuIqD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G.h3EUUnQxCPT7T0_QF2Zg"/>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OM01651DQPevhMLGdUt_K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i1ZKFQa9TCizekoyVPeB7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6u43RvUWS.2tF9pgVodex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eJ6IdEgeTgypYmNr9IfoA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S8gB5ixiQd2CQEsgXwYjQ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kvayJtkmRQGU5xl3XAh.K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ogsdHBISkCFKlXuoxyN9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5WOEmHVQRjeys_HIcMtoE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s3bPHgJ.RU.LLgoVOVKqy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CR3RNrKwTSCUMLGzCFVSOA"/>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qSi457lhRCmDhhd.R8UwM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ugbenVg6n0m6jI.kqFvMMQ"/>
</p:tagLst>
</file>

<file path=ppt/tags/tag252.xml><?xml version="1.0" encoding="utf-8"?>
<p:tagLst xmlns:a="http://schemas.openxmlformats.org/drawingml/2006/main" xmlns:r="http://schemas.openxmlformats.org/officeDocument/2006/relationships" xmlns:p="http://schemas.openxmlformats.org/presentationml/2006/main">
  <p:tag name="NAME" val="Logo"/>
</p:tagLst>
</file>

<file path=ppt/tags/tag253.xml><?xml version="1.0" encoding="utf-8"?>
<p:tagLst xmlns:a="http://schemas.openxmlformats.org/drawingml/2006/main" xmlns:r="http://schemas.openxmlformats.org/officeDocument/2006/relationships" xmlns:p="http://schemas.openxmlformats.org/presentationml/2006/main">
  <p:tag name="NAME" val="Logo"/>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NAME" val="Rectangle"/>
</p:tagLst>
</file>

<file path=ppt/tags/tag256.xml><?xml version="1.0" encoding="utf-8"?>
<p:tagLst xmlns:a="http://schemas.openxmlformats.org/drawingml/2006/main" xmlns:r="http://schemas.openxmlformats.org/officeDocument/2006/relationships" xmlns:p="http://schemas.openxmlformats.org/presentationml/2006/main">
  <p:tag name="NAME" val="Arrow"/>
</p:tagLst>
</file>

<file path=ppt/tags/tag257.xml><?xml version="1.0" encoding="utf-8"?>
<p:tagLst xmlns:a="http://schemas.openxmlformats.org/drawingml/2006/main" xmlns:r="http://schemas.openxmlformats.org/officeDocument/2006/relationships" xmlns:p="http://schemas.openxmlformats.org/presentationml/2006/main">
  <p:tag name="NAME" val="Arrow"/>
</p:tagLst>
</file>

<file path=ppt/tags/tag258.xml><?xml version="1.0" encoding="utf-8"?>
<p:tagLst xmlns:a="http://schemas.openxmlformats.org/drawingml/2006/main" xmlns:r="http://schemas.openxmlformats.org/officeDocument/2006/relationships" xmlns:p="http://schemas.openxmlformats.org/presentationml/2006/main">
  <p:tag name="NAME" val="Bracket"/>
</p:tagLst>
</file>

<file path=ppt/tags/tag259.xml><?xml version="1.0" encoding="utf-8"?>
<p:tagLst xmlns:a="http://schemas.openxmlformats.org/drawingml/2006/main" xmlns:r="http://schemas.openxmlformats.org/officeDocument/2006/relationships" xmlns:p="http://schemas.openxmlformats.org/presentationml/2006/main">
  <p:tag name="NAME" val="RoundedRectangle"/>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60.xml><?xml version="1.0" encoding="utf-8"?>
<p:tagLst xmlns:a="http://schemas.openxmlformats.org/drawingml/2006/main" xmlns:r="http://schemas.openxmlformats.org/officeDocument/2006/relationships" xmlns:p="http://schemas.openxmlformats.org/presentationml/2006/main">
  <p:tag name="NAME" val="Rectangle"/>
</p:tagLst>
</file>

<file path=ppt/tags/tag261.xml><?xml version="1.0" encoding="utf-8"?>
<p:tagLst xmlns:a="http://schemas.openxmlformats.org/drawingml/2006/main" xmlns:r="http://schemas.openxmlformats.org/officeDocument/2006/relationships" xmlns:p="http://schemas.openxmlformats.org/presentationml/2006/main">
  <p:tag name="NAME" val="Rectangle"/>
</p:tagLst>
</file>

<file path=ppt/tags/tag262.xml><?xml version="1.0" encoding="utf-8"?>
<p:tagLst xmlns:a="http://schemas.openxmlformats.org/drawingml/2006/main" xmlns:r="http://schemas.openxmlformats.org/officeDocument/2006/relationships" xmlns:p="http://schemas.openxmlformats.org/presentationml/2006/main">
  <p:tag name="NAME" val="Arrow"/>
</p:tagLst>
</file>

<file path=ppt/tags/tag263.xml><?xml version="1.0" encoding="utf-8"?>
<p:tagLst xmlns:a="http://schemas.openxmlformats.org/drawingml/2006/main" xmlns:r="http://schemas.openxmlformats.org/officeDocument/2006/relationships" xmlns:p="http://schemas.openxmlformats.org/presentationml/2006/main">
  <p:tag name="NAME" val="Bracket"/>
</p:tagLst>
</file>

<file path=ppt/tags/tag264.xml><?xml version="1.0" encoding="utf-8"?>
<p:tagLst xmlns:a="http://schemas.openxmlformats.org/drawingml/2006/main" xmlns:r="http://schemas.openxmlformats.org/officeDocument/2006/relationships" xmlns:p="http://schemas.openxmlformats.org/presentationml/2006/main">
  <p:tag name="NAME" val="Arro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g3cyEm3l1kK9FZbVWNPMnQ"/>
</p:tagLst>
</file>

<file path=ppt/tags/tag267.xml><?xml version="1.0" encoding="utf-8"?>
<p:tagLst xmlns:a="http://schemas.openxmlformats.org/drawingml/2006/main" xmlns:r="http://schemas.openxmlformats.org/officeDocument/2006/relationships" xmlns:p="http://schemas.openxmlformats.org/presentationml/2006/main">
  <p:tag name="NAME" val="Rectangl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ASy3Zn.cr0SsHLMakUCTh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6TqdY3P76UKQJgaH1z4wxA"/>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jkpX.cxKSkG5AK7cYJMbJg"/>
</p:tagLst>
</file>

<file path=ppt/tags/tag271.xml><?xml version="1.0" encoding="utf-8"?>
<p:tagLst xmlns:a="http://schemas.openxmlformats.org/drawingml/2006/main" xmlns:r="http://schemas.openxmlformats.org/officeDocument/2006/relationships" xmlns:p="http://schemas.openxmlformats.org/presentationml/2006/main">
  <p:tag name="NAME" val="Oval"/>
</p:tagLst>
</file>

<file path=ppt/tags/tag272.xml><?xml version="1.0" encoding="utf-8"?>
<p:tagLst xmlns:a="http://schemas.openxmlformats.org/drawingml/2006/main" xmlns:r="http://schemas.openxmlformats.org/officeDocument/2006/relationships" xmlns:p="http://schemas.openxmlformats.org/presentationml/2006/main">
  <p:tag name="NAME" val="Oval"/>
</p:tagLst>
</file>

<file path=ppt/tags/tag273.xml><?xml version="1.0" encoding="utf-8"?>
<p:tagLst xmlns:a="http://schemas.openxmlformats.org/drawingml/2006/main" xmlns:r="http://schemas.openxmlformats.org/officeDocument/2006/relationships" xmlns:p="http://schemas.openxmlformats.org/presentationml/2006/main">
  <p:tag name="NAME" val="Oval"/>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g3cyEm3l1kK9FZbVWNPMnQ"/>
</p:tagLst>
</file>

<file path=ppt/tags/tag275.xml><?xml version="1.0" encoding="utf-8"?>
<p:tagLst xmlns:a="http://schemas.openxmlformats.org/drawingml/2006/main" xmlns:r="http://schemas.openxmlformats.org/officeDocument/2006/relationships" xmlns:p="http://schemas.openxmlformats.org/presentationml/2006/main">
  <p:tag name="NAME" val="Rectangle"/>
</p:tagLst>
</file>

<file path=ppt/tags/tag276.xml><?xml version="1.0" encoding="utf-8"?>
<p:tagLst xmlns:a="http://schemas.openxmlformats.org/drawingml/2006/main" xmlns:r="http://schemas.openxmlformats.org/officeDocument/2006/relationships" xmlns:p="http://schemas.openxmlformats.org/presentationml/2006/main">
  <p:tag name="NAME" val="Oval"/>
</p:tagLst>
</file>

<file path=ppt/tags/tag277.xml><?xml version="1.0" encoding="utf-8"?>
<p:tagLst xmlns:a="http://schemas.openxmlformats.org/drawingml/2006/main" xmlns:r="http://schemas.openxmlformats.org/officeDocument/2006/relationships" xmlns:p="http://schemas.openxmlformats.org/presentationml/2006/main">
  <p:tag name="NAME" val="Oval"/>
</p:tagLst>
</file>

<file path=ppt/tags/tag278.xml><?xml version="1.0" encoding="utf-8"?>
<p:tagLst xmlns:a="http://schemas.openxmlformats.org/drawingml/2006/main" xmlns:r="http://schemas.openxmlformats.org/officeDocument/2006/relationships" xmlns:p="http://schemas.openxmlformats.org/presentationml/2006/main">
  <p:tag name="NAME" val="Oval"/>
</p:tagLst>
</file>

<file path=ppt/tags/tag279.xml><?xml version="1.0" encoding="utf-8"?>
<p:tagLst xmlns:a="http://schemas.openxmlformats.org/drawingml/2006/main" xmlns:r="http://schemas.openxmlformats.org/officeDocument/2006/relationships" xmlns:p="http://schemas.openxmlformats.org/presentationml/2006/main">
  <p:tag name="NAME" val="SingleBoat"/>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0.xml><?xml version="1.0" encoding="utf-8"?>
<p:tagLst xmlns:a="http://schemas.openxmlformats.org/drawingml/2006/main" xmlns:r="http://schemas.openxmlformats.org/officeDocument/2006/relationships" xmlns:p="http://schemas.openxmlformats.org/presentationml/2006/main">
  <p:tag name="NAME" val="SingleBoat"/>
</p:tagLst>
</file>

<file path=ppt/tags/tag281.xml><?xml version="1.0" encoding="utf-8"?>
<p:tagLst xmlns:a="http://schemas.openxmlformats.org/drawingml/2006/main" xmlns:r="http://schemas.openxmlformats.org/officeDocument/2006/relationships" xmlns:p="http://schemas.openxmlformats.org/presentationml/2006/main">
  <p:tag name="NAME" val="SingleBoat"/>
</p:tagLst>
</file>

<file path=ppt/tags/tag282.xml><?xml version="1.0" encoding="utf-8"?>
<p:tagLst xmlns:a="http://schemas.openxmlformats.org/drawingml/2006/main" xmlns:r="http://schemas.openxmlformats.org/officeDocument/2006/relationships" xmlns:p="http://schemas.openxmlformats.org/presentationml/2006/main">
  <p:tag name="NAME" val="SingleBoat"/>
</p:tagLst>
</file>

<file path=ppt/tags/tag283.xml><?xml version="1.0" encoding="utf-8"?>
<p:tagLst xmlns:a="http://schemas.openxmlformats.org/drawingml/2006/main" xmlns:r="http://schemas.openxmlformats.org/officeDocument/2006/relationships" xmlns:p="http://schemas.openxmlformats.org/presentationml/2006/main">
  <p:tag name="NAME" val="SingleBoat"/>
</p:tagLst>
</file>

<file path=ppt/tags/tag284.xml><?xml version="1.0" encoding="utf-8"?>
<p:tagLst xmlns:a="http://schemas.openxmlformats.org/drawingml/2006/main" xmlns:r="http://schemas.openxmlformats.org/officeDocument/2006/relationships" xmlns:p="http://schemas.openxmlformats.org/presentationml/2006/main">
  <p:tag name="NAME" val="SingleBoatShape"/>
</p:tagLst>
</file>

<file path=ppt/tags/tag285.xml><?xml version="1.0" encoding="utf-8"?>
<p:tagLst xmlns:a="http://schemas.openxmlformats.org/drawingml/2006/main" xmlns:r="http://schemas.openxmlformats.org/officeDocument/2006/relationships" xmlns:p="http://schemas.openxmlformats.org/presentationml/2006/main">
  <p:tag name="NAME" val="SingleBoatText"/>
</p:tagLst>
</file>

<file path=ppt/tags/tag286.xml><?xml version="1.0" encoding="utf-8"?>
<p:tagLst xmlns:a="http://schemas.openxmlformats.org/drawingml/2006/main" xmlns:r="http://schemas.openxmlformats.org/officeDocument/2006/relationships" xmlns:p="http://schemas.openxmlformats.org/presentationml/2006/main">
  <p:tag name="NAME" val="SingleBoatShape"/>
</p:tagLst>
</file>

<file path=ppt/tags/tag287.xml><?xml version="1.0" encoding="utf-8"?>
<p:tagLst xmlns:a="http://schemas.openxmlformats.org/drawingml/2006/main" xmlns:r="http://schemas.openxmlformats.org/officeDocument/2006/relationships" xmlns:p="http://schemas.openxmlformats.org/presentationml/2006/main">
  <p:tag name="NAME" val="SingleBoatText"/>
</p:tagLst>
</file>

<file path=ppt/tags/tag288.xml><?xml version="1.0" encoding="utf-8"?>
<p:tagLst xmlns:a="http://schemas.openxmlformats.org/drawingml/2006/main" xmlns:r="http://schemas.openxmlformats.org/officeDocument/2006/relationships" xmlns:p="http://schemas.openxmlformats.org/presentationml/2006/main">
  <p:tag name="NAME" val="SingleBoatShape"/>
</p:tagLst>
</file>

<file path=ppt/tags/tag289.xml><?xml version="1.0" encoding="utf-8"?>
<p:tagLst xmlns:a="http://schemas.openxmlformats.org/drawingml/2006/main" xmlns:r="http://schemas.openxmlformats.org/officeDocument/2006/relationships" xmlns:p="http://schemas.openxmlformats.org/presentationml/2006/main">
  <p:tag name="NAME" val="SingleBoatText"/>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0.xml><?xml version="1.0" encoding="utf-8"?>
<p:tagLst xmlns:a="http://schemas.openxmlformats.org/drawingml/2006/main" xmlns:r="http://schemas.openxmlformats.org/officeDocument/2006/relationships" xmlns:p="http://schemas.openxmlformats.org/presentationml/2006/main">
  <p:tag name="NAME" val="SingleBoatShape"/>
</p:tagLst>
</file>

<file path=ppt/tags/tag291.xml><?xml version="1.0" encoding="utf-8"?>
<p:tagLst xmlns:a="http://schemas.openxmlformats.org/drawingml/2006/main" xmlns:r="http://schemas.openxmlformats.org/officeDocument/2006/relationships" xmlns:p="http://schemas.openxmlformats.org/presentationml/2006/main">
  <p:tag name="NAME" val="SingleBoatText"/>
</p:tagLst>
</file>

<file path=ppt/tags/tag292.xml><?xml version="1.0" encoding="utf-8"?>
<p:tagLst xmlns:a="http://schemas.openxmlformats.org/drawingml/2006/main" xmlns:r="http://schemas.openxmlformats.org/officeDocument/2006/relationships" xmlns:p="http://schemas.openxmlformats.org/presentationml/2006/main">
  <p:tag name="NAME" val="SingleBoatShape"/>
</p:tagLst>
</file>

<file path=ppt/tags/tag293.xml><?xml version="1.0" encoding="utf-8"?>
<p:tagLst xmlns:a="http://schemas.openxmlformats.org/drawingml/2006/main" xmlns:r="http://schemas.openxmlformats.org/officeDocument/2006/relationships" xmlns:p="http://schemas.openxmlformats.org/presentationml/2006/main">
  <p:tag name="NAME" val="SingleBoatText"/>
</p:tagLst>
</file>

<file path=ppt/tags/tag294.xml><?xml version="1.0" encoding="utf-8"?>
<p:tagLst xmlns:a="http://schemas.openxmlformats.org/drawingml/2006/main" xmlns:r="http://schemas.openxmlformats.org/officeDocument/2006/relationships" xmlns:p="http://schemas.openxmlformats.org/presentationml/2006/main">
  <p:tag name="NAME" val="Rectangle"/>
</p:tagLst>
</file>

<file path=ppt/tags/tag295.xml><?xml version="1.0" encoding="utf-8"?>
<p:tagLst xmlns:a="http://schemas.openxmlformats.org/drawingml/2006/main" xmlns:r="http://schemas.openxmlformats.org/officeDocument/2006/relationships" xmlns:p="http://schemas.openxmlformats.org/presentationml/2006/main">
  <p:tag name="NAME" val="Rectangle"/>
</p:tagLst>
</file>

<file path=ppt/tags/tag296.xml><?xml version="1.0" encoding="utf-8"?>
<p:tagLst xmlns:a="http://schemas.openxmlformats.org/drawingml/2006/main" xmlns:r="http://schemas.openxmlformats.org/officeDocument/2006/relationships" xmlns:p="http://schemas.openxmlformats.org/presentationml/2006/main">
  <p:tag name="NAME" val="Rectangle"/>
</p:tagLst>
</file>

<file path=ppt/tags/tag297.xml><?xml version="1.0" encoding="utf-8"?>
<p:tagLst xmlns:a="http://schemas.openxmlformats.org/drawingml/2006/main" xmlns:r="http://schemas.openxmlformats.org/officeDocument/2006/relationships" xmlns:p="http://schemas.openxmlformats.org/presentationml/2006/main">
  <p:tag name="NAME" val="Arrow"/>
</p:tagLst>
</file>

<file path=ppt/tags/tag298.xml><?xml version="1.0" encoding="utf-8"?>
<p:tagLst xmlns:a="http://schemas.openxmlformats.org/drawingml/2006/main" xmlns:r="http://schemas.openxmlformats.org/officeDocument/2006/relationships" xmlns:p="http://schemas.openxmlformats.org/presentationml/2006/main">
  <p:tag name="NAME" val="SingleBoat"/>
</p:tagLst>
</file>

<file path=ppt/tags/tag299.xml><?xml version="1.0" encoding="utf-8"?>
<p:tagLst xmlns:a="http://schemas.openxmlformats.org/drawingml/2006/main" xmlns:r="http://schemas.openxmlformats.org/officeDocument/2006/relationships" xmlns:p="http://schemas.openxmlformats.org/presentationml/2006/main">
  <p:tag name="NAME" val="SingleBoa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00.xml><?xml version="1.0" encoding="utf-8"?>
<p:tagLst xmlns:a="http://schemas.openxmlformats.org/drawingml/2006/main" xmlns:r="http://schemas.openxmlformats.org/officeDocument/2006/relationships" xmlns:p="http://schemas.openxmlformats.org/presentationml/2006/main">
  <p:tag name="NAME" val="SingleBoat"/>
</p:tagLst>
</file>

<file path=ppt/tags/tag301.xml><?xml version="1.0" encoding="utf-8"?>
<p:tagLst xmlns:a="http://schemas.openxmlformats.org/drawingml/2006/main" xmlns:r="http://schemas.openxmlformats.org/officeDocument/2006/relationships" xmlns:p="http://schemas.openxmlformats.org/presentationml/2006/main">
  <p:tag name="NAME" val="SingleBoat"/>
</p:tagLst>
</file>

<file path=ppt/tags/tag302.xml><?xml version="1.0" encoding="utf-8"?>
<p:tagLst xmlns:a="http://schemas.openxmlformats.org/drawingml/2006/main" xmlns:r="http://schemas.openxmlformats.org/officeDocument/2006/relationships" xmlns:p="http://schemas.openxmlformats.org/presentationml/2006/main">
  <p:tag name="NAME" val="SingleBoat"/>
</p:tagLst>
</file>

<file path=ppt/tags/tag303.xml><?xml version="1.0" encoding="utf-8"?>
<p:tagLst xmlns:a="http://schemas.openxmlformats.org/drawingml/2006/main" xmlns:r="http://schemas.openxmlformats.org/officeDocument/2006/relationships" xmlns:p="http://schemas.openxmlformats.org/presentationml/2006/main">
  <p:tag name="RESIZE" val="Yes"/>
</p:tagLst>
</file>

<file path=ppt/tags/tag304.xml><?xml version="1.0" encoding="utf-8"?>
<p:tagLst xmlns:a="http://schemas.openxmlformats.org/drawingml/2006/main" xmlns:r="http://schemas.openxmlformats.org/officeDocument/2006/relationships" xmlns:p="http://schemas.openxmlformats.org/presentationml/2006/main">
  <p:tag name="NAME" val="SingleBoatShape"/>
</p:tagLst>
</file>

<file path=ppt/tags/tag305.xml><?xml version="1.0" encoding="utf-8"?>
<p:tagLst xmlns:a="http://schemas.openxmlformats.org/drawingml/2006/main" xmlns:r="http://schemas.openxmlformats.org/officeDocument/2006/relationships" xmlns:p="http://schemas.openxmlformats.org/presentationml/2006/main">
  <p:tag name="NAME" val="SingleBoatText"/>
</p:tagLst>
</file>

<file path=ppt/tags/tag306.xml><?xml version="1.0" encoding="utf-8"?>
<p:tagLst xmlns:a="http://schemas.openxmlformats.org/drawingml/2006/main" xmlns:r="http://schemas.openxmlformats.org/officeDocument/2006/relationships" xmlns:p="http://schemas.openxmlformats.org/presentationml/2006/main">
  <p:tag name="NAME" val="SingleBoatShape"/>
</p:tagLst>
</file>

<file path=ppt/tags/tag307.xml><?xml version="1.0" encoding="utf-8"?>
<p:tagLst xmlns:a="http://schemas.openxmlformats.org/drawingml/2006/main" xmlns:r="http://schemas.openxmlformats.org/officeDocument/2006/relationships" xmlns:p="http://schemas.openxmlformats.org/presentationml/2006/main">
  <p:tag name="NAME" val="SingleBoatText"/>
</p:tagLst>
</file>

<file path=ppt/tags/tag308.xml><?xml version="1.0" encoding="utf-8"?>
<p:tagLst xmlns:a="http://schemas.openxmlformats.org/drawingml/2006/main" xmlns:r="http://schemas.openxmlformats.org/officeDocument/2006/relationships" xmlns:p="http://schemas.openxmlformats.org/presentationml/2006/main">
  <p:tag name="NAME" val="SingleBoatShape"/>
</p:tagLst>
</file>

<file path=ppt/tags/tag309.xml><?xml version="1.0" encoding="utf-8"?>
<p:tagLst xmlns:a="http://schemas.openxmlformats.org/drawingml/2006/main" xmlns:r="http://schemas.openxmlformats.org/officeDocument/2006/relationships" xmlns:p="http://schemas.openxmlformats.org/presentationml/2006/main">
  <p:tag name="NAME" val="SingleBoatText"/>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0.xml><?xml version="1.0" encoding="utf-8"?>
<p:tagLst xmlns:a="http://schemas.openxmlformats.org/drawingml/2006/main" xmlns:r="http://schemas.openxmlformats.org/officeDocument/2006/relationships" xmlns:p="http://schemas.openxmlformats.org/presentationml/2006/main">
  <p:tag name="NAME" val="SingleBoatShape"/>
</p:tagLst>
</file>

<file path=ppt/tags/tag311.xml><?xml version="1.0" encoding="utf-8"?>
<p:tagLst xmlns:a="http://schemas.openxmlformats.org/drawingml/2006/main" xmlns:r="http://schemas.openxmlformats.org/officeDocument/2006/relationships" xmlns:p="http://schemas.openxmlformats.org/presentationml/2006/main">
  <p:tag name="NAME" val="SingleBoatText"/>
</p:tagLst>
</file>

<file path=ppt/tags/tag312.xml><?xml version="1.0" encoding="utf-8"?>
<p:tagLst xmlns:a="http://schemas.openxmlformats.org/drawingml/2006/main" xmlns:r="http://schemas.openxmlformats.org/officeDocument/2006/relationships" xmlns:p="http://schemas.openxmlformats.org/presentationml/2006/main">
  <p:tag name="NAME" val="SingleBoatShape"/>
</p:tagLst>
</file>

<file path=ppt/tags/tag313.xml><?xml version="1.0" encoding="utf-8"?>
<p:tagLst xmlns:a="http://schemas.openxmlformats.org/drawingml/2006/main" xmlns:r="http://schemas.openxmlformats.org/officeDocument/2006/relationships" xmlns:p="http://schemas.openxmlformats.org/presentationml/2006/main">
  <p:tag name="NAME" val="SingleBoatText"/>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LoTJxdPaDkCAlo_NtNRM3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yg8dyNN.7k6wICLqWXFSI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ckeYJVMIl0ufKiYiobF.0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LoTJxdPaDkCAlo_NtNRM3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yg8dyNN.7k6wICLqWXFSI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ckeYJVMIl0ufKiYiobF.0g"/>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NAME" val="Logo"/>
</p:tagLst>
</file>

<file path=ppt/tags/tag39.xml><?xml version="1.0" encoding="utf-8"?>
<p:tagLst xmlns:a="http://schemas.openxmlformats.org/drawingml/2006/main" xmlns:r="http://schemas.openxmlformats.org/officeDocument/2006/relationships" xmlns:p="http://schemas.openxmlformats.org/presentationml/2006/main">
  <p:tag name="NAME" val="Logo"/>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NAME" val="Logo"/>
</p:tagLst>
</file>

<file path=ppt/tags/tag42.xml><?xml version="1.0" encoding="utf-8"?>
<p:tagLst xmlns:a="http://schemas.openxmlformats.org/drawingml/2006/main" xmlns:r="http://schemas.openxmlformats.org/officeDocument/2006/relationships" xmlns:p="http://schemas.openxmlformats.org/presentationml/2006/main">
  <p:tag name="NAME" val="Logo"/>
</p:tagLst>
</file>

<file path=ppt/tags/tag43.xml><?xml version="1.0" encoding="utf-8"?>
<p:tagLst xmlns:a="http://schemas.openxmlformats.org/drawingml/2006/main" xmlns:r="http://schemas.openxmlformats.org/officeDocument/2006/relationships" xmlns:p="http://schemas.openxmlformats.org/presentationml/2006/main">
  <p:tag name="NAME" val="Logo"/>
</p:tagLst>
</file>

<file path=ppt/tags/tag44.xml><?xml version="1.0" encoding="utf-8"?>
<p:tagLst xmlns:a="http://schemas.openxmlformats.org/drawingml/2006/main" xmlns:r="http://schemas.openxmlformats.org/officeDocument/2006/relationships" xmlns:p="http://schemas.openxmlformats.org/presentationml/2006/main">
  <p:tag name="NAME" val="Logo"/>
</p:tagLst>
</file>

<file path=ppt/tags/tag45.xml><?xml version="1.0" encoding="utf-8"?>
<p:tagLst xmlns:a="http://schemas.openxmlformats.org/drawingml/2006/main" xmlns:r="http://schemas.openxmlformats.org/officeDocument/2006/relationships" xmlns:p="http://schemas.openxmlformats.org/presentationml/2006/main">
  <p:tag name="NAME" val="Oval"/>
</p:tagLst>
</file>

<file path=ppt/tags/tag46.xml><?xml version="1.0" encoding="utf-8"?>
<p:tagLst xmlns:a="http://schemas.openxmlformats.org/drawingml/2006/main" xmlns:r="http://schemas.openxmlformats.org/officeDocument/2006/relationships" xmlns:p="http://schemas.openxmlformats.org/presentationml/2006/main">
  <p:tag name="NAME" val="Oval"/>
</p:tagLst>
</file>

<file path=ppt/tags/tag47.xml><?xml version="1.0" encoding="utf-8"?>
<p:tagLst xmlns:a="http://schemas.openxmlformats.org/drawingml/2006/main" xmlns:r="http://schemas.openxmlformats.org/officeDocument/2006/relationships" xmlns:p="http://schemas.openxmlformats.org/presentationml/2006/main">
  <p:tag name="NAME" val="Oval"/>
</p:tagLst>
</file>

<file path=ppt/tags/tag48.xml><?xml version="1.0" encoding="utf-8"?>
<p:tagLst xmlns:a="http://schemas.openxmlformats.org/drawingml/2006/main" xmlns:r="http://schemas.openxmlformats.org/officeDocument/2006/relationships" xmlns:p="http://schemas.openxmlformats.org/presentationml/2006/main">
  <p:tag name="NAME" val="Oval"/>
</p:tagLst>
</file>

<file path=ppt/tags/tag49.xml><?xml version="1.0" encoding="utf-8"?>
<p:tagLst xmlns:a="http://schemas.openxmlformats.org/drawingml/2006/main" xmlns:r="http://schemas.openxmlformats.org/officeDocument/2006/relationships" xmlns:p="http://schemas.openxmlformats.org/presentationml/2006/main">
  <p:tag name="NAME" val="Oval"/>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Oval"/>
</p:tagLst>
</file>

<file path=ppt/tags/tag51.xml><?xml version="1.0" encoding="utf-8"?>
<p:tagLst xmlns:a="http://schemas.openxmlformats.org/drawingml/2006/main" xmlns:r="http://schemas.openxmlformats.org/officeDocument/2006/relationships" xmlns:p="http://schemas.openxmlformats.org/presentationml/2006/main">
  <p:tag name="NAME" val="Oval"/>
</p:tagLst>
</file>

<file path=ppt/tags/tag52.xml><?xml version="1.0" encoding="utf-8"?>
<p:tagLst xmlns:a="http://schemas.openxmlformats.org/drawingml/2006/main" xmlns:r="http://schemas.openxmlformats.org/officeDocument/2006/relationships" xmlns:p="http://schemas.openxmlformats.org/presentationml/2006/main">
  <p:tag name="NAME" val="Oval"/>
</p:tagLst>
</file>

<file path=ppt/tags/tag53.xml><?xml version="1.0" encoding="utf-8"?>
<p:tagLst xmlns:a="http://schemas.openxmlformats.org/drawingml/2006/main" xmlns:r="http://schemas.openxmlformats.org/officeDocument/2006/relationships" xmlns:p="http://schemas.openxmlformats.org/presentationml/2006/main">
  <p:tag name="NAME" val="Oval"/>
</p:tagLst>
</file>

<file path=ppt/tags/tag54.xml><?xml version="1.0" encoding="utf-8"?>
<p:tagLst xmlns:a="http://schemas.openxmlformats.org/drawingml/2006/main" xmlns:r="http://schemas.openxmlformats.org/officeDocument/2006/relationships" xmlns:p="http://schemas.openxmlformats.org/presentationml/2006/main">
  <p:tag name="NAME" val="Oval"/>
</p:tagLst>
</file>

<file path=ppt/tags/tag55.xml><?xml version="1.0" encoding="utf-8"?>
<p:tagLst xmlns:a="http://schemas.openxmlformats.org/drawingml/2006/main" xmlns:r="http://schemas.openxmlformats.org/officeDocument/2006/relationships" xmlns:p="http://schemas.openxmlformats.org/presentationml/2006/main">
  <p:tag name="NAME" val="Oval"/>
</p:tagLst>
</file>

<file path=ppt/tags/tag56.xml><?xml version="1.0" encoding="utf-8"?>
<p:tagLst xmlns:a="http://schemas.openxmlformats.org/drawingml/2006/main" xmlns:r="http://schemas.openxmlformats.org/officeDocument/2006/relationships" xmlns:p="http://schemas.openxmlformats.org/presentationml/2006/main">
  <p:tag name="NAME" val="Oval"/>
</p:tagLst>
</file>

<file path=ppt/tags/tag57.xml><?xml version="1.0" encoding="utf-8"?>
<p:tagLst xmlns:a="http://schemas.openxmlformats.org/drawingml/2006/main" xmlns:r="http://schemas.openxmlformats.org/officeDocument/2006/relationships" xmlns:p="http://schemas.openxmlformats.org/presentationml/2006/main">
  <p:tag name="NAME" val="Oval"/>
</p:tagLst>
</file>

<file path=ppt/tags/tag58.xml><?xml version="1.0" encoding="utf-8"?>
<p:tagLst xmlns:a="http://schemas.openxmlformats.org/drawingml/2006/main" xmlns:r="http://schemas.openxmlformats.org/officeDocument/2006/relationships" xmlns:p="http://schemas.openxmlformats.org/presentationml/2006/main">
  <p:tag name="NAME" val="Oval"/>
</p:tagLst>
</file>

<file path=ppt/tags/tag59.xml><?xml version="1.0" encoding="utf-8"?>
<p:tagLst xmlns:a="http://schemas.openxmlformats.org/drawingml/2006/main" xmlns:r="http://schemas.openxmlformats.org/officeDocument/2006/relationships" xmlns:p="http://schemas.openxmlformats.org/presentationml/2006/main">
  <p:tag name="NAME" val="Oval"/>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Oval"/>
</p:tagLst>
</file>

<file path=ppt/tags/tag61.xml><?xml version="1.0" encoding="utf-8"?>
<p:tagLst xmlns:a="http://schemas.openxmlformats.org/drawingml/2006/main" xmlns:r="http://schemas.openxmlformats.org/officeDocument/2006/relationships" xmlns:p="http://schemas.openxmlformats.org/presentationml/2006/main">
  <p:tag name="NAME" val="Oval"/>
</p:tagLst>
</file>

<file path=ppt/tags/tag62.xml><?xml version="1.0" encoding="utf-8"?>
<p:tagLst xmlns:a="http://schemas.openxmlformats.org/drawingml/2006/main" xmlns:r="http://schemas.openxmlformats.org/officeDocument/2006/relationships" xmlns:p="http://schemas.openxmlformats.org/presentationml/2006/main">
  <p:tag name="NAME" val="Oval"/>
</p:tagLst>
</file>

<file path=ppt/tags/tag63.xml><?xml version="1.0" encoding="utf-8"?>
<p:tagLst xmlns:a="http://schemas.openxmlformats.org/drawingml/2006/main" xmlns:r="http://schemas.openxmlformats.org/officeDocument/2006/relationships" xmlns:p="http://schemas.openxmlformats.org/presentationml/2006/main">
  <p:tag name="NAME" val="Oval"/>
</p:tagLst>
</file>

<file path=ppt/tags/tag64.xml><?xml version="1.0" encoding="utf-8"?>
<p:tagLst xmlns:a="http://schemas.openxmlformats.org/drawingml/2006/main" xmlns:r="http://schemas.openxmlformats.org/officeDocument/2006/relationships" xmlns:p="http://schemas.openxmlformats.org/presentationml/2006/main">
  <p:tag name="NAME" val="Oval"/>
</p:tagLst>
</file>

<file path=ppt/tags/tag65.xml><?xml version="1.0" encoding="utf-8"?>
<p:tagLst xmlns:a="http://schemas.openxmlformats.org/drawingml/2006/main" xmlns:r="http://schemas.openxmlformats.org/officeDocument/2006/relationships" xmlns:p="http://schemas.openxmlformats.org/presentationml/2006/main">
  <p:tag name="NAME" val="Oval"/>
</p:tagLst>
</file>

<file path=ppt/tags/tag66.xml><?xml version="1.0" encoding="utf-8"?>
<p:tagLst xmlns:a="http://schemas.openxmlformats.org/drawingml/2006/main" xmlns:r="http://schemas.openxmlformats.org/officeDocument/2006/relationships" xmlns:p="http://schemas.openxmlformats.org/presentationml/2006/main">
  <p:tag name="NAME" val="Oval"/>
</p:tagLst>
</file>

<file path=ppt/tags/tag67.xml><?xml version="1.0" encoding="utf-8"?>
<p:tagLst xmlns:a="http://schemas.openxmlformats.org/drawingml/2006/main" xmlns:r="http://schemas.openxmlformats.org/officeDocument/2006/relationships" xmlns:p="http://schemas.openxmlformats.org/presentationml/2006/main">
  <p:tag name="NAME" val="Oval"/>
</p:tagLst>
</file>

<file path=ppt/tags/tag68.xml><?xml version="1.0" encoding="utf-8"?>
<p:tagLst xmlns:a="http://schemas.openxmlformats.org/drawingml/2006/main" xmlns:r="http://schemas.openxmlformats.org/officeDocument/2006/relationships" xmlns:p="http://schemas.openxmlformats.org/presentationml/2006/main">
  <p:tag name="NAME" val="Oval"/>
</p:tagLst>
</file>

<file path=ppt/tags/tag69.xml><?xml version="1.0" encoding="utf-8"?>
<p:tagLst xmlns:a="http://schemas.openxmlformats.org/drawingml/2006/main" xmlns:r="http://schemas.openxmlformats.org/officeDocument/2006/relationships" xmlns:p="http://schemas.openxmlformats.org/presentationml/2006/main">
  <p:tag name="NAME" val="Oval"/>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Oval"/>
</p:tagLst>
</file>

<file path=ppt/tags/tag71.xml><?xml version="1.0" encoding="utf-8"?>
<p:tagLst xmlns:a="http://schemas.openxmlformats.org/drawingml/2006/main" xmlns:r="http://schemas.openxmlformats.org/officeDocument/2006/relationships" xmlns:p="http://schemas.openxmlformats.org/presentationml/2006/main">
  <p:tag name="NAME" val="Oval"/>
</p:tagLst>
</file>

<file path=ppt/tags/tag72.xml><?xml version="1.0" encoding="utf-8"?>
<p:tagLst xmlns:a="http://schemas.openxmlformats.org/drawingml/2006/main" xmlns:r="http://schemas.openxmlformats.org/officeDocument/2006/relationships" xmlns:p="http://schemas.openxmlformats.org/presentationml/2006/main">
  <p:tag name="NAME" val="Oval"/>
</p:tagLst>
</file>

<file path=ppt/tags/tag73.xml><?xml version="1.0" encoding="utf-8"?>
<p:tagLst xmlns:a="http://schemas.openxmlformats.org/drawingml/2006/main" xmlns:r="http://schemas.openxmlformats.org/officeDocument/2006/relationships" xmlns:p="http://schemas.openxmlformats.org/presentationml/2006/main">
  <p:tag name="NAME" val="Oval"/>
</p:tagLst>
</file>

<file path=ppt/tags/tag74.xml><?xml version="1.0" encoding="utf-8"?>
<p:tagLst xmlns:a="http://schemas.openxmlformats.org/drawingml/2006/main" xmlns:r="http://schemas.openxmlformats.org/officeDocument/2006/relationships" xmlns:p="http://schemas.openxmlformats.org/presentationml/2006/main">
  <p:tag name="NAME" val="Oval"/>
</p:tagLst>
</file>

<file path=ppt/tags/tag75.xml><?xml version="1.0" encoding="utf-8"?>
<p:tagLst xmlns:a="http://schemas.openxmlformats.org/drawingml/2006/main" xmlns:r="http://schemas.openxmlformats.org/officeDocument/2006/relationships" xmlns:p="http://schemas.openxmlformats.org/presentationml/2006/main">
  <p:tag name="NAME" val="Oval"/>
</p:tagLst>
</file>

<file path=ppt/tags/tag76.xml><?xml version="1.0" encoding="utf-8"?>
<p:tagLst xmlns:a="http://schemas.openxmlformats.org/drawingml/2006/main" xmlns:r="http://schemas.openxmlformats.org/officeDocument/2006/relationships" xmlns:p="http://schemas.openxmlformats.org/presentationml/2006/main">
  <p:tag name="NAME" val="Oval"/>
</p:tagLst>
</file>

<file path=ppt/tags/tag77.xml><?xml version="1.0" encoding="utf-8"?>
<p:tagLst xmlns:a="http://schemas.openxmlformats.org/drawingml/2006/main" xmlns:r="http://schemas.openxmlformats.org/officeDocument/2006/relationships" xmlns:p="http://schemas.openxmlformats.org/presentationml/2006/main">
  <p:tag name="NAME" val="Oval"/>
</p:tagLst>
</file>

<file path=ppt/tags/tag78.xml><?xml version="1.0" encoding="utf-8"?>
<p:tagLst xmlns:a="http://schemas.openxmlformats.org/drawingml/2006/main" xmlns:r="http://schemas.openxmlformats.org/officeDocument/2006/relationships" xmlns:p="http://schemas.openxmlformats.org/presentationml/2006/main">
  <p:tag name="NAME" val="Oval"/>
</p:tagLst>
</file>

<file path=ppt/tags/tag79.xml><?xml version="1.0" encoding="utf-8"?>
<p:tagLst xmlns:a="http://schemas.openxmlformats.org/drawingml/2006/main" xmlns:r="http://schemas.openxmlformats.org/officeDocument/2006/relationships" xmlns:p="http://schemas.openxmlformats.org/presentationml/2006/main">
  <p:tag name="NAME" val="Oval"/>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Oval"/>
</p:tagLst>
</file>

<file path=ppt/tags/tag81.xml><?xml version="1.0" encoding="utf-8"?>
<p:tagLst xmlns:a="http://schemas.openxmlformats.org/drawingml/2006/main" xmlns:r="http://schemas.openxmlformats.org/officeDocument/2006/relationships" xmlns:p="http://schemas.openxmlformats.org/presentationml/2006/main">
  <p:tag name="NAME" val="Oval"/>
</p:tagLst>
</file>

<file path=ppt/tags/tag82.xml><?xml version="1.0" encoding="utf-8"?>
<p:tagLst xmlns:a="http://schemas.openxmlformats.org/drawingml/2006/main" xmlns:r="http://schemas.openxmlformats.org/officeDocument/2006/relationships" xmlns:p="http://schemas.openxmlformats.org/presentationml/2006/main">
  <p:tag name="NAME" val="Oval"/>
</p:tagLst>
</file>

<file path=ppt/tags/tag83.xml><?xml version="1.0" encoding="utf-8"?>
<p:tagLst xmlns:a="http://schemas.openxmlformats.org/drawingml/2006/main" xmlns:r="http://schemas.openxmlformats.org/officeDocument/2006/relationships" xmlns:p="http://schemas.openxmlformats.org/presentationml/2006/main">
  <p:tag name="NAME" val="Oval"/>
</p:tagLst>
</file>

<file path=ppt/tags/tag84.xml><?xml version="1.0" encoding="utf-8"?>
<p:tagLst xmlns:a="http://schemas.openxmlformats.org/drawingml/2006/main" xmlns:r="http://schemas.openxmlformats.org/officeDocument/2006/relationships" xmlns:p="http://schemas.openxmlformats.org/presentationml/2006/main">
  <p:tag name="NAME" val="Oval"/>
</p:tagLst>
</file>

<file path=ppt/tags/tag85.xml><?xml version="1.0" encoding="utf-8"?>
<p:tagLst xmlns:a="http://schemas.openxmlformats.org/drawingml/2006/main" xmlns:r="http://schemas.openxmlformats.org/officeDocument/2006/relationships" xmlns:p="http://schemas.openxmlformats.org/presentationml/2006/main">
  <p:tag name="NAME" val="Oval"/>
</p:tagLst>
</file>

<file path=ppt/tags/tag86.xml><?xml version="1.0" encoding="utf-8"?>
<p:tagLst xmlns:a="http://schemas.openxmlformats.org/drawingml/2006/main" xmlns:r="http://schemas.openxmlformats.org/officeDocument/2006/relationships" xmlns:p="http://schemas.openxmlformats.org/presentationml/2006/main">
  <p:tag name="NAME" val="Oval"/>
</p:tagLst>
</file>

<file path=ppt/tags/tag87.xml><?xml version="1.0" encoding="utf-8"?>
<p:tagLst xmlns:a="http://schemas.openxmlformats.org/drawingml/2006/main" xmlns:r="http://schemas.openxmlformats.org/officeDocument/2006/relationships" xmlns:p="http://schemas.openxmlformats.org/presentationml/2006/main">
  <p:tag name="NAME" val="Oval"/>
</p:tagLst>
</file>

<file path=ppt/tags/tag88.xml><?xml version="1.0" encoding="utf-8"?>
<p:tagLst xmlns:a="http://schemas.openxmlformats.org/drawingml/2006/main" xmlns:r="http://schemas.openxmlformats.org/officeDocument/2006/relationships" xmlns:p="http://schemas.openxmlformats.org/presentationml/2006/main">
  <p:tag name="NAME" val="Oval"/>
</p:tagLst>
</file>

<file path=ppt/tags/tag89.xml><?xml version="1.0" encoding="utf-8"?>
<p:tagLst xmlns:a="http://schemas.openxmlformats.org/drawingml/2006/main" xmlns:r="http://schemas.openxmlformats.org/officeDocument/2006/relationships" xmlns:p="http://schemas.openxmlformats.org/presentationml/2006/main">
  <p:tag name="NAME" val="Oval"/>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0.xml><?xml version="1.0" encoding="utf-8"?>
<p:tagLst xmlns:a="http://schemas.openxmlformats.org/drawingml/2006/main" xmlns:r="http://schemas.openxmlformats.org/officeDocument/2006/relationships" xmlns:p="http://schemas.openxmlformats.org/presentationml/2006/main">
  <p:tag name="NAME" val="Oval"/>
</p:tagLst>
</file>

<file path=ppt/tags/tag91.xml><?xml version="1.0" encoding="utf-8"?>
<p:tagLst xmlns:a="http://schemas.openxmlformats.org/drawingml/2006/main" xmlns:r="http://schemas.openxmlformats.org/officeDocument/2006/relationships" xmlns:p="http://schemas.openxmlformats.org/presentationml/2006/main">
  <p:tag name="NAME" val="Oval"/>
</p:tagLst>
</file>

<file path=ppt/tags/tag92.xml><?xml version="1.0" encoding="utf-8"?>
<p:tagLst xmlns:a="http://schemas.openxmlformats.org/drawingml/2006/main" xmlns:r="http://schemas.openxmlformats.org/officeDocument/2006/relationships" xmlns:p="http://schemas.openxmlformats.org/presentationml/2006/main">
  <p:tag name="NAME" val="Oval"/>
</p:tagLst>
</file>

<file path=ppt/tags/tag93.xml><?xml version="1.0" encoding="utf-8"?>
<p:tagLst xmlns:a="http://schemas.openxmlformats.org/drawingml/2006/main" xmlns:r="http://schemas.openxmlformats.org/officeDocument/2006/relationships" xmlns:p="http://schemas.openxmlformats.org/presentationml/2006/main">
  <p:tag name="NAME" val="Oval"/>
</p:tagLst>
</file>

<file path=ppt/tags/tag94.xml><?xml version="1.0" encoding="utf-8"?>
<p:tagLst xmlns:a="http://schemas.openxmlformats.org/drawingml/2006/main" xmlns:r="http://schemas.openxmlformats.org/officeDocument/2006/relationships" xmlns:p="http://schemas.openxmlformats.org/presentationml/2006/main">
  <p:tag name="NAME" val="Oval"/>
</p:tagLst>
</file>

<file path=ppt/tags/tag95.xml><?xml version="1.0" encoding="utf-8"?>
<p:tagLst xmlns:a="http://schemas.openxmlformats.org/drawingml/2006/main" xmlns:r="http://schemas.openxmlformats.org/officeDocument/2006/relationships" xmlns:p="http://schemas.openxmlformats.org/presentationml/2006/main">
  <p:tag name="NAME" val="Oval"/>
</p:tagLst>
</file>

<file path=ppt/tags/tag96.xml><?xml version="1.0" encoding="utf-8"?>
<p:tagLst xmlns:a="http://schemas.openxmlformats.org/drawingml/2006/main" xmlns:r="http://schemas.openxmlformats.org/officeDocument/2006/relationships" xmlns:p="http://schemas.openxmlformats.org/presentationml/2006/main">
  <p:tag name="NAME" val="Oval"/>
</p:tagLst>
</file>

<file path=ppt/tags/tag97.xml><?xml version="1.0" encoding="utf-8"?>
<p:tagLst xmlns:a="http://schemas.openxmlformats.org/drawingml/2006/main" xmlns:r="http://schemas.openxmlformats.org/officeDocument/2006/relationships" xmlns:p="http://schemas.openxmlformats.org/presentationml/2006/main">
  <p:tag name="NAME" val="Oval"/>
</p:tagLst>
</file>

<file path=ppt/tags/tag98.xml><?xml version="1.0" encoding="utf-8"?>
<p:tagLst xmlns:a="http://schemas.openxmlformats.org/drawingml/2006/main" xmlns:r="http://schemas.openxmlformats.org/officeDocument/2006/relationships" xmlns:p="http://schemas.openxmlformats.org/presentationml/2006/main">
  <p:tag name="NAME" val="Oval"/>
</p:tagLst>
</file>

<file path=ppt/tags/tag99.xml><?xml version="1.0" encoding="utf-8"?>
<p:tagLst xmlns:a="http://schemas.openxmlformats.org/drawingml/2006/main" xmlns:r="http://schemas.openxmlformats.org/officeDocument/2006/relationships" xmlns:p="http://schemas.openxmlformats.org/presentationml/2006/main">
  <p:tag name="NAME" val="Oval"/>
</p:tagLst>
</file>

<file path=ppt/theme/theme1.xml><?xml version="1.0" encoding="utf-8"?>
<a:theme xmlns:a="http://schemas.openxmlformats.org/drawingml/2006/main" name="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9B1EEE48-FBB1-4441-A18B-EA0D61F9D5CF}" vid="{46CCEF6C-6F35-4EC3-B141-99BB08E4FC4A}"/>
    </a:ext>
  </a:extLst>
</a:theme>
</file>

<file path=ppt/theme/theme2.xml><?xml version="1.0" encoding="utf-8"?>
<a:theme xmlns:a="http://schemas.openxmlformats.org/drawingml/2006/main" name="Firm Format - template_Blu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C75ED597-A648-42ED-A4DC-A5D09CAD6C59}" vid="{F0629F24-3C58-41B5-9C5E-254256C7B134}"/>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irm Format - English (United States) - LOP - Normal</Template>
  <TotalTime>0</TotalTime>
  <Words>5570</Words>
  <Application>Microsoft Macintosh PowerPoint</Application>
  <PresentationFormat>自定义</PresentationFormat>
  <Paragraphs>846</Paragraphs>
  <Slides>30</Slides>
  <Notes>7</Notes>
  <HiddenSlides>0</HiddenSlides>
  <MMClips>0</MMClips>
  <ScaleCrop>false</ScaleCrop>
  <HeadingPairs>
    <vt:vector size="8" baseType="variant">
      <vt:variant>
        <vt:lpstr>已用的字体</vt:lpstr>
      </vt:variant>
      <vt:variant>
        <vt:i4>3</vt:i4>
      </vt:variant>
      <vt:variant>
        <vt:lpstr>主题</vt:lpstr>
      </vt:variant>
      <vt:variant>
        <vt:i4>2</vt:i4>
      </vt:variant>
      <vt:variant>
        <vt:lpstr>嵌入 OLE 服务器</vt:lpstr>
      </vt:variant>
      <vt:variant>
        <vt:i4>1</vt:i4>
      </vt:variant>
      <vt:variant>
        <vt:lpstr>幻灯片标题</vt:lpstr>
      </vt:variant>
      <vt:variant>
        <vt:i4>30</vt:i4>
      </vt:variant>
    </vt:vector>
  </HeadingPairs>
  <TitlesOfParts>
    <vt:vector size="36" baseType="lpstr">
      <vt:lpstr>SimSun</vt:lpstr>
      <vt:lpstr>KaiTi</vt:lpstr>
      <vt:lpstr>Arial</vt:lpstr>
      <vt:lpstr>Firm Format - template</vt:lpstr>
      <vt:lpstr>Firm Format - template_Blue</vt:lpstr>
      <vt:lpstr>think-cell 幻灯片</vt:lpstr>
      <vt:lpstr>机器学习算法概述</vt:lpstr>
      <vt:lpstr>定义人工智能、机器学习和深度学习</vt:lpstr>
      <vt:lpstr>神经系统是一种受生物启发而产生的数学建模技术</vt:lpstr>
      <vt:lpstr>深度学习是指对于‘深度’神经网络的利用</vt:lpstr>
      <vt:lpstr>深度学习准确率提高的一个动因，部分在于能自动学习以抽象特征表现世界</vt:lpstr>
      <vt:lpstr>PowerPoint 演示文稿</vt:lpstr>
      <vt:lpstr>深度学习人工智能 - 如何运作</vt:lpstr>
      <vt:lpstr>深度学习 - 模型训练和部署</vt:lpstr>
      <vt:lpstr>成功实施深度学习，需要有明确定义的问题、数据和基础设施</vt:lpstr>
      <vt:lpstr>深度学习如今为何飞速发展？(1/3)</vt:lpstr>
      <vt:lpstr>深度学习如今为何飞速发展？(2/3)</vt:lpstr>
      <vt:lpstr>深度学习如今为何飞速发展？(3/3)</vt:lpstr>
      <vt:lpstr>深度学习下一步如何发展？</vt:lpstr>
      <vt:lpstr>机器学习采用的技术已存在数十年，但其能力和作用已经经历了巨大的升级</vt:lpstr>
      <vt:lpstr>所有机器学习系列的主要技术</vt:lpstr>
      <vt:lpstr>分析的价值创造可分为三个阶段（1/2）</vt:lpstr>
      <vt:lpstr>分析的价值创造可分为三个阶段（2/2）</vt:lpstr>
      <vt:lpstr>机器学习如何运作？</vt:lpstr>
      <vt:lpstr>机器学习可分为三种类型...</vt:lpstr>
      <vt:lpstr>...可部署于多种情况</vt:lpstr>
      <vt:lpstr>PowerPoint 演示文稿</vt:lpstr>
      <vt:lpstr>K均值</vt:lpstr>
      <vt:lpstr>贝叶斯学派对比频率学派</vt:lpstr>
      <vt:lpstr>朴素贝叶斯</vt:lpstr>
      <vt:lpstr>朴素贝叶斯 – 如何运作？</vt:lpstr>
      <vt:lpstr>套索回归</vt:lpstr>
      <vt:lpstr>决策树</vt:lpstr>
      <vt:lpstr>随机森林</vt:lpstr>
      <vt:lpstr>Adaboost (adaptive boosting)</vt:lpstr>
      <vt:lpstr>Adaboost (adaptive boosting)</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cp:lastPrinted>2015-10-15T15:41:18Z</cp:lastPrinted>
  <dcterms:created xsi:type="dcterms:W3CDTF">2017-03-09T01:53:45Z</dcterms:created>
  <dcterms:modified xsi:type="dcterms:W3CDTF">2021-07-01T15:16:45Z</dcterms:modified>
  <cp:category/>
  <cp:contentStatus/>
  <dc:language/>
  <cp:version/>
</cp:coreProperties>
</file>